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1.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7" r:id="rId3"/>
    <p:sldMasterId id="2147483702" r:id="rId4"/>
    <p:sldMasterId id="2147483719" r:id="rId5"/>
  </p:sldMasterIdLst>
  <p:notesMasterIdLst>
    <p:notesMasterId r:id="rId42"/>
  </p:notesMasterIdLst>
  <p:sldIdLst>
    <p:sldId id="2147483205" r:id="rId6"/>
    <p:sldId id="2147483207" r:id="rId7"/>
    <p:sldId id="2147483208" r:id="rId8"/>
    <p:sldId id="2147483216" r:id="rId9"/>
    <p:sldId id="2147483210" r:id="rId10"/>
    <p:sldId id="2147483217" r:id="rId11"/>
    <p:sldId id="2147483219" r:id="rId12"/>
    <p:sldId id="2147483215" r:id="rId13"/>
    <p:sldId id="2147483233" r:id="rId14"/>
    <p:sldId id="2147483213" r:id="rId15"/>
    <p:sldId id="2147483214" r:id="rId16"/>
    <p:sldId id="2147483218" r:id="rId17"/>
    <p:sldId id="2147483220" r:id="rId18"/>
    <p:sldId id="2147483232" r:id="rId19"/>
    <p:sldId id="2147483221" r:id="rId20"/>
    <p:sldId id="2147483209" r:id="rId21"/>
    <p:sldId id="2147483211" r:id="rId22"/>
    <p:sldId id="2147483227" r:id="rId23"/>
    <p:sldId id="259" r:id="rId24"/>
    <p:sldId id="296" r:id="rId25"/>
    <p:sldId id="2147480251" r:id="rId26"/>
    <p:sldId id="2147483229" r:id="rId27"/>
    <p:sldId id="2147482809" r:id="rId28"/>
    <p:sldId id="2147482724" r:id="rId29"/>
    <p:sldId id="2147483228" r:id="rId30"/>
    <p:sldId id="2147483230" r:id="rId31"/>
    <p:sldId id="2147482323" r:id="rId32"/>
    <p:sldId id="2147483231" r:id="rId33"/>
    <p:sldId id="2147472959" r:id="rId34"/>
    <p:sldId id="368" r:id="rId35"/>
    <p:sldId id="400" r:id="rId36"/>
    <p:sldId id="2147483234" r:id="rId37"/>
    <p:sldId id="2147483235" r:id="rId38"/>
    <p:sldId id="355" r:id="rId39"/>
    <p:sldId id="2147483236" r:id="rId40"/>
    <p:sldId id="35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F9A8B96-7B2D-222F-FD9E-02F87528A31B}" name="Avishai Poorun" initials="AP" userId="S::Avishai.Poorun@mu.ey.com::2aa51666-bf83-41a7-8b2c-f4f6626112b4" providerId="AD"/>
  <p188:author id="{4C518DB8-0406-3AA1-BF98-7BE6F74719E2}" name="Riddhi Boodnah" initials="RB" userId="S::Riddhi.Boodnah@mu.ey.com::929c5b2f-aa68-4f2e-b210-44eda195860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3A3A4"/>
    <a:srgbClr val="D9C932"/>
    <a:srgbClr val="6C6C6C"/>
    <a:srgbClr val="7F7F7F"/>
    <a:srgbClr val="C0C0C1"/>
    <a:srgbClr val="082D48"/>
    <a:srgbClr val="0C4672"/>
    <a:srgbClr val="E2CC00"/>
    <a:srgbClr val="FFFFFF"/>
    <a:srgbClr val="FFEC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shaam Rujbaully" userId="990de6ca-03ce-45e5-b3d1-1dfa87d50b7b" providerId="ADAL" clId="{9020A9E5-8F3D-4B38-8184-4B15897E12DE}"/>
    <pc:docChg chg="undo redo custSel addSld delSld modSld sldOrd">
      <pc:chgData name="Hishaam Rujbaully" userId="990de6ca-03ce-45e5-b3d1-1dfa87d50b7b" providerId="ADAL" clId="{9020A9E5-8F3D-4B38-8184-4B15897E12DE}" dt="2025-11-10T05:53:25.500" v="103"/>
      <pc:docMkLst>
        <pc:docMk/>
      </pc:docMkLst>
      <pc:sldChg chg="delSp del mod">
        <pc:chgData name="Hishaam Rujbaully" userId="990de6ca-03ce-45e5-b3d1-1dfa87d50b7b" providerId="ADAL" clId="{9020A9E5-8F3D-4B38-8184-4B15897E12DE}" dt="2025-11-06T06:48:33.830" v="3" actId="47"/>
        <pc:sldMkLst>
          <pc:docMk/>
          <pc:sldMk cId="937262451" sldId="256"/>
        </pc:sldMkLst>
      </pc:sldChg>
      <pc:sldChg chg="add">
        <pc:chgData name="Hishaam Rujbaully" userId="990de6ca-03ce-45e5-b3d1-1dfa87d50b7b" providerId="ADAL" clId="{9020A9E5-8F3D-4B38-8184-4B15897E12DE}" dt="2025-11-06T09:41:03.194" v="19"/>
        <pc:sldMkLst>
          <pc:docMk/>
          <pc:sldMk cId="1442015800" sldId="259"/>
        </pc:sldMkLst>
      </pc:sldChg>
      <pc:sldChg chg="add">
        <pc:chgData name="Hishaam Rujbaully" userId="990de6ca-03ce-45e5-b3d1-1dfa87d50b7b" providerId="ADAL" clId="{9020A9E5-8F3D-4B38-8184-4B15897E12DE}" dt="2025-11-06T09:41:51.692" v="22"/>
        <pc:sldMkLst>
          <pc:docMk/>
          <pc:sldMk cId="1831123800" sldId="296"/>
        </pc:sldMkLst>
      </pc:sldChg>
      <pc:sldChg chg="add del">
        <pc:chgData name="Hishaam Rujbaully" userId="990de6ca-03ce-45e5-b3d1-1dfa87d50b7b" providerId="ADAL" clId="{9020A9E5-8F3D-4B38-8184-4B15897E12DE}" dt="2025-11-10T05:53:05.486" v="101"/>
        <pc:sldMkLst>
          <pc:docMk/>
          <pc:sldMk cId="3391684123" sldId="352"/>
        </pc:sldMkLst>
      </pc:sldChg>
      <pc:sldChg chg="modSp add mod modClrScheme chgLayout">
        <pc:chgData name="Hishaam Rujbaully" userId="990de6ca-03ce-45e5-b3d1-1dfa87d50b7b" providerId="ADAL" clId="{9020A9E5-8F3D-4B38-8184-4B15897E12DE}" dt="2025-11-07T07:19:27.760" v="73" actId="700"/>
        <pc:sldMkLst>
          <pc:docMk/>
          <pc:sldMk cId="22953470" sldId="355"/>
        </pc:sldMkLst>
        <pc:spChg chg="mod ord">
          <ac:chgData name="Hishaam Rujbaully" userId="990de6ca-03ce-45e5-b3d1-1dfa87d50b7b" providerId="ADAL" clId="{9020A9E5-8F3D-4B38-8184-4B15897E12DE}" dt="2025-11-07T07:19:27.760" v="73" actId="700"/>
          <ac:spMkLst>
            <pc:docMk/>
            <pc:sldMk cId="22953470" sldId="355"/>
            <ac:spMk id="2" creationId="{2C2BFAE1-45D3-4B3B-81D2-0BF25FA84FB8}"/>
          </ac:spMkLst>
        </pc:spChg>
      </pc:sldChg>
      <pc:sldChg chg="add">
        <pc:chgData name="Hishaam Rujbaully" userId="990de6ca-03ce-45e5-b3d1-1dfa87d50b7b" providerId="ADAL" clId="{9020A9E5-8F3D-4B38-8184-4B15897E12DE}" dt="2025-11-06T10:18:13.054" v="58"/>
        <pc:sldMkLst>
          <pc:docMk/>
          <pc:sldMk cId="2952987235" sldId="368"/>
        </pc:sldMkLst>
      </pc:sldChg>
      <pc:sldChg chg="add del">
        <pc:chgData name="Hishaam Rujbaully" userId="990de6ca-03ce-45e5-b3d1-1dfa87d50b7b" providerId="ADAL" clId="{9020A9E5-8F3D-4B38-8184-4B15897E12DE}" dt="2025-11-06T10:17:49.593" v="57"/>
        <pc:sldMkLst>
          <pc:docMk/>
          <pc:sldMk cId="2396483441" sldId="400"/>
        </pc:sldMkLst>
      </pc:sldChg>
      <pc:sldChg chg="add">
        <pc:chgData name="Hishaam Rujbaully" userId="990de6ca-03ce-45e5-b3d1-1dfa87d50b7b" providerId="ADAL" clId="{9020A9E5-8F3D-4B38-8184-4B15897E12DE}" dt="2025-11-06T10:22:11.443" v="59"/>
        <pc:sldMkLst>
          <pc:docMk/>
          <pc:sldMk cId="2459135886" sldId="2147472959"/>
        </pc:sldMkLst>
      </pc:sldChg>
      <pc:sldChg chg="add setBg">
        <pc:chgData name="Hishaam Rujbaully" userId="990de6ca-03ce-45e5-b3d1-1dfa87d50b7b" providerId="ADAL" clId="{9020A9E5-8F3D-4B38-8184-4B15897E12DE}" dt="2025-11-06T10:07:13.080" v="25"/>
        <pc:sldMkLst>
          <pc:docMk/>
          <pc:sldMk cId="4229180036" sldId="2147482724"/>
        </pc:sldMkLst>
      </pc:sldChg>
      <pc:sldChg chg="modSp add mod">
        <pc:chgData name="Hishaam Rujbaully" userId="990de6ca-03ce-45e5-b3d1-1dfa87d50b7b" providerId="ADAL" clId="{9020A9E5-8F3D-4B38-8184-4B15897E12DE}" dt="2025-11-10T05:47:37.592" v="76" actId="1076"/>
        <pc:sldMkLst>
          <pc:docMk/>
          <pc:sldMk cId="3809191087" sldId="2147482809"/>
        </pc:sldMkLst>
        <pc:spChg chg="mod">
          <ac:chgData name="Hishaam Rujbaully" userId="990de6ca-03ce-45e5-b3d1-1dfa87d50b7b" providerId="ADAL" clId="{9020A9E5-8F3D-4B38-8184-4B15897E12DE}" dt="2025-11-10T05:47:37.592" v="76" actId="1076"/>
          <ac:spMkLst>
            <pc:docMk/>
            <pc:sldMk cId="3809191087" sldId="2147482809"/>
            <ac:spMk id="2" creationId="{9603DE51-4C2D-34BA-8EA1-B87DC8128279}"/>
          </ac:spMkLst>
        </pc:spChg>
      </pc:sldChg>
      <pc:sldChg chg="add">
        <pc:chgData name="Hishaam Rujbaully" userId="990de6ca-03ce-45e5-b3d1-1dfa87d50b7b" providerId="ADAL" clId="{9020A9E5-8F3D-4B38-8184-4B15897E12DE}" dt="2025-11-06T06:48:29.652" v="2"/>
        <pc:sldMkLst>
          <pc:docMk/>
          <pc:sldMk cId="4151687930" sldId="2147483205"/>
        </pc:sldMkLst>
      </pc:sldChg>
      <pc:sldChg chg="modSp add mod">
        <pc:chgData name="Hishaam Rujbaully" userId="990de6ca-03ce-45e5-b3d1-1dfa87d50b7b" providerId="ADAL" clId="{9020A9E5-8F3D-4B38-8184-4B15897E12DE}" dt="2025-11-06T11:05:35.313" v="67" actId="207"/>
        <pc:sldMkLst>
          <pc:docMk/>
          <pc:sldMk cId="2199330089" sldId="2147483207"/>
        </pc:sldMkLst>
        <pc:spChg chg="mod">
          <ac:chgData name="Hishaam Rujbaully" userId="990de6ca-03ce-45e5-b3d1-1dfa87d50b7b" providerId="ADAL" clId="{9020A9E5-8F3D-4B38-8184-4B15897E12DE}" dt="2025-11-06T11:03:09.555" v="62" actId="207"/>
          <ac:spMkLst>
            <pc:docMk/>
            <pc:sldMk cId="2199330089" sldId="2147483207"/>
            <ac:spMk id="13" creationId="{C0C661B1-FB15-896D-FAC0-CE09EB1ADD45}"/>
          </ac:spMkLst>
        </pc:spChg>
        <pc:spChg chg="mod">
          <ac:chgData name="Hishaam Rujbaully" userId="990de6ca-03ce-45e5-b3d1-1dfa87d50b7b" providerId="ADAL" clId="{9020A9E5-8F3D-4B38-8184-4B15897E12DE}" dt="2025-11-06T11:04:57.094" v="66" actId="207"/>
          <ac:spMkLst>
            <pc:docMk/>
            <pc:sldMk cId="2199330089" sldId="2147483207"/>
            <ac:spMk id="14" creationId="{33723E22-36FF-3FAF-1C03-97098C2F3267}"/>
          </ac:spMkLst>
        </pc:spChg>
        <pc:spChg chg="mod">
          <ac:chgData name="Hishaam Rujbaully" userId="990de6ca-03ce-45e5-b3d1-1dfa87d50b7b" providerId="ADAL" clId="{9020A9E5-8F3D-4B38-8184-4B15897E12DE}" dt="2025-11-06T11:04:02.602" v="63" actId="207"/>
          <ac:spMkLst>
            <pc:docMk/>
            <pc:sldMk cId="2199330089" sldId="2147483207"/>
            <ac:spMk id="16" creationId="{EBC6603C-0798-0A5C-B6F2-A0B8EE1F9CAD}"/>
          </ac:spMkLst>
        </pc:spChg>
        <pc:spChg chg="mod">
          <ac:chgData name="Hishaam Rujbaully" userId="990de6ca-03ce-45e5-b3d1-1dfa87d50b7b" providerId="ADAL" clId="{9020A9E5-8F3D-4B38-8184-4B15897E12DE}" dt="2025-11-06T11:05:35.313" v="67" actId="207"/>
          <ac:spMkLst>
            <pc:docMk/>
            <pc:sldMk cId="2199330089" sldId="2147483207"/>
            <ac:spMk id="17" creationId="{6D1839A6-3DCB-C2B5-69EC-E9FC9EC76A9F}"/>
          </ac:spMkLst>
        </pc:spChg>
      </pc:sldChg>
      <pc:sldChg chg="add">
        <pc:chgData name="Hishaam Rujbaully" userId="990de6ca-03ce-45e5-b3d1-1dfa87d50b7b" providerId="ADAL" clId="{9020A9E5-8F3D-4B38-8184-4B15897E12DE}" dt="2025-11-06T06:48:29.652" v="2"/>
        <pc:sldMkLst>
          <pc:docMk/>
          <pc:sldMk cId="3813462397" sldId="2147483208"/>
        </pc:sldMkLst>
      </pc:sldChg>
      <pc:sldChg chg="add">
        <pc:chgData name="Hishaam Rujbaully" userId="990de6ca-03ce-45e5-b3d1-1dfa87d50b7b" providerId="ADAL" clId="{9020A9E5-8F3D-4B38-8184-4B15897E12DE}" dt="2025-11-06T06:48:29.652" v="2"/>
        <pc:sldMkLst>
          <pc:docMk/>
          <pc:sldMk cId="2511482157" sldId="2147483209"/>
        </pc:sldMkLst>
      </pc:sldChg>
      <pc:sldChg chg="add">
        <pc:chgData name="Hishaam Rujbaully" userId="990de6ca-03ce-45e5-b3d1-1dfa87d50b7b" providerId="ADAL" clId="{9020A9E5-8F3D-4B38-8184-4B15897E12DE}" dt="2025-11-06T06:48:29.652" v="2"/>
        <pc:sldMkLst>
          <pc:docMk/>
          <pc:sldMk cId="1627552965" sldId="2147483210"/>
        </pc:sldMkLst>
      </pc:sldChg>
      <pc:sldChg chg="add">
        <pc:chgData name="Hishaam Rujbaully" userId="990de6ca-03ce-45e5-b3d1-1dfa87d50b7b" providerId="ADAL" clId="{9020A9E5-8F3D-4B38-8184-4B15897E12DE}" dt="2025-11-06T06:48:29.652" v="2"/>
        <pc:sldMkLst>
          <pc:docMk/>
          <pc:sldMk cId="453026658" sldId="2147483211"/>
        </pc:sldMkLst>
      </pc:sldChg>
      <pc:sldChg chg="add">
        <pc:chgData name="Hishaam Rujbaully" userId="990de6ca-03ce-45e5-b3d1-1dfa87d50b7b" providerId="ADAL" clId="{9020A9E5-8F3D-4B38-8184-4B15897E12DE}" dt="2025-11-06T06:48:29.652" v="2"/>
        <pc:sldMkLst>
          <pc:docMk/>
          <pc:sldMk cId="1837508093" sldId="2147483213"/>
        </pc:sldMkLst>
      </pc:sldChg>
      <pc:sldChg chg="add">
        <pc:chgData name="Hishaam Rujbaully" userId="990de6ca-03ce-45e5-b3d1-1dfa87d50b7b" providerId="ADAL" clId="{9020A9E5-8F3D-4B38-8184-4B15897E12DE}" dt="2025-11-06T06:48:29.652" v="2"/>
        <pc:sldMkLst>
          <pc:docMk/>
          <pc:sldMk cId="961034032" sldId="2147483214"/>
        </pc:sldMkLst>
      </pc:sldChg>
      <pc:sldChg chg="add">
        <pc:chgData name="Hishaam Rujbaully" userId="990de6ca-03ce-45e5-b3d1-1dfa87d50b7b" providerId="ADAL" clId="{9020A9E5-8F3D-4B38-8184-4B15897E12DE}" dt="2025-11-06T06:48:29.652" v="2"/>
        <pc:sldMkLst>
          <pc:docMk/>
          <pc:sldMk cId="2837407100" sldId="2147483215"/>
        </pc:sldMkLst>
      </pc:sldChg>
      <pc:sldChg chg="add">
        <pc:chgData name="Hishaam Rujbaully" userId="990de6ca-03ce-45e5-b3d1-1dfa87d50b7b" providerId="ADAL" clId="{9020A9E5-8F3D-4B38-8184-4B15897E12DE}" dt="2025-11-06T06:48:29.652" v="2"/>
        <pc:sldMkLst>
          <pc:docMk/>
          <pc:sldMk cId="3198809523" sldId="2147483216"/>
        </pc:sldMkLst>
      </pc:sldChg>
      <pc:sldChg chg="add">
        <pc:chgData name="Hishaam Rujbaully" userId="990de6ca-03ce-45e5-b3d1-1dfa87d50b7b" providerId="ADAL" clId="{9020A9E5-8F3D-4B38-8184-4B15897E12DE}" dt="2025-11-06T06:48:29.652" v="2"/>
        <pc:sldMkLst>
          <pc:docMk/>
          <pc:sldMk cId="513553074" sldId="2147483217"/>
        </pc:sldMkLst>
      </pc:sldChg>
      <pc:sldChg chg="add">
        <pc:chgData name="Hishaam Rujbaully" userId="990de6ca-03ce-45e5-b3d1-1dfa87d50b7b" providerId="ADAL" clId="{9020A9E5-8F3D-4B38-8184-4B15897E12DE}" dt="2025-11-06T06:48:29.652" v="2"/>
        <pc:sldMkLst>
          <pc:docMk/>
          <pc:sldMk cId="1458386987" sldId="2147483218"/>
        </pc:sldMkLst>
      </pc:sldChg>
      <pc:sldChg chg="add">
        <pc:chgData name="Hishaam Rujbaully" userId="990de6ca-03ce-45e5-b3d1-1dfa87d50b7b" providerId="ADAL" clId="{9020A9E5-8F3D-4B38-8184-4B15897E12DE}" dt="2025-11-06T06:48:29.652" v="2"/>
        <pc:sldMkLst>
          <pc:docMk/>
          <pc:sldMk cId="1227640510" sldId="2147483219"/>
        </pc:sldMkLst>
      </pc:sldChg>
      <pc:sldChg chg="add">
        <pc:chgData name="Hishaam Rujbaully" userId="990de6ca-03ce-45e5-b3d1-1dfa87d50b7b" providerId="ADAL" clId="{9020A9E5-8F3D-4B38-8184-4B15897E12DE}" dt="2025-11-06T06:48:29.652" v="2"/>
        <pc:sldMkLst>
          <pc:docMk/>
          <pc:sldMk cId="1701432213" sldId="2147483220"/>
        </pc:sldMkLst>
      </pc:sldChg>
      <pc:sldChg chg="add">
        <pc:chgData name="Hishaam Rujbaully" userId="990de6ca-03ce-45e5-b3d1-1dfa87d50b7b" providerId="ADAL" clId="{9020A9E5-8F3D-4B38-8184-4B15897E12DE}" dt="2025-11-06T06:48:29.652" v="2"/>
        <pc:sldMkLst>
          <pc:docMk/>
          <pc:sldMk cId="606374416" sldId="2147483221"/>
        </pc:sldMkLst>
      </pc:sldChg>
      <pc:sldChg chg="addSp modSp add del mod ord">
        <pc:chgData name="Hishaam Rujbaully" userId="990de6ca-03ce-45e5-b3d1-1dfa87d50b7b" providerId="ADAL" clId="{9020A9E5-8F3D-4B38-8184-4B15897E12DE}" dt="2025-11-06T09:41:23.322" v="21"/>
        <pc:sldMkLst>
          <pc:docMk/>
          <pc:sldMk cId="2529900731" sldId="2147483227"/>
        </pc:sldMkLst>
        <pc:spChg chg="add mod ord">
          <ac:chgData name="Hishaam Rujbaully" userId="990de6ca-03ce-45e5-b3d1-1dfa87d50b7b" providerId="ADAL" clId="{9020A9E5-8F3D-4B38-8184-4B15897E12DE}" dt="2025-11-06T09:34:36.424" v="13" actId="167"/>
          <ac:spMkLst>
            <pc:docMk/>
            <pc:sldMk cId="2529900731" sldId="2147483227"/>
            <ac:spMk id="2" creationId="{65E7643D-7BC0-DC26-1319-5061AFA45992}"/>
          </ac:spMkLst>
        </pc:spChg>
        <pc:spChg chg="mod">
          <ac:chgData name="Hishaam Rujbaully" userId="990de6ca-03ce-45e5-b3d1-1dfa87d50b7b" providerId="ADAL" clId="{9020A9E5-8F3D-4B38-8184-4B15897E12DE}" dt="2025-11-06T09:35:32.660" v="15" actId="207"/>
          <ac:spMkLst>
            <pc:docMk/>
            <pc:sldMk cId="2529900731" sldId="2147483227"/>
            <ac:spMk id="64" creationId="{5C5077BB-C226-822C-265D-C74B279E4B57}"/>
          </ac:spMkLst>
        </pc:spChg>
        <pc:spChg chg="mod">
          <ac:chgData name="Hishaam Rujbaully" userId="990de6ca-03ce-45e5-b3d1-1dfa87d50b7b" providerId="ADAL" clId="{9020A9E5-8F3D-4B38-8184-4B15897E12DE}" dt="2025-11-06T09:35:42.579" v="16" actId="207"/>
          <ac:spMkLst>
            <pc:docMk/>
            <pc:sldMk cId="2529900731" sldId="2147483227"/>
            <ac:spMk id="92" creationId="{9FE1A3A6-9F0B-A308-9589-CB1631BE4B4E}"/>
          </ac:spMkLst>
        </pc:spChg>
        <pc:spChg chg="mod">
          <ac:chgData name="Hishaam Rujbaully" userId="990de6ca-03ce-45e5-b3d1-1dfa87d50b7b" providerId="ADAL" clId="{9020A9E5-8F3D-4B38-8184-4B15897E12DE}" dt="2025-11-06T09:35:47.180" v="17" actId="207"/>
          <ac:spMkLst>
            <pc:docMk/>
            <pc:sldMk cId="2529900731" sldId="2147483227"/>
            <ac:spMk id="93" creationId="{0C9076F5-7205-77A0-EA95-75060C345E4A}"/>
          </ac:spMkLst>
        </pc:spChg>
        <pc:spChg chg="mod">
          <ac:chgData name="Hishaam Rujbaully" userId="990de6ca-03ce-45e5-b3d1-1dfa87d50b7b" providerId="ADAL" clId="{9020A9E5-8F3D-4B38-8184-4B15897E12DE}" dt="2025-11-06T09:35:50.548" v="18" actId="207"/>
          <ac:spMkLst>
            <pc:docMk/>
            <pc:sldMk cId="2529900731" sldId="2147483227"/>
            <ac:spMk id="94" creationId="{4F11FC39-1636-7C2B-3AB3-4B99AF8F6153}"/>
          </ac:spMkLst>
        </pc:spChg>
      </pc:sldChg>
      <pc:sldChg chg="addSp delSp modSp new mod">
        <pc:chgData name="Hishaam Rujbaully" userId="990de6ca-03ce-45e5-b3d1-1dfa87d50b7b" providerId="ADAL" clId="{9020A9E5-8F3D-4B38-8184-4B15897E12DE}" dt="2025-11-06T10:09:59.198" v="46" actId="1076"/>
        <pc:sldMkLst>
          <pc:docMk/>
          <pc:sldMk cId="1009784715" sldId="2147483228"/>
        </pc:sldMkLst>
        <pc:spChg chg="add mod">
          <ac:chgData name="Hishaam Rujbaully" userId="990de6ca-03ce-45e5-b3d1-1dfa87d50b7b" providerId="ADAL" clId="{9020A9E5-8F3D-4B38-8184-4B15897E12DE}" dt="2025-11-06T10:09:09.287" v="33" actId="14100"/>
          <ac:spMkLst>
            <pc:docMk/>
            <pc:sldMk cId="1009784715" sldId="2147483228"/>
            <ac:spMk id="5" creationId="{790BC755-01F5-E05D-B50F-08D2972EC369}"/>
          </ac:spMkLst>
        </pc:spChg>
        <pc:spChg chg="add mod">
          <ac:chgData name="Hishaam Rujbaully" userId="990de6ca-03ce-45e5-b3d1-1dfa87d50b7b" providerId="ADAL" clId="{9020A9E5-8F3D-4B38-8184-4B15897E12DE}" dt="2025-11-06T10:09:19.787" v="35" actId="14100"/>
          <ac:spMkLst>
            <pc:docMk/>
            <pc:sldMk cId="1009784715" sldId="2147483228"/>
            <ac:spMk id="6" creationId="{54BA47C0-8F03-8E70-F8BB-CA88F4D1A912}"/>
          </ac:spMkLst>
        </pc:spChg>
        <pc:spChg chg="add mod">
          <ac:chgData name="Hishaam Rujbaully" userId="990de6ca-03ce-45e5-b3d1-1dfa87d50b7b" providerId="ADAL" clId="{9020A9E5-8F3D-4B38-8184-4B15897E12DE}" dt="2025-11-06T10:09:24.285" v="37" actId="14100"/>
          <ac:spMkLst>
            <pc:docMk/>
            <pc:sldMk cId="1009784715" sldId="2147483228"/>
            <ac:spMk id="7" creationId="{BC15182D-0AA6-DBAD-59FE-CD3C5C370B24}"/>
          </ac:spMkLst>
        </pc:spChg>
        <pc:spChg chg="add mod">
          <ac:chgData name="Hishaam Rujbaully" userId="990de6ca-03ce-45e5-b3d1-1dfa87d50b7b" providerId="ADAL" clId="{9020A9E5-8F3D-4B38-8184-4B15897E12DE}" dt="2025-11-06T10:09:46.533" v="42" actId="1076"/>
          <ac:spMkLst>
            <pc:docMk/>
            <pc:sldMk cId="1009784715" sldId="2147483228"/>
            <ac:spMk id="8" creationId="{6FEBD36B-3FFD-3C94-D0CE-2AD2D6B43721}"/>
          </ac:spMkLst>
        </pc:spChg>
        <pc:spChg chg="add mod">
          <ac:chgData name="Hishaam Rujbaully" userId="990de6ca-03ce-45e5-b3d1-1dfa87d50b7b" providerId="ADAL" clId="{9020A9E5-8F3D-4B38-8184-4B15897E12DE}" dt="2025-11-06T10:09:59.198" v="46" actId="1076"/>
          <ac:spMkLst>
            <pc:docMk/>
            <pc:sldMk cId="1009784715" sldId="2147483228"/>
            <ac:spMk id="9" creationId="{202F27E3-DE86-A8D4-C426-2CE9A0A05A25}"/>
          </ac:spMkLst>
        </pc:spChg>
        <pc:spChg chg="add mod">
          <ac:chgData name="Hishaam Rujbaully" userId="990de6ca-03ce-45e5-b3d1-1dfa87d50b7b" providerId="ADAL" clId="{9020A9E5-8F3D-4B38-8184-4B15897E12DE}" dt="2025-11-06T10:09:56.792" v="45" actId="1076"/>
          <ac:spMkLst>
            <pc:docMk/>
            <pc:sldMk cId="1009784715" sldId="2147483228"/>
            <ac:spMk id="10" creationId="{E95283BB-19A2-1C01-1E11-9EAFB725337F}"/>
          </ac:spMkLst>
        </pc:spChg>
        <pc:spChg chg="add mod">
          <ac:chgData name="Hishaam Rujbaully" userId="990de6ca-03ce-45e5-b3d1-1dfa87d50b7b" providerId="ADAL" clId="{9020A9E5-8F3D-4B38-8184-4B15897E12DE}" dt="2025-11-06T10:09:54.206" v="44" actId="1076"/>
          <ac:spMkLst>
            <pc:docMk/>
            <pc:sldMk cId="1009784715" sldId="2147483228"/>
            <ac:spMk id="11" creationId="{74553035-49F7-9AE7-3C3A-3D792BF5ABC4}"/>
          </ac:spMkLst>
        </pc:spChg>
        <pc:spChg chg="add mod">
          <ac:chgData name="Hishaam Rujbaully" userId="990de6ca-03ce-45e5-b3d1-1dfa87d50b7b" providerId="ADAL" clId="{9020A9E5-8F3D-4B38-8184-4B15897E12DE}" dt="2025-11-06T10:09:42.227" v="41" actId="14100"/>
          <ac:spMkLst>
            <pc:docMk/>
            <pc:sldMk cId="1009784715" sldId="2147483228"/>
            <ac:spMk id="12" creationId="{3EA70D75-000B-C28A-0012-91080290B3B1}"/>
          </ac:spMkLst>
        </pc:spChg>
      </pc:sldChg>
      <pc:sldChg chg="del">
        <pc:chgData name="Hishaam Rujbaully" userId="990de6ca-03ce-45e5-b3d1-1dfa87d50b7b" providerId="ADAL" clId="{9020A9E5-8F3D-4B38-8184-4B15897E12DE}" dt="2025-11-06T10:06:02.468" v="23" actId="47"/>
        <pc:sldMkLst>
          <pc:docMk/>
          <pc:sldMk cId="1324193964" sldId="2147483228"/>
        </pc:sldMkLst>
      </pc:sldChg>
      <pc:sldChg chg="modSp mod">
        <pc:chgData name="Hishaam Rujbaully" userId="990de6ca-03ce-45e5-b3d1-1dfa87d50b7b" providerId="ADAL" clId="{9020A9E5-8F3D-4B38-8184-4B15897E12DE}" dt="2025-11-10T05:47:24.170" v="74" actId="1076"/>
        <pc:sldMkLst>
          <pc:docMk/>
          <pc:sldMk cId="711416038" sldId="2147483229"/>
        </pc:sldMkLst>
        <pc:spChg chg="mod">
          <ac:chgData name="Hishaam Rujbaully" userId="990de6ca-03ce-45e5-b3d1-1dfa87d50b7b" providerId="ADAL" clId="{9020A9E5-8F3D-4B38-8184-4B15897E12DE}" dt="2025-11-10T05:47:24.170" v="74" actId="1076"/>
          <ac:spMkLst>
            <pc:docMk/>
            <pc:sldMk cId="711416038" sldId="2147483229"/>
            <ac:spMk id="296" creationId="{97C3D7FD-FFBC-50ED-4018-5BEBECB7FD91}"/>
          </ac:spMkLst>
        </pc:spChg>
        <pc:spChg chg="mod">
          <ac:chgData name="Hishaam Rujbaully" userId="990de6ca-03ce-45e5-b3d1-1dfa87d50b7b" providerId="ADAL" clId="{9020A9E5-8F3D-4B38-8184-4B15897E12DE}" dt="2025-11-10T05:47:24.170" v="74" actId="1076"/>
          <ac:spMkLst>
            <pc:docMk/>
            <pc:sldMk cId="711416038" sldId="2147483229"/>
            <ac:spMk id="299" creationId="{294F8522-9CFE-0F55-9160-FD9D07F815A7}"/>
          </ac:spMkLst>
        </pc:spChg>
        <pc:spChg chg="mod">
          <ac:chgData name="Hishaam Rujbaully" userId="990de6ca-03ce-45e5-b3d1-1dfa87d50b7b" providerId="ADAL" clId="{9020A9E5-8F3D-4B38-8184-4B15897E12DE}" dt="2025-11-10T05:47:24.170" v="74" actId="1076"/>
          <ac:spMkLst>
            <pc:docMk/>
            <pc:sldMk cId="711416038" sldId="2147483229"/>
            <ac:spMk id="300" creationId="{192B45FC-2D2D-33DF-9449-AF43BCDEA8B5}"/>
          </ac:spMkLst>
        </pc:spChg>
        <pc:spChg chg="mod">
          <ac:chgData name="Hishaam Rujbaully" userId="990de6ca-03ce-45e5-b3d1-1dfa87d50b7b" providerId="ADAL" clId="{9020A9E5-8F3D-4B38-8184-4B15897E12DE}" dt="2025-11-10T05:47:24.170" v="74" actId="1076"/>
          <ac:spMkLst>
            <pc:docMk/>
            <pc:sldMk cId="711416038" sldId="2147483229"/>
            <ac:spMk id="301" creationId="{13D98D11-C36F-2505-E183-008972E1DCFF}"/>
          </ac:spMkLst>
        </pc:spChg>
        <pc:spChg chg="mod">
          <ac:chgData name="Hishaam Rujbaully" userId="990de6ca-03ce-45e5-b3d1-1dfa87d50b7b" providerId="ADAL" clId="{9020A9E5-8F3D-4B38-8184-4B15897E12DE}" dt="2025-11-10T05:47:24.170" v="74" actId="1076"/>
          <ac:spMkLst>
            <pc:docMk/>
            <pc:sldMk cId="711416038" sldId="2147483229"/>
            <ac:spMk id="304" creationId="{ACF342D1-E136-941D-5E79-9CC89CAAEBC0}"/>
          </ac:spMkLst>
        </pc:spChg>
        <pc:spChg chg="mod">
          <ac:chgData name="Hishaam Rujbaully" userId="990de6ca-03ce-45e5-b3d1-1dfa87d50b7b" providerId="ADAL" clId="{9020A9E5-8F3D-4B38-8184-4B15897E12DE}" dt="2025-11-10T05:47:24.170" v="74" actId="1076"/>
          <ac:spMkLst>
            <pc:docMk/>
            <pc:sldMk cId="711416038" sldId="2147483229"/>
            <ac:spMk id="305" creationId="{3D80A76B-65A2-64E5-9115-D9DD82A68F81}"/>
          </ac:spMkLst>
        </pc:spChg>
        <pc:spChg chg="mod">
          <ac:chgData name="Hishaam Rujbaully" userId="990de6ca-03ce-45e5-b3d1-1dfa87d50b7b" providerId="ADAL" clId="{9020A9E5-8F3D-4B38-8184-4B15897E12DE}" dt="2025-11-10T05:47:24.170" v="74" actId="1076"/>
          <ac:spMkLst>
            <pc:docMk/>
            <pc:sldMk cId="711416038" sldId="2147483229"/>
            <ac:spMk id="308" creationId="{6744C3E9-69C4-6644-3E29-8FCB7BF44062}"/>
          </ac:spMkLst>
        </pc:spChg>
        <pc:spChg chg="mod">
          <ac:chgData name="Hishaam Rujbaully" userId="990de6ca-03ce-45e5-b3d1-1dfa87d50b7b" providerId="ADAL" clId="{9020A9E5-8F3D-4B38-8184-4B15897E12DE}" dt="2025-11-10T05:47:24.170" v="74" actId="1076"/>
          <ac:spMkLst>
            <pc:docMk/>
            <pc:sldMk cId="711416038" sldId="2147483229"/>
            <ac:spMk id="309" creationId="{8AC343CC-7EE7-6F1F-0F7D-38F31BC0B189}"/>
          </ac:spMkLst>
        </pc:spChg>
        <pc:spChg chg="mod">
          <ac:chgData name="Hishaam Rujbaully" userId="990de6ca-03ce-45e5-b3d1-1dfa87d50b7b" providerId="ADAL" clId="{9020A9E5-8F3D-4B38-8184-4B15897E12DE}" dt="2025-11-10T05:47:24.170" v="74" actId="1076"/>
          <ac:spMkLst>
            <pc:docMk/>
            <pc:sldMk cId="711416038" sldId="2147483229"/>
            <ac:spMk id="310" creationId="{95F31FEE-9746-E71D-5BB0-9FDD25D3F1A7}"/>
          </ac:spMkLst>
        </pc:spChg>
        <pc:spChg chg="mod">
          <ac:chgData name="Hishaam Rujbaully" userId="990de6ca-03ce-45e5-b3d1-1dfa87d50b7b" providerId="ADAL" clId="{9020A9E5-8F3D-4B38-8184-4B15897E12DE}" dt="2025-11-10T05:47:24.170" v="74" actId="1076"/>
          <ac:spMkLst>
            <pc:docMk/>
            <pc:sldMk cId="711416038" sldId="2147483229"/>
            <ac:spMk id="314" creationId="{34ED74FC-33AD-BBD2-55A3-253C62683764}"/>
          </ac:spMkLst>
        </pc:spChg>
      </pc:sldChg>
      <pc:sldChg chg="addSp delSp modSp new mod">
        <pc:chgData name="Hishaam Rujbaully" userId="990de6ca-03ce-45e5-b3d1-1dfa87d50b7b" providerId="ADAL" clId="{9020A9E5-8F3D-4B38-8184-4B15897E12DE}" dt="2025-11-06T10:11:55.255" v="50" actId="1076"/>
        <pc:sldMkLst>
          <pc:docMk/>
          <pc:sldMk cId="3721100324" sldId="2147483230"/>
        </pc:sldMkLst>
        <pc:spChg chg="mod">
          <ac:chgData name="Hishaam Rujbaully" userId="990de6ca-03ce-45e5-b3d1-1dfa87d50b7b" providerId="ADAL" clId="{9020A9E5-8F3D-4B38-8184-4B15897E12DE}" dt="2025-11-06T10:11:48.727" v="49"/>
          <ac:spMkLst>
            <pc:docMk/>
            <pc:sldMk cId="3721100324" sldId="2147483230"/>
            <ac:spMk id="6" creationId="{FC415A52-E682-31C7-FD81-A13547EFF0D0}"/>
          </ac:spMkLst>
        </pc:spChg>
        <pc:spChg chg="mod">
          <ac:chgData name="Hishaam Rujbaully" userId="990de6ca-03ce-45e5-b3d1-1dfa87d50b7b" providerId="ADAL" clId="{9020A9E5-8F3D-4B38-8184-4B15897E12DE}" dt="2025-11-06T10:11:48.727" v="49"/>
          <ac:spMkLst>
            <pc:docMk/>
            <pc:sldMk cId="3721100324" sldId="2147483230"/>
            <ac:spMk id="9" creationId="{DF47B23D-6117-5D06-4080-709761EC909A}"/>
          </ac:spMkLst>
        </pc:spChg>
        <pc:spChg chg="mod">
          <ac:chgData name="Hishaam Rujbaully" userId="990de6ca-03ce-45e5-b3d1-1dfa87d50b7b" providerId="ADAL" clId="{9020A9E5-8F3D-4B38-8184-4B15897E12DE}" dt="2025-11-06T10:11:48.727" v="49"/>
          <ac:spMkLst>
            <pc:docMk/>
            <pc:sldMk cId="3721100324" sldId="2147483230"/>
            <ac:spMk id="13" creationId="{93EEE4CF-F6B6-9207-4C2F-C3E37E299579}"/>
          </ac:spMkLst>
        </pc:spChg>
        <pc:spChg chg="mod">
          <ac:chgData name="Hishaam Rujbaully" userId="990de6ca-03ce-45e5-b3d1-1dfa87d50b7b" providerId="ADAL" clId="{9020A9E5-8F3D-4B38-8184-4B15897E12DE}" dt="2025-11-06T10:11:48.727" v="49"/>
          <ac:spMkLst>
            <pc:docMk/>
            <pc:sldMk cId="3721100324" sldId="2147483230"/>
            <ac:spMk id="15" creationId="{E80F378D-4CC8-7456-8B7F-989ACBD71F83}"/>
          </ac:spMkLst>
        </pc:spChg>
        <pc:spChg chg="mod">
          <ac:chgData name="Hishaam Rujbaully" userId="990de6ca-03ce-45e5-b3d1-1dfa87d50b7b" providerId="ADAL" clId="{9020A9E5-8F3D-4B38-8184-4B15897E12DE}" dt="2025-11-06T10:11:48.727" v="49"/>
          <ac:spMkLst>
            <pc:docMk/>
            <pc:sldMk cId="3721100324" sldId="2147483230"/>
            <ac:spMk id="16" creationId="{2C33AF01-0A86-1B66-D1C2-0E2A62D8F8D9}"/>
          </ac:spMkLst>
        </pc:spChg>
        <pc:spChg chg="mod">
          <ac:chgData name="Hishaam Rujbaully" userId="990de6ca-03ce-45e5-b3d1-1dfa87d50b7b" providerId="ADAL" clId="{9020A9E5-8F3D-4B38-8184-4B15897E12DE}" dt="2025-11-06T10:11:48.727" v="49"/>
          <ac:spMkLst>
            <pc:docMk/>
            <pc:sldMk cId="3721100324" sldId="2147483230"/>
            <ac:spMk id="18" creationId="{9B2CE76A-18A4-1239-9453-0FCDF12FEF0D}"/>
          </ac:spMkLst>
        </pc:spChg>
        <pc:spChg chg="mod">
          <ac:chgData name="Hishaam Rujbaully" userId="990de6ca-03ce-45e5-b3d1-1dfa87d50b7b" providerId="ADAL" clId="{9020A9E5-8F3D-4B38-8184-4B15897E12DE}" dt="2025-11-06T10:11:48.727" v="49"/>
          <ac:spMkLst>
            <pc:docMk/>
            <pc:sldMk cId="3721100324" sldId="2147483230"/>
            <ac:spMk id="19" creationId="{CACEF18C-BF25-FF07-7735-A4B208B8A557}"/>
          </ac:spMkLst>
        </pc:spChg>
        <pc:spChg chg="add mod">
          <ac:chgData name="Hishaam Rujbaully" userId="990de6ca-03ce-45e5-b3d1-1dfa87d50b7b" providerId="ADAL" clId="{9020A9E5-8F3D-4B38-8184-4B15897E12DE}" dt="2025-11-06T10:11:55.255" v="50" actId="1076"/>
          <ac:spMkLst>
            <pc:docMk/>
            <pc:sldMk cId="3721100324" sldId="2147483230"/>
            <ac:spMk id="25" creationId="{D1D542E1-1175-06FC-A0BE-E037B3B6BDED}"/>
          </ac:spMkLst>
        </pc:spChg>
        <pc:spChg chg="add mod">
          <ac:chgData name="Hishaam Rujbaully" userId="990de6ca-03ce-45e5-b3d1-1dfa87d50b7b" providerId="ADAL" clId="{9020A9E5-8F3D-4B38-8184-4B15897E12DE}" dt="2025-11-06T10:11:55.255" v="50" actId="1076"/>
          <ac:spMkLst>
            <pc:docMk/>
            <pc:sldMk cId="3721100324" sldId="2147483230"/>
            <ac:spMk id="26" creationId="{889609C3-F6DC-9E54-C214-DA45FF5C0BB9}"/>
          </ac:spMkLst>
        </pc:spChg>
        <pc:spChg chg="add mod">
          <ac:chgData name="Hishaam Rujbaully" userId="990de6ca-03ce-45e5-b3d1-1dfa87d50b7b" providerId="ADAL" clId="{9020A9E5-8F3D-4B38-8184-4B15897E12DE}" dt="2025-11-06T10:11:55.255" v="50" actId="1076"/>
          <ac:spMkLst>
            <pc:docMk/>
            <pc:sldMk cId="3721100324" sldId="2147483230"/>
            <ac:spMk id="27" creationId="{7A5EF171-709B-5CAC-060C-3DDF1E0E5EEF}"/>
          </ac:spMkLst>
        </pc:spChg>
        <pc:spChg chg="mod">
          <ac:chgData name="Hishaam Rujbaully" userId="990de6ca-03ce-45e5-b3d1-1dfa87d50b7b" providerId="ADAL" clId="{9020A9E5-8F3D-4B38-8184-4B15897E12DE}" dt="2025-11-06T10:11:55.255" v="50" actId="1076"/>
          <ac:spMkLst>
            <pc:docMk/>
            <pc:sldMk cId="3721100324" sldId="2147483230"/>
            <ac:spMk id="28" creationId="{C192CC56-0589-8520-12AD-D242DCE12DBF}"/>
          </ac:spMkLst>
        </pc:spChg>
        <pc:spChg chg="mod">
          <ac:chgData name="Hishaam Rujbaully" userId="990de6ca-03ce-45e5-b3d1-1dfa87d50b7b" providerId="ADAL" clId="{9020A9E5-8F3D-4B38-8184-4B15897E12DE}" dt="2025-11-06T10:11:55.255" v="50" actId="1076"/>
          <ac:spMkLst>
            <pc:docMk/>
            <pc:sldMk cId="3721100324" sldId="2147483230"/>
            <ac:spMk id="29" creationId="{B41CA7FA-B02B-3045-56AD-28F381ABCBE1}"/>
          </ac:spMkLst>
        </pc:spChg>
        <pc:picChg chg="mod">
          <ac:chgData name="Hishaam Rujbaully" userId="990de6ca-03ce-45e5-b3d1-1dfa87d50b7b" providerId="ADAL" clId="{9020A9E5-8F3D-4B38-8184-4B15897E12DE}" dt="2025-11-06T10:11:55.255" v="50" actId="1076"/>
          <ac:picMkLst>
            <pc:docMk/>
            <pc:sldMk cId="3721100324" sldId="2147483230"/>
            <ac:picMk id="20" creationId="{95185C27-27DE-EFA0-CFD4-A38369E5D63D}"/>
          </ac:picMkLst>
        </pc:picChg>
        <pc:picChg chg="mod">
          <ac:chgData name="Hishaam Rujbaully" userId="990de6ca-03ce-45e5-b3d1-1dfa87d50b7b" providerId="ADAL" clId="{9020A9E5-8F3D-4B38-8184-4B15897E12DE}" dt="2025-11-06T10:11:55.255" v="50" actId="1076"/>
          <ac:picMkLst>
            <pc:docMk/>
            <pc:sldMk cId="3721100324" sldId="2147483230"/>
            <ac:picMk id="21" creationId="{CCA14D5F-3ED2-E74F-BFAB-83953FD5077A}"/>
          </ac:picMkLst>
        </pc:picChg>
        <pc:picChg chg="mod">
          <ac:chgData name="Hishaam Rujbaully" userId="990de6ca-03ce-45e5-b3d1-1dfa87d50b7b" providerId="ADAL" clId="{9020A9E5-8F3D-4B38-8184-4B15897E12DE}" dt="2025-11-06T10:11:55.255" v="50" actId="1076"/>
          <ac:picMkLst>
            <pc:docMk/>
            <pc:sldMk cId="3721100324" sldId="2147483230"/>
            <ac:picMk id="22" creationId="{F77DA8EC-710C-9878-8B3B-C4A486A0521A}"/>
          </ac:picMkLst>
        </pc:picChg>
        <pc:picChg chg="mod">
          <ac:chgData name="Hishaam Rujbaully" userId="990de6ca-03ce-45e5-b3d1-1dfa87d50b7b" providerId="ADAL" clId="{9020A9E5-8F3D-4B38-8184-4B15897E12DE}" dt="2025-11-06T10:11:55.255" v="50" actId="1076"/>
          <ac:picMkLst>
            <pc:docMk/>
            <pc:sldMk cId="3721100324" sldId="2147483230"/>
            <ac:picMk id="23" creationId="{D03DF680-5FB3-4F1D-24C4-A24EB8F1704F}"/>
          </ac:picMkLst>
        </pc:picChg>
        <pc:picChg chg="mod">
          <ac:chgData name="Hishaam Rujbaully" userId="990de6ca-03ce-45e5-b3d1-1dfa87d50b7b" providerId="ADAL" clId="{9020A9E5-8F3D-4B38-8184-4B15897E12DE}" dt="2025-11-06T10:11:55.255" v="50" actId="1076"/>
          <ac:picMkLst>
            <pc:docMk/>
            <pc:sldMk cId="3721100324" sldId="2147483230"/>
            <ac:picMk id="24" creationId="{36ECE7D5-586E-38B7-F61E-3F8F6E36A608}"/>
          </ac:picMkLst>
        </pc:picChg>
      </pc:sldChg>
      <pc:sldChg chg="addSp delSp new mod modClrScheme chgLayout">
        <pc:chgData name="Hishaam Rujbaully" userId="990de6ca-03ce-45e5-b3d1-1dfa87d50b7b" providerId="ADAL" clId="{9020A9E5-8F3D-4B38-8184-4B15897E12DE}" dt="2025-11-06T10:17:49.126" v="56" actId="700"/>
        <pc:sldMkLst>
          <pc:docMk/>
          <pc:sldMk cId="4020803081" sldId="2147483231"/>
        </pc:sldMkLst>
      </pc:sldChg>
      <pc:sldChg chg="modSp add mod modClrScheme chgLayout">
        <pc:chgData name="Hishaam Rujbaully" userId="990de6ca-03ce-45e5-b3d1-1dfa87d50b7b" providerId="ADAL" clId="{9020A9E5-8F3D-4B38-8184-4B15897E12DE}" dt="2025-11-10T05:47:53.930" v="77" actId="1076"/>
        <pc:sldMkLst>
          <pc:docMk/>
          <pc:sldMk cId="1162497433" sldId="2147483234"/>
        </pc:sldMkLst>
        <pc:spChg chg="mod ord">
          <ac:chgData name="Hishaam Rujbaully" userId="990de6ca-03ce-45e5-b3d1-1dfa87d50b7b" providerId="ADAL" clId="{9020A9E5-8F3D-4B38-8184-4B15897E12DE}" dt="2025-11-10T05:47:53.930" v="77" actId="1076"/>
          <ac:spMkLst>
            <pc:docMk/>
            <pc:sldMk cId="1162497433" sldId="2147483234"/>
            <ac:spMk id="8" creationId="{6F67A4AA-58AB-DD2F-0BE4-ADD821837F1A}"/>
          </ac:spMkLst>
        </pc:spChg>
      </pc:sldChg>
      <pc:sldChg chg="modSp add mod modClrScheme chgLayout">
        <pc:chgData name="Hishaam Rujbaully" userId="990de6ca-03ce-45e5-b3d1-1dfa87d50b7b" providerId="ADAL" clId="{9020A9E5-8F3D-4B38-8184-4B15897E12DE}" dt="2025-11-07T05:49:36.676" v="71" actId="700"/>
        <pc:sldMkLst>
          <pc:docMk/>
          <pc:sldMk cId="3564137229" sldId="2147483235"/>
        </pc:sldMkLst>
        <pc:spChg chg="mod ord">
          <ac:chgData name="Hishaam Rujbaully" userId="990de6ca-03ce-45e5-b3d1-1dfa87d50b7b" providerId="ADAL" clId="{9020A9E5-8F3D-4B38-8184-4B15897E12DE}" dt="2025-11-07T05:49:36.676" v="71" actId="700"/>
          <ac:spMkLst>
            <pc:docMk/>
            <pc:sldMk cId="3564137229" sldId="2147483235"/>
            <ac:spMk id="8" creationId="{D182F201-E294-FBC1-93BD-9F7544625387}"/>
          </ac:spMkLst>
        </pc:spChg>
      </pc:sldChg>
      <pc:sldChg chg="addSp delSp modSp new mod modClrScheme chgLayout">
        <pc:chgData name="Hishaam Rujbaully" userId="990de6ca-03ce-45e5-b3d1-1dfa87d50b7b" providerId="ADAL" clId="{9020A9E5-8F3D-4B38-8184-4B15897E12DE}" dt="2025-11-10T05:53:25.500" v="103"/>
        <pc:sldMkLst>
          <pc:docMk/>
          <pc:sldMk cId="2944778414" sldId="2147483236"/>
        </pc:sldMkLst>
        <pc:spChg chg="add mod">
          <ac:chgData name="Hishaam Rujbaully" userId="990de6ca-03ce-45e5-b3d1-1dfa87d50b7b" providerId="ADAL" clId="{9020A9E5-8F3D-4B38-8184-4B15897E12DE}" dt="2025-11-10T05:53:25.500" v="103"/>
          <ac:spMkLst>
            <pc:docMk/>
            <pc:sldMk cId="2944778414" sldId="2147483236"/>
            <ac:spMk id="94" creationId="{39CA985E-A05F-9265-E147-F53296134D5C}"/>
          </ac:spMkLst>
        </pc:spChg>
        <pc:spChg chg="mod">
          <ac:chgData name="Hishaam Rujbaully" userId="990de6ca-03ce-45e5-b3d1-1dfa87d50b7b" providerId="ADAL" clId="{9020A9E5-8F3D-4B38-8184-4B15897E12DE}" dt="2025-11-10T05:53:25.500" v="103"/>
          <ac:spMkLst>
            <pc:docMk/>
            <pc:sldMk cId="2944778414" sldId="2147483236"/>
            <ac:spMk id="96" creationId="{BBE9B881-2184-E4AC-A22F-1380057810A1}"/>
          </ac:spMkLst>
        </pc:spChg>
        <pc:spChg chg="mod">
          <ac:chgData name="Hishaam Rujbaully" userId="990de6ca-03ce-45e5-b3d1-1dfa87d50b7b" providerId="ADAL" clId="{9020A9E5-8F3D-4B38-8184-4B15897E12DE}" dt="2025-11-10T05:53:25.500" v="103"/>
          <ac:spMkLst>
            <pc:docMk/>
            <pc:sldMk cId="2944778414" sldId="2147483236"/>
            <ac:spMk id="99" creationId="{C2345E4B-F62E-7EC3-B5DA-D5F130B1F381}"/>
          </ac:spMkLst>
        </pc:spChg>
        <pc:spChg chg="mod">
          <ac:chgData name="Hishaam Rujbaully" userId="990de6ca-03ce-45e5-b3d1-1dfa87d50b7b" providerId="ADAL" clId="{9020A9E5-8F3D-4B38-8184-4B15897E12DE}" dt="2025-11-10T05:53:25.500" v="103"/>
          <ac:spMkLst>
            <pc:docMk/>
            <pc:sldMk cId="2944778414" sldId="2147483236"/>
            <ac:spMk id="101" creationId="{686C48D0-2802-012B-2E55-38B1A8C25F74}"/>
          </ac:spMkLst>
        </pc:spChg>
        <pc:spChg chg="mod">
          <ac:chgData name="Hishaam Rujbaully" userId="990de6ca-03ce-45e5-b3d1-1dfa87d50b7b" providerId="ADAL" clId="{9020A9E5-8F3D-4B38-8184-4B15897E12DE}" dt="2025-11-10T05:53:25.500" v="103"/>
          <ac:spMkLst>
            <pc:docMk/>
            <pc:sldMk cId="2944778414" sldId="2147483236"/>
            <ac:spMk id="109" creationId="{AF22A23A-5D01-BC4C-46FF-B51299CAA398}"/>
          </ac:spMkLst>
        </pc:spChg>
        <pc:spChg chg="mod">
          <ac:chgData name="Hishaam Rujbaully" userId="990de6ca-03ce-45e5-b3d1-1dfa87d50b7b" providerId="ADAL" clId="{9020A9E5-8F3D-4B38-8184-4B15897E12DE}" dt="2025-11-10T05:53:25.500" v="103"/>
          <ac:spMkLst>
            <pc:docMk/>
            <pc:sldMk cId="2944778414" sldId="2147483236"/>
            <ac:spMk id="117" creationId="{2025EBF2-4CE4-18DF-1B1D-D34CFD4FF9B0}"/>
          </ac:spMkLst>
        </pc:spChg>
        <pc:spChg chg="mod">
          <ac:chgData name="Hishaam Rujbaully" userId="990de6ca-03ce-45e5-b3d1-1dfa87d50b7b" providerId="ADAL" clId="{9020A9E5-8F3D-4B38-8184-4B15897E12DE}" dt="2025-11-10T05:53:25.500" v="103"/>
          <ac:spMkLst>
            <pc:docMk/>
            <pc:sldMk cId="2944778414" sldId="2147483236"/>
            <ac:spMk id="125" creationId="{630CC4B3-9898-37B5-3539-C162F554B868}"/>
          </ac:spMkLst>
        </pc:spChg>
        <pc:spChg chg="mod">
          <ac:chgData name="Hishaam Rujbaully" userId="990de6ca-03ce-45e5-b3d1-1dfa87d50b7b" providerId="ADAL" clId="{9020A9E5-8F3D-4B38-8184-4B15897E12DE}" dt="2025-11-10T05:53:25.500" v="103"/>
          <ac:spMkLst>
            <pc:docMk/>
            <pc:sldMk cId="2944778414" sldId="2147483236"/>
            <ac:spMk id="132" creationId="{12697A10-1519-F90B-1805-F3E7A34AB3FE}"/>
          </ac:spMkLst>
        </pc:spChg>
        <pc:spChg chg="mod">
          <ac:chgData name="Hishaam Rujbaully" userId="990de6ca-03ce-45e5-b3d1-1dfa87d50b7b" providerId="ADAL" clId="{9020A9E5-8F3D-4B38-8184-4B15897E12DE}" dt="2025-11-10T05:53:25.500" v="103"/>
          <ac:spMkLst>
            <pc:docMk/>
            <pc:sldMk cId="2944778414" sldId="2147483236"/>
            <ac:spMk id="133" creationId="{8806DF16-32D2-7D6A-5BF5-3832D00F97C6}"/>
          </ac:spMkLst>
        </pc:spChg>
        <pc:spChg chg="mod">
          <ac:chgData name="Hishaam Rujbaully" userId="990de6ca-03ce-45e5-b3d1-1dfa87d50b7b" providerId="ADAL" clId="{9020A9E5-8F3D-4B38-8184-4B15897E12DE}" dt="2025-11-10T05:53:25.500" v="103"/>
          <ac:spMkLst>
            <pc:docMk/>
            <pc:sldMk cId="2944778414" sldId="2147483236"/>
            <ac:spMk id="134" creationId="{D3F53A65-0EF9-3680-395A-967C75553331}"/>
          </ac:spMkLst>
        </pc:spChg>
      </pc:sldChg>
      <pc:sldChg chg="new add del mod modClrScheme chgLayout">
        <pc:chgData name="Hishaam Rujbaully" userId="990de6ca-03ce-45e5-b3d1-1dfa87d50b7b" providerId="ADAL" clId="{9020A9E5-8F3D-4B38-8184-4B15897E12DE}" dt="2025-11-10T05:52:39.132" v="94" actId="680"/>
        <pc:sldMkLst>
          <pc:docMk/>
          <pc:sldMk cId="2408708494" sldId="2147483237"/>
        </pc:sldMkLst>
      </pc:sldChg>
    </pc:docChg>
  </pc:docChgLst>
  <pc:docChgLst>
    <pc:chgData name="Shaikh Ayman" userId="27e0455d-799b-455a-bb1f-1b414d4102f7" providerId="ADAL" clId="{85DEE7C9-833B-422F-9682-2D60AAE5E75D}"/>
    <pc:docChg chg="undo custSel addSld delSld modSld">
      <pc:chgData name="Shaikh Ayman" userId="27e0455d-799b-455a-bb1f-1b414d4102f7" providerId="ADAL" clId="{85DEE7C9-833B-422F-9682-2D60AAE5E75D}" dt="2025-11-19T06:36:47.557" v="43" actId="207"/>
      <pc:docMkLst>
        <pc:docMk/>
      </pc:docMkLst>
      <pc:sldChg chg="add del setBg">
        <pc:chgData name="Shaikh Ayman" userId="27e0455d-799b-455a-bb1f-1b414d4102f7" providerId="ADAL" clId="{85DEE7C9-833B-422F-9682-2D60AAE5E75D}" dt="2025-11-06T10:02:00.897" v="7"/>
        <pc:sldMkLst>
          <pc:docMk/>
          <pc:sldMk cId="748450981" sldId="2147480251"/>
        </pc:sldMkLst>
      </pc:sldChg>
      <pc:sldChg chg="add del">
        <pc:chgData name="Shaikh Ayman" userId="27e0455d-799b-455a-bb1f-1b414d4102f7" providerId="ADAL" clId="{85DEE7C9-833B-422F-9682-2D60AAE5E75D}" dt="2025-11-06T10:12:57.328" v="23"/>
        <pc:sldMkLst>
          <pc:docMk/>
          <pc:sldMk cId="1630702200" sldId="2147482323"/>
        </pc:sldMkLst>
      </pc:sldChg>
      <pc:sldChg chg="modSp mod">
        <pc:chgData name="Shaikh Ayman" userId="27e0455d-799b-455a-bb1f-1b414d4102f7" providerId="ADAL" clId="{85DEE7C9-833B-422F-9682-2D60AAE5E75D}" dt="2025-11-19T06:36:47.557" v="43" actId="207"/>
        <pc:sldMkLst>
          <pc:docMk/>
          <pc:sldMk cId="2199330089" sldId="2147483207"/>
        </pc:sldMkLst>
        <pc:spChg chg="mod">
          <ac:chgData name="Shaikh Ayman" userId="27e0455d-799b-455a-bb1f-1b414d4102f7" providerId="ADAL" clId="{85DEE7C9-833B-422F-9682-2D60AAE5E75D}" dt="2025-11-19T06:31:38.663" v="38" actId="207"/>
          <ac:spMkLst>
            <pc:docMk/>
            <pc:sldMk cId="2199330089" sldId="2147483207"/>
            <ac:spMk id="16" creationId="{EBC6603C-0798-0A5C-B6F2-A0B8EE1F9CAD}"/>
          </ac:spMkLst>
        </pc:spChg>
        <pc:spChg chg="mod">
          <ac:chgData name="Shaikh Ayman" userId="27e0455d-799b-455a-bb1f-1b414d4102f7" providerId="ADAL" clId="{85DEE7C9-833B-422F-9682-2D60AAE5E75D}" dt="2025-11-19T06:32:17.700" v="40" actId="207"/>
          <ac:spMkLst>
            <pc:docMk/>
            <pc:sldMk cId="2199330089" sldId="2147483207"/>
            <ac:spMk id="17" creationId="{6D1839A6-3DCB-C2B5-69EC-E9FC9EC76A9F}"/>
          </ac:spMkLst>
        </pc:spChg>
        <pc:spChg chg="mod">
          <ac:chgData name="Shaikh Ayman" userId="27e0455d-799b-455a-bb1f-1b414d4102f7" providerId="ADAL" clId="{85DEE7C9-833B-422F-9682-2D60AAE5E75D}" dt="2025-11-19T06:36:47.557" v="43" actId="207"/>
          <ac:spMkLst>
            <pc:docMk/>
            <pc:sldMk cId="2199330089" sldId="2147483207"/>
            <ac:spMk id="24" creationId="{5ED77206-49E2-A2C6-FB96-CF6CC591A962}"/>
          </ac:spMkLst>
        </pc:spChg>
        <pc:spChg chg="mod">
          <ac:chgData name="Shaikh Ayman" userId="27e0455d-799b-455a-bb1f-1b414d4102f7" providerId="ADAL" clId="{85DEE7C9-833B-422F-9682-2D60AAE5E75D}" dt="2025-11-19T06:32:34.984" v="41" actId="207"/>
          <ac:spMkLst>
            <pc:docMk/>
            <pc:sldMk cId="2199330089" sldId="2147483207"/>
            <ac:spMk id="27" creationId="{01270B61-8019-113D-AB80-4C026AB8B115}"/>
          </ac:spMkLst>
        </pc:spChg>
        <pc:spChg chg="mod">
          <ac:chgData name="Shaikh Ayman" userId="27e0455d-799b-455a-bb1f-1b414d4102f7" providerId="ADAL" clId="{85DEE7C9-833B-422F-9682-2D60AAE5E75D}" dt="2025-11-19T06:36:29.397" v="42" actId="207"/>
          <ac:spMkLst>
            <pc:docMk/>
            <pc:sldMk cId="2199330089" sldId="2147483207"/>
            <ac:spMk id="28" creationId="{F842729A-8795-7DBE-4BA6-33BF13310075}"/>
          </ac:spMkLst>
        </pc:spChg>
      </pc:sldChg>
      <pc:sldChg chg="addSp delSp add mod">
        <pc:chgData name="Shaikh Ayman" userId="27e0455d-799b-455a-bb1f-1b414d4102f7" providerId="ADAL" clId="{85DEE7C9-833B-422F-9682-2D60AAE5E75D}" dt="2025-11-06T10:01:04.516" v="4" actId="478"/>
        <pc:sldMkLst>
          <pc:docMk/>
          <pc:sldMk cId="1324193964" sldId="2147483228"/>
        </pc:sldMkLst>
      </pc:sldChg>
      <pc:sldChg chg="addSp modSp new mod">
        <pc:chgData name="Shaikh Ayman" userId="27e0455d-799b-455a-bb1f-1b414d4102f7" providerId="ADAL" clId="{85DEE7C9-833B-422F-9682-2D60AAE5E75D}" dt="2025-11-06T10:11:18.363" v="18" actId="1076"/>
        <pc:sldMkLst>
          <pc:docMk/>
          <pc:sldMk cId="711416038" sldId="2147483229"/>
        </pc:sldMkLst>
        <pc:spChg chg="add mod">
          <ac:chgData name="Shaikh Ayman" userId="27e0455d-799b-455a-bb1f-1b414d4102f7" providerId="ADAL" clId="{85DEE7C9-833B-422F-9682-2D60AAE5E75D}" dt="2025-11-06T10:11:06.599" v="16"/>
          <ac:spMkLst>
            <pc:docMk/>
            <pc:sldMk cId="711416038" sldId="2147483229"/>
            <ac:spMk id="296" creationId="{97C3D7FD-FFBC-50ED-4018-5BEBECB7FD91}"/>
          </ac:spMkLst>
        </pc:spChg>
        <pc:spChg chg="mod">
          <ac:chgData name="Shaikh Ayman" userId="27e0455d-799b-455a-bb1f-1b414d4102f7" providerId="ADAL" clId="{85DEE7C9-833B-422F-9682-2D60AAE5E75D}" dt="2025-11-06T10:11:18.363" v="18" actId="1076"/>
          <ac:spMkLst>
            <pc:docMk/>
            <pc:sldMk cId="711416038" sldId="2147483229"/>
            <ac:spMk id="297" creationId="{AAE7DEB9-C2B6-F213-0013-8BABFAA176CA}"/>
          </ac:spMkLst>
        </pc:spChg>
        <pc:spChg chg="mod">
          <ac:chgData name="Shaikh Ayman" userId="27e0455d-799b-455a-bb1f-1b414d4102f7" providerId="ADAL" clId="{85DEE7C9-833B-422F-9682-2D60AAE5E75D}" dt="2025-11-06T10:11:18.363" v="18" actId="1076"/>
          <ac:spMkLst>
            <pc:docMk/>
            <pc:sldMk cId="711416038" sldId="2147483229"/>
            <ac:spMk id="301" creationId="{13D98D11-C36F-2505-E183-008972E1DCFF}"/>
          </ac:spMkLst>
        </pc:spChg>
        <pc:spChg chg="add mod">
          <ac:chgData name="Shaikh Ayman" userId="27e0455d-799b-455a-bb1f-1b414d4102f7" providerId="ADAL" clId="{85DEE7C9-833B-422F-9682-2D60AAE5E75D}" dt="2025-11-06T10:11:18.363" v="18" actId="1076"/>
          <ac:spMkLst>
            <pc:docMk/>
            <pc:sldMk cId="711416038" sldId="2147483229"/>
            <ac:spMk id="302" creationId="{20DD8757-C6F9-E4AB-AC45-C724C5B6605D}"/>
          </ac:spMkLst>
        </pc:spChg>
        <pc:spChg chg="add mod">
          <ac:chgData name="Shaikh Ayman" userId="27e0455d-799b-455a-bb1f-1b414d4102f7" providerId="ADAL" clId="{85DEE7C9-833B-422F-9682-2D60AAE5E75D}" dt="2025-11-06T10:11:18.363" v="18" actId="1076"/>
          <ac:spMkLst>
            <pc:docMk/>
            <pc:sldMk cId="711416038" sldId="2147483229"/>
            <ac:spMk id="305" creationId="{3D80A76B-65A2-64E5-9115-D9DD82A68F81}"/>
          </ac:spMkLst>
        </pc:spChg>
        <pc:spChg chg="mod">
          <ac:chgData name="Shaikh Ayman" userId="27e0455d-799b-455a-bb1f-1b414d4102f7" providerId="ADAL" clId="{85DEE7C9-833B-422F-9682-2D60AAE5E75D}" dt="2025-11-06T10:11:18.363" v="18" actId="1076"/>
          <ac:spMkLst>
            <pc:docMk/>
            <pc:sldMk cId="711416038" sldId="2147483229"/>
            <ac:spMk id="306" creationId="{E486DC2B-FBA7-BF4F-D4AB-D3ED3B76610D}"/>
          </ac:spMkLst>
        </pc:spChg>
        <pc:spChg chg="mod">
          <ac:chgData name="Shaikh Ayman" userId="27e0455d-799b-455a-bb1f-1b414d4102f7" providerId="ADAL" clId="{85DEE7C9-833B-422F-9682-2D60AAE5E75D}" dt="2025-11-06T10:11:18.363" v="18" actId="1076"/>
          <ac:spMkLst>
            <pc:docMk/>
            <pc:sldMk cId="711416038" sldId="2147483229"/>
            <ac:spMk id="307" creationId="{E2AF6EC6-1013-C673-F401-1F3F257320A6}"/>
          </ac:spMkLst>
        </pc:spChg>
        <pc:spChg chg="mod">
          <ac:chgData name="Shaikh Ayman" userId="27e0455d-799b-455a-bb1f-1b414d4102f7" providerId="ADAL" clId="{85DEE7C9-833B-422F-9682-2D60AAE5E75D}" dt="2025-11-06T10:11:18.363" v="18" actId="1076"/>
          <ac:spMkLst>
            <pc:docMk/>
            <pc:sldMk cId="711416038" sldId="2147483229"/>
            <ac:spMk id="308" creationId="{6744C3E9-69C4-6644-3E29-8FCB7BF44062}"/>
          </ac:spMkLst>
        </pc:spChg>
        <pc:spChg chg="mod">
          <ac:chgData name="Shaikh Ayman" userId="27e0455d-799b-455a-bb1f-1b414d4102f7" providerId="ADAL" clId="{85DEE7C9-833B-422F-9682-2D60AAE5E75D}" dt="2025-11-06T10:11:18.363" v="18" actId="1076"/>
          <ac:spMkLst>
            <pc:docMk/>
            <pc:sldMk cId="711416038" sldId="2147483229"/>
            <ac:spMk id="309" creationId="{8AC343CC-7EE7-6F1F-0F7D-38F31BC0B189}"/>
          </ac:spMkLst>
        </pc:spChg>
        <pc:spChg chg="mod">
          <ac:chgData name="Shaikh Ayman" userId="27e0455d-799b-455a-bb1f-1b414d4102f7" providerId="ADAL" clId="{85DEE7C9-833B-422F-9682-2D60AAE5E75D}" dt="2025-11-06T10:11:18.363" v="18" actId="1076"/>
          <ac:spMkLst>
            <pc:docMk/>
            <pc:sldMk cId="711416038" sldId="2147483229"/>
            <ac:spMk id="312" creationId="{A0F43FBE-893B-9ACC-6924-EB9E9C93FEAF}"/>
          </ac:spMkLst>
        </pc:spChg>
        <pc:spChg chg="mod">
          <ac:chgData name="Shaikh Ayman" userId="27e0455d-799b-455a-bb1f-1b414d4102f7" providerId="ADAL" clId="{85DEE7C9-833B-422F-9682-2D60AAE5E75D}" dt="2025-11-06T10:11:18.363" v="18" actId="1076"/>
          <ac:spMkLst>
            <pc:docMk/>
            <pc:sldMk cId="711416038" sldId="2147483229"/>
            <ac:spMk id="314" creationId="{34ED74FC-33AD-BBD2-55A3-253C62683764}"/>
          </ac:spMkLst>
        </pc:spChg>
        <pc:spChg chg="mod">
          <ac:chgData name="Shaikh Ayman" userId="27e0455d-799b-455a-bb1f-1b414d4102f7" providerId="ADAL" clId="{85DEE7C9-833B-422F-9682-2D60AAE5E75D}" dt="2025-11-06T10:11:06.599" v="16"/>
          <ac:spMkLst>
            <pc:docMk/>
            <pc:sldMk cId="711416038" sldId="2147483229"/>
            <ac:spMk id="321" creationId="{DC90A91C-DD6D-9C7F-6418-BE8A3CF9027D}"/>
          </ac:spMkLst>
        </pc:spChg>
        <pc:spChg chg="mod">
          <ac:chgData name="Shaikh Ayman" userId="27e0455d-799b-455a-bb1f-1b414d4102f7" providerId="ADAL" clId="{85DEE7C9-833B-422F-9682-2D60AAE5E75D}" dt="2025-11-06T10:11:06.599" v="16"/>
          <ac:spMkLst>
            <pc:docMk/>
            <pc:sldMk cId="711416038" sldId="2147483229"/>
            <ac:spMk id="328" creationId="{25376B31-393C-4CC3-1F53-F8B0255B2094}"/>
          </ac:spMkLst>
        </pc:spChg>
        <pc:spChg chg="mod">
          <ac:chgData name="Shaikh Ayman" userId="27e0455d-799b-455a-bb1f-1b414d4102f7" providerId="ADAL" clId="{85DEE7C9-833B-422F-9682-2D60AAE5E75D}" dt="2025-11-06T10:11:06.599" v="16"/>
          <ac:spMkLst>
            <pc:docMk/>
            <pc:sldMk cId="711416038" sldId="2147483229"/>
            <ac:spMk id="341" creationId="{B8B6B105-75B2-0710-5957-FDD14147374F}"/>
          </ac:spMkLst>
        </pc:spChg>
        <pc:spChg chg="mod">
          <ac:chgData name="Shaikh Ayman" userId="27e0455d-799b-455a-bb1f-1b414d4102f7" providerId="ADAL" clId="{85DEE7C9-833B-422F-9682-2D60AAE5E75D}" dt="2025-11-06T10:11:06.599" v="16"/>
          <ac:spMkLst>
            <pc:docMk/>
            <pc:sldMk cId="711416038" sldId="2147483229"/>
            <ac:spMk id="357" creationId="{0BFE3B76-1655-1413-4EE4-9A4D59F6D0D2}"/>
          </ac:spMkLst>
        </pc:spChg>
        <pc:spChg chg="mod">
          <ac:chgData name="Shaikh Ayman" userId="27e0455d-799b-455a-bb1f-1b414d4102f7" providerId="ADAL" clId="{85DEE7C9-833B-422F-9682-2D60AAE5E75D}" dt="2025-11-06T10:11:06.599" v="16"/>
          <ac:spMkLst>
            <pc:docMk/>
            <pc:sldMk cId="711416038" sldId="2147483229"/>
            <ac:spMk id="363" creationId="{8AAAA1EB-2BC5-5135-C23C-B2A7749BF220}"/>
          </ac:spMkLst>
        </pc:spChg>
        <pc:spChg chg="mod">
          <ac:chgData name="Shaikh Ayman" userId="27e0455d-799b-455a-bb1f-1b414d4102f7" providerId="ADAL" clId="{85DEE7C9-833B-422F-9682-2D60AAE5E75D}" dt="2025-11-06T10:11:06.599" v="16"/>
          <ac:spMkLst>
            <pc:docMk/>
            <pc:sldMk cId="711416038" sldId="2147483229"/>
            <ac:spMk id="365" creationId="{9748BF4A-9ABD-068D-9393-6D3575BD1E8C}"/>
          </ac:spMkLst>
        </pc:spChg>
        <pc:spChg chg="mod">
          <ac:chgData name="Shaikh Ayman" userId="27e0455d-799b-455a-bb1f-1b414d4102f7" providerId="ADAL" clId="{85DEE7C9-833B-422F-9682-2D60AAE5E75D}" dt="2025-11-06T10:11:06.599" v="16"/>
          <ac:spMkLst>
            <pc:docMk/>
            <pc:sldMk cId="711416038" sldId="2147483229"/>
            <ac:spMk id="370" creationId="{E47109A5-7393-DB81-0549-FB2BEDBC768C}"/>
          </ac:spMkLst>
        </pc:spChg>
      </pc:sldChg>
      <pc:sldChg chg="add">
        <pc:chgData name="Shaikh Ayman" userId="27e0455d-799b-455a-bb1f-1b414d4102f7" providerId="ADAL" clId="{85DEE7C9-833B-422F-9682-2D60AAE5E75D}" dt="2025-11-06T10:43:14.249" v="25"/>
        <pc:sldMkLst>
          <pc:docMk/>
          <pc:sldMk cId="3621699216" sldId="2147483231"/>
        </pc:sldMkLst>
      </pc:sldChg>
      <pc:sldChg chg="del">
        <pc:chgData name="Shaikh Ayman" userId="27e0455d-799b-455a-bb1f-1b414d4102f7" providerId="ADAL" clId="{85DEE7C9-833B-422F-9682-2D60AAE5E75D}" dt="2025-11-06T10:22:39.208" v="24" actId="47"/>
        <pc:sldMkLst>
          <pc:docMk/>
          <pc:sldMk cId="4020803081" sldId="2147483231"/>
        </pc:sldMkLst>
      </pc:sldChg>
      <pc:sldChg chg="add">
        <pc:chgData name="Shaikh Ayman" userId="27e0455d-799b-455a-bb1f-1b414d4102f7" providerId="ADAL" clId="{85DEE7C9-833B-422F-9682-2D60AAE5E75D}" dt="2025-11-06T10:44:16.317" v="26"/>
        <pc:sldMkLst>
          <pc:docMk/>
          <pc:sldMk cId="3749178059" sldId="2147483232"/>
        </pc:sldMkLst>
      </pc:sldChg>
      <pc:sldChg chg="addSp delSp modSp add mod">
        <pc:chgData name="Shaikh Ayman" userId="27e0455d-799b-455a-bb1f-1b414d4102f7" providerId="ADAL" clId="{85DEE7C9-833B-422F-9682-2D60AAE5E75D}" dt="2025-11-06T10:49:33.832" v="36" actId="478"/>
        <pc:sldMkLst>
          <pc:docMk/>
          <pc:sldMk cId="1987697873" sldId="2147483233"/>
        </pc:sldMkLst>
        <pc:picChg chg="add mod modCrop">
          <ac:chgData name="Shaikh Ayman" userId="27e0455d-799b-455a-bb1f-1b414d4102f7" providerId="ADAL" clId="{85DEE7C9-833B-422F-9682-2D60AAE5E75D}" dt="2025-11-06T10:49:13.332" v="32" actId="732"/>
          <ac:picMkLst>
            <pc:docMk/>
            <pc:sldMk cId="1987697873" sldId="2147483233"/>
            <ac:picMk id="2" creationId="{B70FB2CF-D638-C68F-CBDC-DF7E47326D8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94E63E-7ABF-45BA-917A-2FC00175C957}" type="datetimeFigureOut">
              <a:rPr lang="en-GB" smtClean="0"/>
              <a:t>19/1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E44953-7302-4E98-91A5-8B40B053A1B2}" type="slidenum">
              <a:rPr lang="en-GB" smtClean="0"/>
              <a:t>‹#›</a:t>
            </a:fld>
            <a:endParaRPr lang="en-GB"/>
          </a:p>
        </p:txBody>
      </p:sp>
    </p:spTree>
    <p:extLst>
      <p:ext uri="{BB962C8B-B14F-4D97-AF65-F5344CB8AC3E}">
        <p14:creationId xmlns:p14="http://schemas.microsoft.com/office/powerpoint/2010/main" val="1579728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0D8996-344D-A6B6-6659-08054CA11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1BCE8-5277-2884-E73D-C7C5E467F1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DDD940-F52D-C855-7DFC-8BF8F1DD6508}"/>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EFDF0B7-69D7-F687-2537-278D0B076404}"/>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0741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9AE96-2DD0-C719-98C3-CBF5F32EEE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B3095C-A2B2-B7D6-BAE9-EDC91379E5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4C8C3C-3F6E-828F-5EB3-573B632378F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DF695DD-656C-DF17-3A72-3C648909965E}"/>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5371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C43A2-A1A0-5BC7-2F88-0BD066D3E9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B86F34-5ADE-5AFE-F86E-8247CFE10C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E145A8-6FAE-7514-2234-2031A69F80C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DF82A80-2428-BED6-7A4E-278DFFF70214}"/>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342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4B380-E56C-BB47-6528-8DE820E384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4039D1-3807-FC85-9307-0410C7E1B4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04C1F2-37F4-33E5-6048-3782299417E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97105CDC-EB7B-19D0-A84B-5383DA1F909F}"/>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9086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64F19-07E1-980F-D37A-ADF7722A24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FAEC20-88F7-7E89-1EA0-F8FFC30058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60AE83-92AF-5127-7CA9-5F1DFADD2D8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CD6FE529-3267-93D3-7D38-EF21AAB22891}"/>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9718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F53A4-924E-0BD3-5E47-FA17E6549D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231D87-AF70-4F9B-BADC-3037076B2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8FABD2-31EA-695F-EAFF-7ED1E58F0FE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6100B52-BCA3-62AE-727B-0F617F2344DF}"/>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9243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5FA26-A405-3A74-0187-0064A64ADF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8F4049-40F7-EC10-49FF-590F5FFCC3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49740D-D287-4C38-B389-76E2631D9AF4}"/>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DFBEE47-0575-6523-E206-8B558270CA3D}"/>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8376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5FE59-CB30-4611-358C-C92B89ED29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C7D79F-880B-0C7D-B9B4-F31E5E83F0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CD3E65-C850-08DE-554F-E58451AFA15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FC2CF8E-88EE-4B64-A51E-CBD157D13109}"/>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899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8F2EC4-339B-CC31-0456-6F0E3FDBC4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A6411B-56F4-7F20-BBC1-E6CF1BE47C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A738D4-2DBC-2DD6-F7CE-E172FE8420A2}"/>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9226A4B6-53D2-0F95-B12B-36FCCE593A0A}"/>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5864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5B433-4B7C-AD1D-9B7F-FA0CE8D66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D2FE29-140F-25F3-93FD-780E84B542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F06026-6002-6F4C-9568-E380F2C22FD9}"/>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1B5A1D4-1567-4AF1-B79A-F4F9B6E87690}"/>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6196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13E2A-A66D-5B95-5E79-5CF47E4F18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40676-175E-92C7-0429-0226D370B1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513C7C-B82F-A9BB-A880-F593C13D03B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9070F5B-5DC4-9929-8D93-C9AB30A5F4DF}"/>
              </a:ext>
            </a:extLst>
          </p:cNvPr>
          <p:cNvSpPr>
            <a:spLocks noGrp="1"/>
          </p:cNvSpPr>
          <p:nvPr>
            <p:ph type="sldNum" sz="quarter" idx="5"/>
          </p:nvPr>
        </p:nvSpPr>
        <p:spPr/>
        <p:txBody>
          <a:bodyPr/>
          <a:lstStyle/>
          <a:p>
            <a:fld id="{2F60AD04-8331-414C-8F69-DEF6F5BE94AA}" type="slidenum">
              <a:rPr lang="en-GB" smtClean="0"/>
              <a:t>19</a:t>
            </a:fld>
            <a:endParaRPr lang="en-GB"/>
          </a:p>
        </p:txBody>
      </p:sp>
    </p:spTree>
    <p:extLst>
      <p:ext uri="{BB962C8B-B14F-4D97-AF65-F5344CB8AC3E}">
        <p14:creationId xmlns:p14="http://schemas.microsoft.com/office/powerpoint/2010/main" val="3303571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E117D-CE24-DAEB-912C-58BEED8395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16932E-B64C-3F8A-F017-F7D9E92920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527111-35C8-393E-CD97-8B44CF57563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0C90F8A-BAB5-91BC-3094-C32FF280D5E9}"/>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8244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07055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F46CC-25D2-955B-71A1-51D5766E2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98FA28-C110-51D1-E393-CBB82193D7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A92112-A511-0915-2993-11E2D4DE82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35D999-265A-6583-AC78-5A47CFC09343}"/>
              </a:ext>
            </a:extLst>
          </p:cNvPr>
          <p:cNvSpPr>
            <a:spLocks noGrp="1"/>
          </p:cNvSpPr>
          <p:nvPr>
            <p:ph type="sldNum" sz="quarter" idx="10"/>
          </p:nvPr>
        </p:nvSpPr>
        <p:spPr/>
        <p:txBody>
          <a:bodyPr/>
          <a:lstStyle/>
          <a:p>
            <a:fld id="{B68D2766-C49B-4C1A-9FEE-6F146754B02B}" type="slidenum">
              <a:rPr lang="en-US" smtClean="0"/>
              <a:t>24</a:t>
            </a:fld>
            <a:endParaRPr lang="en-US"/>
          </a:p>
        </p:txBody>
      </p:sp>
    </p:spTree>
    <p:extLst>
      <p:ext uri="{BB962C8B-B14F-4D97-AF65-F5344CB8AC3E}">
        <p14:creationId xmlns:p14="http://schemas.microsoft.com/office/powerpoint/2010/main" val="12576040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462230-D269-8C4B-803B-EE65C90A8C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62771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398CD-649F-E249-5486-EEBB86C821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EFF0D-0509-66BF-921B-77CF988E8E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B96226-E2F6-A5A2-AF7A-7A956E6247A8}"/>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935042B2-0F51-19BC-A08D-B98222ABFD6F}"/>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1115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FC9C8A-513F-4B08-9B2A-5A9EBDFB8B11}" type="slidenum">
              <a:rPr lang="en-GB" smtClean="0"/>
              <a:t>31</a:t>
            </a:fld>
            <a:endParaRPr lang="en-GB"/>
          </a:p>
        </p:txBody>
      </p:sp>
    </p:spTree>
    <p:extLst>
      <p:ext uri="{BB962C8B-B14F-4D97-AF65-F5344CB8AC3E}">
        <p14:creationId xmlns:p14="http://schemas.microsoft.com/office/powerpoint/2010/main" val="41968903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B78AB2-225E-5BDA-17D5-2CE7563011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F6FB60-0958-8F8B-575C-0C075D964B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A80A5A-2CFA-4872-4ADF-F489EE156FD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7846B41-B0BC-17D3-11A9-9874D1A62A4F}"/>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07331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5D8D6-92F5-1AF1-7067-FE479C934A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DE9B35-5708-569D-5D0D-1C6D24B54B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DF3DB-B59F-0838-6314-502F465F806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B72F16B-0798-F3CF-27EC-75243021CEBC}"/>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43424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pyright </a:t>
            </a:r>
            <a:r>
              <a:rPr lang="en-US" b="1" dirty="0"/>
              <a:t>PresentationGO.com</a:t>
            </a:r>
            <a:r>
              <a:rPr lang="en-US" dirty="0"/>
              <a:t> – The free PowerPoint and Google Slides template library</a:t>
            </a:r>
          </a:p>
        </p:txBody>
      </p:sp>
      <p:sp>
        <p:nvSpPr>
          <p:cNvPr id="4" name="Slide Number Placeholder 3"/>
          <p:cNvSpPr>
            <a:spLocks noGrp="1"/>
          </p:cNvSpPr>
          <p:nvPr>
            <p:ph type="sldNum" sz="quarter" idx="10"/>
          </p:nvPr>
        </p:nvSpPr>
        <p:spPr/>
        <p:txBody>
          <a:bodyPr/>
          <a:lstStyle/>
          <a:p>
            <a:fld id="{B68D2766-C49B-4C1A-9FEE-6F146754B02B}" type="slidenum">
              <a:rPr lang="en-US" smtClean="0"/>
              <a:t>34</a:t>
            </a:fld>
            <a:endParaRPr lang="en-US"/>
          </a:p>
        </p:txBody>
      </p:sp>
    </p:spTree>
    <p:extLst>
      <p:ext uri="{BB962C8B-B14F-4D97-AF65-F5344CB8AC3E}">
        <p14:creationId xmlns:p14="http://schemas.microsoft.com/office/powerpoint/2010/main" val="27852453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pyright </a:t>
            </a:r>
            <a:r>
              <a:rPr lang="en-US" b="1" dirty="0"/>
              <a:t>PresentationGO.com</a:t>
            </a:r>
            <a:r>
              <a:rPr lang="en-US" dirty="0"/>
              <a:t> – The free PowerPoint and Google Slides template libra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8D2766-C49B-4C1A-9FEE-6F146754B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687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76D2A-0067-3DF0-B150-87A2382D04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FB9DEE-0FD0-B876-5E9A-2F1134469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16552B-A590-1F1C-BD7C-72958AED5E2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CE588108-19C9-5310-2E9B-1E99C80E31DE}"/>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419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457CE9-8A0E-3477-EA8F-910F62D008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C85C9B-74AC-B571-AA78-7D33C2455B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5F0069-7AA6-9992-8A4E-DBDC64613859}"/>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5AE6B2A-7CA5-0452-7A4B-7B9BC673AC5C}"/>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515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4D63B-B35D-0048-413B-C6A9C1D91F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0A61F-F34C-7B39-3C9C-34DB563EB7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401FDE-3AD0-9C5C-0FD8-DC63BAD42409}"/>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D69AB53C-EBC0-BB44-0ABE-F5C0973256F3}"/>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8011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E055D2-C636-30B3-A02C-947FD5D007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F23E4-070C-4677-B886-F42B6EF62C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732C68-EF13-6EDB-8959-AC21BED296A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D4B2BE6-1F01-B0B6-A779-DB5FD577C5B0}"/>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4658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94990B-CFC0-7AAF-113D-EE7FC80612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F7A1D4-2EAE-C1C5-DEFF-BD0E1C5BCF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EF192C-A536-60A5-46AA-62E0013A73F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EC378ADE-CE4A-B30B-D69E-9FE68A51EB22}"/>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709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384ED-8340-AFD1-5A47-2846E9210A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30C068-AD90-9D7E-5AC6-8751F6C7BE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932AA4-9652-D23C-21C1-0F27CE6A048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2785BBD-0BF4-9ED6-6AC8-C1376EC0714C}"/>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329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6F9DA-16EE-2E71-23DE-FC0632264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AA5DF2-5B91-F2CB-6C85-1CDDA8765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35EF31-D348-28CC-B583-201419C228EF}"/>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541003EE-E7ED-6FBF-3DC0-A30ED23442C1}"/>
              </a:ext>
            </a:extLst>
          </p:cNvPr>
          <p:cNvSpPr>
            <a:spLocks noGrp="1"/>
          </p:cNvSpPr>
          <p:nvPr>
            <p:ph type="sldNum" sz="quarter" idx="5"/>
          </p:nvPr>
        </p:nvSpPr>
        <p:spPr/>
        <p:txBody>
          <a:bodyPr/>
          <a:lstStyle/>
          <a:p>
            <a:pPr marL="0" marR="0" lvl="0" indent="0" algn="r" defTabSz="914357"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7"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560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2.xml"/><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2.xml"/></Relationships>
</file>

<file path=ppt/slideLayouts/_rels/slideLayout3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2.xml"/><Relationship Id="rId1" Type="http://schemas.openxmlformats.org/officeDocument/2006/relationships/slideMaster" Target="../slideMasters/slideMaster3.xml"/><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2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1.xml"/></Relationships>
</file>

<file path=ppt/slideLayouts/_rels/slideLayout48.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1.xml"/></Relationships>
</file>

<file path=ppt/slideLayouts/_rels/slideLayout49.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slide" Target="../slides/slide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61E9B-61F3-410A-A62A-DC25C152E3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BC99B41-89A6-4836-5A36-EB6B344005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EDD8E01-805A-DE8A-712A-2A7E6E9E2B51}"/>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0F1F4315-044C-EEB2-145B-6DF1EA7F5E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DA05E5-BBDC-F5AA-F171-6CA6D133C46D}"/>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3222752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78DD0-5B2C-6F9A-BFCB-3D348100F38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CA9FFC7-8B31-44AF-BA2A-B3A4DA3D7B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7D2BA4-5AA6-F6A6-091C-69CBC952576B}"/>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53EF1C77-5A31-19A8-5E18-101DDA5BAF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362B6F-C10D-AB13-A9CE-851D71293984}"/>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3083180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E6EF741-53A9-2862-C947-440FB3B2648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992D09A-35EB-C5A4-3D36-AFB8C3B163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2E4085-2D91-C4DD-7944-FDBF1C546A09}"/>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D35938EF-5F89-DC1A-43BE-7680F2BA8CB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1784E8-AF8B-B860-C7B6-1233C8EAAB6A}"/>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1931651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Content Placeholder 5"/>
          <p:cNvSpPr>
            <a:spLocks noGrp="1"/>
          </p:cNvSpPr>
          <p:nvPr>
            <p:ph sz="quarter" idx="10"/>
          </p:nvPr>
        </p:nvSpPr>
        <p:spPr>
          <a:xfrm>
            <a:off x="701366"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5" name="Content Placeholder 5"/>
          <p:cNvSpPr>
            <a:spLocks noGrp="1"/>
          </p:cNvSpPr>
          <p:nvPr>
            <p:ph sz="quarter" idx="11"/>
          </p:nvPr>
        </p:nvSpPr>
        <p:spPr>
          <a:xfrm>
            <a:off x="6162693"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3254F9F3-5285-097F-8DDC-A831A6118B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140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9159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7" name="Content Placeholder 5"/>
          <p:cNvSpPr>
            <a:spLocks noGrp="1"/>
          </p:cNvSpPr>
          <p:nvPr>
            <p:ph sz="quarter" idx="10"/>
          </p:nvPr>
        </p:nvSpPr>
        <p:spPr>
          <a:xfrm>
            <a:off x="701366"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5" name="Content Placeholder 5"/>
          <p:cNvSpPr>
            <a:spLocks noGrp="1"/>
          </p:cNvSpPr>
          <p:nvPr>
            <p:ph sz="quarter" idx="11"/>
          </p:nvPr>
        </p:nvSpPr>
        <p:spPr>
          <a:xfrm>
            <a:off x="6162693"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3254F9F3-5285-097F-8DDC-A831A6118B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6795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7" name="Content Placeholder 5"/>
          <p:cNvSpPr>
            <a:spLocks noGrp="1"/>
          </p:cNvSpPr>
          <p:nvPr>
            <p:ph sz="quarter" idx="10"/>
          </p:nvPr>
        </p:nvSpPr>
        <p:spPr>
          <a:xfrm>
            <a:off x="701366"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5" name="Content Placeholder 5"/>
          <p:cNvSpPr>
            <a:spLocks noGrp="1"/>
          </p:cNvSpPr>
          <p:nvPr>
            <p:ph sz="quarter" idx="11"/>
          </p:nvPr>
        </p:nvSpPr>
        <p:spPr>
          <a:xfrm>
            <a:off x="6162693"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3254F9F3-5285-097F-8DDC-A831A6118B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7170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3" name="Picture 2" descr="People walking in a city&#10;&#10;AI-generated content may be incorrect.">
            <a:extLst>
              <a:ext uri="{FF2B5EF4-FFF2-40B4-BE49-F238E27FC236}">
                <a16:creationId xmlns:a16="http://schemas.microsoft.com/office/drawing/2014/main" id="{2F7BC25D-E3E3-8B59-D8C9-113338FFD372}"/>
              </a:ext>
            </a:extLst>
          </p:cNvPr>
          <p:cNvPicPr>
            <a:picLocks noChangeAspect="1"/>
          </p:cNvPicPr>
          <p:nvPr userDrawn="1"/>
        </p:nvPicPr>
        <p:blipFill>
          <a:blip r:embed="rId2">
            <a:extLst>
              <a:ext uri="{28A0092B-C50C-407E-A947-70E740481C1C}">
                <a14:useLocalDpi xmlns:a14="http://schemas.microsoft.com/office/drawing/2010/main" val="0"/>
              </a:ext>
            </a:extLst>
          </a:blip>
          <a:srcRect t="59500" b="25903"/>
          <a:stretch>
            <a:fillRect/>
          </a:stretch>
        </p:blipFill>
        <p:spPr>
          <a:xfrm>
            <a:off x="642" y="-2185"/>
            <a:ext cx="12193200" cy="999265"/>
          </a:xfrm>
          <a:prstGeom prst="rect">
            <a:avLst/>
          </a:prstGeom>
        </p:spPr>
      </p:pic>
      <p:sp>
        <p:nvSpPr>
          <p:cNvPr id="57" name="Rectangle 56">
            <a:extLst>
              <a:ext uri="{FF2B5EF4-FFF2-40B4-BE49-F238E27FC236}">
                <a16:creationId xmlns:a16="http://schemas.microsoft.com/office/drawing/2014/main" id="{51AEDA23-D251-CEBF-E423-319E8FE68E64}"/>
              </a:ext>
            </a:extLst>
          </p:cNvPr>
          <p:cNvSpPr/>
          <p:nvPr userDrawn="1"/>
        </p:nvSpPr>
        <p:spPr>
          <a:xfrm>
            <a:off x="-14569" y="-2185"/>
            <a:ext cx="12192000" cy="1001027"/>
          </a:xfrm>
          <a:prstGeom prst="rect">
            <a:avLst/>
          </a:prstGeom>
          <a:solidFill>
            <a:srgbClr val="00000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 name="Group 16">
            <a:extLst>
              <a:ext uri="{FF2B5EF4-FFF2-40B4-BE49-F238E27FC236}">
                <a16:creationId xmlns:a16="http://schemas.microsoft.com/office/drawing/2014/main" id="{655A85FB-9382-8474-254F-14C863C59849}"/>
              </a:ext>
            </a:extLst>
          </p:cNvPr>
          <p:cNvGrpSpPr/>
          <p:nvPr userDrawn="1"/>
        </p:nvGrpSpPr>
        <p:grpSpPr>
          <a:xfrm>
            <a:off x="11427029" y="60986"/>
            <a:ext cx="369578" cy="78035"/>
            <a:chOff x="10953783" y="92304"/>
            <a:chExt cx="581593" cy="154058"/>
          </a:xfrm>
        </p:grpSpPr>
        <p:cxnSp>
          <p:nvCxnSpPr>
            <p:cNvPr id="18" name="Straight Connector 17">
              <a:extLst>
                <a:ext uri="{FF2B5EF4-FFF2-40B4-BE49-F238E27FC236}">
                  <a16:creationId xmlns:a16="http://schemas.microsoft.com/office/drawing/2014/main" id="{19CAB15F-D2C8-4BBC-DEF4-090320F4E9D3}"/>
                </a:ext>
              </a:extLst>
            </p:cNvPr>
            <p:cNvCxnSpPr>
              <a:cxnSpLocks/>
            </p:cNvCxnSpPr>
            <p:nvPr userDrawn="1"/>
          </p:nvCxnSpPr>
          <p:spPr>
            <a:xfrm flipH="1">
              <a:off x="1095378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B0B25ED-3F3E-AA9A-B9F1-AB6C7348A5EE}"/>
                </a:ext>
              </a:extLst>
            </p:cNvPr>
            <p:cNvCxnSpPr>
              <a:cxnSpLocks/>
            </p:cNvCxnSpPr>
            <p:nvPr userDrawn="1"/>
          </p:nvCxnSpPr>
          <p:spPr>
            <a:xfrm flipH="1">
              <a:off x="1104014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1B4722-F602-E7F4-9D5E-F384C03EC5F9}"/>
                </a:ext>
              </a:extLst>
            </p:cNvPr>
            <p:cNvCxnSpPr>
              <a:cxnSpLocks/>
            </p:cNvCxnSpPr>
            <p:nvPr userDrawn="1"/>
          </p:nvCxnSpPr>
          <p:spPr>
            <a:xfrm flipH="1">
              <a:off x="1112650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E762F4E-8F28-E055-78D9-9BAF18930CD4}"/>
                </a:ext>
              </a:extLst>
            </p:cNvPr>
            <p:cNvCxnSpPr>
              <a:cxnSpLocks/>
            </p:cNvCxnSpPr>
            <p:nvPr userDrawn="1"/>
          </p:nvCxnSpPr>
          <p:spPr>
            <a:xfrm flipH="1">
              <a:off x="1121286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0A4181-CFFC-DFD3-4913-FC9612A55D58}"/>
                </a:ext>
              </a:extLst>
            </p:cNvPr>
            <p:cNvCxnSpPr>
              <a:cxnSpLocks/>
            </p:cNvCxnSpPr>
            <p:nvPr userDrawn="1"/>
          </p:nvCxnSpPr>
          <p:spPr>
            <a:xfrm flipH="1">
              <a:off x="1129922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31A15A-2697-4EDC-99DC-D3CD731E4F50}"/>
                </a:ext>
              </a:extLst>
            </p:cNvPr>
            <p:cNvCxnSpPr>
              <a:cxnSpLocks/>
            </p:cNvCxnSpPr>
            <p:nvPr userDrawn="1"/>
          </p:nvCxnSpPr>
          <p:spPr>
            <a:xfrm flipH="1">
              <a:off x="1138558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F92E4DE-0964-56A6-C66B-4CB5DAFE2947}"/>
                </a:ext>
              </a:extLst>
            </p:cNvPr>
            <p:cNvCxnSpPr>
              <a:cxnSpLocks/>
            </p:cNvCxnSpPr>
            <p:nvPr userDrawn="1"/>
          </p:nvCxnSpPr>
          <p:spPr>
            <a:xfrm flipH="1">
              <a:off x="11471943" y="92304"/>
              <a:ext cx="63433" cy="154058"/>
            </a:xfrm>
            <a:prstGeom prst="line">
              <a:avLst/>
            </a:prstGeom>
            <a:ln w="19050">
              <a:solidFill>
                <a:srgbClr val="FFE600"/>
              </a:solidFill>
              <a:tailEnd type="none"/>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2F1E86E4-E463-C157-2B7E-F1AA8CD46F05}"/>
              </a:ext>
            </a:extLst>
          </p:cNvPr>
          <p:cNvCxnSpPr>
            <a:cxnSpLocks/>
          </p:cNvCxnSpPr>
          <p:nvPr userDrawn="1"/>
        </p:nvCxnSpPr>
        <p:spPr>
          <a:xfrm flipV="1">
            <a:off x="10635301" y="703738"/>
            <a:ext cx="108899" cy="219364"/>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F282781-954C-DFCA-FFB2-0F8772A24D78}"/>
              </a:ext>
            </a:extLst>
          </p:cNvPr>
          <p:cNvCxnSpPr>
            <a:cxnSpLocks/>
          </p:cNvCxnSpPr>
          <p:nvPr userDrawn="1"/>
        </p:nvCxnSpPr>
        <p:spPr>
          <a:xfrm>
            <a:off x="10758997" y="703738"/>
            <a:ext cx="1336161"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FA0BEE2-F82D-4C13-584F-B90F49846DDD}"/>
              </a:ext>
            </a:extLst>
          </p:cNvPr>
          <p:cNvCxnSpPr>
            <a:cxnSpLocks/>
          </p:cNvCxnSpPr>
          <p:nvPr userDrawn="1"/>
        </p:nvCxnSpPr>
        <p:spPr>
          <a:xfrm>
            <a:off x="457209" y="923100"/>
            <a:ext cx="275157" cy="0"/>
          </a:xfrm>
          <a:prstGeom prst="line">
            <a:avLst/>
          </a:prstGeom>
          <a:ln w="28575">
            <a:solidFill>
              <a:srgbClr val="FFE600"/>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1CA7094-35AF-D9FC-1BFA-28F5B21719C6}"/>
              </a:ext>
            </a:extLst>
          </p:cNvPr>
          <p:cNvCxnSpPr>
            <a:cxnSpLocks/>
          </p:cNvCxnSpPr>
          <p:nvPr userDrawn="1"/>
        </p:nvCxnSpPr>
        <p:spPr>
          <a:xfrm flipV="1">
            <a:off x="12094631" y="88498"/>
            <a:ext cx="0" cy="58368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9F50378-05AE-882C-22DB-46E08A8119C4}"/>
              </a:ext>
            </a:extLst>
          </p:cNvPr>
          <p:cNvCxnSpPr>
            <a:cxnSpLocks/>
          </p:cNvCxnSpPr>
          <p:nvPr userDrawn="1"/>
        </p:nvCxnSpPr>
        <p:spPr>
          <a:xfrm flipV="1">
            <a:off x="12033963" y="114203"/>
            <a:ext cx="0" cy="541018"/>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9ABC261-1EA1-E7CE-EB9F-83AD02E7DC20}"/>
              </a:ext>
            </a:extLst>
          </p:cNvPr>
          <p:cNvSpPr/>
          <p:nvPr userDrawn="1"/>
        </p:nvSpPr>
        <p:spPr>
          <a:xfrm>
            <a:off x="12009956" y="70937"/>
            <a:ext cx="45719" cy="45719"/>
          </a:xfrm>
          <a:prstGeom prst="ellips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rgbClr val="2E2E38"/>
              </a:solidFill>
            </a:endParaRPr>
          </a:p>
        </p:txBody>
      </p:sp>
      <p:sp>
        <p:nvSpPr>
          <p:cNvPr id="62" name="Oval 61">
            <a:extLst>
              <a:ext uri="{FF2B5EF4-FFF2-40B4-BE49-F238E27FC236}">
                <a16:creationId xmlns:a16="http://schemas.microsoft.com/office/drawing/2014/main" id="{C536C060-F839-D1CB-A3A3-D6FBF76024AB}"/>
              </a:ext>
            </a:extLst>
          </p:cNvPr>
          <p:cNvSpPr/>
          <p:nvPr userDrawn="1"/>
        </p:nvSpPr>
        <p:spPr>
          <a:xfrm>
            <a:off x="12011103" y="609502"/>
            <a:ext cx="45719" cy="45719"/>
          </a:xfrm>
          <a:prstGeom prst="ellips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rgbClr val="2E2E38"/>
              </a:solidFill>
            </a:endParaRPr>
          </a:p>
        </p:txBody>
      </p:sp>
      <p:sp>
        <p:nvSpPr>
          <p:cNvPr id="82" name="Text Box 121">
            <a:extLst>
              <a:ext uri="{FF2B5EF4-FFF2-40B4-BE49-F238E27FC236}">
                <a16:creationId xmlns:a16="http://schemas.microsoft.com/office/drawing/2014/main" id="{F33F3D60-4CA7-E5C5-0895-BD6E56110A99}"/>
              </a:ext>
            </a:extLst>
          </p:cNvPr>
          <p:cNvSpPr txBox="1">
            <a:spLocks noChangeArrowheads="1"/>
          </p:cNvSpPr>
          <p:nvPr userDrawn="1"/>
        </p:nvSpPr>
        <p:spPr bwMode="gray">
          <a:xfrm>
            <a:off x="252207" y="6582791"/>
            <a:ext cx="3025762" cy="123111"/>
          </a:xfrm>
          <a:prstGeom prst="rect">
            <a:avLst/>
          </a:prstGeom>
          <a:noFill/>
          <a:ln w="12700">
            <a:noFill/>
            <a:miter lim="800000"/>
            <a:headEnd type="none" w="sm" len="sm"/>
            <a:tailEnd type="none" w="sm" len="sm"/>
          </a:ln>
          <a:effectLst/>
        </p:spPr>
        <p:txBody>
          <a:bodyPr wrap="square" lIns="0" tIns="0" rIns="0" bIns="0" anchor="b">
            <a:spAutoFit/>
          </a:bodyPr>
          <a:lstStyle/>
          <a:p>
            <a:pPr defTabSz="995012" fontAlgn="base">
              <a:spcBef>
                <a:spcPct val="0"/>
              </a:spcBef>
              <a:spcAft>
                <a:spcPct val="0"/>
              </a:spcAft>
              <a:defRPr/>
            </a:pPr>
            <a:r>
              <a:rPr lang="en-US" sz="800" b="1" kern="0">
                <a:solidFill>
                  <a:schemeClr val="tx1"/>
                </a:solidFill>
                <a:latin typeface="EYInterstate Light"/>
                <a:cs typeface="Arial" charset="0"/>
              </a:rPr>
              <a:t>Confidential — </a:t>
            </a:r>
            <a:r>
              <a:rPr lang="en-US" sz="800" kern="0">
                <a:solidFill>
                  <a:schemeClr val="tx1"/>
                </a:solidFill>
                <a:latin typeface="EYInterstate Light"/>
                <a:cs typeface="Arial" charset="0"/>
              </a:rPr>
              <a:t>All Rights Reserved — EY</a:t>
            </a:r>
          </a:p>
        </p:txBody>
      </p:sp>
      <p:sp>
        <p:nvSpPr>
          <p:cNvPr id="83" name="Text Box 121">
            <a:extLst>
              <a:ext uri="{FF2B5EF4-FFF2-40B4-BE49-F238E27FC236}">
                <a16:creationId xmlns:a16="http://schemas.microsoft.com/office/drawing/2014/main" id="{BCEFA8E7-D7DC-7FF0-BEBA-57FC444E268D}"/>
              </a:ext>
            </a:extLst>
          </p:cNvPr>
          <p:cNvSpPr txBox="1">
            <a:spLocks noChangeArrowheads="1"/>
          </p:cNvSpPr>
          <p:nvPr userDrawn="1"/>
        </p:nvSpPr>
        <p:spPr bwMode="gray">
          <a:xfrm>
            <a:off x="5858831" y="6593809"/>
            <a:ext cx="480691" cy="123111"/>
          </a:xfrm>
          <a:prstGeom prst="rect">
            <a:avLst/>
          </a:prstGeom>
          <a:noFill/>
          <a:ln w="12700">
            <a:noFill/>
            <a:miter lim="800000"/>
            <a:headEnd type="none" w="sm" len="sm"/>
            <a:tailEnd type="none" w="sm" len="sm"/>
          </a:ln>
          <a:effectLst/>
        </p:spPr>
        <p:txBody>
          <a:bodyPr wrap="square" lIns="0" tIns="0" rIns="0" bIns="0" anchor="ctr">
            <a:spAutoFit/>
          </a:bodyPr>
          <a:lstStyle/>
          <a:p>
            <a:pPr algn="ctr" defTabSz="995012" fontAlgn="base">
              <a:spcBef>
                <a:spcPct val="0"/>
              </a:spcBef>
              <a:spcAft>
                <a:spcPct val="0"/>
              </a:spcAft>
              <a:defRPr/>
            </a:pPr>
            <a:fld id="{20E97BB7-A61A-454C-8385-91704C1F16A3}" type="slidenum">
              <a:rPr lang="en-US" sz="800" b="1" kern="0" smtClean="0">
                <a:solidFill>
                  <a:schemeClr val="tx1"/>
                </a:solidFill>
                <a:latin typeface="EYInterstate Light"/>
                <a:cs typeface="Arial" charset="0"/>
              </a:rPr>
              <a:pPr algn="ctr" defTabSz="995012" fontAlgn="base">
                <a:spcBef>
                  <a:spcPct val="0"/>
                </a:spcBef>
                <a:spcAft>
                  <a:spcPct val="0"/>
                </a:spcAft>
                <a:defRPr/>
              </a:pPr>
              <a:t>‹#›</a:t>
            </a:fld>
            <a:endParaRPr lang="en-US" sz="800" b="1" kern="0">
              <a:solidFill>
                <a:schemeClr val="tx1"/>
              </a:solidFill>
              <a:latin typeface="EYInterstate Light"/>
              <a:cs typeface="Arial" charset="0"/>
            </a:endParaRPr>
          </a:p>
        </p:txBody>
      </p:sp>
      <p:cxnSp>
        <p:nvCxnSpPr>
          <p:cNvPr id="84" name="Straight Connector 83">
            <a:extLst>
              <a:ext uri="{FF2B5EF4-FFF2-40B4-BE49-F238E27FC236}">
                <a16:creationId xmlns:a16="http://schemas.microsoft.com/office/drawing/2014/main" id="{0C220A24-FBFB-72D6-535D-A638B629FA99}"/>
              </a:ext>
            </a:extLst>
          </p:cNvPr>
          <p:cNvCxnSpPr>
            <a:cxnSpLocks/>
          </p:cNvCxnSpPr>
          <p:nvPr userDrawn="1"/>
        </p:nvCxnSpPr>
        <p:spPr>
          <a:xfrm>
            <a:off x="5858831" y="6525712"/>
            <a:ext cx="480691" cy="0"/>
          </a:xfrm>
          <a:prstGeom prst="line">
            <a:avLst/>
          </a:prstGeom>
          <a:noFill/>
          <a:ln w="12700" cap="flat" cmpd="sng" algn="ctr">
            <a:solidFill>
              <a:srgbClr val="FFE600"/>
            </a:solidFill>
            <a:prstDash val="solid"/>
            <a:tailEnd type="none"/>
          </a:ln>
          <a:effectLst/>
        </p:spPr>
      </p:cxnSp>
      <p:grpSp>
        <p:nvGrpSpPr>
          <p:cNvPr id="85" name="Group 4">
            <a:extLst>
              <a:ext uri="{FF2B5EF4-FFF2-40B4-BE49-F238E27FC236}">
                <a16:creationId xmlns:a16="http://schemas.microsoft.com/office/drawing/2014/main" id="{33DB90D8-0283-FD42-24A7-366232A7B3E4}"/>
              </a:ext>
            </a:extLst>
          </p:cNvPr>
          <p:cNvGrpSpPr>
            <a:grpSpLocks noChangeAspect="1"/>
          </p:cNvGrpSpPr>
          <p:nvPr userDrawn="1"/>
        </p:nvGrpSpPr>
        <p:grpSpPr bwMode="auto">
          <a:xfrm>
            <a:off x="11582102" y="6414801"/>
            <a:ext cx="328553" cy="337153"/>
            <a:chOff x="7110" y="4004"/>
            <a:chExt cx="191" cy="196"/>
          </a:xfrm>
        </p:grpSpPr>
        <p:sp>
          <p:nvSpPr>
            <p:cNvPr id="86" name="Freeform 5">
              <a:extLst>
                <a:ext uri="{FF2B5EF4-FFF2-40B4-BE49-F238E27FC236}">
                  <a16:creationId xmlns:a16="http://schemas.microsoft.com/office/drawing/2014/main" id="{51CF59B6-3C8B-FF10-9C10-5586B56AC5B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A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chemeClr val="tx1"/>
                </a:solidFill>
                <a:effectLst/>
                <a:uLnTx/>
                <a:uFillTx/>
                <a:latin typeface="EYInterstate Light"/>
                <a:cs typeface="Arial"/>
              </a:endParaRPr>
            </a:p>
          </p:txBody>
        </p:sp>
        <p:sp>
          <p:nvSpPr>
            <p:cNvPr id="87" name="Freeform 6">
              <a:extLst>
                <a:ext uri="{FF2B5EF4-FFF2-40B4-BE49-F238E27FC236}">
                  <a16:creationId xmlns:a16="http://schemas.microsoft.com/office/drawing/2014/main" id="{C7783253-7B8D-1BDB-C6A0-DC94E31A051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chemeClr val="tx1"/>
                </a:solidFill>
                <a:effectLst/>
                <a:uLnTx/>
                <a:uFillTx/>
                <a:latin typeface="EYInterstate Light"/>
                <a:cs typeface="Arial"/>
              </a:endParaRPr>
            </a:p>
          </p:txBody>
        </p:sp>
        <p:sp>
          <p:nvSpPr>
            <p:cNvPr id="88" name="Freeform 7">
              <a:extLst>
                <a:ext uri="{FF2B5EF4-FFF2-40B4-BE49-F238E27FC236}">
                  <a16:creationId xmlns:a16="http://schemas.microsoft.com/office/drawing/2014/main" id="{BBBBFF78-679D-D076-E48D-6645B1E7A46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chemeClr val="tx1"/>
                </a:solidFill>
                <a:effectLst/>
                <a:uLnTx/>
                <a:uFillTx/>
                <a:latin typeface="EYInterstate Light"/>
                <a:cs typeface="Arial"/>
              </a:endParaRPr>
            </a:p>
          </p:txBody>
        </p:sp>
      </p:grpSp>
      <p:sp>
        <p:nvSpPr>
          <p:cNvPr id="94" name="Title Placeholder 1">
            <a:extLst>
              <a:ext uri="{FF2B5EF4-FFF2-40B4-BE49-F238E27FC236}">
                <a16:creationId xmlns:a16="http://schemas.microsoft.com/office/drawing/2014/main" id="{A3B22D55-0F29-6D20-2E85-C3753269A316}"/>
              </a:ext>
            </a:extLst>
          </p:cNvPr>
          <p:cNvSpPr>
            <a:spLocks noGrp="1"/>
          </p:cNvSpPr>
          <p:nvPr>
            <p:ph type="title"/>
          </p:nvPr>
        </p:nvSpPr>
        <p:spPr>
          <a:xfrm>
            <a:off x="457209" y="70937"/>
            <a:ext cx="10574426" cy="725047"/>
          </a:xfrm>
          <a:prstGeom prst="rect">
            <a:avLst/>
          </a:prstGeom>
        </p:spPr>
        <p:txBody>
          <a:bodyPr vert="horz" lIns="91440" tIns="45720" rIns="91440" bIns="45720" rtlCol="0" anchor="b">
            <a:normAutofit/>
          </a:bodyPr>
          <a:lstStyle>
            <a:lvl1pPr>
              <a:defRPr sz="1800">
                <a:solidFill>
                  <a:schemeClr val="bg1"/>
                </a:solidFill>
                <a:latin typeface="EYInterstate Light" panose="02000506000000020004" pitchFamily="2" charset="0"/>
              </a:defRPr>
            </a:lvl1pPr>
          </a:lstStyle>
          <a:p>
            <a:r>
              <a:rPr lang="en-US"/>
              <a:t>Click to edit Master title style</a:t>
            </a:r>
            <a:endParaRPr lang="en-GB"/>
          </a:p>
        </p:txBody>
      </p:sp>
      <p:sp>
        <p:nvSpPr>
          <p:cNvPr id="95" name="Text Placeholder 2">
            <a:extLst>
              <a:ext uri="{FF2B5EF4-FFF2-40B4-BE49-F238E27FC236}">
                <a16:creationId xmlns:a16="http://schemas.microsoft.com/office/drawing/2014/main" id="{AE04904E-6ECB-7E1E-EE5D-86665C2D2848}"/>
              </a:ext>
            </a:extLst>
          </p:cNvPr>
          <p:cNvSpPr>
            <a:spLocks noGrp="1"/>
          </p:cNvSpPr>
          <p:nvPr>
            <p:ph type="body" idx="1"/>
          </p:nvPr>
        </p:nvSpPr>
        <p:spPr>
          <a:xfrm>
            <a:off x="252207" y="1128142"/>
            <a:ext cx="11658448" cy="5192525"/>
          </a:xfrm>
          <a:prstGeom prst="rect">
            <a:avLst/>
          </a:prstGeom>
        </p:spPr>
        <p:txBody>
          <a:bodyPr/>
          <a:lstStyle>
            <a:lvl1pPr marL="0" indent="0">
              <a:buNone/>
              <a:defRPr sz="1100">
                <a:solidFill>
                  <a:schemeClr val="tx1"/>
                </a:solidFill>
                <a:latin typeface="EYInterstate Light" panose="02000506000000020004" pitchFamily="2" charset="0"/>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Tree>
    <p:extLst>
      <p:ext uri="{BB962C8B-B14F-4D97-AF65-F5344CB8AC3E}">
        <p14:creationId xmlns:p14="http://schemas.microsoft.com/office/powerpoint/2010/main" val="1933112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2E6F06-2E81-1FB8-B89D-7635677F75CE}"/>
              </a:ext>
            </a:extLst>
          </p:cNvPr>
          <p:cNvGraphicFramePr>
            <a:graphicFrameLocks noChangeAspect="1"/>
          </p:cNvGraphicFramePr>
          <p:nvPr>
            <p:custDataLst>
              <p:tags r:id="rId1"/>
            </p:custDataLst>
            <p:extLst>
              <p:ext uri="{D42A27DB-BD31-4B8C-83A1-F6EECF244321}">
                <p14:modId xmlns:p14="http://schemas.microsoft.com/office/powerpoint/2010/main" val="69940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6" name="think-cell data - do not delete" hidden="1">
                        <a:extLst>
                          <a:ext uri="{FF2B5EF4-FFF2-40B4-BE49-F238E27FC236}">
                            <a16:creationId xmlns:a16="http://schemas.microsoft.com/office/drawing/2014/main" id="{932E6F06-2E81-1FB8-B89D-7635677F7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C242A836-2F0E-4A7D-6887-D7CEF40DFAD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85111" y="18289"/>
            <a:ext cx="1439159" cy="467137"/>
          </a:xfrm>
          <a:prstGeom prst="rect">
            <a:avLst/>
          </a:prstGeom>
        </p:spPr>
      </p:pic>
      <p:sp>
        <p:nvSpPr>
          <p:cNvPr id="9" name="Title 1">
            <a:extLst>
              <a:ext uri="{FF2B5EF4-FFF2-40B4-BE49-F238E27FC236}">
                <a16:creationId xmlns:a16="http://schemas.microsoft.com/office/drawing/2014/main" id="{D1476F98-ADAE-7556-9FDD-709162C55AE8}"/>
              </a:ext>
            </a:extLst>
          </p:cNvPr>
          <p:cNvSpPr>
            <a:spLocks noGrp="1"/>
          </p:cNvSpPr>
          <p:nvPr>
            <p:ph type="title" hasCustomPrompt="1"/>
          </p:nvPr>
        </p:nvSpPr>
        <p:spPr>
          <a:xfrm>
            <a:off x="593086" y="329512"/>
            <a:ext cx="11018953" cy="824221"/>
          </a:xfrm>
          <a:prstGeom prst="rect">
            <a:avLst/>
          </a:prstGeom>
        </p:spPr>
        <p:txBody>
          <a:bodyPr vert="horz" lIns="0" tIns="0" rIns="0" bIns="0"/>
          <a:lstStyle>
            <a:lvl1pPr>
              <a:defRPr sz="2400">
                <a:latin typeface="Avenir"/>
              </a:defRPr>
            </a:lvl1pPr>
          </a:lstStyle>
          <a:p>
            <a:r>
              <a:rPr lang="en-US"/>
              <a:t>Click to edit master title style</a:t>
            </a:r>
          </a:p>
        </p:txBody>
      </p:sp>
      <p:sp>
        <p:nvSpPr>
          <p:cNvPr id="10" name="Text Placeholder 10">
            <a:extLst>
              <a:ext uri="{FF2B5EF4-FFF2-40B4-BE49-F238E27FC236}">
                <a16:creationId xmlns:a16="http://schemas.microsoft.com/office/drawing/2014/main" id="{7DB4F9F6-5466-3774-22C5-5373C719833F}"/>
              </a:ext>
            </a:extLst>
          </p:cNvPr>
          <p:cNvSpPr>
            <a:spLocks noGrp="1"/>
          </p:cNvSpPr>
          <p:nvPr>
            <p:ph type="body" sz="quarter" idx="10"/>
          </p:nvPr>
        </p:nvSpPr>
        <p:spPr>
          <a:xfrm>
            <a:off x="593086" y="1051872"/>
            <a:ext cx="11018953" cy="203721"/>
          </a:xfrm>
          <a:prstGeom prst="rect">
            <a:avLst/>
          </a:prstGeom>
        </p:spPr>
        <p:txBody>
          <a:bodyPr lIns="0" anchor="ctr"/>
          <a:lstStyle>
            <a:lvl1pPr>
              <a:defRPr sz="1500">
                <a:solidFill>
                  <a:schemeClr val="accent2"/>
                </a:solidFill>
                <a:latin typeface="Avenir"/>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6680E8B1-41E9-1114-185C-581650A180C1}"/>
              </a:ext>
            </a:extLst>
          </p:cNvPr>
          <p:cNvCxnSpPr>
            <a:cxnSpLocks/>
          </p:cNvCxnSpPr>
          <p:nvPr userDrawn="1"/>
        </p:nvCxnSpPr>
        <p:spPr>
          <a:xfrm>
            <a:off x="296336" y="832759"/>
            <a:ext cx="11729884" cy="0"/>
          </a:xfrm>
          <a:prstGeom prst="line">
            <a:avLst/>
          </a:prstGeom>
          <a:ln w="9525">
            <a:solidFill>
              <a:srgbClr val="747480"/>
            </a:solidFill>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0E6D302-2A4E-B0F7-7660-0DB68121DC27}"/>
              </a:ext>
            </a:extLst>
          </p:cNvPr>
          <p:cNvGrpSpPr>
            <a:grpSpLocks noChangeAspect="1"/>
          </p:cNvGrpSpPr>
          <p:nvPr userDrawn="1"/>
        </p:nvGrpSpPr>
        <p:grpSpPr>
          <a:xfrm>
            <a:off x="886598" y="796759"/>
            <a:ext cx="339182" cy="72000"/>
            <a:chOff x="631108" y="833444"/>
            <a:chExt cx="481981" cy="102313"/>
          </a:xfrm>
        </p:grpSpPr>
        <p:sp>
          <p:nvSpPr>
            <p:cNvPr id="24" name="Rectangle: Rounded Corners 16">
              <a:extLst>
                <a:ext uri="{FF2B5EF4-FFF2-40B4-BE49-F238E27FC236}">
                  <a16:creationId xmlns:a16="http://schemas.microsoft.com/office/drawing/2014/main" id="{0DF5691D-15D7-2B72-4BF0-FC431F915AD3}"/>
                </a:ext>
              </a:extLst>
            </p:cNvPr>
            <p:cNvSpPr>
              <a:spLocks noChangeAspect="1"/>
            </p:cNvSpPr>
            <p:nvPr userDrawn="1"/>
          </p:nvSpPr>
          <p:spPr>
            <a:xfrm rot="2700000">
              <a:off x="631108" y="833444"/>
              <a:ext cx="102313" cy="102313"/>
            </a:xfrm>
            <a:prstGeom prst="ellipse">
              <a:avLst/>
            </a:prstGeom>
            <a:solidFill>
              <a:srgbClr val="0078A9"/>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8" name="Rectangle: Rounded Corners 17">
              <a:extLst>
                <a:ext uri="{FF2B5EF4-FFF2-40B4-BE49-F238E27FC236}">
                  <a16:creationId xmlns:a16="http://schemas.microsoft.com/office/drawing/2014/main" id="{4DD0FAA5-B4C5-C2E1-F522-42138B7178EA}"/>
                </a:ext>
              </a:extLst>
            </p:cNvPr>
            <p:cNvSpPr>
              <a:spLocks noChangeAspect="1"/>
            </p:cNvSpPr>
            <p:nvPr userDrawn="1"/>
          </p:nvSpPr>
          <p:spPr>
            <a:xfrm rot="2700000">
              <a:off x="820942" y="833444"/>
              <a:ext cx="102313" cy="102313"/>
            </a:xfrm>
            <a:prstGeom prst="ellipse">
              <a:avLst/>
            </a:prstGeom>
            <a:solidFill>
              <a:srgbClr val="00BFB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9" name="Rectangle: Rounded Corners 18">
              <a:extLst>
                <a:ext uri="{FF2B5EF4-FFF2-40B4-BE49-F238E27FC236}">
                  <a16:creationId xmlns:a16="http://schemas.microsoft.com/office/drawing/2014/main" id="{980221BC-BA15-7ADB-DCFB-340C63698D36}"/>
                </a:ext>
              </a:extLst>
            </p:cNvPr>
            <p:cNvSpPr>
              <a:spLocks noChangeAspect="1"/>
            </p:cNvSpPr>
            <p:nvPr userDrawn="1"/>
          </p:nvSpPr>
          <p:spPr>
            <a:xfrm rot="2700000">
              <a:off x="1010776" y="833444"/>
              <a:ext cx="102313" cy="102313"/>
            </a:xfrm>
            <a:prstGeom prst="ellipse">
              <a:avLst/>
            </a:prstGeom>
            <a:solidFill>
              <a:srgbClr val="00A17E"/>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spTree>
    <p:extLst>
      <p:ext uri="{BB962C8B-B14F-4D97-AF65-F5344CB8AC3E}">
        <p14:creationId xmlns:p14="http://schemas.microsoft.com/office/powerpoint/2010/main" val="15508419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2E6F06-2E81-1FB8-B89D-7635677F75CE}"/>
              </a:ext>
            </a:extLst>
          </p:cNvPr>
          <p:cNvGraphicFramePr>
            <a:graphicFrameLocks noChangeAspect="1"/>
          </p:cNvGraphicFramePr>
          <p:nvPr>
            <p:custDataLst>
              <p:tags r:id="rId1"/>
            </p:custDataLst>
            <p:extLst>
              <p:ext uri="{D42A27DB-BD31-4B8C-83A1-F6EECF244321}">
                <p14:modId xmlns:p14="http://schemas.microsoft.com/office/powerpoint/2010/main" val="69940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6" name="think-cell data - do not delete" hidden="1">
                        <a:extLst>
                          <a:ext uri="{FF2B5EF4-FFF2-40B4-BE49-F238E27FC236}">
                            <a16:creationId xmlns:a16="http://schemas.microsoft.com/office/drawing/2014/main" id="{932E6F06-2E81-1FB8-B89D-7635677F7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C242A836-2F0E-4A7D-6887-D7CEF40DFAD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85111" y="18289"/>
            <a:ext cx="1439159" cy="467137"/>
          </a:xfrm>
          <a:prstGeom prst="rect">
            <a:avLst/>
          </a:prstGeom>
        </p:spPr>
      </p:pic>
      <p:sp>
        <p:nvSpPr>
          <p:cNvPr id="9" name="Title 1">
            <a:extLst>
              <a:ext uri="{FF2B5EF4-FFF2-40B4-BE49-F238E27FC236}">
                <a16:creationId xmlns:a16="http://schemas.microsoft.com/office/drawing/2014/main" id="{D1476F98-ADAE-7556-9FDD-709162C55AE8}"/>
              </a:ext>
            </a:extLst>
          </p:cNvPr>
          <p:cNvSpPr>
            <a:spLocks noGrp="1"/>
          </p:cNvSpPr>
          <p:nvPr>
            <p:ph type="title" hasCustomPrompt="1"/>
          </p:nvPr>
        </p:nvSpPr>
        <p:spPr>
          <a:xfrm>
            <a:off x="593086" y="329512"/>
            <a:ext cx="11018953" cy="824221"/>
          </a:xfrm>
          <a:prstGeom prst="rect">
            <a:avLst/>
          </a:prstGeom>
        </p:spPr>
        <p:txBody>
          <a:bodyPr vert="horz" lIns="0" tIns="0" rIns="0" bIns="0"/>
          <a:lstStyle>
            <a:lvl1pPr>
              <a:defRPr sz="2400">
                <a:latin typeface="Avenir"/>
              </a:defRPr>
            </a:lvl1pPr>
          </a:lstStyle>
          <a:p>
            <a:r>
              <a:rPr lang="en-US"/>
              <a:t>Click to edit master title style</a:t>
            </a:r>
          </a:p>
        </p:txBody>
      </p:sp>
      <p:sp>
        <p:nvSpPr>
          <p:cNvPr id="10" name="Text Placeholder 10">
            <a:extLst>
              <a:ext uri="{FF2B5EF4-FFF2-40B4-BE49-F238E27FC236}">
                <a16:creationId xmlns:a16="http://schemas.microsoft.com/office/drawing/2014/main" id="{7DB4F9F6-5466-3774-22C5-5373C719833F}"/>
              </a:ext>
            </a:extLst>
          </p:cNvPr>
          <p:cNvSpPr>
            <a:spLocks noGrp="1"/>
          </p:cNvSpPr>
          <p:nvPr>
            <p:ph type="body" sz="quarter" idx="10"/>
          </p:nvPr>
        </p:nvSpPr>
        <p:spPr>
          <a:xfrm>
            <a:off x="593086" y="1051872"/>
            <a:ext cx="11018953" cy="203721"/>
          </a:xfrm>
          <a:prstGeom prst="rect">
            <a:avLst/>
          </a:prstGeom>
        </p:spPr>
        <p:txBody>
          <a:bodyPr lIns="0" anchor="ctr"/>
          <a:lstStyle>
            <a:lvl1pPr>
              <a:defRPr sz="1500">
                <a:solidFill>
                  <a:schemeClr val="accent2"/>
                </a:solidFill>
                <a:latin typeface="Avenir"/>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6680E8B1-41E9-1114-185C-581650A180C1}"/>
              </a:ext>
            </a:extLst>
          </p:cNvPr>
          <p:cNvCxnSpPr>
            <a:cxnSpLocks/>
          </p:cNvCxnSpPr>
          <p:nvPr userDrawn="1"/>
        </p:nvCxnSpPr>
        <p:spPr>
          <a:xfrm>
            <a:off x="296336" y="832759"/>
            <a:ext cx="11729884" cy="0"/>
          </a:xfrm>
          <a:prstGeom prst="line">
            <a:avLst/>
          </a:prstGeom>
          <a:ln w="9525">
            <a:solidFill>
              <a:srgbClr val="747480"/>
            </a:solidFill>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0E6D302-2A4E-B0F7-7660-0DB68121DC27}"/>
              </a:ext>
            </a:extLst>
          </p:cNvPr>
          <p:cNvGrpSpPr>
            <a:grpSpLocks noChangeAspect="1"/>
          </p:cNvGrpSpPr>
          <p:nvPr userDrawn="1"/>
        </p:nvGrpSpPr>
        <p:grpSpPr>
          <a:xfrm>
            <a:off x="886598" y="796759"/>
            <a:ext cx="339182" cy="72000"/>
            <a:chOff x="631108" y="833444"/>
            <a:chExt cx="481981" cy="102313"/>
          </a:xfrm>
        </p:grpSpPr>
        <p:sp>
          <p:nvSpPr>
            <p:cNvPr id="24" name="Rectangle: Rounded Corners 16">
              <a:extLst>
                <a:ext uri="{FF2B5EF4-FFF2-40B4-BE49-F238E27FC236}">
                  <a16:creationId xmlns:a16="http://schemas.microsoft.com/office/drawing/2014/main" id="{0DF5691D-15D7-2B72-4BF0-FC431F915AD3}"/>
                </a:ext>
              </a:extLst>
            </p:cNvPr>
            <p:cNvSpPr>
              <a:spLocks noChangeAspect="1"/>
            </p:cNvSpPr>
            <p:nvPr userDrawn="1"/>
          </p:nvSpPr>
          <p:spPr>
            <a:xfrm rot="2700000">
              <a:off x="631108" y="833444"/>
              <a:ext cx="102313" cy="102313"/>
            </a:xfrm>
            <a:prstGeom prst="ellipse">
              <a:avLst/>
            </a:prstGeom>
            <a:solidFill>
              <a:srgbClr val="0078A9"/>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8" name="Rectangle: Rounded Corners 17">
              <a:extLst>
                <a:ext uri="{FF2B5EF4-FFF2-40B4-BE49-F238E27FC236}">
                  <a16:creationId xmlns:a16="http://schemas.microsoft.com/office/drawing/2014/main" id="{4DD0FAA5-B4C5-C2E1-F522-42138B7178EA}"/>
                </a:ext>
              </a:extLst>
            </p:cNvPr>
            <p:cNvSpPr>
              <a:spLocks noChangeAspect="1"/>
            </p:cNvSpPr>
            <p:nvPr userDrawn="1"/>
          </p:nvSpPr>
          <p:spPr>
            <a:xfrm rot="2700000">
              <a:off x="820942" y="833444"/>
              <a:ext cx="102313" cy="102313"/>
            </a:xfrm>
            <a:prstGeom prst="ellipse">
              <a:avLst/>
            </a:prstGeom>
            <a:solidFill>
              <a:srgbClr val="00BFB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9" name="Rectangle: Rounded Corners 18">
              <a:extLst>
                <a:ext uri="{FF2B5EF4-FFF2-40B4-BE49-F238E27FC236}">
                  <a16:creationId xmlns:a16="http://schemas.microsoft.com/office/drawing/2014/main" id="{980221BC-BA15-7ADB-DCFB-340C63698D36}"/>
                </a:ext>
              </a:extLst>
            </p:cNvPr>
            <p:cNvSpPr>
              <a:spLocks noChangeAspect="1"/>
            </p:cNvSpPr>
            <p:nvPr userDrawn="1"/>
          </p:nvSpPr>
          <p:spPr>
            <a:xfrm rot="2700000">
              <a:off x="1010776" y="833444"/>
              <a:ext cx="102313" cy="102313"/>
            </a:xfrm>
            <a:prstGeom prst="ellipse">
              <a:avLst/>
            </a:prstGeom>
            <a:solidFill>
              <a:srgbClr val="00A17E"/>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spTree>
    <p:extLst>
      <p:ext uri="{BB962C8B-B14F-4D97-AF65-F5344CB8AC3E}">
        <p14:creationId xmlns:p14="http://schemas.microsoft.com/office/powerpoint/2010/main" val="8952347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83FB9019-7422-4E1B-0BD3-B76C9B035C0E}"/>
              </a:ext>
            </a:extLst>
          </p:cNvPr>
          <p:cNvGrpSpPr/>
          <p:nvPr userDrawn="1"/>
        </p:nvGrpSpPr>
        <p:grpSpPr>
          <a:xfrm>
            <a:off x="944059" y="78036"/>
            <a:ext cx="5053055" cy="180620"/>
            <a:chOff x="944059" y="78036"/>
            <a:chExt cx="5053055" cy="180620"/>
          </a:xfrm>
        </p:grpSpPr>
        <p:sp>
          <p:nvSpPr>
            <p:cNvPr id="13" name="TextBox 12">
              <a:hlinkClick r:id="rId2" action="ppaction://hlinksldjump"/>
              <a:extLst>
                <a:ext uri="{FF2B5EF4-FFF2-40B4-BE49-F238E27FC236}">
                  <a16:creationId xmlns:a16="http://schemas.microsoft.com/office/drawing/2014/main" id="{8B059C88-11BA-269D-681B-1B5253A1375C}"/>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800" b="0" i="0">
                  <a:solidFill>
                    <a:schemeClr val="tx1"/>
                  </a:solidFill>
                  <a:latin typeface="EYInterstate Light" panose="02000506000000020004" pitchFamily="2" charset="0"/>
                </a:rPr>
                <a:t>Executive summary</a:t>
              </a:r>
            </a:p>
          </p:txBody>
        </p:sp>
        <p:sp>
          <p:nvSpPr>
            <p:cNvPr id="15" name="TextBox 14">
              <a:hlinkClick r:id="rId3" action="ppaction://hlinksldjump"/>
              <a:extLst>
                <a:ext uri="{FF2B5EF4-FFF2-40B4-BE49-F238E27FC236}">
                  <a16:creationId xmlns:a16="http://schemas.microsoft.com/office/drawing/2014/main" id="{84C88527-9275-4EEF-3306-1462A0DB105A}"/>
                </a:ext>
              </a:extLst>
            </p:cNvPr>
            <p:cNvSpPr txBox="1"/>
            <p:nvPr userDrawn="1"/>
          </p:nvSpPr>
          <p:spPr>
            <a:xfrm>
              <a:off x="2129745" y="78036"/>
              <a:ext cx="1349272" cy="180000"/>
            </a:xfrm>
            <a:prstGeom prst="rect">
              <a:avLst/>
            </a:prstGeom>
            <a:solidFill>
              <a:srgbClr val="AF154B"/>
            </a:solidFill>
            <a:ln>
              <a:noFill/>
            </a:ln>
          </p:spPr>
          <p:txBody>
            <a:bodyPr wrap="square" lIns="0" tIns="0" rIns="0" bIns="0" anchor="ctr">
              <a:noAutofit/>
            </a:bodyPr>
            <a:lstStyle/>
            <a:p>
              <a:pPr algn="ctr">
                <a:spcBef>
                  <a:spcPts val="600"/>
                </a:spcBef>
                <a:defRPr/>
              </a:pPr>
              <a:r>
                <a:rPr lang="en-US" sz="700" b="0" i="0">
                  <a:solidFill>
                    <a:schemeClr val="bg1"/>
                  </a:solidFill>
                  <a:latin typeface="EYInterstate Light" panose="02000506000000020004" pitchFamily="2" charset="0"/>
                </a:rPr>
                <a:t>Our approach and methodology</a:t>
              </a:r>
            </a:p>
          </p:txBody>
        </p:sp>
        <p:sp>
          <p:nvSpPr>
            <p:cNvPr id="16" name="TextBox 15">
              <a:hlinkClick r:id="rId2" action="ppaction://hlinksldjump"/>
              <a:extLst>
                <a:ext uri="{FF2B5EF4-FFF2-40B4-BE49-F238E27FC236}">
                  <a16:creationId xmlns:a16="http://schemas.microsoft.com/office/drawing/2014/main" id="{FED9F7EF-C44F-5654-1402-ABB6CF49F782}"/>
                </a:ext>
              </a:extLst>
            </p:cNvPr>
            <p:cNvSpPr txBox="1"/>
            <p:nvPr userDrawn="1"/>
          </p:nvSpPr>
          <p:spPr>
            <a:xfrm>
              <a:off x="3642603" y="78036"/>
              <a:ext cx="1022097"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19" name="TextBox 18">
              <a:hlinkClick r:id="rId2" action="ppaction://hlinksldjump"/>
              <a:extLst>
                <a:ext uri="{FF2B5EF4-FFF2-40B4-BE49-F238E27FC236}">
                  <a16:creationId xmlns:a16="http://schemas.microsoft.com/office/drawing/2014/main" id="{85C580B1-7149-A621-628C-F0D5B536187B}"/>
                </a:ext>
              </a:extLst>
            </p:cNvPr>
            <p:cNvSpPr txBox="1"/>
            <p:nvPr userDrawn="1"/>
          </p:nvSpPr>
          <p:spPr>
            <a:xfrm>
              <a:off x="4991875"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cxnSp>
          <p:nvCxnSpPr>
            <p:cNvPr id="24" name="Straight Connector 23">
              <a:extLst>
                <a:ext uri="{FF2B5EF4-FFF2-40B4-BE49-F238E27FC236}">
                  <a16:creationId xmlns:a16="http://schemas.microsoft.com/office/drawing/2014/main" id="{B94962B1-0D38-D758-0C6F-5357E86D7259}"/>
                </a:ext>
              </a:extLst>
            </p:cNvPr>
            <p:cNvCxnSpPr>
              <a:cxnSpLocks/>
            </p:cNvCxnSpPr>
            <p:nvPr userDrawn="1"/>
          </p:nvCxnSpPr>
          <p:spPr>
            <a:xfrm>
              <a:off x="4828289"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4"/>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77BB69B7-8F7E-EC36-8A9A-1446763A9429}"/>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19B3D957-1270-D5D0-6D19-953E3D93A5D1}"/>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7" name="Group 16">
            <a:extLst>
              <a:ext uri="{FF2B5EF4-FFF2-40B4-BE49-F238E27FC236}">
                <a16:creationId xmlns:a16="http://schemas.microsoft.com/office/drawing/2014/main" id="{08E4EC56-D5B5-4F89-4632-D5C5183C35EA}"/>
              </a:ext>
            </a:extLst>
          </p:cNvPr>
          <p:cNvGrpSpPr/>
          <p:nvPr userDrawn="1"/>
        </p:nvGrpSpPr>
        <p:grpSpPr>
          <a:xfrm>
            <a:off x="6190970" y="78036"/>
            <a:ext cx="1168825" cy="180620"/>
            <a:chOff x="4980689" y="230436"/>
            <a:chExt cx="1168825" cy="180620"/>
          </a:xfrm>
        </p:grpSpPr>
        <p:sp>
          <p:nvSpPr>
            <p:cNvPr id="18" name="TextBox 17">
              <a:hlinkClick r:id="rId2" action="ppaction://hlinksldjump"/>
              <a:extLst>
                <a:ext uri="{FF2B5EF4-FFF2-40B4-BE49-F238E27FC236}">
                  <a16:creationId xmlns:a16="http://schemas.microsoft.com/office/drawing/2014/main" id="{92D061B6-3D2A-3867-D9E3-E74B330AC564}"/>
                </a:ext>
              </a:extLst>
            </p:cNvPr>
            <p:cNvSpPr txBox="1"/>
            <p:nvPr userDrawn="1"/>
          </p:nvSpPr>
          <p:spPr>
            <a:xfrm>
              <a:off x="5144275" y="2304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cxnSp>
          <p:nvCxnSpPr>
            <p:cNvPr id="20" name="Straight Connector 19">
              <a:extLst>
                <a:ext uri="{FF2B5EF4-FFF2-40B4-BE49-F238E27FC236}">
                  <a16:creationId xmlns:a16="http://schemas.microsoft.com/office/drawing/2014/main" id="{AEE6CDD9-85C9-86F4-20A3-B9E8C33E368F}"/>
                </a:ext>
              </a:extLst>
            </p:cNvPr>
            <p:cNvCxnSpPr>
              <a:cxnSpLocks/>
            </p:cNvCxnSpPr>
            <p:nvPr userDrawn="1"/>
          </p:nvCxnSpPr>
          <p:spPr>
            <a:xfrm>
              <a:off x="4980689" y="2310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21" name="TextBox 20">
            <a:hlinkClick r:id="rId2" action="ppaction://hlinksldjump"/>
            <a:extLst>
              <a:ext uri="{FF2B5EF4-FFF2-40B4-BE49-F238E27FC236}">
                <a16:creationId xmlns:a16="http://schemas.microsoft.com/office/drawing/2014/main" id="{BE259281-436E-6FC7-304E-6B9086797294}"/>
              </a:ext>
            </a:extLst>
          </p:cNvPr>
          <p:cNvSpPr txBox="1"/>
          <p:nvPr userDrawn="1"/>
        </p:nvSpPr>
        <p:spPr>
          <a:xfrm>
            <a:off x="7714828" y="80551"/>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2" name="Straight Connector 21">
            <a:extLst>
              <a:ext uri="{FF2B5EF4-FFF2-40B4-BE49-F238E27FC236}">
                <a16:creationId xmlns:a16="http://schemas.microsoft.com/office/drawing/2014/main" id="{38870D4A-6C84-42DA-0351-DD020346C52C}"/>
              </a:ext>
            </a:extLst>
          </p:cNvPr>
          <p:cNvCxnSpPr>
            <a:cxnSpLocks/>
          </p:cNvCxnSpPr>
          <p:nvPr userDrawn="1"/>
        </p:nvCxnSpPr>
        <p:spPr>
          <a:xfrm>
            <a:off x="7551242" y="81171"/>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C29C3778-5F12-6C97-E532-04DCE44777BB}"/>
              </a:ext>
            </a:extLst>
          </p:cNvPr>
          <p:cNvCxnSpPr>
            <a:cxnSpLocks/>
          </p:cNvCxnSpPr>
          <p:nvPr userDrawn="1"/>
        </p:nvCxnSpPr>
        <p:spPr>
          <a:xfrm>
            <a:off x="324425"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83EE0F44-7029-9657-03B7-F11E3CE22E90}"/>
              </a:ext>
            </a:extLst>
          </p:cNvPr>
          <p:cNvSpPr>
            <a:spLocks noChangeAspect="1"/>
          </p:cNvSpPr>
          <p:nvPr userDrawn="1"/>
        </p:nvSpPr>
        <p:spPr>
          <a:xfrm>
            <a:off x="216425" y="2167149"/>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7" name="Oval 26">
            <a:hlinkClick r:id="" action="ppaction://hlinkshowjump?jump=nextslide"/>
            <a:extLst>
              <a:ext uri="{FF2B5EF4-FFF2-40B4-BE49-F238E27FC236}">
                <a16:creationId xmlns:a16="http://schemas.microsoft.com/office/drawing/2014/main" id="{D7223054-F8A9-666D-8BB3-BF688828057D}"/>
              </a:ext>
            </a:extLst>
          </p:cNvPr>
          <p:cNvSpPr>
            <a:spLocks noChangeAspect="1"/>
          </p:cNvSpPr>
          <p:nvPr userDrawn="1"/>
        </p:nvSpPr>
        <p:spPr>
          <a:xfrm>
            <a:off x="268625"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noaction"/>
            <a:extLst>
              <a:ext uri="{FF2B5EF4-FFF2-40B4-BE49-F238E27FC236}">
                <a16:creationId xmlns:a16="http://schemas.microsoft.com/office/drawing/2014/main" id="{AC7B98A3-839E-A24C-99EC-DFCE7ACAC05B}"/>
              </a:ext>
            </a:extLst>
          </p:cNvPr>
          <p:cNvSpPr>
            <a:spLocks noChangeAspect="1"/>
          </p:cNvSpPr>
          <p:nvPr userDrawn="1"/>
        </p:nvSpPr>
        <p:spPr>
          <a:xfrm>
            <a:off x="269561"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noaction"/>
            <a:extLst>
              <a:ext uri="{FF2B5EF4-FFF2-40B4-BE49-F238E27FC236}">
                <a16:creationId xmlns:a16="http://schemas.microsoft.com/office/drawing/2014/main" id="{93BDB1C0-2AC2-6C4A-C1F2-295AAF22AAFD}"/>
              </a:ext>
            </a:extLst>
          </p:cNvPr>
          <p:cNvSpPr>
            <a:spLocks noChangeAspect="1"/>
          </p:cNvSpPr>
          <p:nvPr userDrawn="1"/>
        </p:nvSpPr>
        <p:spPr>
          <a:xfrm>
            <a:off x="269561"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hlinkshowjump?jump=previousslide"/>
            <a:extLst>
              <a:ext uri="{FF2B5EF4-FFF2-40B4-BE49-F238E27FC236}">
                <a16:creationId xmlns:a16="http://schemas.microsoft.com/office/drawing/2014/main" id="{C0ED4FC4-0243-C967-D353-EE1B25A9A852}"/>
              </a:ext>
            </a:extLst>
          </p:cNvPr>
          <p:cNvSpPr>
            <a:spLocks noChangeAspect="1"/>
          </p:cNvSpPr>
          <p:nvPr userDrawn="1"/>
        </p:nvSpPr>
        <p:spPr>
          <a:xfrm>
            <a:off x="268625"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2D5293BF-0EFF-16F3-1F1E-D26825AF7297}"/>
              </a:ext>
            </a:extLst>
          </p:cNvPr>
          <p:cNvSpPr>
            <a:spLocks noChangeAspect="1"/>
          </p:cNvSpPr>
          <p:nvPr userDrawn="1"/>
        </p:nvSpPr>
        <p:spPr>
          <a:xfrm>
            <a:off x="269561"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463578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E3941-E75C-7E03-CB04-446D68AD7C3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BE753F3-FD1C-AAEF-72D0-1EBB0DDED7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F61C6D-E8AB-FA1A-1A18-66F07792A9C8}"/>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A73CC194-1762-593C-EEE1-C9BCEB83590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E3745C0-3E82-F8E8-DB4C-FAD2643A5527}"/>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2344970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198">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grpSp>
        <p:nvGrpSpPr>
          <p:cNvPr id="6" name="Group 5">
            <a:extLst>
              <a:ext uri="{FF2B5EF4-FFF2-40B4-BE49-F238E27FC236}">
                <a16:creationId xmlns:a16="http://schemas.microsoft.com/office/drawing/2014/main" id="{C9EBA069-5F5A-45E5-9081-BD019398524A}"/>
              </a:ext>
            </a:extLst>
          </p:cNvPr>
          <p:cNvGrpSpPr/>
          <p:nvPr userDrawn="1"/>
        </p:nvGrpSpPr>
        <p:grpSpPr>
          <a:xfrm>
            <a:off x="609601" y="857168"/>
            <a:ext cx="4699986" cy="27432"/>
            <a:chOff x="1616202" y="3429000"/>
            <a:chExt cx="10020300" cy="180975"/>
          </a:xfrm>
        </p:grpSpPr>
        <p:sp>
          <p:nvSpPr>
            <p:cNvPr id="7" name="Rectangle 6">
              <a:extLst>
                <a:ext uri="{FF2B5EF4-FFF2-40B4-BE49-F238E27FC236}">
                  <a16:creationId xmlns:a16="http://schemas.microsoft.com/office/drawing/2014/main" id="{AFA530C4-AAD3-4968-89BF-03BDB35E42E2}"/>
                </a:ext>
              </a:extLst>
            </p:cNvPr>
            <p:cNvSpPr/>
            <p:nvPr/>
          </p:nvSpPr>
          <p:spPr>
            <a:xfrm>
              <a:off x="2503488" y="3429000"/>
              <a:ext cx="9133014"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8" name="Rectangle 7">
              <a:extLst>
                <a:ext uri="{FF2B5EF4-FFF2-40B4-BE49-F238E27FC236}">
                  <a16:creationId xmlns:a16="http://schemas.microsoft.com/office/drawing/2014/main" id="{FF025EEA-8110-4363-A3B1-518310239675}"/>
                </a:ext>
              </a:extLst>
            </p:cNvPr>
            <p:cNvSpPr/>
            <p:nvPr/>
          </p:nvSpPr>
          <p:spPr>
            <a:xfrm>
              <a:off x="1616202"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9" name="Rectangle 8">
              <a:extLst>
                <a:ext uri="{FF2B5EF4-FFF2-40B4-BE49-F238E27FC236}">
                  <a16:creationId xmlns:a16="http://schemas.microsoft.com/office/drawing/2014/main" id="{C352816E-53E7-4FA9-BAD2-B7676780D677}"/>
                </a:ext>
              </a:extLst>
            </p:cNvPr>
            <p:cNvSpPr/>
            <p:nvPr/>
          </p:nvSpPr>
          <p:spPr>
            <a:xfrm>
              <a:off x="1911964"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10" name="Rectangle 9">
              <a:extLst>
                <a:ext uri="{FF2B5EF4-FFF2-40B4-BE49-F238E27FC236}">
                  <a16:creationId xmlns:a16="http://schemas.microsoft.com/office/drawing/2014/main" id="{54759A5B-9206-4552-BBD0-23A56D05A9A8}"/>
                </a:ext>
              </a:extLst>
            </p:cNvPr>
            <p:cNvSpPr/>
            <p:nvPr/>
          </p:nvSpPr>
          <p:spPr>
            <a:xfrm>
              <a:off x="2207726"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grpSp>
    </p:spTree>
    <p:extLst>
      <p:ext uri="{BB962C8B-B14F-4D97-AF65-F5344CB8AC3E}">
        <p14:creationId xmlns:p14="http://schemas.microsoft.com/office/powerpoint/2010/main" val="3290729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7FCDB1C-8CE4-4BD4-B349-AA4CFAA00649}"/>
              </a:ext>
            </a:extLst>
          </p:cNvPr>
          <p:cNvSpPr>
            <a:spLocks noGrp="1"/>
          </p:cNvSpPr>
          <p:nvPr>
            <p:ph sz="quarter" idx="12"/>
          </p:nvPr>
        </p:nvSpPr>
        <p:spPr>
          <a:xfrm>
            <a:off x="609600" y="1313525"/>
            <a:ext cx="10960844"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7200675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24637" y="252475"/>
            <a:ext cx="9243090" cy="350840"/>
          </a:xfrm>
        </p:spPr>
        <p:txBody>
          <a:bodyPr lIns="0" anchor="t"/>
          <a:lstStyle>
            <a:lvl1pPr algn="l" defTabSz="856802" rtl="0" eaLnBrk="1" latinLnBrk="0" hangingPunct="1">
              <a:lnSpc>
                <a:spcPct val="90000"/>
              </a:lnSpc>
              <a:spcBef>
                <a:spcPct val="0"/>
              </a:spcBef>
              <a:buNone/>
              <a:defRPr lang="en-US" sz="2199" b="0" kern="1200" dirty="0">
                <a:solidFill>
                  <a:schemeClr val="tx2"/>
                </a:solidFill>
                <a:latin typeface="EYInterstate Light" panose="02000506000000020004" pitchFamily="2" charset="0"/>
                <a:ea typeface="+mj-ea"/>
                <a:cs typeface="Arial" pitchFamily="34" charset="0"/>
              </a:defRPr>
            </a:lvl1pPr>
          </a:lstStyle>
          <a:p>
            <a:r>
              <a:rPr lang="en-US"/>
              <a:t>Click to edit Master title style</a:t>
            </a:r>
          </a:p>
        </p:txBody>
      </p:sp>
      <p:sp>
        <p:nvSpPr>
          <p:cNvPr id="9" name="Content Placeholder 8">
            <a:extLst>
              <a:ext uri="{FF2B5EF4-FFF2-40B4-BE49-F238E27FC236}">
                <a16:creationId xmlns:a16="http://schemas.microsoft.com/office/drawing/2014/main" id="{8D5561D9-A766-4C90-AA1A-A7E6D2105AEA}"/>
              </a:ext>
            </a:extLst>
          </p:cNvPr>
          <p:cNvSpPr>
            <a:spLocks noGrp="1"/>
          </p:cNvSpPr>
          <p:nvPr>
            <p:ph sz="quarter" idx="12"/>
          </p:nvPr>
        </p:nvSpPr>
        <p:spPr>
          <a:xfrm>
            <a:off x="609600" y="1313525"/>
            <a:ext cx="5400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Content Placeholder 10">
            <a:extLst>
              <a:ext uri="{FF2B5EF4-FFF2-40B4-BE49-F238E27FC236}">
                <a16:creationId xmlns:a16="http://schemas.microsoft.com/office/drawing/2014/main" id="{FE0172BF-1761-4FE6-8449-42E4039BEBB6}"/>
              </a:ext>
            </a:extLst>
          </p:cNvPr>
          <p:cNvSpPr>
            <a:spLocks noGrp="1"/>
          </p:cNvSpPr>
          <p:nvPr>
            <p:ph sz="quarter" idx="13"/>
          </p:nvPr>
        </p:nvSpPr>
        <p:spPr>
          <a:xfrm>
            <a:off x="6182401" y="1313525"/>
            <a:ext cx="5400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396233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99" y="331196"/>
            <a:ext cx="9915526" cy="864000"/>
          </a:xfrm>
        </p:spPr>
        <p:txBody>
          <a:bodyPr lIns="0" anchor="t"/>
          <a:lstStyle>
            <a:lvl1pPr algn="l" defTabSz="856802" rtl="0" eaLnBrk="1" latinLnBrk="0" hangingPunct="1">
              <a:lnSpc>
                <a:spcPct val="90000"/>
              </a:lnSpc>
              <a:spcBef>
                <a:spcPct val="0"/>
              </a:spcBef>
              <a:buNone/>
              <a:defRPr lang="en-US" sz="2199" b="0" kern="1200" dirty="0">
                <a:solidFill>
                  <a:schemeClr val="tx2"/>
                </a:solidFill>
                <a:latin typeface="EYInterstate Light" panose="02000506000000020004" pitchFamily="2" charset="0"/>
                <a:ea typeface="+mj-ea"/>
                <a:cs typeface="Arial"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CBE1B533-CCF8-4925-AE9F-3525403CB9F6}"/>
              </a:ext>
            </a:extLst>
          </p:cNvPr>
          <p:cNvSpPr>
            <a:spLocks noGrp="1"/>
          </p:cNvSpPr>
          <p:nvPr>
            <p:ph sz="quarter" idx="13"/>
          </p:nvPr>
        </p:nvSpPr>
        <p:spPr>
          <a:xfrm>
            <a:off x="609600" y="1313525"/>
            <a:ext cx="3546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Content Placeholder 9">
            <a:extLst>
              <a:ext uri="{FF2B5EF4-FFF2-40B4-BE49-F238E27FC236}">
                <a16:creationId xmlns:a16="http://schemas.microsoft.com/office/drawing/2014/main" id="{CBA538F3-0F06-41A0-96DC-133B9A1E1C3D}"/>
              </a:ext>
            </a:extLst>
          </p:cNvPr>
          <p:cNvSpPr>
            <a:spLocks noGrp="1"/>
          </p:cNvSpPr>
          <p:nvPr>
            <p:ph sz="quarter" idx="14"/>
          </p:nvPr>
        </p:nvSpPr>
        <p:spPr>
          <a:xfrm>
            <a:off x="4323001" y="1313525"/>
            <a:ext cx="3546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11">
            <a:extLst>
              <a:ext uri="{FF2B5EF4-FFF2-40B4-BE49-F238E27FC236}">
                <a16:creationId xmlns:a16="http://schemas.microsoft.com/office/drawing/2014/main" id="{2A54C929-5F3D-4F67-8096-CAA4655BD4AF}"/>
              </a:ext>
            </a:extLst>
          </p:cNvPr>
          <p:cNvSpPr>
            <a:spLocks noGrp="1"/>
          </p:cNvSpPr>
          <p:nvPr>
            <p:ph sz="quarter" idx="15"/>
          </p:nvPr>
        </p:nvSpPr>
        <p:spPr>
          <a:xfrm>
            <a:off x="8036401" y="1313525"/>
            <a:ext cx="3546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1855985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633" y="1490"/>
          <a:ext cx="1628" cy="14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633" y="1490"/>
                        <a:ext cx="1628" cy="14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04E2BAC2-8E5B-4D10-BD63-4EFD9FB6D90C}"/>
              </a:ext>
            </a:extLst>
          </p:cNvPr>
          <p:cNvGrpSpPr/>
          <p:nvPr userDrawn="1"/>
        </p:nvGrpSpPr>
        <p:grpSpPr>
          <a:xfrm>
            <a:off x="0" y="6181548"/>
            <a:ext cx="12192000" cy="201791"/>
            <a:chOff x="0" y="6181547"/>
            <a:chExt cx="12198350" cy="201791"/>
          </a:xfrm>
        </p:grpSpPr>
        <p:cxnSp>
          <p:nvCxnSpPr>
            <p:cNvPr id="9" name="Straight Connector 8">
              <a:extLst>
                <a:ext uri="{FF2B5EF4-FFF2-40B4-BE49-F238E27FC236}">
                  <a16:creationId xmlns:a16="http://schemas.microsoft.com/office/drawing/2014/main" id="{048A385A-B256-43DF-9D5B-BD8B537B56F6}"/>
                </a:ext>
              </a:extLst>
            </p:cNvPr>
            <p:cNvCxnSpPr>
              <a:cxnSpLocks/>
            </p:cNvCxnSpPr>
            <p:nvPr userDrawn="1"/>
          </p:nvCxnSpPr>
          <p:spPr>
            <a:xfrm>
              <a:off x="0" y="6375256"/>
              <a:ext cx="10919278" cy="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4C7ACEB-5E32-4D5E-8EFE-04FAFF65B149}"/>
                </a:ext>
              </a:extLst>
            </p:cNvPr>
            <p:cNvCxnSpPr>
              <a:cxnSpLocks/>
            </p:cNvCxnSpPr>
            <p:nvPr userDrawn="1"/>
          </p:nvCxnSpPr>
          <p:spPr>
            <a:xfrm flipV="1">
              <a:off x="10917238" y="6181548"/>
              <a:ext cx="91687" cy="20179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36F6AC-0DF6-4EC6-9719-D66DAF21E646}"/>
                </a:ext>
              </a:extLst>
            </p:cNvPr>
            <p:cNvCxnSpPr>
              <a:cxnSpLocks/>
            </p:cNvCxnSpPr>
            <p:nvPr userDrawn="1"/>
          </p:nvCxnSpPr>
          <p:spPr>
            <a:xfrm>
              <a:off x="11008925" y="6181547"/>
              <a:ext cx="1189425" cy="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295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mbered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3829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B42EB76E-85BC-49A9-811B-BAEE6AD5CA3F}"/>
              </a:ext>
            </a:extLst>
          </p:cNvPr>
          <p:cNvSpPr>
            <a:spLocks noChangeArrowheads="1"/>
          </p:cNvSpPr>
          <p:nvPr userDrawn="1"/>
        </p:nvSpPr>
        <p:spPr bwMode="auto">
          <a:xfrm>
            <a:off x="1" y="0"/>
            <a:ext cx="3330950" cy="6858000"/>
          </a:xfrm>
          <a:prstGeom prst="rect">
            <a:avLst/>
          </a:prstGeom>
          <a:solidFill>
            <a:srgbClr val="747480"/>
          </a:solidFill>
          <a:ln w="12700">
            <a:noFill/>
            <a:miter lim="800000"/>
            <a:headEnd type="none" w="sm" len="sm"/>
            <a:tailEnd type="none" w="sm" len="sm"/>
          </a:ln>
          <a:effectLst/>
          <a:extLst>
            <a:ext uri="{91240B29-F687-4F45-9708-019B960494DF}">
              <a14:hiddenLine xmlns:a14="http://schemas.microsoft.com/office/drawing/2010/main" w="12700">
                <a:solidFill>
                  <a:srgbClr val="FF4136"/>
                </a:solidFill>
                <a:miter lim="800000"/>
                <a:headEnd type="none" w="sm" len="sm"/>
                <a:tailEnd type="none" w="sm" len="sm"/>
              </a14:hiddenLine>
            </a:ext>
          </a:extLst>
        </p:spPr>
        <p:txBody>
          <a:bodyPr wrap="square" lIns="91360" tIns="45680" rIns="91360" bIns="45680" anchor="ctr">
            <a:noAutofit/>
          </a:bodyPr>
          <a:lstStyle/>
          <a:p>
            <a:pPr algn="ctr" defTabSz="913943" fontAlgn="base">
              <a:spcBef>
                <a:spcPct val="0"/>
              </a:spcBef>
              <a:spcAft>
                <a:spcPct val="0"/>
              </a:spcAft>
            </a:pPr>
            <a:endParaRPr lang="en-US" sz="999">
              <a:solidFill>
                <a:srgbClr val="FFFFFF"/>
              </a:solidFill>
              <a:latin typeface="EYInterstate" pitchFamily="2" charset="0"/>
              <a:cs typeface="Arial" charset="0"/>
            </a:endParaRPr>
          </a:p>
        </p:txBody>
      </p:sp>
      <p:graphicFrame>
        <p:nvGraphicFramePr>
          <p:cNvPr id="4" name="Object 3" hidden="1"/>
          <p:cNvGraphicFramePr>
            <a:graphicFrameLocks noChangeAspect="1"/>
          </p:cNvGraphicFramePr>
          <p:nvPr userDrawn="1">
            <p:custDataLst>
              <p:tags r:id="rId1"/>
            </p:custDataLst>
          </p:nvPr>
        </p:nvGraphicFramePr>
        <p:xfrm>
          <a:off x="1633" y="1490"/>
          <a:ext cx="1628" cy="14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633" y="1490"/>
                        <a:ext cx="1628" cy="1488"/>
                      </a:xfrm>
                      <a:prstGeom prst="rect">
                        <a:avLst/>
                      </a:prstGeom>
                    </p:spPr>
                  </p:pic>
                </p:oleObj>
              </mc:Fallback>
            </mc:AlternateContent>
          </a:graphicData>
        </a:graphic>
      </p:graphicFrame>
      <p:sp>
        <p:nvSpPr>
          <p:cNvPr id="2" name="Title 1"/>
          <p:cNvSpPr>
            <a:spLocks noGrp="1"/>
          </p:cNvSpPr>
          <p:nvPr>
            <p:ph type="title"/>
          </p:nvPr>
        </p:nvSpPr>
        <p:spPr>
          <a:xfrm>
            <a:off x="5428212" y="271863"/>
            <a:ext cx="6059709" cy="490986"/>
          </a:xfrm>
        </p:spPr>
        <p:txBody>
          <a:bodyPr anchor="t"/>
          <a:lstStyle>
            <a:lvl1pPr>
              <a:lnSpc>
                <a:spcPct val="90000"/>
              </a:lnSpc>
              <a:defRPr sz="2199">
                <a:solidFill>
                  <a:schemeClr val="tx2"/>
                </a:solidFill>
                <a:latin typeface="EYInterstate Light" panose="02000506000000020004" pitchFamily="2" charset="0"/>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0B7AFFED-1CD3-4013-BB01-0DC779F0E56D}"/>
              </a:ext>
            </a:extLst>
          </p:cNvPr>
          <p:cNvSpPr>
            <a:spLocks noGrp="1"/>
          </p:cNvSpPr>
          <p:nvPr userDrawn="1">
            <p:ph type="pic" sz="quarter" idx="10"/>
          </p:nvPr>
        </p:nvSpPr>
        <p:spPr>
          <a:xfrm>
            <a:off x="1008706" y="426012"/>
            <a:ext cx="1313538" cy="1699183"/>
          </a:xfrm>
          <a:solidFill>
            <a:srgbClr val="2E2E38"/>
          </a:solidFill>
          <a:ln w="38100">
            <a:noFill/>
          </a:ln>
        </p:spPr>
        <p:txBody>
          <a:bodyPr anchor="ctr"/>
          <a:lstStyle>
            <a:lvl1pPr algn="ctr">
              <a:defRPr>
                <a:solidFill>
                  <a:schemeClr val="tx2"/>
                </a:solidFill>
              </a:defRPr>
            </a:lvl1pPr>
          </a:lstStyle>
          <a:p>
            <a:endParaRPr lang="en-GB"/>
          </a:p>
        </p:txBody>
      </p:sp>
      <p:sp>
        <p:nvSpPr>
          <p:cNvPr id="128" name="Text Placeholder 16">
            <a:extLst>
              <a:ext uri="{FF2B5EF4-FFF2-40B4-BE49-F238E27FC236}">
                <a16:creationId xmlns:a16="http://schemas.microsoft.com/office/drawing/2014/main" id="{F9F6017D-1542-4AC4-9CA8-D7C705E2644E}"/>
              </a:ext>
            </a:extLst>
          </p:cNvPr>
          <p:cNvSpPr>
            <a:spLocks noGrp="1"/>
          </p:cNvSpPr>
          <p:nvPr>
            <p:ph type="body" sz="quarter" idx="22" hasCustomPrompt="1"/>
          </p:nvPr>
        </p:nvSpPr>
        <p:spPr>
          <a:xfrm>
            <a:off x="654425" y="2589702"/>
            <a:ext cx="2536825" cy="944872"/>
          </a:xfrm>
        </p:spPr>
        <p:txBody>
          <a:bodyPr/>
          <a:lstStyle>
            <a:lvl1pPr marL="0" indent="0" defTabSz="902025">
              <a:spcBef>
                <a:spcPts val="0"/>
              </a:spcBef>
              <a:spcAft>
                <a:spcPts val="0"/>
              </a:spcAft>
              <a:buClr>
                <a:srgbClr val="000000"/>
              </a:buClr>
              <a:buSzPct val="100000"/>
              <a:buFont typeface="Arial" pitchFamily="34" charset="0"/>
              <a:buNone/>
              <a:tabLst>
                <a:tab pos="401380" algn="l"/>
              </a:tabLst>
              <a:defRPr sz="1399" b="1">
                <a:solidFill>
                  <a:srgbClr val="FFE600"/>
                </a:solidFill>
              </a:defRPr>
            </a:lvl1pPr>
            <a:lvl2pPr>
              <a:spcBef>
                <a:spcPts val="0"/>
              </a:spcBef>
              <a:spcAft>
                <a:spcPts val="0"/>
              </a:spcAft>
              <a:tabLst>
                <a:tab pos="575455" algn="l"/>
                <a:tab pos="2926184" algn="l"/>
                <a:tab pos="4228148" algn="r"/>
              </a:tabLst>
              <a:defRPr sz="726" b="0">
                <a:solidFill>
                  <a:schemeClr val="tx1"/>
                </a:solidFill>
              </a:defRPr>
            </a:lvl2pPr>
            <a:lvl4pPr>
              <a:defRPr sz="726"/>
            </a:lvl4pPr>
            <a:lvl5pPr>
              <a:defRPr sz="726"/>
            </a:lvl5pPr>
          </a:lstStyle>
          <a:p>
            <a:pPr lvl="0"/>
            <a:r>
              <a:rPr lang="en-US"/>
              <a:t>Name</a:t>
            </a:r>
          </a:p>
        </p:txBody>
      </p:sp>
      <p:sp>
        <p:nvSpPr>
          <p:cNvPr id="129" name="Text Placeholder 16">
            <a:extLst>
              <a:ext uri="{FF2B5EF4-FFF2-40B4-BE49-F238E27FC236}">
                <a16:creationId xmlns:a16="http://schemas.microsoft.com/office/drawing/2014/main" id="{7D3DEB39-1F47-4EA0-94C3-54418F88BD27}"/>
              </a:ext>
            </a:extLst>
          </p:cNvPr>
          <p:cNvSpPr>
            <a:spLocks noGrp="1"/>
          </p:cNvSpPr>
          <p:nvPr>
            <p:ph type="body" sz="quarter" idx="30" hasCustomPrompt="1"/>
          </p:nvPr>
        </p:nvSpPr>
        <p:spPr>
          <a:xfrm>
            <a:off x="638545" y="3818675"/>
            <a:ext cx="2552707" cy="944872"/>
          </a:xfrm>
        </p:spPr>
        <p:txBody>
          <a:bodyPr/>
          <a:lstStyle>
            <a:lvl1pPr marL="0" indent="0" defTabSz="902025">
              <a:spcBef>
                <a:spcPts val="0"/>
              </a:spcBef>
              <a:spcAft>
                <a:spcPts val="0"/>
              </a:spcAft>
              <a:buClr>
                <a:srgbClr val="000000"/>
              </a:buClr>
              <a:buSzPct val="100000"/>
              <a:buFont typeface="Arial" pitchFamily="34" charset="0"/>
              <a:buNone/>
              <a:tabLst>
                <a:tab pos="401380" algn="l"/>
              </a:tabLst>
              <a:defRPr sz="1199" b="0">
                <a:solidFill>
                  <a:schemeClr val="tx2"/>
                </a:solidFill>
              </a:defRPr>
            </a:lvl1pPr>
            <a:lvl2pPr>
              <a:spcBef>
                <a:spcPts val="0"/>
              </a:spcBef>
              <a:spcAft>
                <a:spcPts val="0"/>
              </a:spcAft>
              <a:tabLst>
                <a:tab pos="575455" algn="l"/>
                <a:tab pos="2926184" algn="l"/>
                <a:tab pos="4228148" algn="r"/>
              </a:tabLst>
              <a:defRPr sz="800" b="0">
                <a:solidFill>
                  <a:schemeClr val="tx2"/>
                </a:solidFill>
              </a:defRPr>
            </a:lvl2pPr>
            <a:lvl4pPr>
              <a:defRPr sz="726"/>
            </a:lvl4pPr>
            <a:lvl5pPr>
              <a:defRPr sz="726"/>
            </a:lvl5pPr>
          </a:lstStyle>
          <a:p>
            <a:pPr lvl="0"/>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6" name="Content Placeholder 5">
            <a:extLst>
              <a:ext uri="{FF2B5EF4-FFF2-40B4-BE49-F238E27FC236}">
                <a16:creationId xmlns:a16="http://schemas.microsoft.com/office/drawing/2014/main" id="{20212B82-5794-417D-8F9F-9DACB7802C0E}"/>
              </a:ext>
            </a:extLst>
          </p:cNvPr>
          <p:cNvSpPr>
            <a:spLocks noGrp="1"/>
          </p:cNvSpPr>
          <p:nvPr>
            <p:ph sz="quarter" idx="32"/>
          </p:nvPr>
        </p:nvSpPr>
        <p:spPr>
          <a:xfrm>
            <a:off x="3614348" y="2253375"/>
            <a:ext cx="2510971" cy="3920150"/>
          </a:xfrm>
        </p:spPr>
        <p:txBody>
          <a:bodyPr/>
          <a:lstStyle>
            <a:lvl1pPr>
              <a:defRPr sz="950"/>
            </a:lvl1pPr>
            <a:lvl2pPr>
              <a:defRPr sz="1399"/>
            </a:lvl2pPr>
            <a:lvl3pPr>
              <a:defRPr b="1"/>
            </a:lvl3pPr>
            <a:lvl4pPr>
              <a:defRPr sz="950"/>
            </a:lvl4pPr>
            <a:lvl5pPr>
              <a:defRPr sz="9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7">
            <a:extLst>
              <a:ext uri="{FF2B5EF4-FFF2-40B4-BE49-F238E27FC236}">
                <a16:creationId xmlns:a16="http://schemas.microsoft.com/office/drawing/2014/main" id="{E9D262F4-7CF8-43C5-825C-01675EDA6C0C}"/>
              </a:ext>
            </a:extLst>
          </p:cNvPr>
          <p:cNvSpPr>
            <a:spLocks noGrp="1"/>
          </p:cNvSpPr>
          <p:nvPr>
            <p:ph sz="quarter" idx="33"/>
          </p:nvPr>
        </p:nvSpPr>
        <p:spPr>
          <a:xfrm>
            <a:off x="6342889" y="2253375"/>
            <a:ext cx="2510971" cy="3920150"/>
          </a:xfrm>
        </p:spPr>
        <p:txBody>
          <a:bodyPr/>
          <a:lstStyle>
            <a:lvl1pPr>
              <a:defRPr sz="950"/>
            </a:lvl1pPr>
            <a:lvl2pPr>
              <a:defRPr sz="1399"/>
            </a:lvl2pPr>
            <a:lvl3pPr>
              <a:defRPr b="1"/>
            </a:lvl3pPr>
            <a:lvl4pPr>
              <a:defRPr sz="950"/>
            </a:lvl4pPr>
            <a:lvl5pPr>
              <a:defRPr sz="9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Content Placeholder 9">
            <a:extLst>
              <a:ext uri="{FF2B5EF4-FFF2-40B4-BE49-F238E27FC236}">
                <a16:creationId xmlns:a16="http://schemas.microsoft.com/office/drawing/2014/main" id="{F0A08530-02EB-44AE-9979-4B527F4A8252}"/>
              </a:ext>
            </a:extLst>
          </p:cNvPr>
          <p:cNvSpPr>
            <a:spLocks noGrp="1"/>
          </p:cNvSpPr>
          <p:nvPr>
            <p:ph sz="quarter" idx="34"/>
          </p:nvPr>
        </p:nvSpPr>
        <p:spPr>
          <a:xfrm>
            <a:off x="9071429" y="2253375"/>
            <a:ext cx="2510971" cy="3920150"/>
          </a:xfrm>
        </p:spPr>
        <p:txBody>
          <a:bodyPr/>
          <a:lstStyle>
            <a:lvl1pPr>
              <a:defRPr sz="950"/>
            </a:lvl1pPr>
            <a:lvl2pPr>
              <a:defRPr sz="1399"/>
            </a:lvl2pPr>
            <a:lvl3pPr>
              <a:defRPr b="1"/>
            </a:lvl3pPr>
            <a:lvl4pPr>
              <a:defRPr sz="950"/>
            </a:lvl4pPr>
            <a:lvl5pPr>
              <a:defRPr sz="9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Content Placeholder 12">
            <a:extLst>
              <a:ext uri="{FF2B5EF4-FFF2-40B4-BE49-F238E27FC236}">
                <a16:creationId xmlns:a16="http://schemas.microsoft.com/office/drawing/2014/main" id="{6CFDDC84-A7C0-4DB1-A748-C7CD0B0AAA1D}"/>
              </a:ext>
            </a:extLst>
          </p:cNvPr>
          <p:cNvSpPr>
            <a:spLocks noGrp="1"/>
          </p:cNvSpPr>
          <p:nvPr>
            <p:ph sz="quarter" idx="35"/>
          </p:nvPr>
        </p:nvSpPr>
        <p:spPr>
          <a:xfrm>
            <a:off x="3614347" y="978238"/>
            <a:ext cx="7873573" cy="1023130"/>
          </a:xfrm>
        </p:spPr>
        <p:txBody>
          <a:bodyPr/>
          <a:lstStyle>
            <a:lvl1pPr>
              <a:defRPr sz="950"/>
            </a:lvl1pPr>
            <a:lvl2pPr>
              <a:defRPr sz="1399"/>
            </a:lvl2pPr>
            <a:lvl3pPr>
              <a:defRPr b="1"/>
            </a:lvl3pPr>
            <a:lvl4pPr>
              <a:defRPr sz="950"/>
            </a:lvl4pPr>
            <a:lvl5pPr>
              <a:defRPr sz="9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4" name="Rectangle 13">
            <a:extLst>
              <a:ext uri="{FF2B5EF4-FFF2-40B4-BE49-F238E27FC236}">
                <a16:creationId xmlns:a16="http://schemas.microsoft.com/office/drawing/2014/main" id="{D14C898C-68DA-4B59-B4F2-E0C394EB2C99}"/>
              </a:ext>
            </a:extLst>
          </p:cNvPr>
          <p:cNvSpPr/>
          <p:nvPr userDrawn="1"/>
        </p:nvSpPr>
        <p:spPr>
          <a:xfrm>
            <a:off x="5428211" y="202636"/>
            <a:ext cx="1440000" cy="72000"/>
          </a:xfrm>
          <a:prstGeom prst="rect">
            <a:avLst/>
          </a:prstGeom>
          <a:solidFill>
            <a:srgbClr val="FFE60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Tree>
    <p:extLst>
      <p:ext uri="{BB962C8B-B14F-4D97-AF65-F5344CB8AC3E}">
        <p14:creationId xmlns:p14="http://schemas.microsoft.com/office/powerpoint/2010/main" val="34042864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umbered 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4C0FC2-7133-47AE-82A0-6EB74DFAD1A4}"/>
              </a:ext>
            </a:extLst>
          </p:cNvPr>
          <p:cNvSpPr/>
          <p:nvPr userDrawn="1"/>
        </p:nvSpPr>
        <p:spPr>
          <a:xfrm>
            <a:off x="-1" y="0"/>
            <a:ext cx="12192001" cy="68580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999" b="1">
              <a:solidFill>
                <a:schemeClr val="tx2"/>
              </a:solidFill>
            </a:endParaRPr>
          </a:p>
        </p:txBody>
      </p:sp>
      <p:sp>
        <p:nvSpPr>
          <p:cNvPr id="6" name="Text Box 5">
            <a:extLst>
              <a:ext uri="{FF2B5EF4-FFF2-40B4-BE49-F238E27FC236}">
                <a16:creationId xmlns:a16="http://schemas.microsoft.com/office/drawing/2014/main" id="{C6F7B630-6D44-4A36-90C8-0997C612E897}"/>
              </a:ext>
            </a:extLst>
          </p:cNvPr>
          <p:cNvSpPr txBox="1">
            <a:spLocks noChangeArrowheads="1"/>
          </p:cNvSpPr>
          <p:nvPr userDrawn="1"/>
        </p:nvSpPr>
        <p:spPr bwMode="auto">
          <a:xfrm>
            <a:off x="510477" y="527115"/>
            <a:ext cx="4168679" cy="4905858"/>
          </a:xfrm>
          <a:prstGeom prst="rect">
            <a:avLst/>
          </a:prstGeom>
          <a:noFill/>
          <a:ln>
            <a:noFill/>
          </a:ln>
        </p:spPr>
        <p:txBody>
          <a:bodyPr vert="horz" wrap="square" lIns="0" tIns="0" rIns="0" bIns="0" numCol="1" anchor="t" anchorCtr="0" compatLnSpc="1">
            <a:prstTxWarp prst="textNoShape">
              <a:avLst/>
            </a:prstTxWarp>
          </a:bodyPr>
          <a:lstStyle/>
          <a:p>
            <a:pPr fontAlgn="base">
              <a:spcBef>
                <a:spcPct val="0"/>
              </a:spcBef>
              <a:spcAft>
                <a:spcPts val="1199"/>
              </a:spcAft>
            </a:pPr>
            <a:r>
              <a:rPr lang="en-IN" sz="999" b="1">
                <a:solidFill>
                  <a:srgbClr val="FFFFFF"/>
                </a:solidFill>
                <a:latin typeface="EYInterstate Light" panose="02000506000000020004" pitchFamily="2" charset="0"/>
                <a:ea typeface="Calibri" panose="020F0502020204030204" pitchFamily="34" charset="0"/>
                <a:cs typeface="Arial" panose="020B0604020202020204" pitchFamily="34" charset="0"/>
              </a:rPr>
              <a:t>EY  |  Building a better working world</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EY exists to build a better working world, helping to create long-term value for clients, people and society and build trust in the capital markets.</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Enabled by data and technology, diverse EY teams in over 150 countries provide trust through assurance and help clients grow, transform and operate.</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Working across assurance, consulting, law, strategy, tax and transactions, EY teams ask better questions to find new answers for the complex issues facing our world today.</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sation, please visit ey.com.</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The MENA practice of EY has been operating in the region since 1923. For over 97 years, we have grown to over 7,500 people united across 21 offices and 16 countries, sharing the same values and an unwavering commitment to quality. As an organisation, we continue to develop outstanding leaders who deliver exceptional services to our clients and who contribute to our communities. We are proud of our accomplishments over the years, reaffirming our position as the largest and most established professional services organisation in the region.</a:t>
            </a:r>
          </a:p>
          <a:p>
            <a:pPr fontAlgn="base">
              <a:spcBef>
                <a:spcPct val="0"/>
              </a:spcBef>
              <a:spcAft>
                <a:spcPts val="1199"/>
              </a:spcAft>
            </a:pPr>
            <a:r>
              <a:rPr lang="en-US" sz="800">
                <a:solidFill>
                  <a:srgbClr val="FFFFFF"/>
                </a:solidFill>
                <a:latin typeface="EYInterstate Light" panose="02000506000000020004" pitchFamily="2" charset="0"/>
                <a:ea typeface="Calibri" panose="020F0502020204030204" pitchFamily="34" charset="0"/>
                <a:cs typeface="Arial" panose="020B0604020202020204" pitchFamily="34" charset="0"/>
              </a:rPr>
              <a:t>© 2021 EYGM Limited. </a:t>
            </a:r>
            <a:br>
              <a:rPr lang="en-US" sz="800">
                <a:solidFill>
                  <a:srgbClr val="FFFFFF"/>
                </a:solidFill>
                <a:latin typeface="EYInterstate Light" panose="02000506000000020004" pitchFamily="2" charset="0"/>
                <a:ea typeface="Calibri" panose="020F0502020204030204" pitchFamily="34" charset="0"/>
                <a:cs typeface="Arial" panose="020B0604020202020204" pitchFamily="34" charset="0"/>
              </a:rPr>
            </a:br>
            <a:r>
              <a:rPr lang="en-US" sz="800">
                <a:solidFill>
                  <a:srgbClr val="FFFFFF"/>
                </a:solidFill>
                <a:latin typeface="EYInterstate Light" panose="02000506000000020004" pitchFamily="2" charset="0"/>
                <a:ea typeface="Calibri" panose="020F0502020204030204" pitchFamily="34" charset="0"/>
                <a:cs typeface="Arial" panose="020B0604020202020204" pitchFamily="34" charset="0"/>
              </a:rPr>
              <a:t>All Rights Reserved.</a:t>
            </a:r>
          </a:p>
          <a:p>
            <a:pPr fontAlgn="base">
              <a:spcBef>
                <a:spcPct val="0"/>
              </a:spcBef>
              <a:spcAft>
                <a:spcPts val="1199"/>
              </a:spcAft>
            </a:pPr>
            <a:r>
              <a:rPr lang="en-IN" sz="800">
                <a:solidFill>
                  <a:srgbClr val="FFFFFF"/>
                </a:solidFill>
                <a:latin typeface="EYInterstate Light" panose="02000506000000020004" pitchFamily="2" charset="0"/>
                <a:ea typeface="Calibri" panose="020F0502020204030204" pitchFamily="34" charset="0"/>
                <a:cs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 </a:t>
            </a:r>
          </a:p>
          <a:p>
            <a:pPr fontAlgn="base">
              <a:spcBef>
                <a:spcPct val="0"/>
              </a:spcBef>
              <a:spcAft>
                <a:spcPts val="1199"/>
              </a:spcAft>
            </a:pPr>
            <a:r>
              <a:rPr lang="en-US" sz="999" b="1">
                <a:solidFill>
                  <a:srgbClr val="FFFFFF"/>
                </a:solidFill>
                <a:latin typeface="EYInterstate Light" panose="02000506000000020004" pitchFamily="2" charset="0"/>
                <a:ea typeface="Calibri" panose="020F0502020204030204" pitchFamily="34" charset="0"/>
                <a:cs typeface="Arial" panose="020B0604020202020204" pitchFamily="34" charset="0"/>
              </a:rPr>
              <a:t>ey.com</a:t>
            </a:r>
            <a:endParaRPr lang="en-GB" sz="999">
              <a:solidFill>
                <a:srgbClr val="FFFFFF"/>
              </a:solidFill>
              <a:latin typeface="EYInterstate Light" panose="02000506000000020004"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31074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p:bg>
      <p:bgRef idx="1001">
        <a:schemeClr val="bg2"/>
      </p:bgRef>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0D7F1B8D-A8A5-42C7-8D96-CEE20F89F9A6}"/>
              </a:ext>
            </a:extLst>
          </p:cNvPr>
          <p:cNvSpPr/>
          <p:nvPr userDrawn="1"/>
        </p:nvSpPr>
        <p:spPr>
          <a:xfrm>
            <a:off x="10980348" y="6163858"/>
            <a:ext cx="45695" cy="45719"/>
          </a:xfrm>
          <a:prstGeom prst="ellipse">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rgbClr val="FFFFFF"/>
              </a:solidFill>
            </a:endParaRPr>
          </a:p>
        </p:txBody>
      </p:sp>
      <p:grpSp>
        <p:nvGrpSpPr>
          <p:cNvPr id="6" name="Group 5">
            <a:extLst>
              <a:ext uri="{FF2B5EF4-FFF2-40B4-BE49-F238E27FC236}">
                <a16:creationId xmlns:a16="http://schemas.microsoft.com/office/drawing/2014/main" id="{65A048D1-D19B-4687-9D2C-6CBA427A835C}"/>
              </a:ext>
            </a:extLst>
          </p:cNvPr>
          <p:cNvGrpSpPr/>
          <p:nvPr userDrawn="1"/>
        </p:nvGrpSpPr>
        <p:grpSpPr>
          <a:xfrm>
            <a:off x="0" y="6181548"/>
            <a:ext cx="12192000" cy="201791"/>
            <a:chOff x="0" y="6181547"/>
            <a:chExt cx="12198350" cy="201791"/>
          </a:xfrm>
        </p:grpSpPr>
        <p:cxnSp>
          <p:nvCxnSpPr>
            <p:cNvPr id="7" name="Straight Connector 6">
              <a:extLst>
                <a:ext uri="{FF2B5EF4-FFF2-40B4-BE49-F238E27FC236}">
                  <a16:creationId xmlns:a16="http://schemas.microsoft.com/office/drawing/2014/main" id="{F0383303-EB4D-4AF9-B412-D276FED8F2E2}"/>
                </a:ext>
              </a:extLst>
            </p:cNvPr>
            <p:cNvCxnSpPr>
              <a:cxnSpLocks/>
            </p:cNvCxnSpPr>
            <p:nvPr userDrawn="1"/>
          </p:nvCxnSpPr>
          <p:spPr>
            <a:xfrm>
              <a:off x="0" y="6375256"/>
              <a:ext cx="10919278" cy="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3CF7EC4-3815-4B49-B304-9ECC421E9B20}"/>
                </a:ext>
              </a:extLst>
            </p:cNvPr>
            <p:cNvCxnSpPr>
              <a:cxnSpLocks/>
            </p:cNvCxnSpPr>
            <p:nvPr userDrawn="1"/>
          </p:nvCxnSpPr>
          <p:spPr>
            <a:xfrm flipV="1">
              <a:off x="10917238" y="6181548"/>
              <a:ext cx="91687" cy="20179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6639CD3-1C38-4077-8316-7717D30235FA}"/>
                </a:ext>
              </a:extLst>
            </p:cNvPr>
            <p:cNvCxnSpPr>
              <a:cxnSpLocks/>
            </p:cNvCxnSpPr>
            <p:nvPr userDrawn="1"/>
          </p:nvCxnSpPr>
          <p:spPr>
            <a:xfrm>
              <a:off x="11008925" y="6181547"/>
              <a:ext cx="1189425" cy="0"/>
            </a:xfrm>
            <a:prstGeom prst="line">
              <a:avLst/>
            </a:prstGeom>
            <a:ln w="6350">
              <a:solidFill>
                <a:srgbClr val="747480"/>
              </a:solidFill>
              <a:tailEnd type="none"/>
            </a:ln>
          </p:spPr>
          <p:style>
            <a:lnRef idx="1">
              <a:schemeClr val="accent1"/>
            </a:lnRef>
            <a:fillRef idx="0">
              <a:schemeClr val="accent1"/>
            </a:fillRef>
            <a:effectRef idx="0">
              <a:schemeClr val="accent1"/>
            </a:effectRef>
            <a:fontRef idx="minor">
              <a:schemeClr val="tx1"/>
            </a:fontRef>
          </p:style>
        </p:cxnSp>
      </p:grpSp>
      <p:sp>
        <p:nvSpPr>
          <p:cNvPr id="13" name="Title 1">
            <a:extLst>
              <a:ext uri="{FF2B5EF4-FFF2-40B4-BE49-F238E27FC236}">
                <a16:creationId xmlns:a16="http://schemas.microsoft.com/office/drawing/2014/main" id="{ADA7D181-40E0-4BEC-9D65-E898F0ECBD2A}"/>
              </a:ext>
            </a:extLst>
          </p:cNvPr>
          <p:cNvSpPr txBox="1">
            <a:spLocks/>
          </p:cNvSpPr>
          <p:nvPr userDrawn="1"/>
        </p:nvSpPr>
        <p:spPr>
          <a:xfrm>
            <a:off x="807144" y="28150"/>
            <a:ext cx="10967088" cy="590400"/>
          </a:xfrm>
          <a:prstGeom prst="rect">
            <a:avLst/>
          </a:prstGeom>
        </p:spPr>
        <p:txBody>
          <a:bodyPr vert="horz" wrap="square" lIns="0" tIns="0" rIns="0" bIns="0" rtlCol="0" anchor="t" anchorCtr="0">
            <a:noAutofit/>
          </a:bodyPr>
          <a:lstStyle>
            <a:defPPr>
              <a:defRPr lang="en-US"/>
            </a:defPPr>
            <a:lvl1pPr defTabSz="913943">
              <a:lnSpc>
                <a:spcPct val="85000"/>
              </a:lnSpc>
              <a:spcBef>
                <a:spcPct val="0"/>
              </a:spcBef>
              <a:buNone/>
              <a:defRPr sz="1999" b="1">
                <a:solidFill>
                  <a:prstClr val="white"/>
                </a:solidFill>
                <a:latin typeface="EYInterstate Light" panose="02000506000000020004" pitchFamily="2" charset="0"/>
                <a:ea typeface="+mj-ea"/>
                <a:cs typeface="Arial" pitchFamily="34" charset="0"/>
              </a:defRPr>
            </a:lvl1pPr>
          </a:lstStyle>
          <a:p>
            <a:endParaRPr lang="en-GB" sz="1998"/>
          </a:p>
        </p:txBody>
      </p:sp>
      <p:sp>
        <p:nvSpPr>
          <p:cNvPr id="14" name="Title 1">
            <a:extLst>
              <a:ext uri="{FF2B5EF4-FFF2-40B4-BE49-F238E27FC236}">
                <a16:creationId xmlns:a16="http://schemas.microsoft.com/office/drawing/2014/main" id="{6EC3CB3A-684E-45E0-95D6-A9389DE27A3F}"/>
              </a:ext>
            </a:extLst>
          </p:cNvPr>
          <p:cNvSpPr txBox="1">
            <a:spLocks/>
          </p:cNvSpPr>
          <p:nvPr userDrawn="1"/>
        </p:nvSpPr>
        <p:spPr>
          <a:xfrm>
            <a:off x="807144" y="205160"/>
            <a:ext cx="10967088" cy="590400"/>
          </a:xfrm>
          <a:prstGeom prst="rect">
            <a:avLst/>
          </a:prstGeom>
        </p:spPr>
        <p:txBody>
          <a:bodyPr vert="horz" wrap="square" lIns="0" tIns="0" rIns="0" bIns="0" rtlCol="0" anchor="t" anchorCtr="0">
            <a:noAutofit/>
          </a:bodyPr>
          <a:lstStyle>
            <a:defPPr>
              <a:defRPr lang="en-US"/>
            </a:defPPr>
            <a:lvl1pPr defTabSz="913943">
              <a:lnSpc>
                <a:spcPct val="85000"/>
              </a:lnSpc>
              <a:spcBef>
                <a:spcPct val="0"/>
              </a:spcBef>
              <a:buNone/>
              <a:defRPr sz="1999" b="1">
                <a:solidFill>
                  <a:prstClr val="white"/>
                </a:solidFill>
                <a:latin typeface="EYInterstate Light" panose="02000506000000020004" pitchFamily="2" charset="0"/>
                <a:ea typeface="+mj-ea"/>
                <a:cs typeface="Arial" pitchFamily="34" charset="0"/>
              </a:defRPr>
            </a:lvl1pPr>
          </a:lstStyle>
          <a:p>
            <a:endParaRPr lang="en-GB" sz="1998"/>
          </a:p>
        </p:txBody>
      </p:sp>
    </p:spTree>
    <p:extLst>
      <p:ext uri="{BB962C8B-B14F-4D97-AF65-F5344CB8AC3E}">
        <p14:creationId xmlns:p14="http://schemas.microsoft.com/office/powerpoint/2010/main" val="757003712"/>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Empty">
    <p:bg>
      <p:bgPr>
        <a:solidFill>
          <a:srgbClr val="2E2E38"/>
        </a:solidFill>
        <a:effectLst/>
      </p:bgPr>
    </p:bg>
    <p:spTree>
      <p:nvGrpSpPr>
        <p:cNvPr id="1" name=""/>
        <p:cNvGrpSpPr/>
        <p:nvPr/>
      </p:nvGrpSpPr>
      <p:grpSpPr>
        <a:xfrm>
          <a:off x="0" y="0"/>
          <a:ext cx="0" cy="0"/>
          <a:chOff x="0" y="0"/>
          <a:chExt cx="0" cy="0"/>
        </a:xfrm>
      </p:grpSpPr>
      <p:pic>
        <p:nvPicPr>
          <p:cNvPr id="163" name="Picture 162">
            <a:extLst>
              <a:ext uri="{FF2B5EF4-FFF2-40B4-BE49-F238E27FC236}">
                <a16:creationId xmlns:a16="http://schemas.microsoft.com/office/drawing/2014/main" id="{6DA539B9-BD1D-4E05-A25B-CF5E528E636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1"/>
            <a:ext cx="12209716" cy="6858001"/>
          </a:xfrm>
          <a:prstGeom prst="rect">
            <a:avLst/>
          </a:prstGeom>
        </p:spPr>
      </p:pic>
      <p:sp>
        <p:nvSpPr>
          <p:cNvPr id="19" name="Rectangle 18">
            <a:extLst>
              <a:ext uri="{FF2B5EF4-FFF2-40B4-BE49-F238E27FC236}">
                <a16:creationId xmlns:a16="http://schemas.microsoft.com/office/drawing/2014/main" id="{90429494-19E5-4D44-8845-88A3B348E110}"/>
              </a:ext>
            </a:extLst>
          </p:cNvPr>
          <p:cNvSpPr/>
          <p:nvPr userDrawn="1"/>
        </p:nvSpPr>
        <p:spPr>
          <a:xfrm rot="5400000">
            <a:off x="2675134" y="-2675136"/>
            <a:ext cx="6865792" cy="12216063"/>
          </a:xfrm>
          <a:prstGeom prst="rect">
            <a:avLst/>
          </a:prstGeom>
          <a:gradFill>
            <a:gsLst>
              <a:gs pos="0">
                <a:schemeClr val="tx1"/>
              </a:gs>
              <a:gs pos="0">
                <a:srgbClr val="2E2E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8349"/>
            <a:endParaRPr lang="en-US" sz="1630">
              <a:solidFill>
                <a:prstClr val="white"/>
              </a:solidFill>
              <a:latin typeface="EYInterstate Light"/>
            </a:endParaRPr>
          </a:p>
        </p:txBody>
      </p:sp>
      <p:grpSp>
        <p:nvGrpSpPr>
          <p:cNvPr id="11" name="Group 4">
            <a:extLst>
              <a:ext uri="{FF2B5EF4-FFF2-40B4-BE49-F238E27FC236}">
                <a16:creationId xmlns:a16="http://schemas.microsoft.com/office/drawing/2014/main" id="{4DC1F723-8CA4-4A40-B0EC-092E8A751D1D}"/>
              </a:ext>
            </a:extLst>
          </p:cNvPr>
          <p:cNvGrpSpPr>
            <a:grpSpLocks noChangeAspect="1"/>
          </p:cNvGrpSpPr>
          <p:nvPr userDrawn="1"/>
        </p:nvGrpSpPr>
        <p:grpSpPr bwMode="auto">
          <a:xfrm>
            <a:off x="11220389" y="5785659"/>
            <a:ext cx="599341" cy="701819"/>
            <a:chOff x="6529" y="3125"/>
            <a:chExt cx="772" cy="904"/>
          </a:xfrm>
        </p:grpSpPr>
        <p:sp>
          <p:nvSpPr>
            <p:cNvPr id="12" name="Freeform 5">
              <a:extLst>
                <a:ext uri="{FF2B5EF4-FFF2-40B4-BE49-F238E27FC236}">
                  <a16:creationId xmlns:a16="http://schemas.microsoft.com/office/drawing/2014/main" id="{2B20F517-5F49-4521-882C-396BB2D33C53}"/>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 name="Freeform 6">
              <a:extLst>
                <a:ext uri="{FF2B5EF4-FFF2-40B4-BE49-F238E27FC236}">
                  <a16:creationId xmlns:a16="http://schemas.microsoft.com/office/drawing/2014/main" id="{7EBBE3F4-0BC9-4500-8C28-2BA492884A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4074596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9B5FE-187F-7B23-2F38-0FAA799CA2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845D645-35EA-924E-4DB8-0C6F5D14A60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B7BE2E-617D-09DB-3246-FC804B3FC5F3}"/>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8AE13401-C9C3-0F75-BFE3-900E137F581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B555A76-5F75-06D4-A62A-B4009456A8DE}"/>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2780261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5206" cy="6858000"/>
          </a:xfrm>
          <a:prstGeom prst="rect">
            <a:avLst/>
          </a:prstGeom>
        </p:spPr>
      </p:pic>
      <p:pic>
        <p:nvPicPr>
          <p:cNvPr id="6" name="Content Placeholder 3">
            <a:extLst>
              <a:ext uri="{FF2B5EF4-FFF2-40B4-BE49-F238E27FC236}">
                <a16:creationId xmlns:a16="http://schemas.microsoft.com/office/drawing/2014/main" id="{593BE67C-5BBA-4CE1-AF65-C2782F2951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5206" cy="6858000"/>
          </a:xfrm>
          <a:prstGeom prst="rect">
            <a:avLst/>
          </a:prstGeom>
        </p:spPr>
      </p:pic>
      <p:sp>
        <p:nvSpPr>
          <p:cNvPr id="7" name="TextBox 6">
            <a:extLst>
              <a:ext uri="{FF2B5EF4-FFF2-40B4-BE49-F238E27FC236}">
                <a16:creationId xmlns:a16="http://schemas.microsoft.com/office/drawing/2014/main" id="{41202A90-C0BA-43CC-B327-5800CA618001}"/>
              </a:ext>
            </a:extLst>
          </p:cNvPr>
          <p:cNvSpPr txBox="1"/>
          <p:nvPr userDrawn="1"/>
        </p:nvSpPr>
        <p:spPr>
          <a:xfrm>
            <a:off x="607482" y="719139"/>
            <a:ext cx="3654185" cy="4889544"/>
          </a:xfrm>
          <a:prstGeom prst="rect">
            <a:avLst/>
          </a:prstGeom>
          <a:noFill/>
        </p:spPr>
        <p:txBody>
          <a:bodyPr wrap="square" lIns="0" tIns="36557" rIns="0" bIns="0" rtlCol="0">
            <a:spAutoFit/>
          </a:bodyPr>
          <a:lstStyle/>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US" sz="999" b="1" i="0" u="none" strike="noStrike" kern="0" cap="none" spc="0" normalizeH="0" baseline="0" noProof="0">
                <a:ln>
                  <a:noFill/>
                </a:ln>
                <a:solidFill>
                  <a:srgbClr val="FFFFFF"/>
                </a:solidFill>
                <a:effectLst/>
                <a:uLnTx/>
                <a:uFillTx/>
                <a:latin typeface="EYInterstate Light" panose="02000506000000020004" pitchFamily="2" charset="0"/>
              </a:rPr>
              <a:t>EY </a:t>
            </a:r>
            <a:r>
              <a:rPr kumimoji="0" lang="en-US" sz="999" b="0" i="0" u="none" strike="noStrike" kern="0" cap="none" spc="0" normalizeH="0" baseline="0" noProof="0">
                <a:ln>
                  <a:noFill/>
                </a:ln>
                <a:solidFill>
                  <a:srgbClr val="FFFFFF"/>
                </a:solidFill>
                <a:effectLst/>
                <a:uLnTx/>
                <a:uFillTx/>
                <a:latin typeface="EYInterstate Light" panose="02000506000000020004" pitchFamily="2" charset="0"/>
              </a:rPr>
              <a:t> </a:t>
            </a:r>
            <a:r>
              <a:rPr kumimoji="0" lang="en-US" sz="999" b="0" i="0" u="none" strike="noStrike" kern="0" cap="none" spc="0" normalizeH="0" baseline="0" noProof="0">
                <a:ln>
                  <a:noFill/>
                </a:ln>
                <a:solidFill>
                  <a:srgbClr val="FFFFFF"/>
                </a:solidFill>
                <a:effectLst/>
                <a:uLnTx/>
                <a:uFillTx/>
                <a:latin typeface="EYInterstate Light" panose="02000506000000020004" pitchFamily="2" charset="0"/>
                <a:cs typeface="Arial"/>
              </a:rPr>
              <a:t>|  Assurance | Tax | Strategy and Transactions | Consulting</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US" sz="900" b="0" i="0" u="none" strike="noStrike" kern="0" cap="none" spc="0" normalizeH="0" baseline="0" noProof="0">
              <a:ln>
                <a:noFill/>
              </a:ln>
              <a:solidFill>
                <a:srgbClr val="FFFFFF"/>
              </a:solidFill>
              <a:effectLst/>
              <a:uLnTx/>
              <a:uFillTx/>
              <a:latin typeface="EYInterstate Light" panose="02000506000000020004" pitchFamily="2" charset="0"/>
              <a:cs typeface="Arial"/>
            </a:endParaRPr>
          </a:p>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IN" sz="900" b="1" i="0" u="none" strike="noStrike" kern="0" cap="none" spc="0" normalizeH="0" baseline="0" noProof="0">
                <a:ln>
                  <a:noFill/>
                </a:ln>
                <a:solidFill>
                  <a:srgbClr val="FFFFFF"/>
                </a:solidFill>
                <a:effectLst/>
                <a:uLnTx/>
                <a:uFillTx/>
                <a:latin typeface="EYInterstate Light" panose="02000506000000020004" pitchFamily="2" charset="0"/>
              </a:rPr>
              <a:t>About EY</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EY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defTabSz="913943">
              <a:spcAft>
                <a:spcPts val="400"/>
              </a:spcAft>
              <a:buClr>
                <a:srgbClr val="FFD200"/>
              </a:buClr>
              <a:buSzPct val="70000"/>
              <a:defRPr/>
            </a:pPr>
            <a:r>
              <a:rPr lang="en-GB" sz="800" kern="0">
                <a:solidFill>
                  <a:srgbClr val="FFFFFF"/>
                </a:solidFill>
                <a:latin typeface="EYInterstate Light" panose="02000506000000020004" pitchFamily="2" charset="0"/>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sation, please visit ey.com.</a:t>
            </a:r>
          </a:p>
          <a:p>
            <a:pPr lvl="0" defTabSz="913943">
              <a:buClr>
                <a:srgbClr val="FFD200"/>
              </a:buClr>
              <a:buSzPct val="70000"/>
              <a:defRPr/>
            </a:pPr>
            <a:endParaRPr lang="en-GB" sz="800" kern="0">
              <a:solidFill>
                <a:srgbClr val="FFFFFF"/>
              </a:solidFill>
              <a:latin typeface="EYInterstate Light" panose="02000506000000020004" pitchFamily="2" charset="0"/>
            </a:endParaRPr>
          </a:p>
          <a:p>
            <a:pPr defTabSz="913943">
              <a:spcAft>
                <a:spcPts val="600"/>
              </a:spcAft>
              <a:buClr>
                <a:srgbClr val="FFD200"/>
              </a:buClr>
              <a:buSzPct val="70000"/>
              <a:defRPr/>
            </a:pPr>
            <a:r>
              <a:rPr lang="en-GB" sz="900" b="1" kern="0">
                <a:solidFill>
                  <a:srgbClr val="FFFFFF"/>
                </a:solidFill>
                <a:latin typeface="EYInterstate Light" panose="02000506000000020004" pitchFamily="2" charset="0"/>
              </a:rPr>
              <a:t>About EY’s Consulting Services</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In Consulting, we are building a better working world by transforming businesses through the power of people, technology and innovation.</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It's our ambition to become the world's leading transformation consultants.</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The diversity and skills of our 70,000+ people will help EY clients realise transformation by putting humans at the centre, delivering technology at speed and leveraging innovation at scale.</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These core drivers of ‘Transformation Realized’ will create long-term value for people, clients and society.</a:t>
            </a:r>
          </a:p>
          <a:p>
            <a:pPr lvl="0" defTabSz="913943">
              <a:spcAft>
                <a:spcPts val="400"/>
              </a:spcAft>
              <a:buClr>
                <a:srgbClr val="FFD200"/>
              </a:buClr>
              <a:buSzPct val="70000"/>
              <a:defRPr/>
            </a:pPr>
            <a:r>
              <a:rPr lang="en-GB" sz="800" kern="0">
                <a:solidFill>
                  <a:srgbClr val="FFFFFF"/>
                </a:solidFill>
                <a:latin typeface="EYInterstate Light" panose="02000506000000020004" pitchFamily="2" charset="0"/>
              </a:rPr>
              <a:t>For more information about our Consulting organisation, please visit ey.com/consulting.</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a:ln>
                <a:noFill/>
              </a:ln>
              <a:solidFill>
                <a:srgbClr val="FFFFFF"/>
              </a:solidFill>
              <a:effectLst/>
              <a:uLnTx/>
              <a:uFillTx/>
              <a:latin typeface="EYInterstate Light" panose="02000506000000020004" pitchFamily="2" charset="0"/>
            </a:endParaRPr>
          </a:p>
          <a:p>
            <a:pPr lvl="0" defTabSz="913943">
              <a:buClr>
                <a:srgbClr val="FFD200"/>
              </a:buClr>
              <a:buSzPct val="70000"/>
              <a:defRPr/>
            </a:pPr>
            <a:r>
              <a:rPr kumimoji="0" lang="en-IN" sz="800" b="0" i="0" u="none" strike="noStrike" kern="0" cap="none" spc="0" normalizeH="0" baseline="0" noProof="0">
                <a:ln>
                  <a:noFill/>
                </a:ln>
                <a:solidFill>
                  <a:srgbClr val="FFFFFF"/>
                </a:solidFill>
                <a:effectLst/>
                <a:uLnTx/>
                <a:uFillTx/>
                <a:latin typeface="EYInterstate Light" panose="02000506000000020004" pitchFamily="2" charset="0"/>
              </a:rPr>
              <a:t>© 2023 </a:t>
            </a:r>
            <a:r>
              <a:rPr lang="en-GB" sz="800" kern="0">
                <a:solidFill>
                  <a:srgbClr val="FFFFFF"/>
                </a:solidFill>
                <a:latin typeface="EYInterstate Light" panose="02000506000000020004" pitchFamily="2" charset="0"/>
              </a:rPr>
              <a:t>Ernst &amp; Young Ltd</a:t>
            </a:r>
            <a:r>
              <a:rPr kumimoji="0" lang="en-IN" sz="800" b="0" i="0" u="none" strike="noStrike" kern="0" cap="none" spc="0" normalizeH="0" baseline="0" noProof="0">
                <a:ln>
                  <a:noFill/>
                </a:ln>
                <a:solidFill>
                  <a:srgbClr val="FFFFFF"/>
                </a:solidFill>
                <a:effectLst/>
                <a:uLnTx/>
                <a:uFillTx/>
                <a:latin typeface="EYInterstate Light" panose="02000506000000020004" pitchFamily="2" charset="0"/>
              </a:rPr>
              <a:t>.</a:t>
            </a:r>
            <a:br>
              <a:rPr kumimoji="0" lang="en-IN" sz="800" b="0" i="0" u="none" strike="noStrike" kern="0" cap="none" spc="0" normalizeH="0" baseline="0" noProof="0">
                <a:ln>
                  <a:noFill/>
                </a:ln>
                <a:solidFill>
                  <a:srgbClr val="FFFFFF"/>
                </a:solidFill>
                <a:effectLst/>
                <a:uLnTx/>
                <a:uFillTx/>
                <a:latin typeface="EYInterstate Light" panose="02000506000000020004" pitchFamily="2" charset="0"/>
              </a:rPr>
            </a:br>
            <a:r>
              <a:rPr kumimoji="0" lang="en-IN" sz="800" b="0" i="0" u="none" strike="noStrike" kern="0" cap="none" spc="0" normalizeH="0" baseline="0" noProof="0">
                <a:ln>
                  <a:noFill/>
                </a:ln>
                <a:solidFill>
                  <a:srgbClr val="FFFFFF"/>
                </a:solidFill>
                <a:effectLst/>
                <a:uLnTx/>
                <a:uFillTx/>
                <a:latin typeface="EYInterstate Light" panose="02000506000000020004" pitchFamily="2" charset="0"/>
              </a:rPr>
              <a:t>All Rights Reserved.</a:t>
            </a: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a:ln>
                <a:noFill/>
              </a:ln>
              <a:solidFill>
                <a:srgbClr val="FFFFFF"/>
              </a:solidFill>
              <a:effectLst/>
              <a:uLnTx/>
              <a:uFillTx/>
              <a:latin typeface="EYInterstate Light" panose="02000506000000020004" pitchFamily="2" charset="0"/>
            </a:endParaRPr>
          </a:p>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IN" sz="900" b="1" i="0" u="none" strike="noStrike" kern="0" cap="none" spc="0" normalizeH="0" baseline="0" noProof="0">
                <a:ln>
                  <a:noFill/>
                </a:ln>
                <a:solidFill>
                  <a:srgbClr val="FFFFFF"/>
                </a:solidFill>
                <a:effectLst/>
                <a:uLnTx/>
                <a:uFillTx/>
                <a:latin typeface="EYInterstate Light" panose="02000506000000020004" pitchFamily="2" charset="0"/>
              </a:rPr>
              <a:t>ey.com/mu</a:t>
            </a:r>
          </a:p>
        </p:txBody>
      </p:sp>
    </p:spTree>
    <p:extLst>
      <p:ext uri="{BB962C8B-B14F-4D97-AF65-F5344CB8AC3E}">
        <p14:creationId xmlns:p14="http://schemas.microsoft.com/office/powerpoint/2010/main" val="10865347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descr="A black background with yellow and green light&#10;&#10;Description automatically generated">
            <a:extLst>
              <a:ext uri="{FF2B5EF4-FFF2-40B4-BE49-F238E27FC236}">
                <a16:creationId xmlns:a16="http://schemas.microsoft.com/office/drawing/2014/main" id="{E292F2D6-66C2-B22A-7FFF-05A7B35054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
            <a:ext cx="12192001" cy="6858001"/>
          </a:xfrm>
          <a:prstGeom prst="rect">
            <a:avLst/>
          </a:prstGeom>
        </p:spPr>
      </p:pic>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96FD95-0C81-8816-F6A7-13708A804C91}"/>
              </a:ext>
            </a:extLst>
          </p:cNvPr>
          <p:cNvSpPr>
            <a:spLocks noGrp="1"/>
          </p:cNvSpPr>
          <p:nvPr>
            <p:ph type="dt" sz="half" idx="10"/>
          </p:nvPr>
        </p:nvSpPr>
        <p:spPr/>
        <p:txBody>
          <a:bodyPr/>
          <a:lstStyle/>
          <a:p>
            <a:fld id="{39B7AB89-215A-4D3E-9494-49745A20B597}" type="datetime3">
              <a:rPr lang="en-US" smtClean="0"/>
              <a:t>19 November 2025</a:t>
            </a:fld>
            <a:endParaRPr lang="en-US"/>
          </a:p>
        </p:txBody>
      </p:sp>
      <p:sp>
        <p:nvSpPr>
          <p:cNvPr id="4" name="Footer Placeholder 3">
            <a:extLst>
              <a:ext uri="{FF2B5EF4-FFF2-40B4-BE49-F238E27FC236}">
                <a16:creationId xmlns:a16="http://schemas.microsoft.com/office/drawing/2014/main" id="{434B0C7E-A414-4EA6-7DAD-5068A7AE4E81}"/>
              </a:ext>
            </a:extLst>
          </p:cNvPr>
          <p:cNvSpPr>
            <a:spLocks noGrp="1"/>
          </p:cNvSpPr>
          <p:nvPr>
            <p:ph type="ftr" sz="quarter" idx="11"/>
          </p:nvPr>
        </p:nvSpPr>
        <p:spPr/>
        <p:txBody>
          <a:bodyPr/>
          <a:lstStyle/>
          <a:p>
            <a:r>
              <a:rPr lang="en-ZA" err="1"/>
              <a:t>BankOne</a:t>
            </a:r>
            <a:r>
              <a:rPr lang="en-ZA"/>
              <a:t> - NIST Cyber Security Training </a:t>
            </a:r>
            <a:endParaRPr lang="en-US"/>
          </a:p>
        </p:txBody>
      </p:sp>
      <p:sp>
        <p:nvSpPr>
          <p:cNvPr id="5" name="Slide Number Placeholder 4">
            <a:extLst>
              <a:ext uri="{FF2B5EF4-FFF2-40B4-BE49-F238E27FC236}">
                <a16:creationId xmlns:a16="http://schemas.microsoft.com/office/drawing/2014/main" id="{830298F4-310D-68C0-AA7E-8C7FA83AB2EE}"/>
              </a:ext>
            </a:extLst>
          </p:cNvPr>
          <p:cNvSpPr>
            <a:spLocks noGrp="1"/>
          </p:cNvSpPr>
          <p:nvPr>
            <p:ph type="sldNum" sz="quarter" idx="12"/>
          </p:nvPr>
        </p:nvSpPr>
        <p:spPr/>
        <p:txBody>
          <a:bodyPr/>
          <a:lstStyle/>
          <a:p>
            <a:fld id="{94FCA0F3-9F3A-694B-99BB-0E592A797735}" type="slidenum">
              <a:rPr lang="en-US" smtClean="0"/>
              <a:t>‹#›</a:t>
            </a:fld>
            <a:endParaRPr lang="en-US"/>
          </a:p>
        </p:txBody>
      </p:sp>
      <p:grpSp>
        <p:nvGrpSpPr>
          <p:cNvPr id="11" name="Logo">
            <a:extLst>
              <a:ext uri="{FF2B5EF4-FFF2-40B4-BE49-F238E27FC236}">
                <a16:creationId xmlns:a16="http://schemas.microsoft.com/office/drawing/2014/main" id="{D638B96B-B381-0A4A-9C03-FAEA8FCC0C3A}"/>
              </a:ext>
            </a:extLst>
          </p:cNvPr>
          <p:cNvGrpSpPr/>
          <p:nvPr userDrawn="1"/>
        </p:nvGrpSpPr>
        <p:grpSpPr bwMode="black">
          <a:xfrm>
            <a:off x="11623900" y="6276979"/>
            <a:ext cx="346158" cy="355219"/>
            <a:chOff x="7110" y="4004"/>
            <a:chExt cx="191" cy="196"/>
          </a:xfrm>
        </p:grpSpPr>
        <p:sp>
          <p:nvSpPr>
            <p:cNvPr id="12" name="Freeform 5">
              <a:extLst>
                <a:ext uri="{FF2B5EF4-FFF2-40B4-BE49-F238E27FC236}">
                  <a16:creationId xmlns:a16="http://schemas.microsoft.com/office/drawing/2014/main" id="{F93FF753-4D01-4602-8217-3FFCC28BA2A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sp>
          <p:nvSpPr>
            <p:cNvPr id="13" name="Freeform 6">
              <a:extLst>
                <a:ext uri="{FF2B5EF4-FFF2-40B4-BE49-F238E27FC236}">
                  <a16:creationId xmlns:a16="http://schemas.microsoft.com/office/drawing/2014/main" id="{E36D5F7D-FB28-AFA3-2358-69211F54C147}"/>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sp>
          <p:nvSpPr>
            <p:cNvPr id="14" name="Freeform 7">
              <a:extLst>
                <a:ext uri="{FF2B5EF4-FFF2-40B4-BE49-F238E27FC236}">
                  <a16:creationId xmlns:a16="http://schemas.microsoft.com/office/drawing/2014/main" id="{82505B87-640B-2273-C7C7-DB96614AC411}"/>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grpSp>
    </p:spTree>
    <p:extLst>
      <p:ext uri="{BB962C8B-B14F-4D97-AF65-F5344CB8AC3E}">
        <p14:creationId xmlns:p14="http://schemas.microsoft.com/office/powerpoint/2010/main" val="552848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8" name="Picture 7" descr="A cell phone and credit card&#10;&#10;Description automatically generated">
            <a:extLst>
              <a:ext uri="{FF2B5EF4-FFF2-40B4-BE49-F238E27FC236}">
                <a16:creationId xmlns:a16="http://schemas.microsoft.com/office/drawing/2014/main" id="{63AF5AAC-E268-F12E-3FF1-2A8680D84874}"/>
              </a:ext>
            </a:extLst>
          </p:cNvPr>
          <p:cNvPicPr>
            <a:picLocks noChangeAspect="1"/>
          </p:cNvPicPr>
          <p:nvPr userDrawn="1"/>
        </p:nvPicPr>
        <p:blipFill>
          <a:blip r:embed="rId2"/>
          <a:stretch>
            <a:fillRect/>
          </a:stretch>
        </p:blipFill>
        <p:spPr>
          <a:xfrm>
            <a:off x="-1" y="0"/>
            <a:ext cx="12191999" cy="6857999"/>
          </a:xfrm>
          <a:prstGeom prst="rect">
            <a:avLst/>
          </a:prstGeom>
        </p:spPr>
      </p:pic>
    </p:spTree>
    <p:extLst>
      <p:ext uri="{BB962C8B-B14F-4D97-AF65-F5344CB8AC3E}">
        <p14:creationId xmlns:p14="http://schemas.microsoft.com/office/powerpoint/2010/main" val="4392870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2" name="Picture 1" descr="A red and blue hexagons&#10;&#10;Description automatically generated">
            <a:extLst>
              <a:ext uri="{FF2B5EF4-FFF2-40B4-BE49-F238E27FC236}">
                <a16:creationId xmlns:a16="http://schemas.microsoft.com/office/drawing/2014/main" id="{45D9AB72-14D9-5F3A-F396-480C02BF0DDA}"/>
              </a:ext>
            </a:extLst>
          </p:cNvPr>
          <p:cNvPicPr>
            <a:picLocks noChangeAspect="1"/>
          </p:cNvPicPr>
          <p:nvPr userDrawn="1"/>
        </p:nvPicPr>
        <p:blipFill>
          <a:blip r:embed="rId2"/>
          <a:srcRect l="38816" t="38816"/>
          <a:stretch/>
        </p:blipFill>
        <p:spPr>
          <a:xfrm flipV="1">
            <a:off x="-2" y="0"/>
            <a:ext cx="12192001" cy="6858000"/>
          </a:xfrm>
          <a:prstGeom prst="rect">
            <a:avLst/>
          </a:prstGeom>
        </p:spPr>
      </p:pic>
    </p:spTree>
    <p:extLst>
      <p:ext uri="{BB962C8B-B14F-4D97-AF65-F5344CB8AC3E}">
        <p14:creationId xmlns:p14="http://schemas.microsoft.com/office/powerpoint/2010/main" val="15475486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Picture 1" descr="A red and blue hexagons&#10;&#10;Description automatically generated">
            <a:extLst>
              <a:ext uri="{FF2B5EF4-FFF2-40B4-BE49-F238E27FC236}">
                <a16:creationId xmlns:a16="http://schemas.microsoft.com/office/drawing/2014/main" id="{45D9AB72-14D9-5F3A-F396-480C02BF0DD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95769803-01FB-C16C-4827-6698C38D38E5}"/>
              </a:ext>
            </a:extLst>
          </p:cNvPr>
          <p:cNvSpPr>
            <a:spLocks noGrp="1"/>
          </p:cNvSpPr>
          <p:nvPr>
            <p:ph type="body" sz="quarter" idx="10" hasCustomPrompt="1"/>
          </p:nvPr>
        </p:nvSpPr>
        <p:spPr>
          <a:xfrm>
            <a:off x="332509" y="3429000"/>
            <a:ext cx="7052252" cy="4738687"/>
          </a:xfrm>
        </p:spPr>
        <p:txBody>
          <a:bodyPr>
            <a:noAutofit/>
          </a:bodyPr>
          <a:lstStyle>
            <a:lvl1pPr marL="0" indent="0">
              <a:buNone/>
              <a:defRPr sz="40000" b="1" i="0">
                <a:solidFill>
                  <a:schemeClr val="bg1">
                    <a:alpha val="40234"/>
                  </a:schemeClr>
                </a:solidFill>
                <a:latin typeface="EYInterstate Regular" panose="02000503020000020004" pitchFamily="2" charset="0"/>
              </a:defRPr>
            </a:lvl1pPr>
          </a:lstStyle>
          <a:p>
            <a:pPr lvl="0"/>
            <a:r>
              <a:rPr lang="en-GB"/>
              <a:t>01</a:t>
            </a:r>
            <a:endParaRPr lang="en-US"/>
          </a:p>
        </p:txBody>
      </p:sp>
      <p:cxnSp>
        <p:nvCxnSpPr>
          <p:cNvPr id="6" name="Straight Connector 5">
            <a:extLst>
              <a:ext uri="{FF2B5EF4-FFF2-40B4-BE49-F238E27FC236}">
                <a16:creationId xmlns:a16="http://schemas.microsoft.com/office/drawing/2014/main" id="{EC814982-1454-66E6-45B5-BBD38716F317}"/>
              </a:ext>
            </a:extLst>
          </p:cNvPr>
          <p:cNvCxnSpPr>
            <a:cxnSpLocks/>
          </p:cNvCxnSpPr>
          <p:nvPr userDrawn="1"/>
        </p:nvCxnSpPr>
        <p:spPr>
          <a:xfrm>
            <a:off x="1316182" y="3574473"/>
            <a:ext cx="1122219" cy="0"/>
          </a:xfrm>
          <a:prstGeom prst="line">
            <a:avLst/>
          </a:prstGeom>
          <a:ln w="101600" cap="rnd">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37">
            <a:extLst>
              <a:ext uri="{FF2B5EF4-FFF2-40B4-BE49-F238E27FC236}">
                <a16:creationId xmlns:a16="http://schemas.microsoft.com/office/drawing/2014/main" id="{4AD25370-8718-D206-3B2D-372F2F9DA656}"/>
              </a:ext>
            </a:extLst>
          </p:cNvPr>
          <p:cNvSpPr>
            <a:spLocks noGrp="1"/>
          </p:cNvSpPr>
          <p:nvPr>
            <p:ph type="body" sz="quarter" idx="11"/>
          </p:nvPr>
        </p:nvSpPr>
        <p:spPr>
          <a:xfrm>
            <a:off x="1316183" y="626918"/>
            <a:ext cx="5541818" cy="2632364"/>
          </a:xfrm>
        </p:spPr>
        <p:txBody>
          <a:bodyPr lIns="0" tIns="0" rIns="0" bIns="0" anchor="b">
            <a:noAutofit/>
          </a:bodyPr>
          <a:lstStyle>
            <a:lvl1pPr marL="0" indent="0">
              <a:lnSpc>
                <a:spcPct val="100000"/>
              </a:lnSpc>
              <a:buNone/>
              <a:defRPr sz="4600" b="0" i="0">
                <a:solidFill>
                  <a:schemeClr val="bg1"/>
                </a:solidFill>
                <a:latin typeface="EYInterstate Light" panose="02000506000000020004" pitchFamily="2" charset="0"/>
              </a:defRPr>
            </a:lvl1pPr>
          </a:lstStyle>
          <a:p>
            <a:pPr lvl="0"/>
            <a:r>
              <a:rPr lang="en-GB"/>
              <a:t>Click to edit Master text styles</a:t>
            </a:r>
          </a:p>
        </p:txBody>
      </p:sp>
    </p:spTree>
    <p:extLst>
      <p:ext uri="{BB962C8B-B14F-4D97-AF65-F5344CB8AC3E}">
        <p14:creationId xmlns:p14="http://schemas.microsoft.com/office/powerpoint/2010/main" val="4200736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38" name="Text Placeholder 37">
            <a:extLst>
              <a:ext uri="{FF2B5EF4-FFF2-40B4-BE49-F238E27FC236}">
                <a16:creationId xmlns:a16="http://schemas.microsoft.com/office/drawing/2014/main" id="{35F414C0-2ADA-FE67-0AB9-284A3B80114A}"/>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sp>
        <p:nvSpPr>
          <p:cNvPr id="12" name="TextBox 23">
            <a:extLst>
              <a:ext uri="{FF2B5EF4-FFF2-40B4-BE49-F238E27FC236}">
                <a16:creationId xmlns:a16="http://schemas.microsoft.com/office/drawing/2014/main" id="{545E2156-7547-0D8E-E174-F1EED8ECEC4A}"/>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Tree>
    <p:extLst>
      <p:ext uri="{BB962C8B-B14F-4D97-AF65-F5344CB8AC3E}">
        <p14:creationId xmlns:p14="http://schemas.microsoft.com/office/powerpoint/2010/main" val="1438280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178">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5711746D-E391-2DA6-C455-E062127B3897}"/>
              </a:ext>
            </a:extLst>
          </p:cNvPr>
          <p:cNvGrpSpPr/>
          <p:nvPr userDrawn="1"/>
        </p:nvGrpSpPr>
        <p:grpSpPr>
          <a:xfrm>
            <a:off x="1020264" y="139955"/>
            <a:ext cx="5053055" cy="123111"/>
            <a:chOff x="1020264" y="64539"/>
            <a:chExt cx="5053055" cy="123111"/>
          </a:xfrm>
        </p:grpSpPr>
        <p:sp>
          <p:nvSpPr>
            <p:cNvPr id="17" name="TextBox 16">
              <a:hlinkClick r:id="rId3" action="ppaction://hlinksldjump"/>
              <a:extLst>
                <a:ext uri="{FF2B5EF4-FFF2-40B4-BE49-F238E27FC236}">
                  <a16:creationId xmlns:a16="http://schemas.microsoft.com/office/drawing/2014/main" id="{DCE5F22F-11CE-030F-BE2C-E409A9A777DE}"/>
                </a:ext>
              </a:extLst>
            </p:cNvPr>
            <p:cNvSpPr txBox="1"/>
            <p:nvPr userDrawn="1"/>
          </p:nvSpPr>
          <p:spPr>
            <a:xfrm>
              <a:off x="1020264" y="64539"/>
              <a:ext cx="1005239"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100" normalizeH="0" baseline="0" noProof="0">
                  <a:ln>
                    <a:noFill/>
                  </a:ln>
                  <a:solidFill>
                    <a:schemeClr val="tx1"/>
                  </a:solidFill>
                  <a:effectLst/>
                  <a:uLnTx/>
                  <a:uFillTx/>
                  <a:latin typeface="EYInterstate Light"/>
                  <a:ea typeface="+mn-ea"/>
                  <a:cs typeface="+mn-cs"/>
                </a:rPr>
                <a:t>Phase 01</a:t>
              </a:r>
              <a:endParaRPr kumimoji="0" lang="en-US" sz="800" b="0" i="0" u="none" strike="noStrike" kern="1200" cap="none" spc="100" normalizeH="0" baseline="0" noProof="0">
                <a:ln>
                  <a:noFill/>
                </a:ln>
                <a:solidFill>
                  <a:schemeClr val="tx1"/>
                </a:solidFill>
                <a:effectLst/>
                <a:uLnTx/>
                <a:uFillTx/>
                <a:latin typeface="EYInterstate Light"/>
                <a:ea typeface="+mn-ea"/>
                <a:cs typeface="+mn-cs"/>
              </a:endParaRPr>
            </a:p>
          </p:txBody>
        </p:sp>
        <p:sp>
          <p:nvSpPr>
            <p:cNvPr id="18" name="TextBox 17">
              <a:hlinkClick r:id="rId3" action="ppaction://hlinksldjump"/>
              <a:extLst>
                <a:ext uri="{FF2B5EF4-FFF2-40B4-BE49-F238E27FC236}">
                  <a16:creationId xmlns:a16="http://schemas.microsoft.com/office/drawing/2014/main" id="{BF2C2D7C-36D0-8739-F66D-472B66C72951}"/>
                </a:ext>
              </a:extLst>
            </p:cNvPr>
            <p:cNvSpPr txBox="1"/>
            <p:nvPr userDrawn="1"/>
          </p:nvSpPr>
          <p:spPr>
            <a:xfrm>
              <a:off x="2369536" y="64539"/>
              <a:ext cx="1005239"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100" normalizeH="0" baseline="0" noProof="0">
                  <a:ln>
                    <a:noFill/>
                  </a:ln>
                  <a:solidFill>
                    <a:schemeClr val="tx1"/>
                  </a:solidFill>
                  <a:effectLst/>
                  <a:uLnTx/>
                  <a:uFillTx/>
                  <a:latin typeface="EYInterstate Light"/>
                  <a:ea typeface="+mn-ea"/>
                  <a:cs typeface="+mn-cs"/>
                </a:rPr>
                <a:t>Phase 02</a:t>
              </a:r>
              <a:endParaRPr kumimoji="0" lang="en-US" sz="800" b="0" i="0" u="none" strike="noStrike" kern="1200" cap="none" spc="100" normalizeH="0" baseline="0" noProof="0">
                <a:ln>
                  <a:noFill/>
                </a:ln>
                <a:solidFill>
                  <a:schemeClr val="tx1"/>
                </a:solidFill>
                <a:effectLst/>
                <a:uLnTx/>
                <a:uFillTx/>
                <a:latin typeface="EYInterstate Light"/>
                <a:ea typeface="+mn-ea"/>
                <a:cs typeface="+mn-cs"/>
              </a:endParaRPr>
            </a:p>
          </p:txBody>
        </p:sp>
        <p:sp>
          <p:nvSpPr>
            <p:cNvPr id="21" name="TextBox 20">
              <a:hlinkClick r:id="rId3" action="ppaction://hlinksldjump"/>
              <a:extLst>
                <a:ext uri="{FF2B5EF4-FFF2-40B4-BE49-F238E27FC236}">
                  <a16:creationId xmlns:a16="http://schemas.microsoft.com/office/drawing/2014/main" id="{6007A9E4-D789-B0C7-620E-4F33313306D0}"/>
                </a:ext>
              </a:extLst>
            </p:cNvPr>
            <p:cNvSpPr txBox="1"/>
            <p:nvPr userDrawn="1"/>
          </p:nvSpPr>
          <p:spPr>
            <a:xfrm>
              <a:off x="3718808" y="64539"/>
              <a:ext cx="1005239"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100" normalizeH="0" baseline="0" noProof="0">
                  <a:ln>
                    <a:noFill/>
                  </a:ln>
                  <a:solidFill>
                    <a:schemeClr val="tx1"/>
                  </a:solidFill>
                  <a:effectLst/>
                  <a:uLnTx/>
                  <a:uFillTx/>
                  <a:latin typeface="EYInterstate Light"/>
                  <a:ea typeface="+mn-ea"/>
                  <a:cs typeface="+mn-cs"/>
                </a:rPr>
                <a:t>Phase 03</a:t>
              </a:r>
              <a:endParaRPr kumimoji="0" lang="en-US" sz="800" b="0" i="0" u="none" strike="noStrike" kern="1200" cap="none" spc="100" normalizeH="0" baseline="0" noProof="0">
                <a:ln>
                  <a:noFill/>
                </a:ln>
                <a:solidFill>
                  <a:schemeClr val="tx1"/>
                </a:solidFill>
                <a:effectLst/>
                <a:uLnTx/>
                <a:uFillTx/>
                <a:latin typeface="EYInterstate Light"/>
                <a:ea typeface="+mn-ea"/>
                <a:cs typeface="+mn-cs"/>
              </a:endParaRPr>
            </a:p>
          </p:txBody>
        </p:sp>
        <p:sp>
          <p:nvSpPr>
            <p:cNvPr id="22" name="TextBox 21">
              <a:hlinkClick r:id="rId3" action="ppaction://hlinksldjump"/>
              <a:extLst>
                <a:ext uri="{FF2B5EF4-FFF2-40B4-BE49-F238E27FC236}">
                  <a16:creationId xmlns:a16="http://schemas.microsoft.com/office/drawing/2014/main" id="{4BC1172C-6BF8-E638-44A3-49B0BA6BBB29}"/>
                </a:ext>
              </a:extLst>
            </p:cNvPr>
            <p:cNvSpPr txBox="1"/>
            <p:nvPr userDrawn="1"/>
          </p:nvSpPr>
          <p:spPr>
            <a:xfrm>
              <a:off x="5068080" y="64539"/>
              <a:ext cx="1005239"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100" normalizeH="0" baseline="0" noProof="0">
                  <a:ln>
                    <a:noFill/>
                  </a:ln>
                  <a:solidFill>
                    <a:schemeClr val="tx1"/>
                  </a:solidFill>
                  <a:effectLst/>
                  <a:uLnTx/>
                  <a:uFillTx/>
                  <a:latin typeface="EYInterstate Light"/>
                  <a:ea typeface="+mn-ea"/>
                  <a:cs typeface="+mn-cs"/>
                </a:rPr>
                <a:t>Phase 04</a:t>
              </a:r>
              <a:endParaRPr kumimoji="0" lang="en-US" sz="800" b="0" i="0" u="none" strike="noStrike" kern="1200" cap="none" spc="100" normalizeH="0" baseline="0" noProof="0">
                <a:ln>
                  <a:noFill/>
                </a:ln>
                <a:solidFill>
                  <a:schemeClr val="tx1"/>
                </a:solidFill>
                <a:effectLst/>
                <a:uLnTx/>
                <a:uFillTx/>
                <a:latin typeface="EYInterstate Light"/>
                <a:ea typeface="+mn-ea"/>
                <a:cs typeface="+mn-cs"/>
              </a:endParaRPr>
            </a:p>
          </p:txBody>
        </p:sp>
      </p:grpSp>
      <p:sp>
        <p:nvSpPr>
          <p:cNvPr id="2" name="TextBox 23">
            <a:extLst>
              <a:ext uri="{FF2B5EF4-FFF2-40B4-BE49-F238E27FC236}">
                <a16:creationId xmlns:a16="http://schemas.microsoft.com/office/drawing/2014/main" id="{5CC42518-CAA2-D153-3A3E-6E94E237DD06}"/>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AE7B2AAB-684A-569F-7AFF-2DC65E0FB03C}"/>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spTree>
    <p:extLst>
      <p:ext uri="{BB962C8B-B14F-4D97-AF65-F5344CB8AC3E}">
        <p14:creationId xmlns:p14="http://schemas.microsoft.com/office/powerpoint/2010/main" val="2700311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17" name="TextBox 16">
            <a:hlinkClick r:id="rId3" action="ppaction://hlinksldjump"/>
            <a:extLst>
              <a:ext uri="{FF2B5EF4-FFF2-40B4-BE49-F238E27FC236}">
                <a16:creationId xmlns:a16="http://schemas.microsoft.com/office/drawing/2014/main" id="{DCE5F22F-11CE-030F-BE2C-E409A9A777DE}"/>
              </a:ext>
            </a:extLst>
          </p:cNvPr>
          <p:cNvSpPr txBox="1"/>
          <p:nvPr userDrawn="1"/>
        </p:nvSpPr>
        <p:spPr>
          <a:xfrm>
            <a:off x="944059" y="78036"/>
            <a:ext cx="1185686" cy="180000"/>
          </a:xfrm>
          <a:prstGeom prst="rect">
            <a:avLst/>
          </a:prstGeom>
          <a:solidFill>
            <a:srgbClr val="AE154B"/>
          </a:solidFill>
        </p:spPr>
        <p:txBody>
          <a:bodyPr wrap="square" lIns="0" tIns="0" rIns="0" bIns="0" anchor="ctr">
            <a:noAutofit/>
          </a:bodyPr>
          <a:lstStyle/>
          <a:p>
            <a:pPr algn="ctr">
              <a:spcBef>
                <a:spcPts val="600"/>
              </a:spcBef>
              <a:defRPr/>
            </a:pPr>
            <a:r>
              <a:rPr lang="en-US" sz="800">
                <a:solidFill>
                  <a:prstClr val="white"/>
                </a:solidFill>
              </a:rPr>
              <a:t>Executive summary</a:t>
            </a:r>
          </a:p>
        </p:txBody>
      </p:sp>
      <p:sp>
        <p:nvSpPr>
          <p:cNvPr id="18" name="TextBox 17">
            <a:hlinkClick r:id="rId4" action="ppaction://hlinksldjump"/>
            <a:extLst>
              <a:ext uri="{FF2B5EF4-FFF2-40B4-BE49-F238E27FC236}">
                <a16:creationId xmlns:a16="http://schemas.microsoft.com/office/drawing/2014/main" id="{BF2C2D7C-36D0-8739-F66D-472B66C72951}"/>
              </a:ext>
            </a:extLst>
          </p:cNvPr>
          <p:cNvSpPr txBox="1"/>
          <p:nvPr userDrawn="1"/>
        </p:nvSpPr>
        <p:spPr>
          <a:xfrm>
            <a:off x="2293331"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approach and methodology</a:t>
            </a:r>
          </a:p>
        </p:txBody>
      </p:sp>
      <p:sp>
        <p:nvSpPr>
          <p:cNvPr id="21" name="TextBox 20">
            <a:hlinkClick r:id="rId4" action="ppaction://hlinksldjump"/>
            <a:extLst>
              <a:ext uri="{FF2B5EF4-FFF2-40B4-BE49-F238E27FC236}">
                <a16:creationId xmlns:a16="http://schemas.microsoft.com/office/drawing/2014/main" id="{6007A9E4-D789-B0C7-620E-4F33313306D0}"/>
              </a:ext>
            </a:extLst>
          </p:cNvPr>
          <p:cNvSpPr txBox="1"/>
          <p:nvPr userDrawn="1"/>
        </p:nvSpPr>
        <p:spPr>
          <a:xfrm>
            <a:off x="3642603" y="78036"/>
            <a:ext cx="1022100"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22" name="TextBox 21">
            <a:hlinkClick r:id="rId4" action="ppaction://hlinksldjump"/>
            <a:extLst>
              <a:ext uri="{FF2B5EF4-FFF2-40B4-BE49-F238E27FC236}">
                <a16:creationId xmlns:a16="http://schemas.microsoft.com/office/drawing/2014/main" id="{4BC1172C-6BF8-E638-44A3-49B0BA6BBB29}"/>
              </a:ext>
            </a:extLst>
          </p:cNvPr>
          <p:cNvSpPr txBox="1"/>
          <p:nvPr userDrawn="1"/>
        </p:nvSpPr>
        <p:spPr>
          <a:xfrm>
            <a:off x="4991875"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sp>
        <p:nvSpPr>
          <p:cNvPr id="2" name="TextBox 23">
            <a:extLst>
              <a:ext uri="{FF2B5EF4-FFF2-40B4-BE49-F238E27FC236}">
                <a16:creationId xmlns:a16="http://schemas.microsoft.com/office/drawing/2014/main" id="{3C6CF5A2-3789-3DDC-8CD1-51B11A45621B}"/>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6A078098-54CB-A394-3C3A-C157BD1178FE}"/>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cxnSp>
        <p:nvCxnSpPr>
          <p:cNvPr id="16" name="Straight Connector 15">
            <a:extLst>
              <a:ext uri="{FF2B5EF4-FFF2-40B4-BE49-F238E27FC236}">
                <a16:creationId xmlns:a16="http://schemas.microsoft.com/office/drawing/2014/main" id="{EFBBD065-6822-FBE1-7940-1EF13B40377C}"/>
              </a:ext>
            </a:extLst>
          </p:cNvPr>
          <p:cNvCxnSpPr>
            <a:cxnSpLocks/>
          </p:cNvCxnSpPr>
          <p:nvPr userDrawn="1"/>
        </p:nvCxnSpPr>
        <p:spPr>
          <a:xfrm>
            <a:off x="3481571"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20FAA71C-98D2-41D1-01AC-732E9BCA93F4}"/>
              </a:ext>
            </a:extLst>
          </p:cNvPr>
          <p:cNvCxnSpPr>
            <a:cxnSpLocks/>
          </p:cNvCxnSpPr>
          <p:nvPr userDrawn="1"/>
        </p:nvCxnSpPr>
        <p:spPr>
          <a:xfrm>
            <a:off x="4828289"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sp>
        <p:nvSpPr>
          <p:cNvPr id="13" name="TextBox 12">
            <a:hlinkClick r:id="rId4" action="ppaction://hlinksldjump"/>
            <a:extLst>
              <a:ext uri="{FF2B5EF4-FFF2-40B4-BE49-F238E27FC236}">
                <a16:creationId xmlns:a16="http://schemas.microsoft.com/office/drawing/2014/main" id="{6DCFC2C4-4754-CC29-0891-7F0A43FBE85B}"/>
              </a:ext>
            </a:extLst>
          </p:cNvPr>
          <p:cNvSpPr txBox="1"/>
          <p:nvPr userDrawn="1"/>
        </p:nvSpPr>
        <p:spPr>
          <a:xfrm>
            <a:off x="6354556"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cxnSp>
        <p:nvCxnSpPr>
          <p:cNvPr id="15" name="Straight Connector 14">
            <a:extLst>
              <a:ext uri="{FF2B5EF4-FFF2-40B4-BE49-F238E27FC236}">
                <a16:creationId xmlns:a16="http://schemas.microsoft.com/office/drawing/2014/main" id="{795787E0-5645-C367-EE7F-1B5E762E661E}"/>
              </a:ext>
            </a:extLst>
          </p:cNvPr>
          <p:cNvCxnSpPr>
            <a:cxnSpLocks/>
          </p:cNvCxnSpPr>
          <p:nvPr userDrawn="1"/>
        </p:nvCxnSpPr>
        <p:spPr>
          <a:xfrm>
            <a:off x="619097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sp>
        <p:nvSpPr>
          <p:cNvPr id="20" name="TextBox 19">
            <a:hlinkClick r:id="rId4" action="ppaction://hlinksldjump"/>
            <a:extLst>
              <a:ext uri="{FF2B5EF4-FFF2-40B4-BE49-F238E27FC236}">
                <a16:creationId xmlns:a16="http://schemas.microsoft.com/office/drawing/2014/main" id="{17E46D0F-78BA-D2B6-E1AE-55731D56E027}"/>
              </a:ext>
            </a:extLst>
          </p:cNvPr>
          <p:cNvSpPr txBox="1"/>
          <p:nvPr userDrawn="1"/>
        </p:nvSpPr>
        <p:spPr>
          <a:xfrm>
            <a:off x="7714828" y="80551"/>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3" name="Straight Connector 22">
            <a:extLst>
              <a:ext uri="{FF2B5EF4-FFF2-40B4-BE49-F238E27FC236}">
                <a16:creationId xmlns:a16="http://schemas.microsoft.com/office/drawing/2014/main" id="{4139E2B4-000D-2061-DF55-AC43864E6FC8}"/>
              </a:ext>
            </a:extLst>
          </p:cNvPr>
          <p:cNvCxnSpPr>
            <a:cxnSpLocks/>
          </p:cNvCxnSpPr>
          <p:nvPr userDrawn="1"/>
        </p:nvCxnSpPr>
        <p:spPr>
          <a:xfrm>
            <a:off x="7551242" y="81171"/>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7FD300AC-4695-E1F2-13A5-19F16A66E0D4}"/>
              </a:ext>
            </a:extLst>
          </p:cNvPr>
          <p:cNvCxnSpPr>
            <a:cxnSpLocks/>
          </p:cNvCxnSpPr>
          <p:nvPr userDrawn="1"/>
        </p:nvCxnSpPr>
        <p:spPr>
          <a:xfrm>
            <a:off x="326236"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Oval 24">
            <a:hlinkClick r:id="" action="ppaction://noaction"/>
            <a:extLst>
              <a:ext uri="{FF2B5EF4-FFF2-40B4-BE49-F238E27FC236}">
                <a16:creationId xmlns:a16="http://schemas.microsoft.com/office/drawing/2014/main" id="{3A7E2650-3C27-B457-DA45-CEBDA3BDF0CD}"/>
              </a:ext>
            </a:extLst>
          </p:cNvPr>
          <p:cNvSpPr>
            <a:spLocks noChangeAspect="1"/>
          </p:cNvSpPr>
          <p:nvPr userDrawn="1"/>
        </p:nvSpPr>
        <p:spPr>
          <a:xfrm>
            <a:off x="218236" y="1231010"/>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6" name="Oval 25">
            <a:hlinkClick r:id="" action="ppaction://noaction"/>
            <a:extLst>
              <a:ext uri="{FF2B5EF4-FFF2-40B4-BE49-F238E27FC236}">
                <a16:creationId xmlns:a16="http://schemas.microsoft.com/office/drawing/2014/main" id="{4ACCFD13-3F63-6177-644E-A8DE237F7CEB}"/>
              </a:ext>
            </a:extLst>
          </p:cNvPr>
          <p:cNvSpPr>
            <a:spLocks noChangeAspect="1"/>
          </p:cNvSpPr>
          <p:nvPr userDrawn="1"/>
        </p:nvSpPr>
        <p:spPr>
          <a:xfrm>
            <a:off x="270436"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7" name="Oval 26">
            <a:hlinkClick r:id="" action="ppaction://noaction"/>
            <a:extLst>
              <a:ext uri="{FF2B5EF4-FFF2-40B4-BE49-F238E27FC236}">
                <a16:creationId xmlns:a16="http://schemas.microsoft.com/office/drawing/2014/main" id="{C4698CD5-A7E0-13F7-FB52-ADA0A0A87710}"/>
              </a:ext>
            </a:extLst>
          </p:cNvPr>
          <p:cNvSpPr>
            <a:spLocks noChangeAspect="1"/>
          </p:cNvSpPr>
          <p:nvPr userDrawn="1"/>
        </p:nvSpPr>
        <p:spPr>
          <a:xfrm>
            <a:off x="271372"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noaction"/>
            <a:extLst>
              <a:ext uri="{FF2B5EF4-FFF2-40B4-BE49-F238E27FC236}">
                <a16:creationId xmlns:a16="http://schemas.microsoft.com/office/drawing/2014/main" id="{FE3F7031-B1CC-AB52-5EB6-4A3057A7D9AF}"/>
              </a:ext>
            </a:extLst>
          </p:cNvPr>
          <p:cNvSpPr>
            <a:spLocks noChangeAspect="1"/>
          </p:cNvSpPr>
          <p:nvPr userDrawn="1"/>
        </p:nvSpPr>
        <p:spPr>
          <a:xfrm>
            <a:off x="271372"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noaction"/>
            <a:extLst>
              <a:ext uri="{FF2B5EF4-FFF2-40B4-BE49-F238E27FC236}">
                <a16:creationId xmlns:a16="http://schemas.microsoft.com/office/drawing/2014/main" id="{51B24B61-07FA-1028-B668-BCEF6D7F11AF}"/>
              </a:ext>
            </a:extLst>
          </p:cNvPr>
          <p:cNvSpPr>
            <a:spLocks noChangeAspect="1"/>
          </p:cNvSpPr>
          <p:nvPr userDrawn="1"/>
        </p:nvSpPr>
        <p:spPr>
          <a:xfrm>
            <a:off x="271372"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hlinkshowjump?jump=nextslide"/>
            <a:extLst>
              <a:ext uri="{FF2B5EF4-FFF2-40B4-BE49-F238E27FC236}">
                <a16:creationId xmlns:a16="http://schemas.microsoft.com/office/drawing/2014/main" id="{39F1AA48-11B2-265E-E8F6-3414471105BB}"/>
              </a:ext>
            </a:extLst>
          </p:cNvPr>
          <p:cNvSpPr>
            <a:spLocks noChangeAspect="1"/>
          </p:cNvSpPr>
          <p:nvPr userDrawn="1"/>
        </p:nvSpPr>
        <p:spPr>
          <a:xfrm>
            <a:off x="270436" y="2245449"/>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4484033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83FB9019-7422-4E1B-0BD3-B76C9B035C0E}"/>
              </a:ext>
            </a:extLst>
          </p:cNvPr>
          <p:cNvGrpSpPr/>
          <p:nvPr userDrawn="1"/>
        </p:nvGrpSpPr>
        <p:grpSpPr>
          <a:xfrm>
            <a:off x="944059" y="78036"/>
            <a:ext cx="5053055" cy="180620"/>
            <a:chOff x="944059" y="78036"/>
            <a:chExt cx="5053055" cy="180620"/>
          </a:xfrm>
        </p:grpSpPr>
        <p:sp>
          <p:nvSpPr>
            <p:cNvPr id="13" name="TextBox 12">
              <a:hlinkClick r:id="rId2" action="ppaction://hlinksldjump"/>
              <a:extLst>
                <a:ext uri="{FF2B5EF4-FFF2-40B4-BE49-F238E27FC236}">
                  <a16:creationId xmlns:a16="http://schemas.microsoft.com/office/drawing/2014/main" id="{8B059C88-11BA-269D-681B-1B5253A1375C}"/>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800" b="0" i="0">
                  <a:solidFill>
                    <a:schemeClr val="tx1"/>
                  </a:solidFill>
                  <a:latin typeface="EYInterstate Light" panose="02000506000000020004" pitchFamily="2" charset="0"/>
                </a:rPr>
                <a:t>Executive summary</a:t>
              </a:r>
            </a:p>
          </p:txBody>
        </p:sp>
        <p:sp>
          <p:nvSpPr>
            <p:cNvPr id="15" name="TextBox 14">
              <a:hlinkClick r:id="rId3" action="ppaction://hlinksldjump"/>
              <a:extLst>
                <a:ext uri="{FF2B5EF4-FFF2-40B4-BE49-F238E27FC236}">
                  <a16:creationId xmlns:a16="http://schemas.microsoft.com/office/drawing/2014/main" id="{84C88527-9275-4EEF-3306-1462A0DB105A}"/>
                </a:ext>
              </a:extLst>
            </p:cNvPr>
            <p:cNvSpPr txBox="1"/>
            <p:nvPr userDrawn="1"/>
          </p:nvSpPr>
          <p:spPr>
            <a:xfrm>
              <a:off x="2129745" y="78036"/>
              <a:ext cx="1349272" cy="180000"/>
            </a:xfrm>
            <a:prstGeom prst="rect">
              <a:avLst/>
            </a:prstGeom>
            <a:solidFill>
              <a:srgbClr val="AF154B"/>
            </a:solidFill>
            <a:ln>
              <a:noFill/>
            </a:ln>
          </p:spPr>
          <p:txBody>
            <a:bodyPr wrap="square" lIns="0" tIns="0" rIns="0" bIns="0" anchor="ctr">
              <a:noAutofit/>
            </a:bodyPr>
            <a:lstStyle/>
            <a:p>
              <a:pPr algn="ctr">
                <a:spcBef>
                  <a:spcPts val="600"/>
                </a:spcBef>
                <a:defRPr/>
              </a:pPr>
              <a:r>
                <a:rPr lang="en-US" sz="700" b="0" i="0">
                  <a:solidFill>
                    <a:schemeClr val="bg1"/>
                  </a:solidFill>
                  <a:latin typeface="EYInterstate Light" panose="02000506000000020004" pitchFamily="2" charset="0"/>
                </a:rPr>
                <a:t>Our approach and methodology</a:t>
              </a:r>
            </a:p>
          </p:txBody>
        </p:sp>
        <p:sp>
          <p:nvSpPr>
            <p:cNvPr id="16" name="TextBox 15">
              <a:hlinkClick r:id="rId2" action="ppaction://hlinksldjump"/>
              <a:extLst>
                <a:ext uri="{FF2B5EF4-FFF2-40B4-BE49-F238E27FC236}">
                  <a16:creationId xmlns:a16="http://schemas.microsoft.com/office/drawing/2014/main" id="{FED9F7EF-C44F-5654-1402-ABB6CF49F782}"/>
                </a:ext>
              </a:extLst>
            </p:cNvPr>
            <p:cNvSpPr txBox="1"/>
            <p:nvPr userDrawn="1"/>
          </p:nvSpPr>
          <p:spPr>
            <a:xfrm>
              <a:off x="3642603" y="78036"/>
              <a:ext cx="1022097"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19" name="TextBox 18">
              <a:hlinkClick r:id="rId2" action="ppaction://hlinksldjump"/>
              <a:extLst>
                <a:ext uri="{FF2B5EF4-FFF2-40B4-BE49-F238E27FC236}">
                  <a16:creationId xmlns:a16="http://schemas.microsoft.com/office/drawing/2014/main" id="{85C580B1-7149-A621-628C-F0D5B536187B}"/>
                </a:ext>
              </a:extLst>
            </p:cNvPr>
            <p:cNvSpPr txBox="1"/>
            <p:nvPr userDrawn="1"/>
          </p:nvSpPr>
          <p:spPr>
            <a:xfrm>
              <a:off x="4991875"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cxnSp>
          <p:nvCxnSpPr>
            <p:cNvPr id="24" name="Straight Connector 23">
              <a:extLst>
                <a:ext uri="{FF2B5EF4-FFF2-40B4-BE49-F238E27FC236}">
                  <a16:creationId xmlns:a16="http://schemas.microsoft.com/office/drawing/2014/main" id="{B94962B1-0D38-D758-0C6F-5357E86D7259}"/>
                </a:ext>
              </a:extLst>
            </p:cNvPr>
            <p:cNvCxnSpPr>
              <a:cxnSpLocks/>
            </p:cNvCxnSpPr>
            <p:nvPr userDrawn="1"/>
          </p:nvCxnSpPr>
          <p:spPr>
            <a:xfrm>
              <a:off x="4828289"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4"/>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77BB69B7-8F7E-EC36-8A9A-1446763A9429}"/>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19B3D957-1270-D5D0-6D19-953E3D93A5D1}"/>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7" name="Group 16">
            <a:extLst>
              <a:ext uri="{FF2B5EF4-FFF2-40B4-BE49-F238E27FC236}">
                <a16:creationId xmlns:a16="http://schemas.microsoft.com/office/drawing/2014/main" id="{08E4EC56-D5B5-4F89-4632-D5C5183C35EA}"/>
              </a:ext>
            </a:extLst>
          </p:cNvPr>
          <p:cNvGrpSpPr/>
          <p:nvPr userDrawn="1"/>
        </p:nvGrpSpPr>
        <p:grpSpPr>
          <a:xfrm>
            <a:off x="6190970" y="78036"/>
            <a:ext cx="1168825" cy="180620"/>
            <a:chOff x="4980689" y="230436"/>
            <a:chExt cx="1168825" cy="180620"/>
          </a:xfrm>
        </p:grpSpPr>
        <p:sp>
          <p:nvSpPr>
            <p:cNvPr id="18" name="TextBox 17">
              <a:hlinkClick r:id="rId2" action="ppaction://hlinksldjump"/>
              <a:extLst>
                <a:ext uri="{FF2B5EF4-FFF2-40B4-BE49-F238E27FC236}">
                  <a16:creationId xmlns:a16="http://schemas.microsoft.com/office/drawing/2014/main" id="{92D061B6-3D2A-3867-D9E3-E74B330AC564}"/>
                </a:ext>
              </a:extLst>
            </p:cNvPr>
            <p:cNvSpPr txBox="1"/>
            <p:nvPr userDrawn="1"/>
          </p:nvSpPr>
          <p:spPr>
            <a:xfrm>
              <a:off x="5144275" y="2304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cxnSp>
          <p:nvCxnSpPr>
            <p:cNvPr id="20" name="Straight Connector 19">
              <a:extLst>
                <a:ext uri="{FF2B5EF4-FFF2-40B4-BE49-F238E27FC236}">
                  <a16:creationId xmlns:a16="http://schemas.microsoft.com/office/drawing/2014/main" id="{AEE6CDD9-85C9-86F4-20A3-B9E8C33E368F}"/>
                </a:ext>
              </a:extLst>
            </p:cNvPr>
            <p:cNvCxnSpPr>
              <a:cxnSpLocks/>
            </p:cNvCxnSpPr>
            <p:nvPr userDrawn="1"/>
          </p:nvCxnSpPr>
          <p:spPr>
            <a:xfrm>
              <a:off x="4980689" y="2310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21" name="TextBox 20">
            <a:hlinkClick r:id="rId2" action="ppaction://hlinksldjump"/>
            <a:extLst>
              <a:ext uri="{FF2B5EF4-FFF2-40B4-BE49-F238E27FC236}">
                <a16:creationId xmlns:a16="http://schemas.microsoft.com/office/drawing/2014/main" id="{BE259281-436E-6FC7-304E-6B9086797294}"/>
              </a:ext>
            </a:extLst>
          </p:cNvPr>
          <p:cNvSpPr txBox="1"/>
          <p:nvPr userDrawn="1"/>
        </p:nvSpPr>
        <p:spPr>
          <a:xfrm>
            <a:off x="7714828" y="80551"/>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2" name="Straight Connector 21">
            <a:extLst>
              <a:ext uri="{FF2B5EF4-FFF2-40B4-BE49-F238E27FC236}">
                <a16:creationId xmlns:a16="http://schemas.microsoft.com/office/drawing/2014/main" id="{38870D4A-6C84-42DA-0351-DD020346C52C}"/>
              </a:ext>
            </a:extLst>
          </p:cNvPr>
          <p:cNvCxnSpPr>
            <a:cxnSpLocks/>
          </p:cNvCxnSpPr>
          <p:nvPr userDrawn="1"/>
        </p:nvCxnSpPr>
        <p:spPr>
          <a:xfrm>
            <a:off x="7551242" y="81171"/>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C29C3778-5F12-6C97-E532-04DCE44777BB}"/>
              </a:ext>
            </a:extLst>
          </p:cNvPr>
          <p:cNvCxnSpPr>
            <a:cxnSpLocks/>
          </p:cNvCxnSpPr>
          <p:nvPr userDrawn="1"/>
        </p:nvCxnSpPr>
        <p:spPr>
          <a:xfrm>
            <a:off x="324425"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83EE0F44-7029-9657-03B7-F11E3CE22E90}"/>
              </a:ext>
            </a:extLst>
          </p:cNvPr>
          <p:cNvSpPr>
            <a:spLocks noChangeAspect="1"/>
          </p:cNvSpPr>
          <p:nvPr userDrawn="1"/>
        </p:nvSpPr>
        <p:spPr>
          <a:xfrm>
            <a:off x="216425" y="2167149"/>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7" name="Oval 26">
            <a:hlinkClick r:id="" action="ppaction://hlinkshowjump?jump=nextslide"/>
            <a:extLst>
              <a:ext uri="{FF2B5EF4-FFF2-40B4-BE49-F238E27FC236}">
                <a16:creationId xmlns:a16="http://schemas.microsoft.com/office/drawing/2014/main" id="{D7223054-F8A9-666D-8BB3-BF688828057D}"/>
              </a:ext>
            </a:extLst>
          </p:cNvPr>
          <p:cNvSpPr>
            <a:spLocks noChangeAspect="1"/>
          </p:cNvSpPr>
          <p:nvPr userDrawn="1"/>
        </p:nvSpPr>
        <p:spPr>
          <a:xfrm>
            <a:off x="268625"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noaction"/>
            <a:extLst>
              <a:ext uri="{FF2B5EF4-FFF2-40B4-BE49-F238E27FC236}">
                <a16:creationId xmlns:a16="http://schemas.microsoft.com/office/drawing/2014/main" id="{AC7B98A3-839E-A24C-99EC-DFCE7ACAC05B}"/>
              </a:ext>
            </a:extLst>
          </p:cNvPr>
          <p:cNvSpPr>
            <a:spLocks noChangeAspect="1"/>
          </p:cNvSpPr>
          <p:nvPr userDrawn="1"/>
        </p:nvSpPr>
        <p:spPr>
          <a:xfrm>
            <a:off x="269561"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noaction"/>
            <a:extLst>
              <a:ext uri="{FF2B5EF4-FFF2-40B4-BE49-F238E27FC236}">
                <a16:creationId xmlns:a16="http://schemas.microsoft.com/office/drawing/2014/main" id="{93BDB1C0-2AC2-6C4A-C1F2-295AAF22AAFD}"/>
              </a:ext>
            </a:extLst>
          </p:cNvPr>
          <p:cNvSpPr>
            <a:spLocks noChangeAspect="1"/>
          </p:cNvSpPr>
          <p:nvPr userDrawn="1"/>
        </p:nvSpPr>
        <p:spPr>
          <a:xfrm>
            <a:off x="269561"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hlinkshowjump?jump=previousslide"/>
            <a:extLst>
              <a:ext uri="{FF2B5EF4-FFF2-40B4-BE49-F238E27FC236}">
                <a16:creationId xmlns:a16="http://schemas.microsoft.com/office/drawing/2014/main" id="{C0ED4FC4-0243-C967-D353-EE1B25A9A852}"/>
              </a:ext>
            </a:extLst>
          </p:cNvPr>
          <p:cNvSpPr>
            <a:spLocks noChangeAspect="1"/>
          </p:cNvSpPr>
          <p:nvPr userDrawn="1"/>
        </p:nvSpPr>
        <p:spPr>
          <a:xfrm>
            <a:off x="268625"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2D5293BF-0EFF-16F3-1F1E-D26825AF7297}"/>
              </a:ext>
            </a:extLst>
          </p:cNvPr>
          <p:cNvSpPr>
            <a:spLocks noChangeAspect="1"/>
          </p:cNvSpPr>
          <p:nvPr userDrawn="1"/>
        </p:nvSpPr>
        <p:spPr>
          <a:xfrm>
            <a:off x="269561"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036912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57A2BB37-DA9E-377D-C8DA-1AB3D0D9F1B4}"/>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105131D9-47B6-1142-A27E-38B8660B8AE4}"/>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3" name="Group 12">
            <a:extLst>
              <a:ext uri="{FF2B5EF4-FFF2-40B4-BE49-F238E27FC236}">
                <a16:creationId xmlns:a16="http://schemas.microsoft.com/office/drawing/2014/main" id="{96CD7076-91BD-63F5-A300-35C1BED3966D}"/>
              </a:ext>
            </a:extLst>
          </p:cNvPr>
          <p:cNvGrpSpPr/>
          <p:nvPr userDrawn="1"/>
        </p:nvGrpSpPr>
        <p:grpSpPr>
          <a:xfrm>
            <a:off x="944059" y="78036"/>
            <a:ext cx="5053055" cy="180620"/>
            <a:chOff x="944059" y="78036"/>
            <a:chExt cx="5053055" cy="180620"/>
          </a:xfrm>
        </p:grpSpPr>
        <p:sp>
          <p:nvSpPr>
            <p:cNvPr id="15" name="TextBox 14">
              <a:hlinkClick r:id="rId3" action="ppaction://hlinksldjump"/>
              <a:extLst>
                <a:ext uri="{FF2B5EF4-FFF2-40B4-BE49-F238E27FC236}">
                  <a16:creationId xmlns:a16="http://schemas.microsoft.com/office/drawing/2014/main" id="{97C11171-0635-BC72-E840-F393B9FF5E3F}"/>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Executive summary</a:t>
              </a:r>
            </a:p>
          </p:txBody>
        </p:sp>
        <p:sp>
          <p:nvSpPr>
            <p:cNvPr id="16" name="TextBox 15">
              <a:hlinkClick r:id="rId3" action="ppaction://hlinksldjump"/>
              <a:extLst>
                <a:ext uri="{FF2B5EF4-FFF2-40B4-BE49-F238E27FC236}">
                  <a16:creationId xmlns:a16="http://schemas.microsoft.com/office/drawing/2014/main" id="{44CE7C34-D803-AC3E-9960-A653B59B1CE8}"/>
                </a:ext>
              </a:extLst>
            </p:cNvPr>
            <p:cNvSpPr txBox="1"/>
            <p:nvPr userDrawn="1"/>
          </p:nvSpPr>
          <p:spPr>
            <a:xfrm>
              <a:off x="2293331"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approach and methodology</a:t>
              </a:r>
            </a:p>
          </p:txBody>
        </p:sp>
        <p:sp>
          <p:nvSpPr>
            <p:cNvPr id="19" name="TextBox 18">
              <a:hlinkClick r:id="rId4" action="ppaction://hlinksldjump"/>
              <a:extLst>
                <a:ext uri="{FF2B5EF4-FFF2-40B4-BE49-F238E27FC236}">
                  <a16:creationId xmlns:a16="http://schemas.microsoft.com/office/drawing/2014/main" id="{12876DAF-DC2E-4CA0-AB4C-1A5430B29874}"/>
                </a:ext>
              </a:extLst>
            </p:cNvPr>
            <p:cNvSpPr txBox="1"/>
            <p:nvPr userDrawn="1"/>
          </p:nvSpPr>
          <p:spPr>
            <a:xfrm>
              <a:off x="3477837" y="78036"/>
              <a:ext cx="1353600" cy="180000"/>
            </a:xfrm>
            <a:prstGeom prst="rect">
              <a:avLst/>
            </a:prstGeom>
            <a:solidFill>
              <a:srgbClr val="AF154B"/>
            </a:solidFill>
            <a:ln>
              <a:noFill/>
            </a:ln>
          </p:spPr>
          <p:txBody>
            <a:bodyPr wrap="square" lIns="0" tIns="0" rIns="0" bIns="0" anchor="ctr">
              <a:noAutofit/>
            </a:bodyPr>
            <a:lstStyle/>
            <a:p>
              <a:pPr algn="ctr">
                <a:spcBef>
                  <a:spcPts val="0"/>
                </a:spcBef>
                <a:spcAft>
                  <a:spcPts val="200"/>
                </a:spcAft>
                <a:defRPr/>
              </a:pPr>
              <a:r>
                <a:rPr lang="en-US" sz="700" b="0" i="0">
                  <a:solidFill>
                    <a:schemeClr val="bg1"/>
                  </a:solidFill>
                  <a:latin typeface="EYInterstate Light" panose="02000506000000020004" pitchFamily="2" charset="0"/>
                </a:rPr>
                <a:t>Our team and experience</a:t>
              </a:r>
            </a:p>
          </p:txBody>
        </p:sp>
        <p:sp>
          <p:nvSpPr>
            <p:cNvPr id="20" name="TextBox 19">
              <a:hlinkClick r:id="rId3" action="ppaction://hlinksldjump"/>
              <a:extLst>
                <a:ext uri="{FF2B5EF4-FFF2-40B4-BE49-F238E27FC236}">
                  <a16:creationId xmlns:a16="http://schemas.microsoft.com/office/drawing/2014/main" id="{94F9BBBB-69A6-7AEB-D567-728F0C4AD257}"/>
                </a:ext>
              </a:extLst>
            </p:cNvPr>
            <p:cNvSpPr txBox="1"/>
            <p:nvPr userDrawn="1"/>
          </p:nvSpPr>
          <p:spPr>
            <a:xfrm>
              <a:off x="4991875"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cxnSp>
          <p:nvCxnSpPr>
            <p:cNvPr id="23" name="Straight Connector 22">
              <a:extLst>
                <a:ext uri="{FF2B5EF4-FFF2-40B4-BE49-F238E27FC236}">
                  <a16:creationId xmlns:a16="http://schemas.microsoft.com/office/drawing/2014/main" id="{B240BF85-352C-5445-5181-48F9E1277E5C}"/>
                </a:ext>
              </a:extLst>
            </p:cNvPr>
            <p:cNvCxnSpPr>
              <a:cxnSpLocks/>
            </p:cNvCxnSpPr>
            <p:nvPr userDrawn="1"/>
          </p:nvCxnSpPr>
          <p:spPr>
            <a:xfrm>
              <a:off x="213112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83FF6C9-50F6-20A1-4EE8-E74D671F3814}"/>
              </a:ext>
            </a:extLst>
          </p:cNvPr>
          <p:cNvGrpSpPr/>
          <p:nvPr userDrawn="1"/>
        </p:nvGrpSpPr>
        <p:grpSpPr>
          <a:xfrm>
            <a:off x="6190970" y="78036"/>
            <a:ext cx="1168825" cy="180620"/>
            <a:chOff x="4980689" y="230436"/>
            <a:chExt cx="1168825" cy="180620"/>
          </a:xfrm>
        </p:grpSpPr>
        <p:sp>
          <p:nvSpPr>
            <p:cNvPr id="18" name="TextBox 17">
              <a:hlinkClick r:id="rId3" action="ppaction://hlinksldjump"/>
              <a:extLst>
                <a:ext uri="{FF2B5EF4-FFF2-40B4-BE49-F238E27FC236}">
                  <a16:creationId xmlns:a16="http://schemas.microsoft.com/office/drawing/2014/main" id="{7879B2AF-303A-2EC2-A25E-994B22614937}"/>
                </a:ext>
              </a:extLst>
            </p:cNvPr>
            <p:cNvSpPr txBox="1"/>
            <p:nvPr userDrawn="1"/>
          </p:nvSpPr>
          <p:spPr>
            <a:xfrm>
              <a:off x="5144275" y="2304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cxnSp>
          <p:nvCxnSpPr>
            <p:cNvPr id="21" name="Straight Connector 20">
              <a:extLst>
                <a:ext uri="{FF2B5EF4-FFF2-40B4-BE49-F238E27FC236}">
                  <a16:creationId xmlns:a16="http://schemas.microsoft.com/office/drawing/2014/main" id="{49E53623-A268-6C18-1AF2-0DD4EDC2D530}"/>
                </a:ext>
              </a:extLst>
            </p:cNvPr>
            <p:cNvCxnSpPr>
              <a:cxnSpLocks/>
            </p:cNvCxnSpPr>
            <p:nvPr userDrawn="1"/>
          </p:nvCxnSpPr>
          <p:spPr>
            <a:xfrm>
              <a:off x="4980689" y="2310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22" name="TextBox 21">
            <a:hlinkClick r:id="rId3" action="ppaction://hlinksldjump"/>
            <a:extLst>
              <a:ext uri="{FF2B5EF4-FFF2-40B4-BE49-F238E27FC236}">
                <a16:creationId xmlns:a16="http://schemas.microsoft.com/office/drawing/2014/main" id="{E9E76566-8CE0-90BF-A2BA-BF62DB6A4002}"/>
              </a:ext>
            </a:extLst>
          </p:cNvPr>
          <p:cNvSpPr txBox="1"/>
          <p:nvPr userDrawn="1"/>
        </p:nvSpPr>
        <p:spPr>
          <a:xfrm>
            <a:off x="7714828" y="80551"/>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4" name="Straight Connector 23">
            <a:extLst>
              <a:ext uri="{FF2B5EF4-FFF2-40B4-BE49-F238E27FC236}">
                <a16:creationId xmlns:a16="http://schemas.microsoft.com/office/drawing/2014/main" id="{DF4A98F8-2197-18D6-EC77-8DBEDDF7ED78}"/>
              </a:ext>
            </a:extLst>
          </p:cNvPr>
          <p:cNvCxnSpPr>
            <a:cxnSpLocks/>
          </p:cNvCxnSpPr>
          <p:nvPr userDrawn="1"/>
        </p:nvCxnSpPr>
        <p:spPr>
          <a:xfrm>
            <a:off x="7551242" y="81171"/>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6C1197-3B23-2421-4395-D6E81A97A36A}"/>
              </a:ext>
            </a:extLst>
          </p:cNvPr>
          <p:cNvCxnSpPr>
            <a:cxnSpLocks/>
          </p:cNvCxnSpPr>
          <p:nvPr userDrawn="1"/>
        </p:nvCxnSpPr>
        <p:spPr>
          <a:xfrm>
            <a:off x="318203"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7DA28538-EAC0-81B4-4712-3E8B05418D1D}"/>
              </a:ext>
            </a:extLst>
          </p:cNvPr>
          <p:cNvSpPr>
            <a:spLocks noChangeAspect="1"/>
          </p:cNvSpPr>
          <p:nvPr userDrawn="1"/>
        </p:nvSpPr>
        <p:spPr>
          <a:xfrm>
            <a:off x="210203" y="3103288"/>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7" name="Oval 26">
            <a:hlinkClick r:id="" action="ppaction://noaction"/>
            <a:extLst>
              <a:ext uri="{FF2B5EF4-FFF2-40B4-BE49-F238E27FC236}">
                <a16:creationId xmlns:a16="http://schemas.microsoft.com/office/drawing/2014/main" id="{6982124B-CDC5-BD55-FD12-3763052D64C0}"/>
              </a:ext>
            </a:extLst>
          </p:cNvPr>
          <p:cNvSpPr>
            <a:spLocks noChangeAspect="1"/>
          </p:cNvSpPr>
          <p:nvPr userDrawn="1"/>
        </p:nvSpPr>
        <p:spPr>
          <a:xfrm>
            <a:off x="262403"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noaction"/>
            <a:extLst>
              <a:ext uri="{FF2B5EF4-FFF2-40B4-BE49-F238E27FC236}">
                <a16:creationId xmlns:a16="http://schemas.microsoft.com/office/drawing/2014/main" id="{01939484-3817-E74C-5BF4-DD73989F5F9A}"/>
              </a:ext>
            </a:extLst>
          </p:cNvPr>
          <p:cNvSpPr>
            <a:spLocks noChangeAspect="1"/>
          </p:cNvSpPr>
          <p:nvPr userDrawn="1"/>
        </p:nvSpPr>
        <p:spPr>
          <a:xfrm>
            <a:off x="263339"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hlinkshowjump?jump=nextslide"/>
            <a:extLst>
              <a:ext uri="{FF2B5EF4-FFF2-40B4-BE49-F238E27FC236}">
                <a16:creationId xmlns:a16="http://schemas.microsoft.com/office/drawing/2014/main" id="{7EA2F5D5-E0A4-46D5-4E3D-25C8BE4F81E4}"/>
              </a:ext>
            </a:extLst>
          </p:cNvPr>
          <p:cNvSpPr>
            <a:spLocks noChangeAspect="1"/>
          </p:cNvSpPr>
          <p:nvPr userDrawn="1"/>
        </p:nvSpPr>
        <p:spPr>
          <a:xfrm>
            <a:off x="263339"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noaction"/>
            <a:extLst>
              <a:ext uri="{FF2B5EF4-FFF2-40B4-BE49-F238E27FC236}">
                <a16:creationId xmlns:a16="http://schemas.microsoft.com/office/drawing/2014/main" id="{A0642A2E-71A9-8E1B-7A8F-2C5DEFFABD57}"/>
              </a:ext>
            </a:extLst>
          </p:cNvPr>
          <p:cNvSpPr>
            <a:spLocks noChangeAspect="1"/>
          </p:cNvSpPr>
          <p:nvPr userDrawn="1"/>
        </p:nvSpPr>
        <p:spPr>
          <a:xfrm>
            <a:off x="263339"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hlinkshowjump?jump=previousslide"/>
            <a:extLst>
              <a:ext uri="{FF2B5EF4-FFF2-40B4-BE49-F238E27FC236}">
                <a16:creationId xmlns:a16="http://schemas.microsoft.com/office/drawing/2014/main" id="{0D6B329A-05A6-3845-F8F2-7C9485AF97D9}"/>
              </a:ext>
            </a:extLst>
          </p:cNvPr>
          <p:cNvSpPr>
            <a:spLocks noChangeAspect="1"/>
          </p:cNvSpPr>
          <p:nvPr userDrawn="1"/>
        </p:nvSpPr>
        <p:spPr>
          <a:xfrm>
            <a:off x="262403" y="2245449"/>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 name="Oval 32">
            <a:extLst>
              <a:ext uri="{FF2B5EF4-FFF2-40B4-BE49-F238E27FC236}">
                <a16:creationId xmlns:a16="http://schemas.microsoft.com/office/drawing/2014/main" id="{2EFD7939-B82F-8B02-A10C-D414D76B48F4}"/>
              </a:ext>
            </a:extLst>
          </p:cNvPr>
          <p:cNvSpPr>
            <a:spLocks noChangeAspect="1"/>
          </p:cNvSpPr>
          <p:nvPr userDrawn="1"/>
        </p:nvSpPr>
        <p:spPr>
          <a:xfrm>
            <a:off x="262403"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775475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D0127-A837-6B94-0CC3-56052AC4E4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F6348C2-C141-2652-EB2F-545DD787EBB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B4C6C1-D9E3-34A8-B24E-94D05AD419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105E300-6C16-5BDE-B5FA-C2D64B6A737C}"/>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6" name="Footer Placeholder 5">
            <a:extLst>
              <a:ext uri="{FF2B5EF4-FFF2-40B4-BE49-F238E27FC236}">
                <a16:creationId xmlns:a16="http://schemas.microsoft.com/office/drawing/2014/main" id="{EB9E6355-79B9-6FE2-12BE-2C391721A7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7ADC392-C687-4DE3-4221-19638F5C6B0A}"/>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2638944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76AD9B14-E61B-6111-F4A0-54BC2B82D63A}"/>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93593E26-D3B7-4E8E-DA26-B2CBA3B9286A}"/>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3" name="Group 12">
            <a:extLst>
              <a:ext uri="{FF2B5EF4-FFF2-40B4-BE49-F238E27FC236}">
                <a16:creationId xmlns:a16="http://schemas.microsoft.com/office/drawing/2014/main" id="{A64DC5EC-CF16-2C89-3A44-8483D8CAA140}"/>
              </a:ext>
            </a:extLst>
          </p:cNvPr>
          <p:cNvGrpSpPr/>
          <p:nvPr userDrawn="1"/>
        </p:nvGrpSpPr>
        <p:grpSpPr>
          <a:xfrm>
            <a:off x="944059" y="78036"/>
            <a:ext cx="5237829" cy="180620"/>
            <a:chOff x="944059" y="78036"/>
            <a:chExt cx="5237829" cy="180620"/>
          </a:xfrm>
        </p:grpSpPr>
        <p:sp>
          <p:nvSpPr>
            <p:cNvPr id="15" name="TextBox 14">
              <a:hlinkClick r:id="rId3" action="ppaction://hlinksldjump"/>
              <a:extLst>
                <a:ext uri="{FF2B5EF4-FFF2-40B4-BE49-F238E27FC236}">
                  <a16:creationId xmlns:a16="http://schemas.microsoft.com/office/drawing/2014/main" id="{CAD74F48-8911-B63E-96EB-0608B56D5327}"/>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Executive summary</a:t>
              </a:r>
            </a:p>
          </p:txBody>
        </p:sp>
        <p:sp>
          <p:nvSpPr>
            <p:cNvPr id="16" name="TextBox 15">
              <a:hlinkClick r:id="rId3" action="ppaction://hlinksldjump"/>
              <a:extLst>
                <a:ext uri="{FF2B5EF4-FFF2-40B4-BE49-F238E27FC236}">
                  <a16:creationId xmlns:a16="http://schemas.microsoft.com/office/drawing/2014/main" id="{4FC8E319-82AC-BC01-4A09-67C3FC1C0019}"/>
                </a:ext>
              </a:extLst>
            </p:cNvPr>
            <p:cNvSpPr txBox="1"/>
            <p:nvPr userDrawn="1"/>
          </p:nvSpPr>
          <p:spPr>
            <a:xfrm>
              <a:off x="2293331"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approach and methodology</a:t>
              </a:r>
            </a:p>
          </p:txBody>
        </p:sp>
        <p:sp>
          <p:nvSpPr>
            <p:cNvPr id="19" name="TextBox 18">
              <a:hlinkClick r:id="rId3" action="ppaction://hlinksldjump"/>
              <a:extLst>
                <a:ext uri="{FF2B5EF4-FFF2-40B4-BE49-F238E27FC236}">
                  <a16:creationId xmlns:a16="http://schemas.microsoft.com/office/drawing/2014/main" id="{FA1D0860-FADA-6ABE-B6A9-829DF9AC63BD}"/>
                </a:ext>
              </a:extLst>
            </p:cNvPr>
            <p:cNvSpPr txBox="1"/>
            <p:nvPr userDrawn="1"/>
          </p:nvSpPr>
          <p:spPr>
            <a:xfrm>
              <a:off x="3621567" y="78036"/>
              <a:ext cx="1026276"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20" name="TextBox 19">
              <a:hlinkClick r:id="" action="ppaction://noaction"/>
              <a:extLst>
                <a:ext uri="{FF2B5EF4-FFF2-40B4-BE49-F238E27FC236}">
                  <a16:creationId xmlns:a16="http://schemas.microsoft.com/office/drawing/2014/main" id="{711EBE6C-CB28-9C48-7852-9238E72B48CC}"/>
                </a:ext>
              </a:extLst>
            </p:cNvPr>
            <p:cNvSpPr txBox="1"/>
            <p:nvPr userDrawn="1"/>
          </p:nvSpPr>
          <p:spPr>
            <a:xfrm>
              <a:off x="4828288" y="78036"/>
              <a:ext cx="1353600" cy="180000"/>
            </a:xfrm>
            <a:prstGeom prst="rect">
              <a:avLst/>
            </a:prstGeom>
            <a:solidFill>
              <a:srgbClr val="AF154B"/>
            </a:solidFill>
            <a:ln>
              <a:noFill/>
            </a:ln>
          </p:spPr>
          <p:txBody>
            <a:bodyPr wrap="square" lIns="0" tIns="0" rIns="0" bIns="0" anchor="ctr">
              <a:noAutofit/>
            </a:bodyPr>
            <a:lstStyle/>
            <a:p>
              <a:pPr algn="ctr">
                <a:spcBef>
                  <a:spcPts val="600"/>
                </a:spcBef>
                <a:defRPr/>
              </a:pPr>
              <a:r>
                <a:rPr lang="en-US" sz="700" b="0" i="0">
                  <a:solidFill>
                    <a:schemeClr val="bg1"/>
                  </a:solidFill>
                  <a:latin typeface="EYInterstate Light" panose="02000506000000020004" pitchFamily="2" charset="0"/>
                </a:rPr>
                <a:t>Our fees</a:t>
              </a:r>
            </a:p>
          </p:txBody>
        </p:sp>
        <p:cxnSp>
          <p:nvCxnSpPr>
            <p:cNvPr id="23" name="Straight Connector 22">
              <a:extLst>
                <a:ext uri="{FF2B5EF4-FFF2-40B4-BE49-F238E27FC236}">
                  <a16:creationId xmlns:a16="http://schemas.microsoft.com/office/drawing/2014/main" id="{F70800C6-A413-F508-6C78-28C455F58AD0}"/>
                </a:ext>
              </a:extLst>
            </p:cNvPr>
            <p:cNvCxnSpPr>
              <a:cxnSpLocks/>
            </p:cNvCxnSpPr>
            <p:nvPr userDrawn="1"/>
          </p:nvCxnSpPr>
          <p:spPr>
            <a:xfrm>
              <a:off x="213112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33E34F4-F30D-2E8C-FA7E-F73BC6653193}"/>
                </a:ext>
              </a:extLst>
            </p:cNvPr>
            <p:cNvCxnSpPr>
              <a:cxnSpLocks/>
            </p:cNvCxnSpPr>
            <p:nvPr userDrawn="1"/>
          </p:nvCxnSpPr>
          <p:spPr>
            <a:xfrm>
              <a:off x="3481571"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18" name="TextBox 17">
            <a:hlinkClick r:id="rId3" action="ppaction://hlinksldjump"/>
            <a:extLst>
              <a:ext uri="{FF2B5EF4-FFF2-40B4-BE49-F238E27FC236}">
                <a16:creationId xmlns:a16="http://schemas.microsoft.com/office/drawing/2014/main" id="{8986212A-7466-65CD-4365-5320532AF7B3}"/>
              </a:ext>
            </a:extLst>
          </p:cNvPr>
          <p:cNvSpPr txBox="1"/>
          <p:nvPr userDrawn="1"/>
        </p:nvSpPr>
        <p:spPr>
          <a:xfrm>
            <a:off x="6354556"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sp>
        <p:nvSpPr>
          <p:cNvPr id="17" name="TextBox 16">
            <a:hlinkClick r:id="rId3" action="ppaction://hlinksldjump"/>
            <a:extLst>
              <a:ext uri="{FF2B5EF4-FFF2-40B4-BE49-F238E27FC236}">
                <a16:creationId xmlns:a16="http://schemas.microsoft.com/office/drawing/2014/main" id="{600E18CA-AA06-B645-9C27-85EDEFE5D59E}"/>
              </a:ext>
            </a:extLst>
          </p:cNvPr>
          <p:cNvSpPr txBox="1"/>
          <p:nvPr userDrawn="1"/>
        </p:nvSpPr>
        <p:spPr>
          <a:xfrm>
            <a:off x="7714828" y="80551"/>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1" name="Straight Connector 20">
            <a:extLst>
              <a:ext uri="{FF2B5EF4-FFF2-40B4-BE49-F238E27FC236}">
                <a16:creationId xmlns:a16="http://schemas.microsoft.com/office/drawing/2014/main" id="{1D9DE2CD-89D5-227F-11DB-2A7F3532FC1F}"/>
              </a:ext>
            </a:extLst>
          </p:cNvPr>
          <p:cNvCxnSpPr>
            <a:cxnSpLocks/>
          </p:cNvCxnSpPr>
          <p:nvPr userDrawn="1"/>
        </p:nvCxnSpPr>
        <p:spPr>
          <a:xfrm>
            <a:off x="7551242" y="81171"/>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1D4E1509-19B5-ECB0-B7B0-BF435E818C5A}"/>
              </a:ext>
            </a:extLst>
          </p:cNvPr>
          <p:cNvCxnSpPr>
            <a:cxnSpLocks/>
          </p:cNvCxnSpPr>
          <p:nvPr userDrawn="1"/>
        </p:nvCxnSpPr>
        <p:spPr>
          <a:xfrm>
            <a:off x="316764"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5" name="Oval 24">
            <a:hlinkClick r:id="" action="ppaction://noaction"/>
            <a:extLst>
              <a:ext uri="{FF2B5EF4-FFF2-40B4-BE49-F238E27FC236}">
                <a16:creationId xmlns:a16="http://schemas.microsoft.com/office/drawing/2014/main" id="{152AFDB2-0152-4D5D-CBF0-B023E2E5EB15}"/>
              </a:ext>
            </a:extLst>
          </p:cNvPr>
          <p:cNvSpPr>
            <a:spLocks noChangeAspect="1"/>
          </p:cNvSpPr>
          <p:nvPr userDrawn="1"/>
        </p:nvSpPr>
        <p:spPr>
          <a:xfrm>
            <a:off x="208764" y="3986291"/>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6" name="Oval 25">
            <a:hlinkClick r:id="" action="ppaction://hlinkshowjump?jump=previousslide"/>
            <a:extLst>
              <a:ext uri="{FF2B5EF4-FFF2-40B4-BE49-F238E27FC236}">
                <a16:creationId xmlns:a16="http://schemas.microsoft.com/office/drawing/2014/main" id="{EAC18E6F-E9F4-732F-B79D-B0B9E872097F}"/>
              </a:ext>
            </a:extLst>
          </p:cNvPr>
          <p:cNvSpPr>
            <a:spLocks noChangeAspect="1"/>
          </p:cNvSpPr>
          <p:nvPr userDrawn="1"/>
        </p:nvSpPr>
        <p:spPr>
          <a:xfrm>
            <a:off x="260964"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7" name="Oval 26">
            <a:hlinkClick r:id="" action="ppaction://hlinkshowjump?jump=nextslide"/>
            <a:extLst>
              <a:ext uri="{FF2B5EF4-FFF2-40B4-BE49-F238E27FC236}">
                <a16:creationId xmlns:a16="http://schemas.microsoft.com/office/drawing/2014/main" id="{87E56E59-F81A-EF49-324D-E1966F4D2C27}"/>
              </a:ext>
            </a:extLst>
          </p:cNvPr>
          <p:cNvSpPr>
            <a:spLocks noChangeAspect="1"/>
          </p:cNvSpPr>
          <p:nvPr userDrawn="1"/>
        </p:nvSpPr>
        <p:spPr>
          <a:xfrm>
            <a:off x="261900"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noaction"/>
            <a:extLst>
              <a:ext uri="{FF2B5EF4-FFF2-40B4-BE49-F238E27FC236}">
                <a16:creationId xmlns:a16="http://schemas.microsoft.com/office/drawing/2014/main" id="{BA437D21-EA41-14AA-6F26-ACB8B298904D}"/>
              </a:ext>
            </a:extLst>
          </p:cNvPr>
          <p:cNvSpPr>
            <a:spLocks noChangeAspect="1"/>
          </p:cNvSpPr>
          <p:nvPr userDrawn="1"/>
        </p:nvSpPr>
        <p:spPr>
          <a:xfrm>
            <a:off x="261900"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noaction"/>
            <a:extLst>
              <a:ext uri="{FF2B5EF4-FFF2-40B4-BE49-F238E27FC236}">
                <a16:creationId xmlns:a16="http://schemas.microsoft.com/office/drawing/2014/main" id="{97985362-AEC0-5785-3977-7F8BA0B3CB96}"/>
              </a:ext>
            </a:extLst>
          </p:cNvPr>
          <p:cNvSpPr>
            <a:spLocks noChangeAspect="1"/>
          </p:cNvSpPr>
          <p:nvPr userDrawn="1"/>
        </p:nvSpPr>
        <p:spPr>
          <a:xfrm>
            <a:off x="261900"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noaction"/>
            <a:extLst>
              <a:ext uri="{FF2B5EF4-FFF2-40B4-BE49-F238E27FC236}">
                <a16:creationId xmlns:a16="http://schemas.microsoft.com/office/drawing/2014/main" id="{4386938F-3A66-5A7B-FC40-810654933023}"/>
              </a:ext>
            </a:extLst>
          </p:cNvPr>
          <p:cNvSpPr>
            <a:spLocks noChangeAspect="1"/>
          </p:cNvSpPr>
          <p:nvPr userDrawn="1"/>
        </p:nvSpPr>
        <p:spPr>
          <a:xfrm>
            <a:off x="260964" y="2245449"/>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extLst>
              <a:ext uri="{FF2B5EF4-FFF2-40B4-BE49-F238E27FC236}">
                <a16:creationId xmlns:a16="http://schemas.microsoft.com/office/drawing/2014/main" id="{38388EC1-0767-20CD-778B-607BF5775544}"/>
              </a:ext>
            </a:extLst>
          </p:cNvPr>
          <p:cNvSpPr>
            <a:spLocks noChangeAspect="1"/>
          </p:cNvSpPr>
          <p:nvPr userDrawn="1"/>
        </p:nvSpPr>
        <p:spPr>
          <a:xfrm>
            <a:off x="260964"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151876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76AD9B14-E61B-6111-F4A0-54BC2B82D63A}"/>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93593E26-D3B7-4E8E-DA26-B2CBA3B9286A}"/>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3" name="Group 12">
            <a:extLst>
              <a:ext uri="{FF2B5EF4-FFF2-40B4-BE49-F238E27FC236}">
                <a16:creationId xmlns:a16="http://schemas.microsoft.com/office/drawing/2014/main" id="{A64DC5EC-CF16-2C89-3A44-8483D8CAA140}"/>
              </a:ext>
            </a:extLst>
          </p:cNvPr>
          <p:cNvGrpSpPr/>
          <p:nvPr userDrawn="1"/>
        </p:nvGrpSpPr>
        <p:grpSpPr>
          <a:xfrm>
            <a:off x="944059" y="78036"/>
            <a:ext cx="5237829" cy="180620"/>
            <a:chOff x="944059" y="78036"/>
            <a:chExt cx="5237829" cy="180620"/>
          </a:xfrm>
        </p:grpSpPr>
        <p:sp>
          <p:nvSpPr>
            <p:cNvPr id="15" name="TextBox 14">
              <a:hlinkClick r:id="rId3" action="ppaction://hlinksldjump"/>
              <a:extLst>
                <a:ext uri="{FF2B5EF4-FFF2-40B4-BE49-F238E27FC236}">
                  <a16:creationId xmlns:a16="http://schemas.microsoft.com/office/drawing/2014/main" id="{CAD74F48-8911-B63E-96EB-0608B56D5327}"/>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Executive summary</a:t>
              </a:r>
            </a:p>
          </p:txBody>
        </p:sp>
        <p:sp>
          <p:nvSpPr>
            <p:cNvPr id="16" name="TextBox 15">
              <a:hlinkClick r:id="rId3" action="ppaction://hlinksldjump"/>
              <a:extLst>
                <a:ext uri="{FF2B5EF4-FFF2-40B4-BE49-F238E27FC236}">
                  <a16:creationId xmlns:a16="http://schemas.microsoft.com/office/drawing/2014/main" id="{4FC8E319-82AC-BC01-4A09-67C3FC1C0019}"/>
                </a:ext>
              </a:extLst>
            </p:cNvPr>
            <p:cNvSpPr txBox="1"/>
            <p:nvPr userDrawn="1"/>
          </p:nvSpPr>
          <p:spPr>
            <a:xfrm>
              <a:off x="2293331"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approach and methodology</a:t>
              </a:r>
            </a:p>
          </p:txBody>
        </p:sp>
        <p:sp>
          <p:nvSpPr>
            <p:cNvPr id="19" name="TextBox 18">
              <a:hlinkClick r:id="rId3" action="ppaction://hlinksldjump"/>
              <a:extLst>
                <a:ext uri="{FF2B5EF4-FFF2-40B4-BE49-F238E27FC236}">
                  <a16:creationId xmlns:a16="http://schemas.microsoft.com/office/drawing/2014/main" id="{FA1D0860-FADA-6ABE-B6A9-829DF9AC63BD}"/>
                </a:ext>
              </a:extLst>
            </p:cNvPr>
            <p:cNvSpPr txBox="1"/>
            <p:nvPr userDrawn="1"/>
          </p:nvSpPr>
          <p:spPr>
            <a:xfrm>
              <a:off x="3621567" y="78036"/>
              <a:ext cx="1026276"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20" name="TextBox 19">
              <a:hlinkClick r:id="rId3" action="ppaction://hlinksldjump"/>
              <a:extLst>
                <a:ext uri="{FF2B5EF4-FFF2-40B4-BE49-F238E27FC236}">
                  <a16:creationId xmlns:a16="http://schemas.microsoft.com/office/drawing/2014/main" id="{711EBE6C-CB28-9C48-7852-9238E72B48CC}"/>
                </a:ext>
              </a:extLst>
            </p:cNvPr>
            <p:cNvSpPr txBox="1"/>
            <p:nvPr userDrawn="1"/>
          </p:nvSpPr>
          <p:spPr>
            <a:xfrm>
              <a:off x="4828288" y="78036"/>
              <a:ext cx="1353600"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cxnSp>
          <p:nvCxnSpPr>
            <p:cNvPr id="23" name="Straight Connector 22">
              <a:extLst>
                <a:ext uri="{FF2B5EF4-FFF2-40B4-BE49-F238E27FC236}">
                  <a16:creationId xmlns:a16="http://schemas.microsoft.com/office/drawing/2014/main" id="{F70800C6-A413-F508-6C78-28C455F58AD0}"/>
                </a:ext>
              </a:extLst>
            </p:cNvPr>
            <p:cNvCxnSpPr>
              <a:cxnSpLocks/>
            </p:cNvCxnSpPr>
            <p:nvPr userDrawn="1"/>
          </p:nvCxnSpPr>
          <p:spPr>
            <a:xfrm>
              <a:off x="213112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33E34F4-F30D-2E8C-FA7E-F73BC6653193}"/>
                </a:ext>
              </a:extLst>
            </p:cNvPr>
            <p:cNvCxnSpPr>
              <a:cxnSpLocks/>
            </p:cNvCxnSpPr>
            <p:nvPr userDrawn="1"/>
          </p:nvCxnSpPr>
          <p:spPr>
            <a:xfrm>
              <a:off x="3481571"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18" name="TextBox 17">
            <a:hlinkClick r:id="" action="ppaction://noaction"/>
            <a:extLst>
              <a:ext uri="{FF2B5EF4-FFF2-40B4-BE49-F238E27FC236}">
                <a16:creationId xmlns:a16="http://schemas.microsoft.com/office/drawing/2014/main" id="{8986212A-7466-65CD-4365-5320532AF7B3}"/>
              </a:ext>
            </a:extLst>
          </p:cNvPr>
          <p:cNvSpPr txBox="1"/>
          <p:nvPr userDrawn="1"/>
        </p:nvSpPr>
        <p:spPr>
          <a:xfrm>
            <a:off x="6354555" y="78036"/>
            <a:ext cx="1353600" cy="180000"/>
          </a:xfrm>
          <a:prstGeom prst="rect">
            <a:avLst/>
          </a:prstGeom>
          <a:solidFill>
            <a:srgbClr val="AF144B"/>
          </a:solidFill>
          <a:ln>
            <a:noFill/>
          </a:ln>
        </p:spPr>
        <p:txBody>
          <a:bodyPr wrap="square" lIns="0" tIns="0" rIns="0" bIns="0" anchor="ctr">
            <a:noAutofit/>
          </a:bodyPr>
          <a:lstStyle/>
          <a:p>
            <a:pPr algn="ctr">
              <a:spcBef>
                <a:spcPts val="600"/>
              </a:spcBef>
              <a:defRPr/>
            </a:pPr>
            <a:r>
              <a:rPr lang="en-US" sz="700" b="0" i="0">
                <a:solidFill>
                  <a:schemeClr val="bg1"/>
                </a:solidFill>
                <a:latin typeface="EYInterstate Light" panose="02000506000000020004" pitchFamily="2" charset="0"/>
              </a:rPr>
              <a:t>About EY</a:t>
            </a:r>
          </a:p>
        </p:txBody>
      </p:sp>
      <p:cxnSp>
        <p:nvCxnSpPr>
          <p:cNvPr id="22" name="Straight Connector 21">
            <a:extLst>
              <a:ext uri="{FF2B5EF4-FFF2-40B4-BE49-F238E27FC236}">
                <a16:creationId xmlns:a16="http://schemas.microsoft.com/office/drawing/2014/main" id="{A2BC2C54-A61B-1889-C869-202CC18439F3}"/>
              </a:ext>
            </a:extLst>
          </p:cNvPr>
          <p:cNvCxnSpPr>
            <a:cxnSpLocks/>
          </p:cNvCxnSpPr>
          <p:nvPr userDrawn="1"/>
        </p:nvCxnSpPr>
        <p:spPr>
          <a:xfrm>
            <a:off x="4828289"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sp>
        <p:nvSpPr>
          <p:cNvPr id="25" name="TextBox 24">
            <a:hlinkClick r:id="rId3" action="ppaction://hlinksldjump"/>
            <a:extLst>
              <a:ext uri="{FF2B5EF4-FFF2-40B4-BE49-F238E27FC236}">
                <a16:creationId xmlns:a16="http://schemas.microsoft.com/office/drawing/2014/main" id="{87A0DF0B-1A60-D17F-B49D-4B211099762B}"/>
              </a:ext>
            </a:extLst>
          </p:cNvPr>
          <p:cNvSpPr txBox="1"/>
          <p:nvPr userDrawn="1"/>
        </p:nvSpPr>
        <p:spPr>
          <a:xfrm>
            <a:off x="7714827" y="80551"/>
            <a:ext cx="1353600"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ppendix</a:t>
            </a:r>
          </a:p>
        </p:txBody>
      </p:sp>
      <p:cxnSp>
        <p:nvCxnSpPr>
          <p:cNvPr id="28" name="Straight Connector 27">
            <a:extLst>
              <a:ext uri="{FF2B5EF4-FFF2-40B4-BE49-F238E27FC236}">
                <a16:creationId xmlns:a16="http://schemas.microsoft.com/office/drawing/2014/main" id="{A6344CDB-30F9-2F24-51C1-9F19071F548A}"/>
              </a:ext>
            </a:extLst>
          </p:cNvPr>
          <p:cNvCxnSpPr>
            <a:cxnSpLocks/>
          </p:cNvCxnSpPr>
          <p:nvPr userDrawn="1"/>
        </p:nvCxnSpPr>
        <p:spPr>
          <a:xfrm>
            <a:off x="324562"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30" name="Oval 29">
            <a:hlinkClick r:id="" action="ppaction://noaction"/>
            <a:extLst>
              <a:ext uri="{FF2B5EF4-FFF2-40B4-BE49-F238E27FC236}">
                <a16:creationId xmlns:a16="http://schemas.microsoft.com/office/drawing/2014/main" id="{912CA2FE-0666-345E-8CC9-41F6FF7B0889}"/>
              </a:ext>
            </a:extLst>
          </p:cNvPr>
          <p:cNvSpPr>
            <a:spLocks noChangeAspect="1"/>
          </p:cNvSpPr>
          <p:nvPr userDrawn="1"/>
        </p:nvSpPr>
        <p:spPr>
          <a:xfrm>
            <a:off x="216562" y="4868358"/>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noaction"/>
            <a:extLst>
              <a:ext uri="{FF2B5EF4-FFF2-40B4-BE49-F238E27FC236}">
                <a16:creationId xmlns:a16="http://schemas.microsoft.com/office/drawing/2014/main" id="{9DE47E06-482A-0C1C-9C6F-742CD99759FD}"/>
              </a:ext>
            </a:extLst>
          </p:cNvPr>
          <p:cNvSpPr>
            <a:spLocks noChangeAspect="1"/>
          </p:cNvSpPr>
          <p:nvPr userDrawn="1"/>
        </p:nvSpPr>
        <p:spPr>
          <a:xfrm>
            <a:off x="268762"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1C30EDEF-1249-82FB-3C78-70551718E230}"/>
              </a:ext>
            </a:extLst>
          </p:cNvPr>
          <p:cNvSpPr>
            <a:spLocks noChangeAspect="1"/>
          </p:cNvSpPr>
          <p:nvPr userDrawn="1"/>
        </p:nvSpPr>
        <p:spPr>
          <a:xfrm>
            <a:off x="269698"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 name="Oval 32">
            <a:hlinkClick r:id="" action="ppaction://hlinkshowjump?jump=previousslide"/>
            <a:extLst>
              <a:ext uri="{FF2B5EF4-FFF2-40B4-BE49-F238E27FC236}">
                <a16:creationId xmlns:a16="http://schemas.microsoft.com/office/drawing/2014/main" id="{B389F81E-B96F-F342-26B7-5BB5C5F6B7C2}"/>
              </a:ext>
            </a:extLst>
          </p:cNvPr>
          <p:cNvSpPr>
            <a:spLocks noChangeAspect="1"/>
          </p:cNvSpPr>
          <p:nvPr userDrawn="1"/>
        </p:nvSpPr>
        <p:spPr>
          <a:xfrm>
            <a:off x="269698"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 name="Oval 33">
            <a:hlinkClick r:id="" action="ppaction://hlinkshowjump?jump=nextslide"/>
            <a:extLst>
              <a:ext uri="{FF2B5EF4-FFF2-40B4-BE49-F238E27FC236}">
                <a16:creationId xmlns:a16="http://schemas.microsoft.com/office/drawing/2014/main" id="{5A9B2564-420A-BDAE-DF62-792A482B769F}"/>
              </a:ext>
            </a:extLst>
          </p:cNvPr>
          <p:cNvSpPr>
            <a:spLocks noChangeAspect="1"/>
          </p:cNvSpPr>
          <p:nvPr userDrawn="1"/>
        </p:nvSpPr>
        <p:spPr>
          <a:xfrm>
            <a:off x="269698"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 name="Oval 34">
            <a:hlinkClick r:id="" action="ppaction://noaction"/>
            <a:extLst>
              <a:ext uri="{FF2B5EF4-FFF2-40B4-BE49-F238E27FC236}">
                <a16:creationId xmlns:a16="http://schemas.microsoft.com/office/drawing/2014/main" id="{FD71FF5A-0393-6B0C-D81E-2643AD852076}"/>
              </a:ext>
            </a:extLst>
          </p:cNvPr>
          <p:cNvSpPr>
            <a:spLocks noChangeAspect="1"/>
          </p:cNvSpPr>
          <p:nvPr userDrawn="1"/>
        </p:nvSpPr>
        <p:spPr>
          <a:xfrm>
            <a:off x="268762" y="2245449"/>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636C7413-3A88-6CD0-135A-ABEB42A4139E}"/>
              </a:ext>
            </a:extLst>
          </p:cNvPr>
          <p:cNvSpPr>
            <a:spLocks noChangeAspect="1"/>
          </p:cNvSpPr>
          <p:nvPr userDrawn="1"/>
        </p:nvSpPr>
        <p:spPr>
          <a:xfrm>
            <a:off x="268762"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647435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76AD9B14-E61B-6111-F4A0-54BC2B82D63A}"/>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93593E26-D3B7-4E8E-DA26-B2CBA3B9286A}"/>
              </a:ext>
            </a:extLst>
          </p:cNvPr>
          <p:cNvSpPr>
            <a:spLocks noGrp="1"/>
          </p:cNvSpPr>
          <p:nvPr>
            <p:ph type="body" sz="quarter" idx="11"/>
          </p:nvPr>
        </p:nvSpPr>
        <p:spPr>
          <a:xfrm>
            <a:off x="942753" y="263066"/>
            <a:ext cx="10877629" cy="611952"/>
          </a:xfr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grpSp>
        <p:nvGrpSpPr>
          <p:cNvPr id="13" name="Group 12">
            <a:extLst>
              <a:ext uri="{FF2B5EF4-FFF2-40B4-BE49-F238E27FC236}">
                <a16:creationId xmlns:a16="http://schemas.microsoft.com/office/drawing/2014/main" id="{A64DC5EC-CF16-2C89-3A44-8483D8CAA140}"/>
              </a:ext>
            </a:extLst>
          </p:cNvPr>
          <p:cNvGrpSpPr/>
          <p:nvPr userDrawn="1"/>
        </p:nvGrpSpPr>
        <p:grpSpPr>
          <a:xfrm>
            <a:off x="944059" y="78036"/>
            <a:ext cx="5237829" cy="180620"/>
            <a:chOff x="944059" y="78036"/>
            <a:chExt cx="5237829" cy="180620"/>
          </a:xfrm>
        </p:grpSpPr>
        <p:sp>
          <p:nvSpPr>
            <p:cNvPr id="15" name="TextBox 14">
              <a:hlinkClick r:id="rId3" action="ppaction://hlinksldjump"/>
              <a:extLst>
                <a:ext uri="{FF2B5EF4-FFF2-40B4-BE49-F238E27FC236}">
                  <a16:creationId xmlns:a16="http://schemas.microsoft.com/office/drawing/2014/main" id="{CAD74F48-8911-B63E-96EB-0608B56D5327}"/>
                </a:ext>
              </a:extLst>
            </p:cNvPr>
            <p:cNvSpPr txBox="1"/>
            <p:nvPr userDrawn="1"/>
          </p:nvSpPr>
          <p:spPr>
            <a:xfrm>
              <a:off x="944059" y="78036"/>
              <a:ext cx="1005239" cy="180000"/>
            </a:xfrm>
            <a:prstGeom prst="rect">
              <a:avLst/>
            </a:prstGeom>
            <a:noFill/>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Executive summary</a:t>
              </a:r>
            </a:p>
          </p:txBody>
        </p:sp>
        <p:sp>
          <p:nvSpPr>
            <p:cNvPr id="16" name="TextBox 15">
              <a:hlinkClick r:id="rId3" action="ppaction://hlinksldjump"/>
              <a:extLst>
                <a:ext uri="{FF2B5EF4-FFF2-40B4-BE49-F238E27FC236}">
                  <a16:creationId xmlns:a16="http://schemas.microsoft.com/office/drawing/2014/main" id="{4FC8E319-82AC-BC01-4A09-67C3FC1C0019}"/>
                </a:ext>
              </a:extLst>
            </p:cNvPr>
            <p:cNvSpPr txBox="1"/>
            <p:nvPr userDrawn="1"/>
          </p:nvSpPr>
          <p:spPr>
            <a:xfrm>
              <a:off x="2293331" y="78036"/>
              <a:ext cx="1005239"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approach and methodology</a:t>
              </a:r>
            </a:p>
          </p:txBody>
        </p:sp>
        <p:sp>
          <p:nvSpPr>
            <p:cNvPr id="19" name="TextBox 18">
              <a:hlinkClick r:id="rId3" action="ppaction://hlinksldjump"/>
              <a:extLst>
                <a:ext uri="{FF2B5EF4-FFF2-40B4-BE49-F238E27FC236}">
                  <a16:creationId xmlns:a16="http://schemas.microsoft.com/office/drawing/2014/main" id="{FA1D0860-FADA-6ABE-B6A9-829DF9AC63BD}"/>
                </a:ext>
              </a:extLst>
            </p:cNvPr>
            <p:cNvSpPr txBox="1"/>
            <p:nvPr userDrawn="1"/>
          </p:nvSpPr>
          <p:spPr>
            <a:xfrm>
              <a:off x="3621567" y="78036"/>
              <a:ext cx="1026276" cy="180000"/>
            </a:xfrm>
            <a:prstGeom prst="rect">
              <a:avLst/>
            </a:prstGeom>
            <a:noFill/>
            <a:ln>
              <a:noFill/>
            </a:ln>
          </p:spPr>
          <p:txBody>
            <a:bodyPr wrap="square" lIns="0" tIns="0" rIns="0" bIns="0" anchor="ctr">
              <a:noAutofit/>
            </a:bodyPr>
            <a:lstStyle/>
            <a:p>
              <a:pPr algn="ctr">
                <a:spcBef>
                  <a:spcPts val="0"/>
                </a:spcBef>
                <a:spcAft>
                  <a:spcPts val="200"/>
                </a:spcAft>
                <a:defRPr/>
              </a:pPr>
              <a:r>
                <a:rPr lang="en-US" sz="700" b="0" i="0">
                  <a:solidFill>
                    <a:schemeClr val="tx1"/>
                  </a:solidFill>
                  <a:latin typeface="EYInterstate Light" panose="02000506000000020004" pitchFamily="2" charset="0"/>
                </a:rPr>
                <a:t>Our team and experience</a:t>
              </a:r>
            </a:p>
          </p:txBody>
        </p:sp>
        <p:sp>
          <p:nvSpPr>
            <p:cNvPr id="20" name="TextBox 19">
              <a:hlinkClick r:id="rId3" action="ppaction://hlinksldjump"/>
              <a:extLst>
                <a:ext uri="{FF2B5EF4-FFF2-40B4-BE49-F238E27FC236}">
                  <a16:creationId xmlns:a16="http://schemas.microsoft.com/office/drawing/2014/main" id="{711EBE6C-CB28-9C48-7852-9238E72B48CC}"/>
                </a:ext>
              </a:extLst>
            </p:cNvPr>
            <p:cNvSpPr txBox="1"/>
            <p:nvPr userDrawn="1"/>
          </p:nvSpPr>
          <p:spPr>
            <a:xfrm>
              <a:off x="4828288" y="78036"/>
              <a:ext cx="1353600"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Our fees</a:t>
              </a:r>
            </a:p>
          </p:txBody>
        </p:sp>
        <p:cxnSp>
          <p:nvCxnSpPr>
            <p:cNvPr id="23" name="Straight Connector 22">
              <a:extLst>
                <a:ext uri="{FF2B5EF4-FFF2-40B4-BE49-F238E27FC236}">
                  <a16:creationId xmlns:a16="http://schemas.microsoft.com/office/drawing/2014/main" id="{F70800C6-A413-F508-6C78-28C455F58AD0}"/>
                </a:ext>
              </a:extLst>
            </p:cNvPr>
            <p:cNvCxnSpPr>
              <a:cxnSpLocks/>
            </p:cNvCxnSpPr>
            <p:nvPr userDrawn="1"/>
          </p:nvCxnSpPr>
          <p:spPr>
            <a:xfrm>
              <a:off x="213112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33E34F4-F30D-2E8C-FA7E-F73BC6653193}"/>
                </a:ext>
              </a:extLst>
            </p:cNvPr>
            <p:cNvCxnSpPr>
              <a:cxnSpLocks/>
            </p:cNvCxnSpPr>
            <p:nvPr userDrawn="1"/>
          </p:nvCxnSpPr>
          <p:spPr>
            <a:xfrm>
              <a:off x="3481571"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grpSp>
      <p:sp>
        <p:nvSpPr>
          <p:cNvPr id="18" name="TextBox 17">
            <a:hlinkClick r:id="rId3" action="ppaction://hlinksldjump"/>
            <a:extLst>
              <a:ext uri="{FF2B5EF4-FFF2-40B4-BE49-F238E27FC236}">
                <a16:creationId xmlns:a16="http://schemas.microsoft.com/office/drawing/2014/main" id="{8986212A-7466-65CD-4365-5320532AF7B3}"/>
              </a:ext>
            </a:extLst>
          </p:cNvPr>
          <p:cNvSpPr txBox="1"/>
          <p:nvPr userDrawn="1"/>
        </p:nvSpPr>
        <p:spPr>
          <a:xfrm>
            <a:off x="6354555" y="78036"/>
            <a:ext cx="1353600" cy="180000"/>
          </a:xfrm>
          <a:prstGeom prst="rect">
            <a:avLst/>
          </a:prstGeom>
          <a:noFill/>
          <a:ln>
            <a:noFill/>
          </a:ln>
        </p:spPr>
        <p:txBody>
          <a:bodyPr wrap="square" lIns="0" tIns="0" rIns="0" bIns="0" anchor="ctr">
            <a:noAutofit/>
          </a:bodyPr>
          <a:lstStyle/>
          <a:p>
            <a:pPr algn="ctr">
              <a:spcBef>
                <a:spcPts val="600"/>
              </a:spcBef>
              <a:defRPr/>
            </a:pPr>
            <a:r>
              <a:rPr lang="en-US" sz="700" b="0" i="0">
                <a:solidFill>
                  <a:schemeClr val="tx1"/>
                </a:solidFill>
                <a:latin typeface="EYInterstate Light" panose="02000506000000020004" pitchFamily="2" charset="0"/>
              </a:rPr>
              <a:t>About EY</a:t>
            </a:r>
          </a:p>
        </p:txBody>
      </p:sp>
      <p:cxnSp>
        <p:nvCxnSpPr>
          <p:cNvPr id="22" name="Straight Connector 21">
            <a:extLst>
              <a:ext uri="{FF2B5EF4-FFF2-40B4-BE49-F238E27FC236}">
                <a16:creationId xmlns:a16="http://schemas.microsoft.com/office/drawing/2014/main" id="{A2BC2C54-A61B-1889-C869-202CC18439F3}"/>
              </a:ext>
            </a:extLst>
          </p:cNvPr>
          <p:cNvCxnSpPr>
            <a:cxnSpLocks/>
          </p:cNvCxnSpPr>
          <p:nvPr userDrawn="1"/>
        </p:nvCxnSpPr>
        <p:spPr>
          <a:xfrm>
            <a:off x="4828289"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sp>
        <p:nvSpPr>
          <p:cNvPr id="25" name="TextBox 24">
            <a:hlinkClick r:id="" action="ppaction://noaction"/>
            <a:extLst>
              <a:ext uri="{FF2B5EF4-FFF2-40B4-BE49-F238E27FC236}">
                <a16:creationId xmlns:a16="http://schemas.microsoft.com/office/drawing/2014/main" id="{87A0DF0B-1A60-D17F-B49D-4B211099762B}"/>
              </a:ext>
            </a:extLst>
          </p:cNvPr>
          <p:cNvSpPr txBox="1"/>
          <p:nvPr userDrawn="1"/>
        </p:nvSpPr>
        <p:spPr>
          <a:xfrm>
            <a:off x="7714827" y="80551"/>
            <a:ext cx="1353600" cy="180000"/>
          </a:xfrm>
          <a:prstGeom prst="rect">
            <a:avLst/>
          </a:prstGeom>
          <a:solidFill>
            <a:srgbClr val="AF144B"/>
          </a:solidFill>
          <a:ln>
            <a:noFill/>
          </a:ln>
        </p:spPr>
        <p:txBody>
          <a:bodyPr wrap="square" lIns="0" tIns="0" rIns="0" bIns="0" anchor="ctr">
            <a:noAutofit/>
          </a:bodyPr>
          <a:lstStyle/>
          <a:p>
            <a:pPr algn="ctr">
              <a:spcBef>
                <a:spcPts val="600"/>
              </a:spcBef>
              <a:defRPr/>
            </a:pPr>
            <a:r>
              <a:rPr lang="en-US" sz="700" b="0" i="0">
                <a:solidFill>
                  <a:schemeClr val="bg1"/>
                </a:solidFill>
                <a:latin typeface="EYInterstate Light" panose="02000506000000020004" pitchFamily="2" charset="0"/>
              </a:rPr>
              <a:t>Appendix</a:t>
            </a:r>
          </a:p>
        </p:txBody>
      </p:sp>
      <p:cxnSp>
        <p:nvCxnSpPr>
          <p:cNvPr id="17" name="Straight Connector 16">
            <a:extLst>
              <a:ext uri="{FF2B5EF4-FFF2-40B4-BE49-F238E27FC236}">
                <a16:creationId xmlns:a16="http://schemas.microsoft.com/office/drawing/2014/main" id="{5D98C860-6FC9-2085-400D-FC2E1B47CA46}"/>
              </a:ext>
            </a:extLst>
          </p:cNvPr>
          <p:cNvCxnSpPr>
            <a:cxnSpLocks/>
          </p:cNvCxnSpPr>
          <p:nvPr userDrawn="1"/>
        </p:nvCxnSpPr>
        <p:spPr>
          <a:xfrm>
            <a:off x="6190970" y="78656"/>
            <a:ext cx="0" cy="180000"/>
          </a:xfrm>
          <a:prstGeom prst="line">
            <a:avLst/>
          </a:prstGeom>
          <a:ln w="6350">
            <a:solidFill>
              <a:schemeClr val="bg1">
                <a:lumMod val="9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AA59632-6FBD-B8D5-2F21-1DE2DB145438}"/>
              </a:ext>
            </a:extLst>
          </p:cNvPr>
          <p:cNvCxnSpPr>
            <a:cxnSpLocks/>
          </p:cNvCxnSpPr>
          <p:nvPr userDrawn="1"/>
        </p:nvCxnSpPr>
        <p:spPr>
          <a:xfrm>
            <a:off x="318203" y="1339010"/>
            <a:ext cx="0" cy="4519416"/>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7" name="Oval 26">
            <a:hlinkClick r:id="" action="ppaction://noaction"/>
            <a:extLst>
              <a:ext uri="{FF2B5EF4-FFF2-40B4-BE49-F238E27FC236}">
                <a16:creationId xmlns:a16="http://schemas.microsoft.com/office/drawing/2014/main" id="{CC5BDE04-A654-FE41-30DB-7F75ECA8BF37}"/>
              </a:ext>
            </a:extLst>
          </p:cNvPr>
          <p:cNvSpPr>
            <a:spLocks noChangeAspect="1"/>
          </p:cNvSpPr>
          <p:nvPr userDrawn="1"/>
        </p:nvSpPr>
        <p:spPr>
          <a:xfrm>
            <a:off x="262403" y="3155488"/>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8" name="Oval 27">
            <a:hlinkClick r:id="" action="ppaction://hlinkshowjump?jump=previousslide"/>
            <a:extLst>
              <a:ext uri="{FF2B5EF4-FFF2-40B4-BE49-F238E27FC236}">
                <a16:creationId xmlns:a16="http://schemas.microsoft.com/office/drawing/2014/main" id="{AFFD07AF-6A84-28C1-8A1D-5DCC05546CE5}"/>
              </a:ext>
            </a:extLst>
          </p:cNvPr>
          <p:cNvSpPr>
            <a:spLocks noChangeAspect="1"/>
          </p:cNvSpPr>
          <p:nvPr userDrawn="1"/>
        </p:nvSpPr>
        <p:spPr>
          <a:xfrm>
            <a:off x="263339" y="4921494"/>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0" name="Oval 29">
            <a:hlinkClick r:id="" action="ppaction://noaction"/>
            <a:extLst>
              <a:ext uri="{FF2B5EF4-FFF2-40B4-BE49-F238E27FC236}">
                <a16:creationId xmlns:a16="http://schemas.microsoft.com/office/drawing/2014/main" id="{7FF33141-943A-4061-13EB-7D1C25FB0020}"/>
              </a:ext>
            </a:extLst>
          </p:cNvPr>
          <p:cNvSpPr>
            <a:spLocks noChangeAspect="1"/>
          </p:cNvSpPr>
          <p:nvPr userDrawn="1"/>
        </p:nvSpPr>
        <p:spPr>
          <a:xfrm>
            <a:off x="263339" y="4039427"/>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Oval 30">
            <a:hlinkClick r:id="" action="ppaction://noaction"/>
            <a:extLst>
              <a:ext uri="{FF2B5EF4-FFF2-40B4-BE49-F238E27FC236}">
                <a16:creationId xmlns:a16="http://schemas.microsoft.com/office/drawing/2014/main" id="{0A5A70E7-B797-FDEC-B489-D76058D269EC}"/>
              </a:ext>
            </a:extLst>
          </p:cNvPr>
          <p:cNvSpPr>
            <a:spLocks noChangeAspect="1"/>
          </p:cNvSpPr>
          <p:nvPr userDrawn="1"/>
        </p:nvSpPr>
        <p:spPr>
          <a:xfrm>
            <a:off x="263339" y="5803562"/>
            <a:ext cx="109728" cy="109728"/>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C4C31807-3DC1-604B-75FD-1C4DB1D09DE4}"/>
              </a:ext>
            </a:extLst>
          </p:cNvPr>
          <p:cNvSpPr>
            <a:spLocks noChangeAspect="1"/>
          </p:cNvSpPr>
          <p:nvPr userDrawn="1"/>
        </p:nvSpPr>
        <p:spPr>
          <a:xfrm>
            <a:off x="262403" y="2245449"/>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 name="Oval 32">
            <a:extLst>
              <a:ext uri="{FF2B5EF4-FFF2-40B4-BE49-F238E27FC236}">
                <a16:creationId xmlns:a16="http://schemas.microsoft.com/office/drawing/2014/main" id="{06706EAB-7979-90ED-A6A1-09F6F10B5F03}"/>
              </a:ext>
            </a:extLst>
          </p:cNvPr>
          <p:cNvSpPr>
            <a:spLocks noChangeAspect="1"/>
          </p:cNvSpPr>
          <p:nvPr userDrawn="1"/>
        </p:nvSpPr>
        <p:spPr>
          <a:xfrm>
            <a:off x="262403" y="1283210"/>
            <a:ext cx="111600" cy="1116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 name="Oval 33">
            <a:hlinkClick r:id="" action="ppaction://noaction"/>
            <a:extLst>
              <a:ext uri="{FF2B5EF4-FFF2-40B4-BE49-F238E27FC236}">
                <a16:creationId xmlns:a16="http://schemas.microsoft.com/office/drawing/2014/main" id="{F83B71F4-D019-CE47-7918-F372D695FBF9}"/>
              </a:ext>
            </a:extLst>
          </p:cNvPr>
          <p:cNvSpPr>
            <a:spLocks noChangeAspect="1"/>
          </p:cNvSpPr>
          <p:nvPr userDrawn="1"/>
        </p:nvSpPr>
        <p:spPr>
          <a:xfrm>
            <a:off x="210203" y="5750426"/>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4178868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pic>
        <p:nvPicPr>
          <p:cNvPr id="2" name="Picture 1" descr="A red and blue hexagons&#10;&#10;Description automatically generated">
            <a:extLst>
              <a:ext uri="{FF2B5EF4-FFF2-40B4-BE49-F238E27FC236}">
                <a16:creationId xmlns:a16="http://schemas.microsoft.com/office/drawing/2014/main" id="{45D9AB72-14D9-5F3A-F396-480C02BF0DD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95769803-01FB-C16C-4827-6698C38D38E5}"/>
              </a:ext>
            </a:extLst>
          </p:cNvPr>
          <p:cNvSpPr>
            <a:spLocks noGrp="1"/>
          </p:cNvSpPr>
          <p:nvPr>
            <p:ph type="body" sz="quarter" idx="10" hasCustomPrompt="1"/>
          </p:nvPr>
        </p:nvSpPr>
        <p:spPr>
          <a:xfrm>
            <a:off x="332509" y="3429000"/>
            <a:ext cx="7052252" cy="4738687"/>
          </a:xfrm>
        </p:spPr>
        <p:txBody>
          <a:bodyPr>
            <a:noAutofit/>
          </a:bodyPr>
          <a:lstStyle>
            <a:lvl1pPr marL="0" indent="0">
              <a:buNone/>
              <a:defRPr sz="40000" b="1" i="0">
                <a:solidFill>
                  <a:schemeClr val="bg1">
                    <a:alpha val="40234"/>
                  </a:schemeClr>
                </a:solidFill>
                <a:latin typeface="EYInterstate Regular" panose="02000503020000020004" pitchFamily="2" charset="0"/>
              </a:defRPr>
            </a:lvl1pPr>
          </a:lstStyle>
          <a:p>
            <a:pPr lvl="0"/>
            <a:r>
              <a:rPr lang="en-GB"/>
              <a:t>01</a:t>
            </a:r>
            <a:endParaRPr lang="en-US"/>
          </a:p>
        </p:txBody>
      </p:sp>
      <p:cxnSp>
        <p:nvCxnSpPr>
          <p:cNvPr id="6" name="Straight Connector 5">
            <a:extLst>
              <a:ext uri="{FF2B5EF4-FFF2-40B4-BE49-F238E27FC236}">
                <a16:creationId xmlns:a16="http://schemas.microsoft.com/office/drawing/2014/main" id="{EC814982-1454-66E6-45B5-BBD38716F317}"/>
              </a:ext>
            </a:extLst>
          </p:cNvPr>
          <p:cNvCxnSpPr>
            <a:cxnSpLocks/>
          </p:cNvCxnSpPr>
          <p:nvPr userDrawn="1"/>
        </p:nvCxnSpPr>
        <p:spPr>
          <a:xfrm>
            <a:off x="1316182" y="3574473"/>
            <a:ext cx="1122219" cy="0"/>
          </a:xfrm>
          <a:prstGeom prst="line">
            <a:avLst/>
          </a:prstGeom>
          <a:ln w="101600" cap="rnd">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37">
            <a:extLst>
              <a:ext uri="{FF2B5EF4-FFF2-40B4-BE49-F238E27FC236}">
                <a16:creationId xmlns:a16="http://schemas.microsoft.com/office/drawing/2014/main" id="{4AD25370-8718-D206-3B2D-372F2F9DA656}"/>
              </a:ext>
            </a:extLst>
          </p:cNvPr>
          <p:cNvSpPr>
            <a:spLocks noGrp="1"/>
          </p:cNvSpPr>
          <p:nvPr>
            <p:ph type="body" sz="quarter" idx="11"/>
          </p:nvPr>
        </p:nvSpPr>
        <p:spPr>
          <a:xfrm>
            <a:off x="1316183" y="626918"/>
            <a:ext cx="5541818" cy="2632364"/>
          </a:xfrm>
        </p:spPr>
        <p:txBody>
          <a:bodyPr lIns="0" tIns="0" rIns="0" bIns="0" anchor="b">
            <a:noAutofit/>
          </a:bodyPr>
          <a:lstStyle>
            <a:lvl1pPr marL="0" indent="0">
              <a:lnSpc>
                <a:spcPct val="100000"/>
              </a:lnSpc>
              <a:buNone/>
              <a:defRPr sz="4600" b="0" i="0">
                <a:solidFill>
                  <a:schemeClr val="bg1"/>
                </a:solidFill>
                <a:latin typeface="EYInterstate Light" panose="02000506000000020004" pitchFamily="2" charset="0"/>
              </a:defRPr>
            </a:lvl1pPr>
          </a:lstStyle>
          <a:p>
            <a:pPr lvl="0"/>
            <a:r>
              <a:rPr lang="en-GB"/>
              <a:t>Click to edit Master text styles</a:t>
            </a:r>
          </a:p>
        </p:txBody>
      </p:sp>
    </p:spTree>
    <p:extLst>
      <p:ext uri="{BB962C8B-B14F-4D97-AF65-F5344CB8AC3E}">
        <p14:creationId xmlns:p14="http://schemas.microsoft.com/office/powerpoint/2010/main" val="13824112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94250"/>
          <a:stretch/>
        </p:blipFill>
        <p:spPr>
          <a:xfrm>
            <a:off x="1" y="0"/>
            <a:ext cx="701039" cy="6858000"/>
          </a:xfrm>
          <a:prstGeom prst="rect">
            <a:avLst/>
          </a:prstGeom>
        </p:spPr>
      </p:pic>
      <p:grpSp>
        <p:nvGrpSpPr>
          <p:cNvPr id="29" name="Group 28">
            <a:extLst>
              <a:ext uri="{FF2B5EF4-FFF2-40B4-BE49-F238E27FC236}">
                <a16:creationId xmlns:a16="http://schemas.microsoft.com/office/drawing/2014/main" id="{5F88DBFB-D6E7-D713-5235-B5FCD650C11A}"/>
              </a:ext>
            </a:extLst>
          </p:cNvPr>
          <p:cNvGrpSpPr/>
          <p:nvPr userDrawn="1"/>
        </p:nvGrpSpPr>
        <p:grpSpPr>
          <a:xfrm>
            <a:off x="111547" y="139955"/>
            <a:ext cx="482556" cy="482556"/>
            <a:chOff x="85462" y="218426"/>
            <a:chExt cx="482556" cy="482556"/>
          </a:xfrm>
        </p:grpSpPr>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4" name="Group 3">
            <a:extLst>
              <a:ext uri="{FF2B5EF4-FFF2-40B4-BE49-F238E27FC236}">
                <a16:creationId xmlns:a16="http://schemas.microsoft.com/office/drawing/2014/main" id="{3E192668-2DFF-9979-E586-1DEC1A3E66CA}"/>
              </a:ext>
            </a:extLst>
          </p:cNvPr>
          <p:cNvGrpSpPr/>
          <p:nvPr userDrawn="1"/>
        </p:nvGrpSpPr>
        <p:grpSpPr>
          <a:xfrm>
            <a:off x="1001410" y="908373"/>
            <a:ext cx="10818972" cy="0"/>
            <a:chOff x="2785268" y="997527"/>
            <a:chExt cx="10818972" cy="0"/>
          </a:xfrm>
        </p:grpSpPr>
        <p:cxnSp>
          <p:nvCxnSpPr>
            <p:cNvPr id="5" name="Straight Connector 4">
              <a:extLst>
                <a:ext uri="{FF2B5EF4-FFF2-40B4-BE49-F238E27FC236}">
                  <a16:creationId xmlns:a16="http://schemas.microsoft.com/office/drawing/2014/main" id="{F78C2828-B9E4-4FAB-79B3-02C435F965FE}"/>
                </a:ext>
              </a:extLst>
            </p:cNvPr>
            <p:cNvCxnSpPr>
              <a:cxnSpLocks/>
            </p:cNvCxnSpPr>
            <p:nvPr/>
          </p:nvCxnSpPr>
          <p:spPr>
            <a:xfrm>
              <a:off x="4173494" y="997527"/>
              <a:ext cx="9430746"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AA127CA-1EFC-D7E2-8FD1-FDCBEA4A54D7}"/>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
        <p:nvSpPr>
          <p:cNvPr id="2" name="TextBox 23">
            <a:extLst>
              <a:ext uri="{FF2B5EF4-FFF2-40B4-BE49-F238E27FC236}">
                <a16:creationId xmlns:a16="http://schemas.microsoft.com/office/drawing/2014/main" id="{07136118-47ED-A603-7CE7-350F1CF564A2}"/>
              </a:ext>
            </a:extLst>
          </p:cNvPr>
          <p:cNvSpPr txBox="1"/>
          <p:nvPr userDrawn="1"/>
        </p:nvSpPr>
        <p:spPr>
          <a:xfrm>
            <a:off x="0" y="6455205"/>
            <a:ext cx="701040" cy="216291"/>
          </a:xfrm>
          <a:prstGeom prst="rect">
            <a:avLst/>
          </a:prstGeom>
          <a:solidFill>
            <a:srgbClr val="AF154B"/>
          </a:solid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AE4D82F-B047-469B-AC52-A46321747EAF}" type="slidenum">
              <a:rPr lang="en-GB" sz="1000" b="0" i="0" smtClean="0">
                <a:solidFill>
                  <a:schemeClr val="bg1"/>
                </a:solidFill>
                <a:latin typeface="EYInterstate Light" panose="02000503020000020004" pitchFamily="2" charset="0"/>
              </a:rPr>
              <a:pPr algn="ctr"/>
              <a:t>‹#›</a:t>
            </a:fld>
            <a:endParaRPr lang="en-GB" sz="1000" b="0" i="0">
              <a:solidFill>
                <a:schemeClr val="bg1"/>
              </a:solidFill>
              <a:latin typeface="EYInterstate Light" panose="02000503020000020004" pitchFamily="2" charset="0"/>
            </a:endParaRPr>
          </a:p>
        </p:txBody>
      </p:sp>
      <p:sp>
        <p:nvSpPr>
          <p:cNvPr id="12" name="Text Placeholder 37">
            <a:extLst>
              <a:ext uri="{FF2B5EF4-FFF2-40B4-BE49-F238E27FC236}">
                <a16:creationId xmlns:a16="http://schemas.microsoft.com/office/drawing/2014/main" id="{F20A10E4-01C7-94AD-F7C9-8CBC602295CC}"/>
              </a:ext>
            </a:extLst>
          </p:cNvPr>
          <p:cNvSpPr>
            <a:spLocks noGrp="1"/>
          </p:cNvSpPr>
          <p:nvPr>
            <p:ph type="body" sz="quarter" idx="11"/>
          </p:nvPr>
        </p:nvSpPr>
        <p:spPr>
          <a:xfrm>
            <a:off x="942753" y="263066"/>
            <a:ext cx="10877629" cy="611952"/>
          </a:xfrm>
          <a:prstGeom prst="rect">
            <a:avLst/>
          </a:prstGeom>
        </p:spPr>
        <p:txBody>
          <a:bodyPr lIns="0" tIns="0" rIns="0" bIns="0" anchor="ctr">
            <a:normAutofit/>
          </a:bodyPr>
          <a:lstStyle>
            <a:lvl1pPr marL="0" indent="0">
              <a:lnSpc>
                <a:spcPct val="100000"/>
              </a:lnSpc>
              <a:buNone/>
              <a:defRPr sz="2200" b="0" i="0">
                <a:solidFill>
                  <a:srgbClr val="A5A5B6"/>
                </a:solidFill>
                <a:latin typeface="EYInterstate Light" panose="02000506000000020004" pitchFamily="2" charset="0"/>
              </a:defRPr>
            </a:lvl1pPr>
          </a:lstStyle>
          <a:p>
            <a:pPr lvl="0"/>
            <a:r>
              <a:rPr lang="en-GB"/>
              <a:t>Click to edit Master text styles</a:t>
            </a:r>
          </a:p>
        </p:txBody>
      </p:sp>
    </p:spTree>
    <p:extLst>
      <p:ext uri="{BB962C8B-B14F-4D97-AF65-F5344CB8AC3E}">
        <p14:creationId xmlns:p14="http://schemas.microsoft.com/office/powerpoint/2010/main" val="7706010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2" name="Picture 1" descr="A red and blue hexagons&#10;&#10;Description automatically generated">
            <a:extLst>
              <a:ext uri="{FF2B5EF4-FFF2-40B4-BE49-F238E27FC236}">
                <a16:creationId xmlns:a16="http://schemas.microsoft.com/office/drawing/2014/main" id="{45D9AB72-14D9-5F3A-F396-480C02BF0DDA}"/>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936839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2" name="Picture 1" descr="A red and blue hexagons&#10;&#10;Description automatically generated">
            <a:extLst>
              <a:ext uri="{FF2B5EF4-FFF2-40B4-BE49-F238E27FC236}">
                <a16:creationId xmlns:a16="http://schemas.microsoft.com/office/drawing/2014/main" id="{45D9AB72-14D9-5F3A-F396-480C02BF0DD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5" name="Text Placeholder 37">
            <a:extLst>
              <a:ext uri="{FF2B5EF4-FFF2-40B4-BE49-F238E27FC236}">
                <a16:creationId xmlns:a16="http://schemas.microsoft.com/office/drawing/2014/main" id="{65CAA29C-452C-E061-B43F-E9DCF53CB2D9}"/>
              </a:ext>
            </a:extLst>
          </p:cNvPr>
          <p:cNvSpPr>
            <a:spLocks noGrp="1"/>
          </p:cNvSpPr>
          <p:nvPr>
            <p:ph type="body" sz="quarter" idx="11"/>
          </p:nvPr>
        </p:nvSpPr>
        <p:spPr>
          <a:xfrm>
            <a:off x="1316182" y="626918"/>
            <a:ext cx="9267997" cy="637941"/>
          </a:xfrm>
        </p:spPr>
        <p:txBody>
          <a:bodyPr lIns="0" tIns="0" rIns="0" bIns="0" anchor="t">
            <a:noAutofit/>
          </a:bodyPr>
          <a:lstStyle>
            <a:lvl1pPr marL="0" indent="0">
              <a:lnSpc>
                <a:spcPct val="100000"/>
              </a:lnSpc>
              <a:buNone/>
              <a:defRPr sz="3600" b="0" i="0">
                <a:solidFill>
                  <a:schemeClr val="bg1"/>
                </a:solidFill>
                <a:latin typeface="EYInterstate Light" panose="02000506000000020004" pitchFamily="2" charset="0"/>
              </a:defRPr>
            </a:lvl1pPr>
          </a:lstStyle>
          <a:p>
            <a:pPr lvl="0"/>
            <a:r>
              <a:rPr lang="en-GB"/>
              <a:t>Click to edit Master text styles</a:t>
            </a:r>
          </a:p>
        </p:txBody>
      </p:sp>
      <p:pic>
        <p:nvPicPr>
          <p:cNvPr id="6" name="Picture 5" descr="A black and white logo&#10;&#10;Description automatically generated">
            <a:extLst>
              <a:ext uri="{FF2B5EF4-FFF2-40B4-BE49-F238E27FC236}">
                <a16:creationId xmlns:a16="http://schemas.microsoft.com/office/drawing/2014/main" id="{62842271-5285-02AB-D5F5-0DEEB7D467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900" y="5545654"/>
            <a:ext cx="926001" cy="975078"/>
          </a:xfrm>
          <a:prstGeom prst="rect">
            <a:avLst/>
          </a:prstGeom>
        </p:spPr>
      </p:pic>
    </p:spTree>
    <p:extLst>
      <p:ext uri="{BB962C8B-B14F-4D97-AF65-F5344CB8AC3E}">
        <p14:creationId xmlns:p14="http://schemas.microsoft.com/office/powerpoint/2010/main" val="569609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79432"/>
          <a:stretch/>
        </p:blipFill>
        <p:spPr>
          <a:xfrm>
            <a:off x="0" y="0"/>
            <a:ext cx="2507673" cy="6858000"/>
          </a:xfrm>
          <a:prstGeom prst="rect">
            <a:avLst/>
          </a:prstGeom>
        </p:spPr>
      </p:pic>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cxnSp>
        <p:nvCxnSpPr>
          <p:cNvPr id="12" name="Straight Connector 11">
            <a:extLst>
              <a:ext uri="{FF2B5EF4-FFF2-40B4-BE49-F238E27FC236}">
                <a16:creationId xmlns:a16="http://schemas.microsoft.com/office/drawing/2014/main" id="{9F6BE2CC-AFDD-C4F7-CAF3-F1EE12818543}"/>
              </a:ext>
            </a:extLst>
          </p:cNvPr>
          <p:cNvCxnSpPr>
            <a:cxnSpLocks/>
            <a:stCxn id="23" idx="4"/>
            <a:endCxn id="19" idx="0"/>
          </p:cNvCxnSpPr>
          <p:nvPr userDrawn="1"/>
        </p:nvCxnSpPr>
        <p:spPr>
          <a:xfrm>
            <a:off x="325289" y="1568117"/>
            <a:ext cx="0" cy="390612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Oval 12">
            <a:hlinkClick r:id="" action="ppaction://noaction"/>
            <a:extLst>
              <a:ext uri="{FF2B5EF4-FFF2-40B4-BE49-F238E27FC236}">
                <a16:creationId xmlns:a16="http://schemas.microsoft.com/office/drawing/2014/main" id="{4D8259BC-FF19-B15A-0624-F43E2FD24B3C}"/>
              </a:ext>
            </a:extLst>
          </p:cNvPr>
          <p:cNvSpPr>
            <a:spLocks noChangeAspect="1"/>
          </p:cNvSpPr>
          <p:nvPr userDrawn="1"/>
        </p:nvSpPr>
        <p:spPr>
          <a:xfrm>
            <a:off x="271289" y="2463649"/>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5" name="Oval 14">
            <a:hlinkClick r:id="" action="ppaction://noaction"/>
            <a:extLst>
              <a:ext uri="{FF2B5EF4-FFF2-40B4-BE49-F238E27FC236}">
                <a16:creationId xmlns:a16="http://schemas.microsoft.com/office/drawing/2014/main" id="{649D3E1F-4D2C-0740-7E3F-AE9E2F790F2F}"/>
              </a:ext>
            </a:extLst>
          </p:cNvPr>
          <p:cNvSpPr>
            <a:spLocks noChangeAspect="1"/>
          </p:cNvSpPr>
          <p:nvPr userDrawn="1"/>
        </p:nvSpPr>
        <p:spPr>
          <a:xfrm>
            <a:off x="271289" y="3467181"/>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9" name="Oval 18">
            <a:hlinkClick r:id="" action="ppaction://noaction"/>
            <a:extLst>
              <a:ext uri="{FF2B5EF4-FFF2-40B4-BE49-F238E27FC236}">
                <a16:creationId xmlns:a16="http://schemas.microsoft.com/office/drawing/2014/main" id="{33F7E861-24E2-1B7E-C8A7-9E928DE0C06A}"/>
              </a:ext>
            </a:extLst>
          </p:cNvPr>
          <p:cNvSpPr>
            <a:spLocks noChangeAspect="1"/>
          </p:cNvSpPr>
          <p:nvPr userDrawn="1"/>
        </p:nvSpPr>
        <p:spPr>
          <a:xfrm>
            <a:off x="271289" y="5474245"/>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0" name="TextBox 19">
            <a:hlinkClick r:id="rId3" action="ppaction://hlinksldjump"/>
            <a:extLst>
              <a:ext uri="{FF2B5EF4-FFF2-40B4-BE49-F238E27FC236}">
                <a16:creationId xmlns:a16="http://schemas.microsoft.com/office/drawing/2014/main" id="{8B0310C1-3027-0A62-877A-4ABC66477A06}"/>
              </a:ext>
            </a:extLst>
          </p:cNvPr>
          <p:cNvSpPr txBox="1"/>
          <p:nvPr userDrawn="1"/>
        </p:nvSpPr>
        <p:spPr>
          <a:xfrm>
            <a:off x="632423" y="1437173"/>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INTRODUCTION</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23" name="Oval 22">
            <a:hlinkClick r:id="" action="ppaction://noaction"/>
            <a:extLst>
              <a:ext uri="{FF2B5EF4-FFF2-40B4-BE49-F238E27FC236}">
                <a16:creationId xmlns:a16="http://schemas.microsoft.com/office/drawing/2014/main" id="{9D7A1E66-C10E-0974-53EF-953AF88C1971}"/>
              </a:ext>
            </a:extLst>
          </p:cNvPr>
          <p:cNvSpPr>
            <a:spLocks noChangeAspect="1"/>
          </p:cNvSpPr>
          <p:nvPr userDrawn="1"/>
        </p:nvSpPr>
        <p:spPr>
          <a:xfrm>
            <a:off x="271289" y="1460117"/>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329F3472-63A1-8FEF-50BE-63CB75527884}"/>
              </a:ext>
            </a:extLst>
          </p:cNvPr>
          <p:cNvSpPr>
            <a:spLocks noChangeAspect="1"/>
          </p:cNvSpPr>
          <p:nvPr userDrawn="1"/>
        </p:nvSpPr>
        <p:spPr>
          <a:xfrm>
            <a:off x="271289" y="4470713"/>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TextBox 30">
            <a:hlinkClick r:id="" action="ppaction://noaction"/>
            <a:extLst>
              <a:ext uri="{FF2B5EF4-FFF2-40B4-BE49-F238E27FC236}">
                <a16:creationId xmlns:a16="http://schemas.microsoft.com/office/drawing/2014/main" id="{7EDF3DB0-35AD-AE40-41E5-A87173B0B60B}"/>
              </a:ext>
            </a:extLst>
          </p:cNvPr>
          <p:cNvSpPr txBox="1"/>
          <p:nvPr userDrawn="1"/>
        </p:nvSpPr>
        <p:spPr>
          <a:xfrm>
            <a:off x="632423" y="2436814"/>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WHAT WE HEARD</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3" name="TextBox 32">
            <a:hlinkClick r:id="" action="ppaction://noaction"/>
            <a:extLst>
              <a:ext uri="{FF2B5EF4-FFF2-40B4-BE49-F238E27FC236}">
                <a16:creationId xmlns:a16="http://schemas.microsoft.com/office/drawing/2014/main" id="{63D29BE2-AE95-1DB1-ED0D-EC8B1057F842}"/>
              </a:ext>
            </a:extLst>
          </p:cNvPr>
          <p:cNvSpPr txBox="1"/>
          <p:nvPr userDrawn="1"/>
        </p:nvSpPr>
        <p:spPr>
          <a:xfrm>
            <a:off x="632423" y="3459703"/>
            <a:ext cx="1708506"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POINT OF VIEW</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4" name="TextBox 33">
            <a:hlinkClick r:id="" action="ppaction://noaction"/>
            <a:extLst>
              <a:ext uri="{FF2B5EF4-FFF2-40B4-BE49-F238E27FC236}">
                <a16:creationId xmlns:a16="http://schemas.microsoft.com/office/drawing/2014/main" id="{54D54478-B302-6315-8F07-130CE05C29E2}"/>
              </a:ext>
            </a:extLst>
          </p:cNvPr>
          <p:cNvSpPr txBox="1"/>
          <p:nvPr userDrawn="1"/>
        </p:nvSpPr>
        <p:spPr>
          <a:xfrm>
            <a:off x="632423" y="4428347"/>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APPROACH</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5" name="TextBox 34">
            <a:hlinkClick r:id="" action="ppaction://noaction"/>
            <a:extLst>
              <a:ext uri="{FF2B5EF4-FFF2-40B4-BE49-F238E27FC236}">
                <a16:creationId xmlns:a16="http://schemas.microsoft.com/office/drawing/2014/main" id="{4EBF84A2-39FC-CA17-4CBE-108E5C15CB96}"/>
              </a:ext>
            </a:extLst>
          </p:cNvPr>
          <p:cNvSpPr txBox="1"/>
          <p:nvPr userDrawn="1"/>
        </p:nvSpPr>
        <p:spPr>
          <a:xfrm>
            <a:off x="632423" y="5451235"/>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THE EXPERIENCE</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6" name="Oval 35">
            <a:extLst>
              <a:ext uri="{FF2B5EF4-FFF2-40B4-BE49-F238E27FC236}">
                <a16:creationId xmlns:a16="http://schemas.microsoft.com/office/drawing/2014/main" id="{7FB00654-7AEE-7C99-04A0-DA7F9A40D6EF}"/>
              </a:ext>
            </a:extLst>
          </p:cNvPr>
          <p:cNvSpPr>
            <a:spLocks noChangeAspect="1"/>
          </p:cNvSpPr>
          <p:nvPr userDrawn="1"/>
        </p:nvSpPr>
        <p:spPr>
          <a:xfrm>
            <a:off x="217289" y="1406117"/>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7" name="Rectangle 36">
            <a:hlinkClick r:id="rId4" action="ppaction://hlinksldjump"/>
            <a:extLst>
              <a:ext uri="{FF2B5EF4-FFF2-40B4-BE49-F238E27FC236}">
                <a16:creationId xmlns:a16="http://schemas.microsoft.com/office/drawing/2014/main" id="{57584725-3B3B-3F95-5629-F4791CF76566}"/>
              </a:ext>
            </a:extLst>
          </p:cNvPr>
          <p:cNvSpPr/>
          <p:nvPr userDrawn="1"/>
        </p:nvSpPr>
        <p:spPr>
          <a:xfrm>
            <a:off x="34925" y="180975"/>
            <a:ext cx="561975" cy="5619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284E73AF-318C-89A5-D617-4A669470135B}"/>
              </a:ext>
            </a:extLst>
          </p:cNvPr>
          <p:cNvGrpSpPr/>
          <p:nvPr userDrawn="1"/>
        </p:nvGrpSpPr>
        <p:grpSpPr>
          <a:xfrm>
            <a:off x="2785268" y="997527"/>
            <a:ext cx="8902427" cy="0"/>
            <a:chOff x="2785268" y="997527"/>
            <a:chExt cx="8902427" cy="0"/>
          </a:xfrm>
        </p:grpSpPr>
        <p:cxnSp>
          <p:nvCxnSpPr>
            <p:cNvPr id="4" name="Straight Connector 3">
              <a:extLst>
                <a:ext uri="{FF2B5EF4-FFF2-40B4-BE49-F238E27FC236}">
                  <a16:creationId xmlns:a16="http://schemas.microsoft.com/office/drawing/2014/main" id="{C876BE0F-2A90-539A-854D-EE9475A6203D}"/>
                </a:ext>
              </a:extLst>
            </p:cNvPr>
            <p:cNvCxnSpPr>
              <a:cxnSpLocks/>
            </p:cNvCxnSpPr>
            <p:nvPr/>
          </p:nvCxnSpPr>
          <p:spPr>
            <a:xfrm>
              <a:off x="4173494" y="997527"/>
              <a:ext cx="7514201" cy="0"/>
            </a:xfrm>
            <a:prstGeom prst="line">
              <a:avLst/>
            </a:prstGeom>
            <a:ln w="6350">
              <a:solidFill>
                <a:srgbClr val="A5A5B6"/>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66C8D4E8-E9E2-CE1E-5214-2FCB61384849}"/>
                </a:ext>
              </a:extLst>
            </p:cNvPr>
            <p:cNvCxnSpPr/>
            <p:nvPr/>
          </p:nvCxnSpPr>
          <p:spPr>
            <a:xfrm>
              <a:off x="2785268" y="997527"/>
              <a:ext cx="1396034" cy="0"/>
            </a:xfrm>
            <a:prstGeom prst="line">
              <a:avLst/>
            </a:prstGeom>
            <a:ln w="50800" cap="rnd">
              <a:solidFill>
                <a:srgbClr val="AE154B"/>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52789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79432"/>
          <a:stretch/>
        </p:blipFill>
        <p:spPr>
          <a:xfrm>
            <a:off x="0" y="0"/>
            <a:ext cx="2507673" cy="6858000"/>
          </a:xfrm>
          <a:prstGeom prst="rect">
            <a:avLst/>
          </a:prstGeom>
        </p:spPr>
      </p:pic>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cxnSp>
        <p:nvCxnSpPr>
          <p:cNvPr id="12" name="Straight Connector 11">
            <a:extLst>
              <a:ext uri="{FF2B5EF4-FFF2-40B4-BE49-F238E27FC236}">
                <a16:creationId xmlns:a16="http://schemas.microsoft.com/office/drawing/2014/main" id="{9F6BE2CC-AFDD-C4F7-CAF3-F1EE12818543}"/>
              </a:ext>
            </a:extLst>
          </p:cNvPr>
          <p:cNvCxnSpPr>
            <a:cxnSpLocks/>
            <a:stCxn id="23" idx="4"/>
            <a:endCxn id="19" idx="0"/>
          </p:cNvCxnSpPr>
          <p:nvPr userDrawn="1"/>
        </p:nvCxnSpPr>
        <p:spPr>
          <a:xfrm>
            <a:off x="325289" y="1568117"/>
            <a:ext cx="0" cy="390612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Oval 12">
            <a:hlinkClick r:id="" action="ppaction://noaction"/>
            <a:extLst>
              <a:ext uri="{FF2B5EF4-FFF2-40B4-BE49-F238E27FC236}">
                <a16:creationId xmlns:a16="http://schemas.microsoft.com/office/drawing/2014/main" id="{4D8259BC-FF19-B15A-0624-F43E2FD24B3C}"/>
              </a:ext>
            </a:extLst>
          </p:cNvPr>
          <p:cNvSpPr>
            <a:spLocks noChangeAspect="1"/>
          </p:cNvSpPr>
          <p:nvPr userDrawn="1"/>
        </p:nvSpPr>
        <p:spPr>
          <a:xfrm>
            <a:off x="271289" y="2463649"/>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5" name="Oval 14">
            <a:hlinkClick r:id="" action="ppaction://noaction"/>
            <a:extLst>
              <a:ext uri="{FF2B5EF4-FFF2-40B4-BE49-F238E27FC236}">
                <a16:creationId xmlns:a16="http://schemas.microsoft.com/office/drawing/2014/main" id="{649D3E1F-4D2C-0740-7E3F-AE9E2F790F2F}"/>
              </a:ext>
            </a:extLst>
          </p:cNvPr>
          <p:cNvSpPr>
            <a:spLocks noChangeAspect="1"/>
          </p:cNvSpPr>
          <p:nvPr userDrawn="1"/>
        </p:nvSpPr>
        <p:spPr>
          <a:xfrm>
            <a:off x="271289" y="3467181"/>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9" name="Oval 18">
            <a:hlinkClick r:id="" action="ppaction://noaction"/>
            <a:extLst>
              <a:ext uri="{FF2B5EF4-FFF2-40B4-BE49-F238E27FC236}">
                <a16:creationId xmlns:a16="http://schemas.microsoft.com/office/drawing/2014/main" id="{33F7E861-24E2-1B7E-C8A7-9E928DE0C06A}"/>
              </a:ext>
            </a:extLst>
          </p:cNvPr>
          <p:cNvSpPr>
            <a:spLocks noChangeAspect="1"/>
          </p:cNvSpPr>
          <p:nvPr userDrawn="1"/>
        </p:nvSpPr>
        <p:spPr>
          <a:xfrm>
            <a:off x="271289" y="5474245"/>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0" name="TextBox 19">
            <a:hlinkClick r:id="rId3" action="ppaction://hlinksldjump"/>
            <a:extLst>
              <a:ext uri="{FF2B5EF4-FFF2-40B4-BE49-F238E27FC236}">
                <a16:creationId xmlns:a16="http://schemas.microsoft.com/office/drawing/2014/main" id="{8B0310C1-3027-0A62-877A-4ABC66477A06}"/>
              </a:ext>
            </a:extLst>
          </p:cNvPr>
          <p:cNvSpPr txBox="1"/>
          <p:nvPr userDrawn="1"/>
        </p:nvSpPr>
        <p:spPr>
          <a:xfrm>
            <a:off x="632423" y="1437173"/>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INTRODUCTION</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23" name="Oval 22">
            <a:hlinkClick r:id="" action="ppaction://noaction"/>
            <a:extLst>
              <a:ext uri="{FF2B5EF4-FFF2-40B4-BE49-F238E27FC236}">
                <a16:creationId xmlns:a16="http://schemas.microsoft.com/office/drawing/2014/main" id="{9D7A1E66-C10E-0974-53EF-953AF88C1971}"/>
              </a:ext>
            </a:extLst>
          </p:cNvPr>
          <p:cNvSpPr>
            <a:spLocks noChangeAspect="1"/>
          </p:cNvSpPr>
          <p:nvPr userDrawn="1"/>
        </p:nvSpPr>
        <p:spPr>
          <a:xfrm>
            <a:off x="271289" y="1460117"/>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329F3472-63A1-8FEF-50BE-63CB75527884}"/>
              </a:ext>
            </a:extLst>
          </p:cNvPr>
          <p:cNvSpPr>
            <a:spLocks noChangeAspect="1"/>
          </p:cNvSpPr>
          <p:nvPr userDrawn="1"/>
        </p:nvSpPr>
        <p:spPr>
          <a:xfrm>
            <a:off x="271289" y="4470713"/>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TextBox 30">
            <a:hlinkClick r:id="" action="ppaction://noaction"/>
            <a:extLst>
              <a:ext uri="{FF2B5EF4-FFF2-40B4-BE49-F238E27FC236}">
                <a16:creationId xmlns:a16="http://schemas.microsoft.com/office/drawing/2014/main" id="{7EDF3DB0-35AD-AE40-41E5-A87173B0B60B}"/>
              </a:ext>
            </a:extLst>
          </p:cNvPr>
          <p:cNvSpPr txBox="1"/>
          <p:nvPr userDrawn="1"/>
        </p:nvSpPr>
        <p:spPr>
          <a:xfrm>
            <a:off x="632423" y="2436814"/>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WHAT WE HEARD</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3" name="TextBox 32">
            <a:hlinkClick r:id="" action="ppaction://noaction"/>
            <a:extLst>
              <a:ext uri="{FF2B5EF4-FFF2-40B4-BE49-F238E27FC236}">
                <a16:creationId xmlns:a16="http://schemas.microsoft.com/office/drawing/2014/main" id="{63D29BE2-AE95-1DB1-ED0D-EC8B1057F842}"/>
              </a:ext>
            </a:extLst>
          </p:cNvPr>
          <p:cNvSpPr txBox="1"/>
          <p:nvPr userDrawn="1"/>
        </p:nvSpPr>
        <p:spPr>
          <a:xfrm>
            <a:off x="632423" y="3459703"/>
            <a:ext cx="1708506"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POINT OF VIEW</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4" name="TextBox 33">
            <a:hlinkClick r:id="" action="ppaction://noaction"/>
            <a:extLst>
              <a:ext uri="{FF2B5EF4-FFF2-40B4-BE49-F238E27FC236}">
                <a16:creationId xmlns:a16="http://schemas.microsoft.com/office/drawing/2014/main" id="{54D54478-B302-6315-8F07-130CE05C29E2}"/>
              </a:ext>
            </a:extLst>
          </p:cNvPr>
          <p:cNvSpPr txBox="1"/>
          <p:nvPr userDrawn="1"/>
        </p:nvSpPr>
        <p:spPr>
          <a:xfrm>
            <a:off x="632423" y="4428347"/>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APPROACH</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5" name="TextBox 34">
            <a:hlinkClick r:id="" action="ppaction://noaction"/>
            <a:extLst>
              <a:ext uri="{FF2B5EF4-FFF2-40B4-BE49-F238E27FC236}">
                <a16:creationId xmlns:a16="http://schemas.microsoft.com/office/drawing/2014/main" id="{4EBF84A2-39FC-CA17-4CBE-108E5C15CB96}"/>
              </a:ext>
            </a:extLst>
          </p:cNvPr>
          <p:cNvSpPr txBox="1"/>
          <p:nvPr userDrawn="1"/>
        </p:nvSpPr>
        <p:spPr>
          <a:xfrm>
            <a:off x="632423" y="5451235"/>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THE EXPERIENCE</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7" name="Rectangle 36">
            <a:hlinkClick r:id="rId4" action="ppaction://hlinksldjump"/>
            <a:extLst>
              <a:ext uri="{FF2B5EF4-FFF2-40B4-BE49-F238E27FC236}">
                <a16:creationId xmlns:a16="http://schemas.microsoft.com/office/drawing/2014/main" id="{57584725-3B3B-3F95-5629-F4791CF76566}"/>
              </a:ext>
            </a:extLst>
          </p:cNvPr>
          <p:cNvSpPr/>
          <p:nvPr userDrawn="1"/>
        </p:nvSpPr>
        <p:spPr>
          <a:xfrm>
            <a:off x="34925" y="180975"/>
            <a:ext cx="561975" cy="5619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DFC246B0-136C-0E72-F08D-D5CFE1D3A62A}"/>
              </a:ext>
            </a:extLst>
          </p:cNvPr>
          <p:cNvSpPr>
            <a:spLocks noChangeAspect="1"/>
          </p:cNvSpPr>
          <p:nvPr userDrawn="1"/>
        </p:nvSpPr>
        <p:spPr>
          <a:xfrm>
            <a:off x="217289" y="3428647"/>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140517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79432"/>
          <a:stretch/>
        </p:blipFill>
        <p:spPr>
          <a:xfrm>
            <a:off x="0" y="0"/>
            <a:ext cx="2507673" cy="6858000"/>
          </a:xfrm>
          <a:prstGeom prst="rect">
            <a:avLst/>
          </a:prstGeom>
        </p:spPr>
      </p:pic>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cxnSp>
        <p:nvCxnSpPr>
          <p:cNvPr id="12" name="Straight Connector 11">
            <a:extLst>
              <a:ext uri="{FF2B5EF4-FFF2-40B4-BE49-F238E27FC236}">
                <a16:creationId xmlns:a16="http://schemas.microsoft.com/office/drawing/2014/main" id="{9F6BE2CC-AFDD-C4F7-CAF3-F1EE12818543}"/>
              </a:ext>
            </a:extLst>
          </p:cNvPr>
          <p:cNvCxnSpPr>
            <a:cxnSpLocks/>
            <a:stCxn id="23" idx="4"/>
            <a:endCxn id="19" idx="0"/>
          </p:cNvCxnSpPr>
          <p:nvPr userDrawn="1"/>
        </p:nvCxnSpPr>
        <p:spPr>
          <a:xfrm>
            <a:off x="325289" y="1568117"/>
            <a:ext cx="0" cy="390612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Oval 12">
            <a:hlinkClick r:id="" action="ppaction://noaction"/>
            <a:extLst>
              <a:ext uri="{FF2B5EF4-FFF2-40B4-BE49-F238E27FC236}">
                <a16:creationId xmlns:a16="http://schemas.microsoft.com/office/drawing/2014/main" id="{4D8259BC-FF19-B15A-0624-F43E2FD24B3C}"/>
              </a:ext>
            </a:extLst>
          </p:cNvPr>
          <p:cNvSpPr>
            <a:spLocks noChangeAspect="1"/>
          </p:cNvSpPr>
          <p:nvPr userDrawn="1"/>
        </p:nvSpPr>
        <p:spPr>
          <a:xfrm>
            <a:off x="271289" y="2463649"/>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5" name="Oval 14">
            <a:hlinkClick r:id="" action="ppaction://noaction"/>
            <a:extLst>
              <a:ext uri="{FF2B5EF4-FFF2-40B4-BE49-F238E27FC236}">
                <a16:creationId xmlns:a16="http://schemas.microsoft.com/office/drawing/2014/main" id="{649D3E1F-4D2C-0740-7E3F-AE9E2F790F2F}"/>
              </a:ext>
            </a:extLst>
          </p:cNvPr>
          <p:cNvSpPr>
            <a:spLocks noChangeAspect="1"/>
          </p:cNvSpPr>
          <p:nvPr userDrawn="1"/>
        </p:nvSpPr>
        <p:spPr>
          <a:xfrm>
            <a:off x="271289" y="3467181"/>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9" name="Oval 18">
            <a:hlinkClick r:id="" action="ppaction://noaction"/>
            <a:extLst>
              <a:ext uri="{FF2B5EF4-FFF2-40B4-BE49-F238E27FC236}">
                <a16:creationId xmlns:a16="http://schemas.microsoft.com/office/drawing/2014/main" id="{33F7E861-24E2-1B7E-C8A7-9E928DE0C06A}"/>
              </a:ext>
            </a:extLst>
          </p:cNvPr>
          <p:cNvSpPr>
            <a:spLocks noChangeAspect="1"/>
          </p:cNvSpPr>
          <p:nvPr userDrawn="1"/>
        </p:nvSpPr>
        <p:spPr>
          <a:xfrm>
            <a:off x="271289" y="5474245"/>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0" name="TextBox 19">
            <a:hlinkClick r:id="rId3" action="ppaction://hlinksldjump"/>
            <a:extLst>
              <a:ext uri="{FF2B5EF4-FFF2-40B4-BE49-F238E27FC236}">
                <a16:creationId xmlns:a16="http://schemas.microsoft.com/office/drawing/2014/main" id="{8B0310C1-3027-0A62-877A-4ABC66477A06}"/>
              </a:ext>
            </a:extLst>
          </p:cNvPr>
          <p:cNvSpPr txBox="1"/>
          <p:nvPr userDrawn="1"/>
        </p:nvSpPr>
        <p:spPr>
          <a:xfrm>
            <a:off x="632423" y="1437173"/>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INTRODUCTION</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23" name="Oval 22">
            <a:hlinkClick r:id="" action="ppaction://noaction"/>
            <a:extLst>
              <a:ext uri="{FF2B5EF4-FFF2-40B4-BE49-F238E27FC236}">
                <a16:creationId xmlns:a16="http://schemas.microsoft.com/office/drawing/2014/main" id="{9D7A1E66-C10E-0974-53EF-953AF88C1971}"/>
              </a:ext>
            </a:extLst>
          </p:cNvPr>
          <p:cNvSpPr>
            <a:spLocks noChangeAspect="1"/>
          </p:cNvSpPr>
          <p:nvPr userDrawn="1"/>
        </p:nvSpPr>
        <p:spPr>
          <a:xfrm>
            <a:off x="271289" y="1460117"/>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329F3472-63A1-8FEF-50BE-63CB75527884}"/>
              </a:ext>
            </a:extLst>
          </p:cNvPr>
          <p:cNvSpPr>
            <a:spLocks noChangeAspect="1"/>
          </p:cNvSpPr>
          <p:nvPr userDrawn="1"/>
        </p:nvSpPr>
        <p:spPr>
          <a:xfrm>
            <a:off x="271289" y="4470713"/>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TextBox 30">
            <a:hlinkClick r:id="" action="ppaction://noaction"/>
            <a:extLst>
              <a:ext uri="{FF2B5EF4-FFF2-40B4-BE49-F238E27FC236}">
                <a16:creationId xmlns:a16="http://schemas.microsoft.com/office/drawing/2014/main" id="{7EDF3DB0-35AD-AE40-41E5-A87173B0B60B}"/>
              </a:ext>
            </a:extLst>
          </p:cNvPr>
          <p:cNvSpPr txBox="1"/>
          <p:nvPr userDrawn="1"/>
        </p:nvSpPr>
        <p:spPr>
          <a:xfrm>
            <a:off x="632423" y="2436814"/>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WHAT WE HEARD</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3" name="TextBox 32">
            <a:hlinkClick r:id="" action="ppaction://noaction"/>
            <a:extLst>
              <a:ext uri="{FF2B5EF4-FFF2-40B4-BE49-F238E27FC236}">
                <a16:creationId xmlns:a16="http://schemas.microsoft.com/office/drawing/2014/main" id="{63D29BE2-AE95-1DB1-ED0D-EC8B1057F842}"/>
              </a:ext>
            </a:extLst>
          </p:cNvPr>
          <p:cNvSpPr txBox="1"/>
          <p:nvPr userDrawn="1"/>
        </p:nvSpPr>
        <p:spPr>
          <a:xfrm>
            <a:off x="632423" y="3459703"/>
            <a:ext cx="1708506"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POINT OF VIEW</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4" name="TextBox 33">
            <a:hlinkClick r:id="" action="ppaction://noaction"/>
            <a:extLst>
              <a:ext uri="{FF2B5EF4-FFF2-40B4-BE49-F238E27FC236}">
                <a16:creationId xmlns:a16="http://schemas.microsoft.com/office/drawing/2014/main" id="{54D54478-B302-6315-8F07-130CE05C29E2}"/>
              </a:ext>
            </a:extLst>
          </p:cNvPr>
          <p:cNvSpPr txBox="1"/>
          <p:nvPr userDrawn="1"/>
        </p:nvSpPr>
        <p:spPr>
          <a:xfrm>
            <a:off x="632423" y="4428347"/>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APPROACH</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5" name="TextBox 34">
            <a:hlinkClick r:id="" action="ppaction://noaction"/>
            <a:extLst>
              <a:ext uri="{FF2B5EF4-FFF2-40B4-BE49-F238E27FC236}">
                <a16:creationId xmlns:a16="http://schemas.microsoft.com/office/drawing/2014/main" id="{4EBF84A2-39FC-CA17-4CBE-108E5C15CB96}"/>
              </a:ext>
            </a:extLst>
          </p:cNvPr>
          <p:cNvSpPr txBox="1"/>
          <p:nvPr userDrawn="1"/>
        </p:nvSpPr>
        <p:spPr>
          <a:xfrm>
            <a:off x="632423" y="5451235"/>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THE EXPERIENCE</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7" name="Rectangle 36">
            <a:hlinkClick r:id="rId4" action="ppaction://hlinksldjump"/>
            <a:extLst>
              <a:ext uri="{FF2B5EF4-FFF2-40B4-BE49-F238E27FC236}">
                <a16:creationId xmlns:a16="http://schemas.microsoft.com/office/drawing/2014/main" id="{57584725-3B3B-3F95-5629-F4791CF76566}"/>
              </a:ext>
            </a:extLst>
          </p:cNvPr>
          <p:cNvSpPr/>
          <p:nvPr userDrawn="1"/>
        </p:nvSpPr>
        <p:spPr>
          <a:xfrm>
            <a:off x="34925" y="180975"/>
            <a:ext cx="561975" cy="5619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01C50056-905B-2D93-001E-773D3C606600}"/>
              </a:ext>
            </a:extLst>
          </p:cNvPr>
          <p:cNvSpPr>
            <a:spLocks noChangeAspect="1"/>
          </p:cNvSpPr>
          <p:nvPr userDrawn="1"/>
        </p:nvSpPr>
        <p:spPr>
          <a:xfrm>
            <a:off x="217289" y="4397291"/>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030959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A1E53-2B5B-E7D6-FC5A-2A431B3D33E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E8175A6-30B5-4C25-6E60-E263532A27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65B213-BB13-0C59-9198-C6DF4A895B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13C7D6F-79CA-6F8E-8166-AB4B64CE25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CD7225-2301-6B6D-66D9-252FAF5FDF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CDB5C02-3285-EF45-3800-AD4A10280F7B}"/>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8" name="Footer Placeholder 7">
            <a:extLst>
              <a:ext uri="{FF2B5EF4-FFF2-40B4-BE49-F238E27FC236}">
                <a16:creationId xmlns:a16="http://schemas.microsoft.com/office/drawing/2014/main" id="{FD6FCA31-833B-850D-DE69-3145BD3E6E6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8390D71-DEE1-F878-BADD-AF815FF00AAE}"/>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20925346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2" descr="A red and blue hexagons&#10;&#10;Description automatically generated">
            <a:extLst>
              <a:ext uri="{FF2B5EF4-FFF2-40B4-BE49-F238E27FC236}">
                <a16:creationId xmlns:a16="http://schemas.microsoft.com/office/drawing/2014/main" id="{FD1CF25A-A492-00FB-3DCC-5DAED334DE2F}"/>
              </a:ext>
            </a:extLst>
          </p:cNvPr>
          <p:cNvPicPr>
            <a:picLocks noChangeAspect="1"/>
          </p:cNvPicPr>
          <p:nvPr userDrawn="1"/>
        </p:nvPicPr>
        <p:blipFill rotWithShape="1">
          <a:blip r:embed="rId2"/>
          <a:srcRect r="79432"/>
          <a:stretch/>
        </p:blipFill>
        <p:spPr>
          <a:xfrm>
            <a:off x="0" y="0"/>
            <a:ext cx="2507673" cy="6858000"/>
          </a:xfrm>
          <a:prstGeom prst="rect">
            <a:avLst/>
          </a:prstGeom>
        </p:spPr>
      </p:pic>
      <p:sp>
        <p:nvSpPr>
          <p:cNvPr id="6" name="Oval 5">
            <a:hlinkClick r:id="" action="ppaction://hlinkshowjump?jump=firstslide"/>
            <a:extLst>
              <a:ext uri="{FF2B5EF4-FFF2-40B4-BE49-F238E27FC236}">
                <a16:creationId xmlns:a16="http://schemas.microsoft.com/office/drawing/2014/main" id="{8D38A0BF-A79C-7573-B581-0D541D196D7C}"/>
              </a:ext>
            </a:extLst>
          </p:cNvPr>
          <p:cNvSpPr>
            <a:spLocks noChangeAspect="1"/>
          </p:cNvSpPr>
          <p:nvPr userDrawn="1"/>
        </p:nvSpPr>
        <p:spPr>
          <a:xfrm>
            <a:off x="85462" y="218426"/>
            <a:ext cx="482556" cy="482556"/>
          </a:xfrm>
          <a:prstGeom prst="ellipse">
            <a:avLst/>
          </a:prstGeom>
          <a:solidFill>
            <a:srgbClr val="AE154B"/>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800">
              <a:solidFill>
                <a:schemeClr val="tx1"/>
              </a:solidFill>
              <a:latin typeface="EYInterstate Light" panose="02000506000000020004" pitchFamily="2" charset="0"/>
            </a:endParaRPr>
          </a:p>
        </p:txBody>
      </p:sp>
      <p:grpSp>
        <p:nvGrpSpPr>
          <p:cNvPr id="7" name="Group 6">
            <a:extLst>
              <a:ext uri="{FF2B5EF4-FFF2-40B4-BE49-F238E27FC236}">
                <a16:creationId xmlns:a16="http://schemas.microsoft.com/office/drawing/2014/main" id="{91DABE9D-3F1A-421C-ACE7-EB4986C8F70E}"/>
              </a:ext>
            </a:extLst>
          </p:cNvPr>
          <p:cNvGrpSpPr/>
          <p:nvPr userDrawn="1"/>
        </p:nvGrpSpPr>
        <p:grpSpPr>
          <a:xfrm>
            <a:off x="166051" y="280908"/>
            <a:ext cx="320568" cy="304360"/>
            <a:chOff x="5087938" y="4722813"/>
            <a:chExt cx="1130300" cy="1073150"/>
          </a:xfrm>
          <a:solidFill>
            <a:schemeClr val="bg1"/>
          </a:solidFill>
        </p:grpSpPr>
        <p:sp>
          <p:nvSpPr>
            <p:cNvPr id="8" name="Freeform 26">
              <a:extLst>
                <a:ext uri="{FF2B5EF4-FFF2-40B4-BE49-F238E27FC236}">
                  <a16:creationId xmlns:a16="http://schemas.microsoft.com/office/drawing/2014/main" id="{BC49C86F-9A7F-6291-65A3-60245AD92B24}"/>
                </a:ext>
              </a:extLst>
            </p:cNvPr>
            <p:cNvSpPr>
              <a:spLocks noEditPoints="1"/>
            </p:cNvSpPr>
            <p:nvPr/>
          </p:nvSpPr>
          <p:spPr bwMode="auto">
            <a:xfrm>
              <a:off x="5087938" y="4722813"/>
              <a:ext cx="1130300" cy="647700"/>
            </a:xfrm>
            <a:custGeom>
              <a:avLst/>
              <a:gdLst>
                <a:gd name="T0" fmla="*/ 660 w 712"/>
                <a:gd name="T1" fmla="*/ 408 h 408"/>
                <a:gd name="T2" fmla="*/ 356 w 712"/>
                <a:gd name="T3" fmla="*/ 104 h 408"/>
                <a:gd name="T4" fmla="*/ 52 w 712"/>
                <a:gd name="T5" fmla="*/ 408 h 408"/>
                <a:gd name="T6" fmla="*/ 0 w 712"/>
                <a:gd name="T7" fmla="*/ 356 h 408"/>
                <a:gd name="T8" fmla="*/ 356 w 712"/>
                <a:gd name="T9" fmla="*/ 0 h 408"/>
                <a:gd name="T10" fmla="*/ 356 w 712"/>
                <a:gd name="T11" fmla="*/ 0 h 408"/>
                <a:gd name="T12" fmla="*/ 356 w 712"/>
                <a:gd name="T13" fmla="*/ 0 h 408"/>
                <a:gd name="T14" fmla="*/ 362 w 712"/>
                <a:gd name="T15" fmla="*/ 6 h 408"/>
                <a:gd name="T16" fmla="*/ 712 w 712"/>
                <a:gd name="T17" fmla="*/ 356 h 408"/>
                <a:gd name="T18" fmla="*/ 660 w 712"/>
                <a:gd name="T19" fmla="*/ 408 h 408"/>
                <a:gd name="T20" fmla="*/ 26 w 712"/>
                <a:gd name="T21" fmla="*/ 356 h 408"/>
                <a:gd name="T22" fmla="*/ 52 w 712"/>
                <a:gd name="T23" fmla="*/ 382 h 408"/>
                <a:gd name="T24" fmla="*/ 356 w 712"/>
                <a:gd name="T25" fmla="*/ 80 h 408"/>
                <a:gd name="T26" fmla="*/ 660 w 712"/>
                <a:gd name="T27" fmla="*/ 382 h 408"/>
                <a:gd name="T28" fmla="*/ 686 w 712"/>
                <a:gd name="T29" fmla="*/ 356 h 408"/>
                <a:gd name="T30" fmla="*/ 356 w 712"/>
                <a:gd name="T31" fmla="*/ 26 h 408"/>
                <a:gd name="T32" fmla="*/ 26 w 712"/>
                <a:gd name="T33" fmla="*/ 35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2" h="408">
                  <a:moveTo>
                    <a:pt x="660" y="408"/>
                  </a:moveTo>
                  <a:lnTo>
                    <a:pt x="356" y="104"/>
                  </a:lnTo>
                  <a:lnTo>
                    <a:pt x="52" y="408"/>
                  </a:lnTo>
                  <a:lnTo>
                    <a:pt x="0" y="356"/>
                  </a:lnTo>
                  <a:lnTo>
                    <a:pt x="356" y="0"/>
                  </a:lnTo>
                  <a:lnTo>
                    <a:pt x="356" y="0"/>
                  </a:lnTo>
                  <a:lnTo>
                    <a:pt x="356" y="0"/>
                  </a:lnTo>
                  <a:lnTo>
                    <a:pt x="362" y="6"/>
                  </a:lnTo>
                  <a:lnTo>
                    <a:pt x="712" y="356"/>
                  </a:lnTo>
                  <a:lnTo>
                    <a:pt x="660" y="408"/>
                  </a:lnTo>
                  <a:close/>
                  <a:moveTo>
                    <a:pt x="26" y="356"/>
                  </a:moveTo>
                  <a:lnTo>
                    <a:pt x="52" y="382"/>
                  </a:lnTo>
                  <a:lnTo>
                    <a:pt x="356" y="80"/>
                  </a:lnTo>
                  <a:lnTo>
                    <a:pt x="660" y="382"/>
                  </a:lnTo>
                  <a:lnTo>
                    <a:pt x="686" y="356"/>
                  </a:lnTo>
                  <a:lnTo>
                    <a:pt x="356" y="26"/>
                  </a:lnTo>
                  <a:lnTo>
                    <a:pt x="26" y="35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27">
              <a:extLst>
                <a:ext uri="{FF2B5EF4-FFF2-40B4-BE49-F238E27FC236}">
                  <a16:creationId xmlns:a16="http://schemas.microsoft.com/office/drawing/2014/main" id="{58EB28F3-B279-F029-9753-13E9AB915DA9}"/>
                </a:ext>
              </a:extLst>
            </p:cNvPr>
            <p:cNvSpPr>
              <a:spLocks/>
            </p:cNvSpPr>
            <p:nvPr/>
          </p:nvSpPr>
          <p:spPr bwMode="auto">
            <a:xfrm>
              <a:off x="5195888" y="5253038"/>
              <a:ext cx="860425" cy="542925"/>
            </a:xfrm>
            <a:custGeom>
              <a:avLst/>
              <a:gdLst>
                <a:gd name="T0" fmla="*/ 542 w 542"/>
                <a:gd name="T1" fmla="*/ 342 h 342"/>
                <a:gd name="T2" fmla="*/ 238 w 542"/>
                <a:gd name="T3" fmla="*/ 342 h 342"/>
                <a:gd name="T4" fmla="*/ 238 w 542"/>
                <a:gd name="T5" fmla="*/ 96 h 342"/>
                <a:gd name="T6" fmla="*/ 78 w 542"/>
                <a:gd name="T7" fmla="*/ 96 h 342"/>
                <a:gd name="T8" fmla="*/ 78 w 542"/>
                <a:gd name="T9" fmla="*/ 342 h 342"/>
                <a:gd name="T10" fmla="*/ 0 w 542"/>
                <a:gd name="T11" fmla="*/ 342 h 342"/>
                <a:gd name="T12" fmla="*/ 0 w 542"/>
                <a:gd name="T13" fmla="*/ 42 h 342"/>
                <a:gd name="T14" fmla="*/ 18 w 542"/>
                <a:gd name="T15" fmla="*/ 42 h 342"/>
                <a:gd name="T16" fmla="*/ 18 w 542"/>
                <a:gd name="T17" fmla="*/ 324 h 342"/>
                <a:gd name="T18" fmla="*/ 60 w 542"/>
                <a:gd name="T19" fmla="*/ 324 h 342"/>
                <a:gd name="T20" fmla="*/ 60 w 542"/>
                <a:gd name="T21" fmla="*/ 78 h 342"/>
                <a:gd name="T22" fmla="*/ 256 w 542"/>
                <a:gd name="T23" fmla="*/ 78 h 342"/>
                <a:gd name="T24" fmla="*/ 256 w 542"/>
                <a:gd name="T25" fmla="*/ 324 h 342"/>
                <a:gd name="T26" fmla="*/ 524 w 542"/>
                <a:gd name="T27" fmla="*/ 324 h 342"/>
                <a:gd name="T28" fmla="*/ 524 w 542"/>
                <a:gd name="T29" fmla="*/ 0 h 342"/>
                <a:gd name="T30" fmla="*/ 542 w 542"/>
                <a:gd name="T31" fmla="*/ 0 h 342"/>
                <a:gd name="T32" fmla="*/ 542 w 542"/>
                <a:gd name="T3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342">
                  <a:moveTo>
                    <a:pt x="542" y="342"/>
                  </a:moveTo>
                  <a:lnTo>
                    <a:pt x="238" y="342"/>
                  </a:lnTo>
                  <a:lnTo>
                    <a:pt x="238" y="96"/>
                  </a:lnTo>
                  <a:lnTo>
                    <a:pt x="78" y="96"/>
                  </a:lnTo>
                  <a:lnTo>
                    <a:pt x="78" y="342"/>
                  </a:lnTo>
                  <a:lnTo>
                    <a:pt x="0" y="342"/>
                  </a:lnTo>
                  <a:lnTo>
                    <a:pt x="0" y="42"/>
                  </a:lnTo>
                  <a:lnTo>
                    <a:pt x="18" y="42"/>
                  </a:lnTo>
                  <a:lnTo>
                    <a:pt x="18" y="324"/>
                  </a:lnTo>
                  <a:lnTo>
                    <a:pt x="60" y="324"/>
                  </a:lnTo>
                  <a:lnTo>
                    <a:pt x="60" y="78"/>
                  </a:lnTo>
                  <a:lnTo>
                    <a:pt x="256" y="78"/>
                  </a:lnTo>
                  <a:lnTo>
                    <a:pt x="256" y="324"/>
                  </a:lnTo>
                  <a:lnTo>
                    <a:pt x="524" y="324"/>
                  </a:lnTo>
                  <a:lnTo>
                    <a:pt x="524" y="0"/>
                  </a:lnTo>
                  <a:lnTo>
                    <a:pt x="542" y="0"/>
                  </a:lnTo>
                  <a:lnTo>
                    <a:pt x="542" y="34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28">
              <a:extLst>
                <a:ext uri="{FF2B5EF4-FFF2-40B4-BE49-F238E27FC236}">
                  <a16:creationId xmlns:a16="http://schemas.microsoft.com/office/drawing/2014/main" id="{468B8A84-64C4-D88E-5A61-CE2764257BD8}"/>
                </a:ext>
              </a:extLst>
            </p:cNvPr>
            <p:cNvSpPr>
              <a:spLocks noEditPoints="1"/>
            </p:cNvSpPr>
            <p:nvPr/>
          </p:nvSpPr>
          <p:spPr bwMode="auto">
            <a:xfrm>
              <a:off x="5710238" y="5376863"/>
              <a:ext cx="225425" cy="225425"/>
            </a:xfrm>
            <a:custGeom>
              <a:avLst/>
              <a:gdLst>
                <a:gd name="T0" fmla="*/ 142 w 142"/>
                <a:gd name="T1" fmla="*/ 142 h 142"/>
                <a:gd name="T2" fmla="*/ 0 w 142"/>
                <a:gd name="T3" fmla="*/ 142 h 142"/>
                <a:gd name="T4" fmla="*/ 0 w 142"/>
                <a:gd name="T5" fmla="*/ 0 h 142"/>
                <a:gd name="T6" fmla="*/ 142 w 142"/>
                <a:gd name="T7" fmla="*/ 0 h 142"/>
                <a:gd name="T8" fmla="*/ 142 w 142"/>
                <a:gd name="T9" fmla="*/ 142 h 142"/>
                <a:gd name="T10" fmla="*/ 18 w 142"/>
                <a:gd name="T11" fmla="*/ 124 h 142"/>
                <a:gd name="T12" fmla="*/ 124 w 142"/>
                <a:gd name="T13" fmla="*/ 124 h 142"/>
                <a:gd name="T14" fmla="*/ 124 w 142"/>
                <a:gd name="T15" fmla="*/ 18 h 142"/>
                <a:gd name="T16" fmla="*/ 18 w 142"/>
                <a:gd name="T17" fmla="*/ 18 h 142"/>
                <a:gd name="T18" fmla="*/ 18 w 142"/>
                <a:gd name="T19" fmla="*/ 1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142" y="142"/>
                  </a:moveTo>
                  <a:lnTo>
                    <a:pt x="0" y="142"/>
                  </a:lnTo>
                  <a:lnTo>
                    <a:pt x="0" y="0"/>
                  </a:lnTo>
                  <a:lnTo>
                    <a:pt x="142" y="0"/>
                  </a:lnTo>
                  <a:lnTo>
                    <a:pt x="142" y="142"/>
                  </a:lnTo>
                  <a:close/>
                  <a:moveTo>
                    <a:pt x="18" y="124"/>
                  </a:moveTo>
                  <a:lnTo>
                    <a:pt x="124" y="124"/>
                  </a:lnTo>
                  <a:lnTo>
                    <a:pt x="124" y="18"/>
                  </a:lnTo>
                  <a:lnTo>
                    <a:pt x="18" y="18"/>
                  </a:lnTo>
                  <a:lnTo>
                    <a:pt x="18" y="1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11" name="Rectangle 10">
              <a:extLst>
                <a:ext uri="{FF2B5EF4-FFF2-40B4-BE49-F238E27FC236}">
                  <a16:creationId xmlns:a16="http://schemas.microsoft.com/office/drawing/2014/main" id="{FD145EC3-3C87-F663-AD35-46E256D4F2D4}"/>
                </a:ext>
              </a:extLst>
            </p:cNvPr>
            <p:cNvSpPr>
              <a:spLocks noChangeArrowheads="1"/>
            </p:cNvSpPr>
            <p:nvPr/>
          </p:nvSpPr>
          <p:spPr bwMode="auto">
            <a:xfrm>
              <a:off x="5481638" y="5605463"/>
              <a:ext cx="508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cxnSp>
        <p:nvCxnSpPr>
          <p:cNvPr id="12" name="Straight Connector 11">
            <a:extLst>
              <a:ext uri="{FF2B5EF4-FFF2-40B4-BE49-F238E27FC236}">
                <a16:creationId xmlns:a16="http://schemas.microsoft.com/office/drawing/2014/main" id="{9F6BE2CC-AFDD-C4F7-CAF3-F1EE12818543}"/>
              </a:ext>
            </a:extLst>
          </p:cNvPr>
          <p:cNvCxnSpPr>
            <a:cxnSpLocks/>
            <a:stCxn id="23" idx="4"/>
            <a:endCxn id="19" idx="0"/>
          </p:cNvCxnSpPr>
          <p:nvPr userDrawn="1"/>
        </p:nvCxnSpPr>
        <p:spPr>
          <a:xfrm>
            <a:off x="325289" y="1568117"/>
            <a:ext cx="0" cy="3906128"/>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13" name="Oval 12">
            <a:hlinkClick r:id="" action="ppaction://noaction"/>
            <a:extLst>
              <a:ext uri="{FF2B5EF4-FFF2-40B4-BE49-F238E27FC236}">
                <a16:creationId xmlns:a16="http://schemas.microsoft.com/office/drawing/2014/main" id="{4D8259BC-FF19-B15A-0624-F43E2FD24B3C}"/>
              </a:ext>
            </a:extLst>
          </p:cNvPr>
          <p:cNvSpPr>
            <a:spLocks noChangeAspect="1"/>
          </p:cNvSpPr>
          <p:nvPr userDrawn="1"/>
        </p:nvSpPr>
        <p:spPr>
          <a:xfrm>
            <a:off x="271289" y="2463649"/>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5" name="Oval 14">
            <a:hlinkClick r:id="" action="ppaction://noaction"/>
            <a:extLst>
              <a:ext uri="{FF2B5EF4-FFF2-40B4-BE49-F238E27FC236}">
                <a16:creationId xmlns:a16="http://schemas.microsoft.com/office/drawing/2014/main" id="{649D3E1F-4D2C-0740-7E3F-AE9E2F790F2F}"/>
              </a:ext>
            </a:extLst>
          </p:cNvPr>
          <p:cNvSpPr>
            <a:spLocks noChangeAspect="1"/>
          </p:cNvSpPr>
          <p:nvPr userDrawn="1"/>
        </p:nvSpPr>
        <p:spPr>
          <a:xfrm>
            <a:off x="271289" y="3467181"/>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9" name="Oval 18">
            <a:hlinkClick r:id="" action="ppaction://noaction"/>
            <a:extLst>
              <a:ext uri="{FF2B5EF4-FFF2-40B4-BE49-F238E27FC236}">
                <a16:creationId xmlns:a16="http://schemas.microsoft.com/office/drawing/2014/main" id="{33F7E861-24E2-1B7E-C8A7-9E928DE0C06A}"/>
              </a:ext>
            </a:extLst>
          </p:cNvPr>
          <p:cNvSpPr>
            <a:spLocks noChangeAspect="1"/>
          </p:cNvSpPr>
          <p:nvPr userDrawn="1"/>
        </p:nvSpPr>
        <p:spPr>
          <a:xfrm>
            <a:off x="271289" y="5474245"/>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20" name="TextBox 19">
            <a:hlinkClick r:id="rId3" action="ppaction://hlinksldjump"/>
            <a:extLst>
              <a:ext uri="{FF2B5EF4-FFF2-40B4-BE49-F238E27FC236}">
                <a16:creationId xmlns:a16="http://schemas.microsoft.com/office/drawing/2014/main" id="{8B0310C1-3027-0A62-877A-4ABC66477A06}"/>
              </a:ext>
            </a:extLst>
          </p:cNvPr>
          <p:cNvSpPr txBox="1"/>
          <p:nvPr userDrawn="1"/>
        </p:nvSpPr>
        <p:spPr>
          <a:xfrm>
            <a:off x="632423" y="1437173"/>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INTRODUCTION</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23" name="Oval 22">
            <a:hlinkClick r:id="" action="ppaction://noaction"/>
            <a:extLst>
              <a:ext uri="{FF2B5EF4-FFF2-40B4-BE49-F238E27FC236}">
                <a16:creationId xmlns:a16="http://schemas.microsoft.com/office/drawing/2014/main" id="{9D7A1E66-C10E-0974-53EF-953AF88C1971}"/>
              </a:ext>
            </a:extLst>
          </p:cNvPr>
          <p:cNvSpPr>
            <a:spLocks noChangeAspect="1"/>
          </p:cNvSpPr>
          <p:nvPr userDrawn="1"/>
        </p:nvSpPr>
        <p:spPr>
          <a:xfrm>
            <a:off x="271289" y="1460117"/>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 name="Oval 31">
            <a:hlinkClick r:id="" action="ppaction://noaction"/>
            <a:extLst>
              <a:ext uri="{FF2B5EF4-FFF2-40B4-BE49-F238E27FC236}">
                <a16:creationId xmlns:a16="http://schemas.microsoft.com/office/drawing/2014/main" id="{329F3472-63A1-8FEF-50BE-63CB75527884}"/>
              </a:ext>
            </a:extLst>
          </p:cNvPr>
          <p:cNvSpPr>
            <a:spLocks noChangeAspect="1"/>
          </p:cNvSpPr>
          <p:nvPr userDrawn="1"/>
        </p:nvSpPr>
        <p:spPr>
          <a:xfrm>
            <a:off x="271289" y="4470713"/>
            <a:ext cx="108000" cy="108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1" name="TextBox 30">
            <a:hlinkClick r:id="" action="ppaction://noaction"/>
            <a:extLst>
              <a:ext uri="{FF2B5EF4-FFF2-40B4-BE49-F238E27FC236}">
                <a16:creationId xmlns:a16="http://schemas.microsoft.com/office/drawing/2014/main" id="{7EDF3DB0-35AD-AE40-41E5-A87173B0B60B}"/>
              </a:ext>
            </a:extLst>
          </p:cNvPr>
          <p:cNvSpPr txBox="1"/>
          <p:nvPr userDrawn="1"/>
        </p:nvSpPr>
        <p:spPr>
          <a:xfrm>
            <a:off x="632423" y="2436814"/>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WHAT WE HEARD</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3" name="TextBox 32">
            <a:hlinkClick r:id="" action="ppaction://noaction"/>
            <a:extLst>
              <a:ext uri="{FF2B5EF4-FFF2-40B4-BE49-F238E27FC236}">
                <a16:creationId xmlns:a16="http://schemas.microsoft.com/office/drawing/2014/main" id="{63D29BE2-AE95-1DB1-ED0D-EC8B1057F842}"/>
              </a:ext>
            </a:extLst>
          </p:cNvPr>
          <p:cNvSpPr txBox="1"/>
          <p:nvPr userDrawn="1"/>
        </p:nvSpPr>
        <p:spPr>
          <a:xfrm>
            <a:off x="632423" y="3459703"/>
            <a:ext cx="1708506"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POINT OF VIEW</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4" name="TextBox 33">
            <a:hlinkClick r:id="" action="ppaction://noaction"/>
            <a:extLst>
              <a:ext uri="{FF2B5EF4-FFF2-40B4-BE49-F238E27FC236}">
                <a16:creationId xmlns:a16="http://schemas.microsoft.com/office/drawing/2014/main" id="{54D54478-B302-6315-8F07-130CE05C29E2}"/>
              </a:ext>
            </a:extLst>
          </p:cNvPr>
          <p:cNvSpPr txBox="1"/>
          <p:nvPr userDrawn="1"/>
        </p:nvSpPr>
        <p:spPr>
          <a:xfrm>
            <a:off x="632423" y="4428347"/>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OUR APPROACH</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5" name="TextBox 34">
            <a:hlinkClick r:id="" action="ppaction://noaction"/>
            <a:extLst>
              <a:ext uri="{FF2B5EF4-FFF2-40B4-BE49-F238E27FC236}">
                <a16:creationId xmlns:a16="http://schemas.microsoft.com/office/drawing/2014/main" id="{4EBF84A2-39FC-CA17-4CBE-108E5C15CB96}"/>
              </a:ext>
            </a:extLst>
          </p:cNvPr>
          <p:cNvSpPr txBox="1"/>
          <p:nvPr userDrawn="1"/>
        </p:nvSpPr>
        <p:spPr>
          <a:xfrm>
            <a:off x="632423" y="5451235"/>
            <a:ext cx="1486782"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200" normalizeH="0" baseline="0" noProof="0">
                <a:ln>
                  <a:noFill/>
                </a:ln>
                <a:solidFill>
                  <a:prstClr val="white"/>
                </a:solidFill>
                <a:effectLst/>
                <a:uLnTx/>
                <a:uFillTx/>
                <a:latin typeface="EYInterstate Light"/>
                <a:ea typeface="+mn-ea"/>
                <a:cs typeface="+mn-cs"/>
              </a:rPr>
              <a:t>THE EXPERIENCE</a:t>
            </a:r>
            <a:endParaRPr kumimoji="0" lang="en-US" sz="1000" b="0" i="0" u="none" strike="noStrike" kern="1200" cap="none" spc="200" normalizeH="0" baseline="0" noProof="0">
              <a:ln>
                <a:noFill/>
              </a:ln>
              <a:solidFill>
                <a:prstClr val="white"/>
              </a:solidFill>
              <a:effectLst/>
              <a:uLnTx/>
              <a:uFillTx/>
              <a:latin typeface="EYInterstate Light"/>
              <a:ea typeface="+mn-ea"/>
              <a:cs typeface="+mn-cs"/>
            </a:endParaRPr>
          </a:p>
        </p:txBody>
      </p:sp>
      <p:sp>
        <p:nvSpPr>
          <p:cNvPr id="37" name="Rectangle 36">
            <a:hlinkClick r:id="rId4" action="ppaction://hlinksldjump"/>
            <a:extLst>
              <a:ext uri="{FF2B5EF4-FFF2-40B4-BE49-F238E27FC236}">
                <a16:creationId xmlns:a16="http://schemas.microsoft.com/office/drawing/2014/main" id="{57584725-3B3B-3F95-5629-F4791CF76566}"/>
              </a:ext>
            </a:extLst>
          </p:cNvPr>
          <p:cNvSpPr/>
          <p:nvPr userDrawn="1"/>
        </p:nvSpPr>
        <p:spPr>
          <a:xfrm>
            <a:off x="34925" y="180975"/>
            <a:ext cx="561975" cy="5619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67D1AFD6-A375-7A2E-D655-5CE1AB4CA865}"/>
              </a:ext>
            </a:extLst>
          </p:cNvPr>
          <p:cNvSpPr>
            <a:spLocks noChangeAspect="1"/>
          </p:cNvSpPr>
          <p:nvPr userDrawn="1"/>
        </p:nvSpPr>
        <p:spPr>
          <a:xfrm>
            <a:off x="217289" y="5420245"/>
            <a:ext cx="216000" cy="216000"/>
          </a:xfrm>
          <a:prstGeom prst="ellipse">
            <a:avLst/>
          </a:prstGeom>
          <a:solidFill>
            <a:schemeClr val="bg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582604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8457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Content Placeholder 5"/>
          <p:cNvSpPr>
            <a:spLocks noGrp="1"/>
          </p:cNvSpPr>
          <p:nvPr>
            <p:ph sz="quarter" idx="10"/>
          </p:nvPr>
        </p:nvSpPr>
        <p:spPr>
          <a:xfrm>
            <a:off x="701366"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5" name="Content Placeholder 5"/>
          <p:cNvSpPr>
            <a:spLocks noGrp="1"/>
          </p:cNvSpPr>
          <p:nvPr>
            <p:ph sz="quarter" idx="11"/>
          </p:nvPr>
        </p:nvSpPr>
        <p:spPr>
          <a:xfrm>
            <a:off x="6162693" y="1291281"/>
            <a:ext cx="5325226" cy="4968000"/>
          </a:xfrm>
        </p:spPr>
        <p:txBody>
          <a:bodyPr/>
          <a:lstStyle>
            <a:lvl1pPr>
              <a:defRPr sz="999"/>
            </a:lvl1pPr>
            <a:lvl2pPr>
              <a:defRPr/>
            </a:lvl2pPr>
            <a:lvl3pPr>
              <a:defRPr lang="en-US" sz="1198" b="1" baseline="0" dirty="0">
                <a:solidFill>
                  <a:srgbClr val="747480"/>
                </a:solidFill>
                <a:latin typeface="EYInterstate Light" panose="02000506000000020004" pitchFamily="2" charset="0"/>
                <a:cs typeface="+mn-cs"/>
              </a:defRPr>
            </a:lvl3pPr>
            <a:lvl4pPr marL="172546" indent="-168233">
              <a:buSzPct val="100000"/>
              <a:buFont typeface="EYInterstate" pitchFamily="2" charset="0"/>
              <a:buChar char="•"/>
              <a:defRPr sz="999"/>
            </a:lvl4pPr>
            <a:lvl5pPr marL="319212" indent="-145226">
              <a:buSzPct val="100000"/>
              <a:buFont typeface="EYInterstate" pitchFamily="2" charset="0"/>
              <a:buChar char="•"/>
              <a:defRPr sz="999"/>
            </a:lvl5pPr>
          </a:lstStyle>
          <a:p>
            <a:pPr lvl="0"/>
            <a:r>
              <a:rPr lang="en-US"/>
              <a:t>Click to edit Master text styles</a:t>
            </a:r>
          </a:p>
          <a:p>
            <a:pPr lvl="1"/>
            <a:r>
              <a:rPr lang="en-US"/>
              <a:t>Second level</a:t>
            </a:r>
          </a:p>
          <a:p>
            <a:pPr marL="2878" lvl="2" algn="l" defTabSz="901559" rtl="0" eaLnBrk="1" fontAlgn="base" hangingPunct="1">
              <a:spcBef>
                <a:spcPct val="20000"/>
              </a:spcBef>
              <a:spcAft>
                <a:spcPct val="40000"/>
              </a:spcAft>
              <a:buClr>
                <a:schemeClr val="tx2"/>
              </a:buClr>
              <a:buSzPct val="75000"/>
              <a:buFont typeface="Arial Unicode MS" pitchFamily="34" charset="-128"/>
              <a:tabLst>
                <a:tab pos="1462336" algn="l"/>
                <a:tab pos="2924672" algn="l"/>
                <a:tab pos="4225966" algn="r"/>
              </a:tabLst>
            </a:pPr>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3254F9F3-5285-097F-8DDC-A831A6118B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2896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D878EA-114F-4C99-93C5-DB45BDBD8A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30" b="772"/>
          <a:stretch/>
        </p:blipFill>
        <p:spPr>
          <a:xfrm>
            <a:off x="0" y="3"/>
            <a:ext cx="12192000" cy="6857999"/>
          </a:xfrm>
          <a:prstGeom prst="rect">
            <a:avLst/>
          </a:prstGeom>
        </p:spPr>
      </p:pic>
      <p:sp>
        <p:nvSpPr>
          <p:cNvPr id="18" name="Rectangle 17">
            <a:extLst>
              <a:ext uri="{FF2B5EF4-FFF2-40B4-BE49-F238E27FC236}">
                <a16:creationId xmlns:a16="http://schemas.microsoft.com/office/drawing/2014/main" id="{61A5AD8B-8F64-46B6-8297-08CA055CF00D}"/>
              </a:ext>
            </a:extLst>
          </p:cNvPr>
          <p:cNvSpPr/>
          <p:nvPr userDrawn="1"/>
        </p:nvSpPr>
        <p:spPr>
          <a:xfrm>
            <a:off x="1" y="0"/>
            <a:ext cx="12192001" cy="6858000"/>
          </a:xfrm>
          <a:prstGeom prst="rect">
            <a:avLst/>
          </a:prstGeom>
          <a:gradFill flip="none" rotWithShape="1">
            <a:gsLst>
              <a:gs pos="0">
                <a:srgbClr val="2E2E38">
                  <a:alpha val="82000"/>
                </a:srgbClr>
              </a:gs>
              <a:gs pos="100000">
                <a:srgbClr val="2E2E38">
                  <a:alpha val="34000"/>
                </a:srgbClr>
              </a:gs>
            </a:gsLst>
            <a:lin ang="5400000" scaled="1"/>
            <a:tileRect/>
          </a:gradFill>
          <a:ln w="9525" cap="flat" cmpd="sng" algn="ctr">
            <a:noFill/>
            <a:prstDash val="solid"/>
          </a:ln>
          <a:effectLst/>
        </p:spPr>
        <p:txBody>
          <a:bodyPr rtlCol="0" anchor="t" anchorCtr="0"/>
          <a:lstStyle/>
          <a:p>
            <a:pPr marL="0" marR="0" lvl="0" indent="0" algn="ctr" defTabSz="913486" eaLnBrk="1" fontAlgn="auto" latinLnBrk="0" hangingPunct="1">
              <a:lnSpc>
                <a:spcPct val="100000"/>
              </a:lnSpc>
              <a:spcBef>
                <a:spcPts val="0"/>
              </a:spcBef>
              <a:spcAft>
                <a:spcPts val="0"/>
              </a:spcAft>
              <a:buClrTx/>
              <a:buSzTx/>
              <a:buFontTx/>
              <a:buNone/>
              <a:tabLst/>
              <a:defRPr/>
            </a:pPr>
            <a:endParaRPr kumimoji="0" lang="en-IN" sz="1198" b="0" i="0" u="none" strike="noStrike" kern="0" cap="none" spc="0" normalizeH="0" baseline="0" noProof="0">
              <a:ln>
                <a:noFill/>
              </a:ln>
              <a:solidFill>
                <a:srgbClr val="FFFFFF"/>
              </a:solidFill>
              <a:effectLst/>
              <a:uLnTx/>
              <a:uFillTx/>
              <a:latin typeface="EYInterstate Light"/>
              <a:ea typeface="+mn-ea"/>
              <a:cs typeface="+mn-cs"/>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tx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1691301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B35FB1EE-360E-4E33-836C-5D23EAC8E6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30" b="772"/>
          <a:stretch/>
        </p:blipFill>
        <p:spPr>
          <a:xfrm>
            <a:off x="0" y="3"/>
            <a:ext cx="12192000" cy="6857999"/>
          </a:xfrm>
          <a:prstGeom prst="rect">
            <a:avLst/>
          </a:prstGeom>
        </p:spPr>
      </p:pic>
      <p:sp>
        <p:nvSpPr>
          <p:cNvPr id="83" name="Rectangle 82">
            <a:extLst>
              <a:ext uri="{FF2B5EF4-FFF2-40B4-BE49-F238E27FC236}">
                <a16:creationId xmlns:a16="http://schemas.microsoft.com/office/drawing/2014/main" id="{9F1254B3-2BB3-4A97-AEB9-C686348E4DA4}"/>
              </a:ext>
            </a:extLst>
          </p:cNvPr>
          <p:cNvSpPr/>
          <p:nvPr userDrawn="1"/>
        </p:nvSpPr>
        <p:spPr>
          <a:xfrm>
            <a:off x="1" y="0"/>
            <a:ext cx="12192001" cy="6858000"/>
          </a:xfrm>
          <a:prstGeom prst="rect">
            <a:avLst/>
          </a:prstGeom>
          <a:gradFill flip="none" rotWithShape="1">
            <a:gsLst>
              <a:gs pos="0">
                <a:srgbClr val="2E2E38">
                  <a:alpha val="82000"/>
                </a:srgbClr>
              </a:gs>
              <a:gs pos="100000">
                <a:srgbClr val="2E2E38">
                  <a:alpha val="34000"/>
                </a:srgbClr>
              </a:gs>
            </a:gsLst>
            <a:lin ang="5400000" scaled="1"/>
            <a:tileRect/>
          </a:gradFill>
          <a:ln w="9525" cap="flat" cmpd="sng" algn="ctr">
            <a:noFill/>
            <a:prstDash val="solid"/>
          </a:ln>
          <a:effectLst/>
        </p:spPr>
        <p:txBody>
          <a:bodyPr rtlCol="0" anchor="t" anchorCtr="0"/>
          <a:lstStyle/>
          <a:p>
            <a:pPr marL="0" marR="0" lvl="0" indent="0" algn="ctr" defTabSz="913486" eaLnBrk="1" fontAlgn="auto" latinLnBrk="0" hangingPunct="1">
              <a:lnSpc>
                <a:spcPct val="100000"/>
              </a:lnSpc>
              <a:spcBef>
                <a:spcPts val="0"/>
              </a:spcBef>
              <a:spcAft>
                <a:spcPts val="0"/>
              </a:spcAft>
              <a:buClrTx/>
              <a:buSzTx/>
              <a:buFontTx/>
              <a:buNone/>
              <a:tabLst/>
              <a:defRPr/>
            </a:pPr>
            <a:endParaRPr kumimoji="0" lang="en-IN" sz="1198" b="0" i="0" u="none" strike="noStrike" kern="0" cap="none" spc="0" normalizeH="0" baseline="0" noProof="0">
              <a:ln>
                <a:noFill/>
              </a:ln>
              <a:solidFill>
                <a:srgbClr val="FFFFFF"/>
              </a:solidFill>
              <a:effectLst/>
              <a:uLnTx/>
              <a:uFillTx/>
              <a:latin typeface="EYInterstate Light"/>
              <a:ea typeface="+mn-ea"/>
              <a:cs typeface="+mn-cs"/>
            </a:endParaRPr>
          </a:p>
        </p:txBody>
      </p:sp>
      <p:grpSp>
        <p:nvGrpSpPr>
          <p:cNvPr id="80" name="Group 4">
            <a:extLst>
              <a:ext uri="{FF2B5EF4-FFF2-40B4-BE49-F238E27FC236}">
                <a16:creationId xmlns:a16="http://schemas.microsoft.com/office/drawing/2014/main" id="{E718FEE3-AC2C-4BF3-A537-C25FDF5542EB}"/>
              </a:ext>
            </a:extLst>
          </p:cNvPr>
          <p:cNvGrpSpPr>
            <a:grpSpLocks noChangeAspect="1"/>
          </p:cNvGrpSpPr>
          <p:nvPr userDrawn="1"/>
        </p:nvGrpSpPr>
        <p:grpSpPr bwMode="auto">
          <a:xfrm>
            <a:off x="10359392" y="4960938"/>
            <a:ext cx="1224912" cy="1435100"/>
            <a:chOff x="6529" y="3125"/>
            <a:chExt cx="772" cy="904"/>
          </a:xfrm>
        </p:grpSpPr>
        <p:sp>
          <p:nvSpPr>
            <p:cNvPr id="81" name="Freeform 5">
              <a:extLst>
                <a:ext uri="{FF2B5EF4-FFF2-40B4-BE49-F238E27FC236}">
                  <a16:creationId xmlns:a16="http://schemas.microsoft.com/office/drawing/2014/main" id="{071A4059-EB87-4D15-A246-E92C59C14C7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82" name="Freeform 6">
              <a:extLst>
                <a:ext uri="{FF2B5EF4-FFF2-40B4-BE49-F238E27FC236}">
                  <a16:creationId xmlns:a16="http://schemas.microsoft.com/office/drawing/2014/main" id="{6B325AF3-D514-4DC0-9747-CDA0AF288FD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5"/>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a:p>
        </p:txBody>
      </p:sp>
      <p:sp>
        <p:nvSpPr>
          <p:cNvPr id="4" name="Freeform: Shape 3">
            <a:extLst>
              <a:ext uri="{FF2B5EF4-FFF2-40B4-BE49-F238E27FC236}">
                <a16:creationId xmlns:a16="http://schemas.microsoft.com/office/drawing/2014/main" id="{15324C54-B75E-4AC0-90C2-FA558C7716F7}"/>
              </a:ext>
            </a:extLst>
          </p:cNvPr>
          <p:cNvSpPr/>
          <p:nvPr/>
        </p:nvSpPr>
        <p:spPr>
          <a:xfrm>
            <a:off x="489113"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6" name="Freeform: Shape 5">
            <a:extLst>
              <a:ext uri="{FF2B5EF4-FFF2-40B4-BE49-F238E27FC236}">
                <a16:creationId xmlns:a16="http://schemas.microsoft.com/office/drawing/2014/main" id="{D65680A1-86D1-44C2-AA38-0DF5735F1F26}"/>
              </a:ext>
            </a:extLst>
          </p:cNvPr>
          <p:cNvSpPr/>
          <p:nvPr/>
        </p:nvSpPr>
        <p:spPr>
          <a:xfrm>
            <a:off x="1059360"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Tree>
    <p:extLst>
      <p:ext uri="{BB962C8B-B14F-4D97-AF65-F5344CB8AC3E}">
        <p14:creationId xmlns:p14="http://schemas.microsoft.com/office/powerpoint/2010/main" val="12505507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72051F90-5142-4B50-9704-6F8AFD99204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30" b="772"/>
          <a:stretch/>
        </p:blipFill>
        <p:spPr>
          <a:xfrm>
            <a:off x="0" y="3"/>
            <a:ext cx="12192000" cy="6857999"/>
          </a:xfrm>
          <a:prstGeom prst="rect">
            <a:avLst/>
          </a:prstGeom>
        </p:spPr>
      </p:pic>
      <p:sp>
        <p:nvSpPr>
          <p:cNvPr id="78" name="Rectangle 77">
            <a:extLst>
              <a:ext uri="{FF2B5EF4-FFF2-40B4-BE49-F238E27FC236}">
                <a16:creationId xmlns:a16="http://schemas.microsoft.com/office/drawing/2014/main" id="{1FD0009D-A7C8-4AA2-A7C7-97055C98C27B}"/>
              </a:ext>
            </a:extLst>
          </p:cNvPr>
          <p:cNvSpPr/>
          <p:nvPr userDrawn="1"/>
        </p:nvSpPr>
        <p:spPr>
          <a:xfrm>
            <a:off x="1" y="0"/>
            <a:ext cx="12192001" cy="6858000"/>
          </a:xfrm>
          <a:prstGeom prst="rect">
            <a:avLst/>
          </a:prstGeom>
          <a:gradFill flip="none" rotWithShape="1">
            <a:gsLst>
              <a:gs pos="0">
                <a:srgbClr val="2E2E38">
                  <a:alpha val="82000"/>
                </a:srgbClr>
              </a:gs>
              <a:gs pos="100000">
                <a:srgbClr val="2E2E38">
                  <a:alpha val="34000"/>
                </a:srgbClr>
              </a:gs>
            </a:gsLst>
            <a:lin ang="5400000" scaled="1"/>
            <a:tileRect/>
          </a:gradFill>
          <a:ln w="9525" cap="flat" cmpd="sng" algn="ctr">
            <a:noFill/>
            <a:prstDash val="solid"/>
          </a:ln>
          <a:effectLst/>
        </p:spPr>
        <p:txBody>
          <a:bodyPr rtlCol="0" anchor="t" anchorCtr="0"/>
          <a:lstStyle/>
          <a:p>
            <a:pPr marL="0" marR="0" lvl="0" indent="0" algn="ctr" defTabSz="913486" eaLnBrk="1" fontAlgn="auto" latinLnBrk="0" hangingPunct="1">
              <a:lnSpc>
                <a:spcPct val="100000"/>
              </a:lnSpc>
              <a:spcBef>
                <a:spcPts val="0"/>
              </a:spcBef>
              <a:spcAft>
                <a:spcPts val="0"/>
              </a:spcAft>
              <a:buClrTx/>
              <a:buSzTx/>
              <a:buFontTx/>
              <a:buNone/>
              <a:tabLst/>
              <a:defRPr/>
            </a:pPr>
            <a:endParaRPr kumimoji="0" lang="en-IN" sz="1198" b="0" i="0" u="none" strike="noStrike" kern="0" cap="none" spc="0" normalizeH="0" baseline="0" noProof="0">
              <a:ln>
                <a:noFill/>
              </a:ln>
              <a:solidFill>
                <a:srgbClr val="FFFFFF"/>
              </a:solidFill>
              <a:effectLst/>
              <a:uLnTx/>
              <a:uFillTx/>
              <a:latin typeface="EYInterstate Light"/>
              <a:ea typeface="+mn-ea"/>
              <a:cs typeface="+mn-cs"/>
            </a:endParaRPr>
          </a:p>
        </p:txBody>
      </p:sp>
      <p:grpSp>
        <p:nvGrpSpPr>
          <p:cNvPr id="79" name="Group 4">
            <a:extLst>
              <a:ext uri="{FF2B5EF4-FFF2-40B4-BE49-F238E27FC236}">
                <a16:creationId xmlns:a16="http://schemas.microsoft.com/office/drawing/2014/main" id="{5A26457A-282E-4FB0-9609-6CB37C803109}"/>
              </a:ext>
            </a:extLst>
          </p:cNvPr>
          <p:cNvGrpSpPr>
            <a:grpSpLocks noChangeAspect="1"/>
          </p:cNvGrpSpPr>
          <p:nvPr userDrawn="1"/>
        </p:nvGrpSpPr>
        <p:grpSpPr bwMode="auto">
          <a:xfrm>
            <a:off x="10359392" y="4960938"/>
            <a:ext cx="1224912" cy="1435100"/>
            <a:chOff x="6529" y="3125"/>
            <a:chExt cx="772" cy="904"/>
          </a:xfrm>
        </p:grpSpPr>
        <p:sp>
          <p:nvSpPr>
            <p:cNvPr id="80" name="Freeform 5">
              <a:extLst>
                <a:ext uri="{FF2B5EF4-FFF2-40B4-BE49-F238E27FC236}">
                  <a16:creationId xmlns:a16="http://schemas.microsoft.com/office/drawing/2014/main" id="{04C6AB56-077D-40CA-89A6-4F867933584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81" name="Freeform 6">
              <a:extLst>
                <a:ext uri="{FF2B5EF4-FFF2-40B4-BE49-F238E27FC236}">
                  <a16:creationId xmlns:a16="http://schemas.microsoft.com/office/drawing/2014/main" id="{A7FB1E70-63A5-453F-91DC-B2241655C8E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9"/>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5"/>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413338764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198">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grpSp>
        <p:nvGrpSpPr>
          <p:cNvPr id="6" name="Group 5">
            <a:extLst>
              <a:ext uri="{FF2B5EF4-FFF2-40B4-BE49-F238E27FC236}">
                <a16:creationId xmlns:a16="http://schemas.microsoft.com/office/drawing/2014/main" id="{C9EBA069-5F5A-45E5-9081-BD019398524A}"/>
              </a:ext>
            </a:extLst>
          </p:cNvPr>
          <p:cNvGrpSpPr/>
          <p:nvPr userDrawn="1"/>
        </p:nvGrpSpPr>
        <p:grpSpPr>
          <a:xfrm>
            <a:off x="609601" y="857168"/>
            <a:ext cx="4699986" cy="27432"/>
            <a:chOff x="1616202" y="3429000"/>
            <a:chExt cx="10020300" cy="180975"/>
          </a:xfrm>
        </p:grpSpPr>
        <p:sp>
          <p:nvSpPr>
            <p:cNvPr id="7" name="Rectangle 6">
              <a:extLst>
                <a:ext uri="{FF2B5EF4-FFF2-40B4-BE49-F238E27FC236}">
                  <a16:creationId xmlns:a16="http://schemas.microsoft.com/office/drawing/2014/main" id="{AFA530C4-AAD3-4968-89BF-03BDB35E42E2}"/>
                </a:ext>
              </a:extLst>
            </p:cNvPr>
            <p:cNvSpPr/>
            <p:nvPr/>
          </p:nvSpPr>
          <p:spPr>
            <a:xfrm>
              <a:off x="2503488" y="3429000"/>
              <a:ext cx="9133014"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8" name="Rectangle 7">
              <a:extLst>
                <a:ext uri="{FF2B5EF4-FFF2-40B4-BE49-F238E27FC236}">
                  <a16:creationId xmlns:a16="http://schemas.microsoft.com/office/drawing/2014/main" id="{FF025EEA-8110-4363-A3B1-518310239675}"/>
                </a:ext>
              </a:extLst>
            </p:cNvPr>
            <p:cNvSpPr/>
            <p:nvPr/>
          </p:nvSpPr>
          <p:spPr>
            <a:xfrm>
              <a:off x="1616202"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9" name="Rectangle 8">
              <a:extLst>
                <a:ext uri="{FF2B5EF4-FFF2-40B4-BE49-F238E27FC236}">
                  <a16:creationId xmlns:a16="http://schemas.microsoft.com/office/drawing/2014/main" id="{C352816E-53E7-4FA9-BAD2-B7676780D677}"/>
                </a:ext>
              </a:extLst>
            </p:cNvPr>
            <p:cNvSpPr/>
            <p:nvPr/>
          </p:nvSpPr>
          <p:spPr>
            <a:xfrm>
              <a:off x="1911964"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10" name="Rectangle 9">
              <a:extLst>
                <a:ext uri="{FF2B5EF4-FFF2-40B4-BE49-F238E27FC236}">
                  <a16:creationId xmlns:a16="http://schemas.microsoft.com/office/drawing/2014/main" id="{54759A5B-9206-4552-BBD0-23A56D05A9A8}"/>
                </a:ext>
              </a:extLst>
            </p:cNvPr>
            <p:cNvSpPr/>
            <p:nvPr/>
          </p:nvSpPr>
          <p:spPr>
            <a:xfrm>
              <a:off x="2207726"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grpSp>
    </p:spTree>
    <p:extLst>
      <p:ext uri="{BB962C8B-B14F-4D97-AF65-F5344CB8AC3E}">
        <p14:creationId xmlns:p14="http://schemas.microsoft.com/office/powerpoint/2010/main" val="25264914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p:spPr>
        <p:txBody>
          <a:bodyPr/>
          <a:lstStyle>
            <a:lvl1pPr>
              <a:defRPr sz="2198">
                <a:solidFill>
                  <a:schemeClr val="bg1"/>
                </a:solidFill>
              </a:defRPr>
            </a:lvl1pPr>
          </a:lstStyle>
          <a:p>
            <a:r>
              <a:rPr lang="en-US"/>
              <a:t>Standard slide</a:t>
            </a:r>
            <a:endParaRPr lang="en-GB"/>
          </a:p>
        </p:txBody>
      </p:sp>
      <p:grpSp>
        <p:nvGrpSpPr>
          <p:cNvPr id="4" name="Group 3">
            <a:extLst>
              <a:ext uri="{FF2B5EF4-FFF2-40B4-BE49-F238E27FC236}">
                <a16:creationId xmlns:a16="http://schemas.microsoft.com/office/drawing/2014/main" id="{26A0CB6D-0359-46E1-8009-18FC0842CE5E}"/>
              </a:ext>
            </a:extLst>
          </p:cNvPr>
          <p:cNvGrpSpPr/>
          <p:nvPr userDrawn="1"/>
        </p:nvGrpSpPr>
        <p:grpSpPr>
          <a:xfrm>
            <a:off x="609601" y="857168"/>
            <a:ext cx="4699986" cy="27432"/>
            <a:chOff x="1616202" y="3429000"/>
            <a:chExt cx="10020300" cy="180975"/>
          </a:xfrm>
        </p:grpSpPr>
        <p:sp>
          <p:nvSpPr>
            <p:cNvPr id="5" name="Rectangle 4">
              <a:extLst>
                <a:ext uri="{FF2B5EF4-FFF2-40B4-BE49-F238E27FC236}">
                  <a16:creationId xmlns:a16="http://schemas.microsoft.com/office/drawing/2014/main" id="{766B6E8B-011E-454A-9F44-9060F948A5E6}"/>
                </a:ext>
              </a:extLst>
            </p:cNvPr>
            <p:cNvSpPr/>
            <p:nvPr/>
          </p:nvSpPr>
          <p:spPr>
            <a:xfrm>
              <a:off x="2503488" y="3429000"/>
              <a:ext cx="9133014"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6" name="Rectangle 5">
              <a:extLst>
                <a:ext uri="{FF2B5EF4-FFF2-40B4-BE49-F238E27FC236}">
                  <a16:creationId xmlns:a16="http://schemas.microsoft.com/office/drawing/2014/main" id="{537763ED-1890-4EB5-98E9-8F79D038AB21}"/>
                </a:ext>
              </a:extLst>
            </p:cNvPr>
            <p:cNvSpPr/>
            <p:nvPr/>
          </p:nvSpPr>
          <p:spPr>
            <a:xfrm>
              <a:off x="1616202"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7" name="Rectangle 6">
              <a:extLst>
                <a:ext uri="{FF2B5EF4-FFF2-40B4-BE49-F238E27FC236}">
                  <a16:creationId xmlns:a16="http://schemas.microsoft.com/office/drawing/2014/main" id="{CEB20093-B036-4784-B4CE-1159D19A2CC0}"/>
                </a:ext>
              </a:extLst>
            </p:cNvPr>
            <p:cNvSpPr/>
            <p:nvPr/>
          </p:nvSpPr>
          <p:spPr>
            <a:xfrm>
              <a:off x="1911964"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sp>
          <p:nvSpPr>
            <p:cNvPr id="8" name="Rectangle 7">
              <a:extLst>
                <a:ext uri="{FF2B5EF4-FFF2-40B4-BE49-F238E27FC236}">
                  <a16:creationId xmlns:a16="http://schemas.microsoft.com/office/drawing/2014/main" id="{B428EF3E-DD08-494A-A898-281A8D646D41}"/>
                </a:ext>
              </a:extLst>
            </p:cNvPr>
            <p:cNvSpPr/>
            <p:nvPr/>
          </p:nvSpPr>
          <p:spPr>
            <a:xfrm>
              <a:off x="2207726" y="3429000"/>
              <a:ext cx="180000" cy="180975"/>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8"/>
            </a:p>
          </p:txBody>
        </p:sp>
      </p:grpSp>
    </p:spTree>
    <p:extLst>
      <p:ext uri="{BB962C8B-B14F-4D97-AF65-F5344CB8AC3E}">
        <p14:creationId xmlns:p14="http://schemas.microsoft.com/office/powerpoint/2010/main" val="25940093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6162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530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56C45-15E3-3173-F222-022AFD2813E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12DE34B-6459-C61F-F13F-41D15F66B70B}"/>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4" name="Footer Placeholder 3">
            <a:extLst>
              <a:ext uri="{FF2B5EF4-FFF2-40B4-BE49-F238E27FC236}">
                <a16:creationId xmlns:a16="http://schemas.microsoft.com/office/drawing/2014/main" id="{081C5D19-DB7C-25B6-5236-35B544EE1BA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AC6376B-265C-F465-80E0-86015448699A}"/>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4933309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6"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95295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7"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294848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520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670452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Our View">
    <p:spTree>
      <p:nvGrpSpPr>
        <p:cNvPr id="1" name=""/>
        <p:cNvGrpSpPr/>
        <p:nvPr/>
      </p:nvGrpSpPr>
      <p:grpSpPr>
        <a:xfrm>
          <a:off x="0" y="0"/>
          <a:ext cx="0" cy="0"/>
          <a:chOff x="0" y="0"/>
          <a:chExt cx="0" cy="0"/>
        </a:xfrm>
      </p:grpSpPr>
      <p:sp>
        <p:nvSpPr>
          <p:cNvPr id="2" name="Title 1"/>
          <p:cNvSpPr>
            <a:spLocks noGrp="1"/>
          </p:cNvSpPr>
          <p:nvPr>
            <p:ph type="title"/>
          </p:nvPr>
        </p:nvSpPr>
        <p:spPr>
          <a:xfrm>
            <a:off x="609602" y="547118"/>
            <a:ext cx="10972800" cy="367285"/>
          </a:xfrm>
        </p:spPr>
        <p:txBody>
          <a:bodyPr anchor="ctr" anchorCtr="0"/>
          <a:lstStyle>
            <a:lvl1pPr>
              <a:defRPr sz="2198">
                <a:solidFill>
                  <a:schemeClr val="bg1"/>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16D4726E-1AA1-4726-AAE1-83604B28CC69}"/>
              </a:ext>
            </a:extLst>
          </p:cNvPr>
          <p:cNvGrpSpPr/>
          <p:nvPr userDrawn="1"/>
        </p:nvGrpSpPr>
        <p:grpSpPr>
          <a:xfrm rot="16200000">
            <a:off x="-246455" y="249902"/>
            <a:ext cx="597732" cy="678996"/>
            <a:chOff x="-1409619" y="205327"/>
            <a:chExt cx="991402" cy="1126770"/>
          </a:xfrm>
        </p:grpSpPr>
        <p:sp>
          <p:nvSpPr>
            <p:cNvPr id="6" name="Rectangle: Rounded Corners 5">
              <a:extLst>
                <a:ext uri="{FF2B5EF4-FFF2-40B4-BE49-F238E27FC236}">
                  <a16:creationId xmlns:a16="http://schemas.microsoft.com/office/drawing/2014/main" id="{F03C36F5-2AFE-47D3-8CDD-FFE1111EC97D}"/>
                </a:ext>
              </a:extLst>
            </p:cNvPr>
            <p:cNvSpPr/>
            <p:nvPr userDrawn="1"/>
          </p:nvSpPr>
          <p:spPr>
            <a:xfrm rot="18900000">
              <a:off x="-1409619" y="340695"/>
              <a:ext cx="991402" cy="991402"/>
            </a:xfrm>
            <a:prstGeom prst="roundRect">
              <a:avLst>
                <a:gd name="adj" fmla="val 12183"/>
              </a:avLst>
            </a:prstGeom>
            <a:noFill/>
            <a:ln w="9525">
              <a:solidFill>
                <a:schemeClr val="bg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8">
                <a:solidFill>
                  <a:schemeClr val="tx1"/>
                </a:solidFill>
              </a:endParaRPr>
            </a:p>
          </p:txBody>
        </p:sp>
        <p:sp>
          <p:nvSpPr>
            <p:cNvPr id="7" name="Rectangle: Rounded Corners 6">
              <a:extLst>
                <a:ext uri="{FF2B5EF4-FFF2-40B4-BE49-F238E27FC236}">
                  <a16:creationId xmlns:a16="http://schemas.microsoft.com/office/drawing/2014/main" id="{F636C502-3B27-45AB-8A52-AD2327574CD2}"/>
                </a:ext>
              </a:extLst>
            </p:cNvPr>
            <p:cNvSpPr/>
            <p:nvPr userDrawn="1"/>
          </p:nvSpPr>
          <p:spPr>
            <a:xfrm rot="18900000">
              <a:off x="-1409619" y="205327"/>
              <a:ext cx="991402" cy="991402"/>
            </a:xfrm>
            <a:prstGeom prst="roundRect">
              <a:avLst>
                <a:gd name="adj" fmla="val 12183"/>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8">
                <a:solidFill>
                  <a:schemeClr val="tx1"/>
                </a:solidFill>
              </a:endParaRPr>
            </a:p>
          </p:txBody>
        </p:sp>
      </p:grpSp>
      <p:sp>
        <p:nvSpPr>
          <p:cNvPr id="8" name="Title Placeholder 2">
            <a:extLst>
              <a:ext uri="{FF2B5EF4-FFF2-40B4-BE49-F238E27FC236}">
                <a16:creationId xmlns:a16="http://schemas.microsoft.com/office/drawing/2014/main" id="{0242C29E-F173-47E5-ADF4-D0E74C262191}"/>
              </a:ext>
            </a:extLst>
          </p:cNvPr>
          <p:cNvSpPr txBox="1">
            <a:spLocks/>
          </p:cNvSpPr>
          <p:nvPr userDrawn="1"/>
        </p:nvSpPr>
        <p:spPr>
          <a:xfrm>
            <a:off x="609284" y="274638"/>
            <a:ext cx="641911" cy="225158"/>
          </a:xfrm>
          <a:prstGeom prst="roundRect">
            <a:avLst/>
          </a:prstGeom>
          <a:solidFill>
            <a:srgbClr val="2E2E38"/>
          </a:solidFill>
        </p:spPr>
        <p:txBody>
          <a:bodyPr vert="horz" wrap="none" lIns="35962" tIns="35962" rIns="35962" bIns="35962" rtlCol="0" anchor="ctr" anchorCtr="0">
            <a:spAutoFit/>
          </a:bodyPr>
          <a:lstStyle>
            <a:lvl1pPr marL="0" marR="0" indent="0" algn="l" defTabSz="1042342" rtl="0" eaLnBrk="1" fontAlgn="auto" latinLnBrk="0" hangingPunct="1">
              <a:lnSpc>
                <a:spcPct val="85000"/>
              </a:lnSpc>
              <a:spcBef>
                <a:spcPct val="0"/>
              </a:spcBef>
              <a:spcAft>
                <a:spcPts val="0"/>
              </a:spcAft>
              <a:buClrTx/>
              <a:buSzTx/>
              <a:buFontTx/>
              <a:buNone/>
              <a:tabLst/>
              <a:defRPr kumimoji="0" lang="en-IN" sz="2000" b="0" i="0" u="none" strike="noStrike" kern="1200" cap="none" spc="0" normalizeH="0" baseline="0" noProof="0" dirty="0" smtClean="0">
                <a:ln>
                  <a:noFill/>
                </a:ln>
                <a:solidFill>
                  <a:schemeClr val="tx2"/>
                </a:solidFill>
                <a:effectLst/>
                <a:uLnTx/>
                <a:uFillTx/>
                <a:latin typeface="+mj-lt"/>
                <a:ea typeface="+mj-ea"/>
                <a:cs typeface="+mj-cs"/>
              </a:defRPr>
            </a:lvl1pPr>
          </a:lstStyle>
          <a:p>
            <a:pPr marL="0" marR="0" lvl="0" indent="0" algn="l" defTabSz="1041300" rtl="0" eaLnBrk="1" fontAlgn="base" latinLnBrk="0" hangingPunct="1">
              <a:lnSpc>
                <a:spcPct val="85000"/>
              </a:lnSpc>
              <a:spcBef>
                <a:spcPts val="0"/>
              </a:spcBef>
              <a:spcAft>
                <a:spcPts val="0"/>
              </a:spcAft>
              <a:buClr>
                <a:srgbClr val="FFE600"/>
              </a:buClr>
              <a:buSzPct val="80000"/>
              <a:buFont typeface="Arial" charset="0"/>
              <a:buNone/>
              <a:tabLst/>
              <a:defRPr/>
            </a:pPr>
            <a:r>
              <a:rPr kumimoji="0" lang="en-IN" sz="999" b="1" i="0" u="none" strike="noStrike" kern="1200" cap="none" spc="0" normalizeH="0" baseline="0" noProof="0">
                <a:ln>
                  <a:noFill/>
                </a:ln>
                <a:solidFill>
                  <a:schemeClr val="tx1"/>
                </a:solidFill>
                <a:effectLst/>
                <a:uLnTx/>
                <a:uFillTx/>
                <a:latin typeface="EYInterstate"/>
                <a:ea typeface="+mj-ea"/>
                <a:cs typeface="+mj-cs"/>
              </a:rPr>
              <a:t>Our View</a:t>
            </a:r>
          </a:p>
        </p:txBody>
      </p:sp>
    </p:spTree>
    <p:extLst>
      <p:ext uri="{BB962C8B-B14F-4D97-AF65-F5344CB8AC3E}">
        <p14:creationId xmlns:p14="http://schemas.microsoft.com/office/powerpoint/2010/main" val="546434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3" y="294200"/>
            <a:ext cx="10972800" cy="401880"/>
          </a:xfrm>
        </p:spPr>
        <p:txBody>
          <a:bodyPr anchor="ctr" anchorCtr="0"/>
          <a:lstStyle>
            <a:lvl1pPr>
              <a:defRPr sz="1998" b="1">
                <a:solidFill>
                  <a:schemeClr val="tx2"/>
                </a:solidFill>
                <a:latin typeface="+mj-lt"/>
              </a:defRPr>
            </a:lvl1pPr>
          </a:lstStyle>
          <a:p>
            <a:r>
              <a:rPr lang="en-US"/>
              <a:t>Standard slide</a:t>
            </a:r>
            <a:endParaRPr lang="en-GB"/>
          </a:p>
        </p:txBody>
      </p:sp>
      <p:grpSp>
        <p:nvGrpSpPr>
          <p:cNvPr id="7" name="Group 6">
            <a:extLst>
              <a:ext uri="{FF2B5EF4-FFF2-40B4-BE49-F238E27FC236}">
                <a16:creationId xmlns:a16="http://schemas.microsoft.com/office/drawing/2014/main" id="{1093BFF9-4255-49A5-86BB-C2C2E1D31A90}"/>
              </a:ext>
            </a:extLst>
          </p:cNvPr>
          <p:cNvGrpSpPr/>
          <p:nvPr userDrawn="1"/>
        </p:nvGrpSpPr>
        <p:grpSpPr>
          <a:xfrm>
            <a:off x="0" y="6448632"/>
            <a:ext cx="2126338" cy="350559"/>
            <a:chOff x="0" y="6448628"/>
            <a:chExt cx="2126338" cy="350559"/>
          </a:xfrm>
        </p:grpSpPr>
        <p:cxnSp>
          <p:nvCxnSpPr>
            <p:cNvPr id="8" name="Straight Connector 7">
              <a:extLst>
                <a:ext uri="{FF2B5EF4-FFF2-40B4-BE49-F238E27FC236}">
                  <a16:creationId xmlns:a16="http://schemas.microsoft.com/office/drawing/2014/main" id="{59187544-8B46-4811-ADAB-E22D2596F1EE}"/>
                </a:ext>
              </a:extLst>
            </p:cNvPr>
            <p:cNvCxnSpPr>
              <a:cxnSpLocks/>
            </p:cNvCxnSpPr>
            <p:nvPr userDrawn="1"/>
          </p:nvCxnSpPr>
          <p:spPr>
            <a:xfrm>
              <a:off x="0" y="6627813"/>
              <a:ext cx="1831340" cy="0"/>
            </a:xfrm>
            <a:prstGeom prst="line">
              <a:avLst/>
            </a:prstGeom>
            <a:ln w="9525">
              <a:gradFill flip="none" rotWithShape="1">
                <a:gsLst>
                  <a:gs pos="0">
                    <a:srgbClr val="2E2E38"/>
                  </a:gs>
                  <a:gs pos="100000">
                    <a:schemeClr val="tx2"/>
                  </a:gs>
                </a:gsLst>
                <a:lin ang="0" scaled="1"/>
                <a:tileRect/>
              </a:gradFill>
              <a:tailEnd type="non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40736504-1C7F-4289-AAA8-2ECD8E3C1F16}"/>
                </a:ext>
              </a:extLst>
            </p:cNvPr>
            <p:cNvSpPr/>
            <p:nvPr userDrawn="1"/>
          </p:nvSpPr>
          <p:spPr>
            <a:xfrm>
              <a:off x="1775779" y="6448628"/>
              <a:ext cx="350559" cy="350559"/>
            </a:xfrm>
            <a:prstGeom prst="ellipse">
              <a:avLst/>
            </a:prstGeom>
            <a:gradFill flip="none" rotWithShape="1">
              <a:gsLst>
                <a:gs pos="0">
                  <a:schemeClr val="tx2">
                    <a:lumMod val="50000"/>
                  </a:schemeClr>
                </a:gs>
                <a:gs pos="100000">
                  <a:schemeClr val="tx2"/>
                </a:gs>
              </a:gsLst>
              <a:lin ang="0" scaled="1"/>
              <a:tileRect/>
            </a:gradFill>
            <a:ln w="9525">
              <a:gradFill flip="none" rotWithShape="1">
                <a:gsLst>
                  <a:gs pos="0">
                    <a:schemeClr val="tx2">
                      <a:lumMod val="50000"/>
                    </a:schemeClr>
                  </a:gs>
                  <a:gs pos="100000">
                    <a:schemeClr val="tx2"/>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8">
                <a:solidFill>
                  <a:schemeClr val="tx1"/>
                </a:solidFill>
              </a:endParaRPr>
            </a:p>
          </p:txBody>
        </p:sp>
        <p:pic>
          <p:nvPicPr>
            <p:cNvPr id="10" name="Picture 9">
              <a:extLst>
                <a:ext uri="{FF2B5EF4-FFF2-40B4-BE49-F238E27FC236}">
                  <a16:creationId xmlns:a16="http://schemas.microsoft.com/office/drawing/2014/main" id="{52759878-4420-4CFD-8509-2A5FC26ED2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1881" y="6481396"/>
              <a:ext cx="258354" cy="258352"/>
            </a:xfrm>
            <a:prstGeom prst="rect">
              <a:avLst/>
            </a:prstGeom>
          </p:spPr>
        </p:pic>
      </p:gr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a:xfrm>
            <a:off x="616900" y="6562356"/>
            <a:ext cx="566928" cy="2194560"/>
          </a:xfrm>
          <a:solidFill>
            <a:srgbClr val="2E2E38"/>
          </a:solidFill>
        </p:spPr>
        <p:txBody>
          <a:bodyPr wrap="square" lIns="54864" rIns="54864">
            <a:spAutoFit/>
          </a:bodyPr>
          <a:lstStyle>
            <a:lvl1pPr>
              <a:defRPr b="0">
                <a:latin typeface="+mn-lt"/>
              </a:defRPr>
            </a:lvl1pPr>
          </a:lstStyle>
          <a:p>
            <a:r>
              <a:rPr lang="en-US"/>
              <a:t>.</a:t>
            </a:r>
            <a:endParaRPr/>
          </a:p>
        </p:txBody>
      </p:sp>
      <p:sp>
        <p:nvSpPr>
          <p:cNvPr id="11" name="Title 1">
            <a:extLst>
              <a:ext uri="{FF2B5EF4-FFF2-40B4-BE49-F238E27FC236}">
                <a16:creationId xmlns:a16="http://schemas.microsoft.com/office/drawing/2014/main" id="{5E6313FF-3493-4CD1-9A1E-F8BFF987B0B1}"/>
              </a:ext>
            </a:extLst>
          </p:cNvPr>
          <p:cNvSpPr txBox="1">
            <a:spLocks/>
          </p:cNvSpPr>
          <p:nvPr userDrawn="1"/>
        </p:nvSpPr>
        <p:spPr>
          <a:xfrm>
            <a:off x="479776" y="227693"/>
            <a:ext cx="46293" cy="534903"/>
          </a:xfrm>
          <a:prstGeom prst="rect">
            <a:avLst/>
          </a:prstGeom>
          <a:solidFill>
            <a:schemeClr val="tx2"/>
          </a:solidFill>
        </p:spPr>
        <p:txBody>
          <a:bodyPr vert="horz" wrap="none" lIns="0" tIns="0" rIns="0" bIns="0" rtlCol="0" anchor="ctr" anchorCtr="0">
            <a:noAutofit/>
          </a:bodyPr>
          <a:lstStyle>
            <a:lvl1pPr algn="l" defTabSz="913943" rtl="0" eaLnBrk="1" latinLnBrk="0" hangingPunct="1">
              <a:lnSpc>
                <a:spcPct val="85000"/>
              </a:lnSpc>
              <a:spcBef>
                <a:spcPct val="0"/>
              </a:spcBef>
              <a:buNone/>
              <a:defRPr sz="2000" b="0" kern="1200">
                <a:solidFill>
                  <a:schemeClr val="tx2"/>
                </a:solidFill>
                <a:latin typeface="EYInterstate Light" panose="02000506000000020004" pitchFamily="2" charset="0"/>
                <a:ea typeface="+mj-ea"/>
                <a:cs typeface="Arial" pitchFamily="34" charset="0"/>
              </a:defRPr>
            </a:lvl1pPr>
          </a:lstStyle>
          <a:p>
            <a:endParaRPr lang="en-GB" sz="1998"/>
          </a:p>
        </p:txBody>
      </p:sp>
      <p:pic>
        <p:nvPicPr>
          <p:cNvPr id="12" name="Picture 11">
            <a:extLst>
              <a:ext uri="{FF2B5EF4-FFF2-40B4-BE49-F238E27FC236}">
                <a16:creationId xmlns:a16="http://schemas.microsoft.com/office/drawing/2014/main" id="{96985354-73F1-4A29-946C-1C977296837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87127" y="6307458"/>
            <a:ext cx="360045" cy="360045"/>
          </a:xfrm>
          <a:prstGeom prst="rect">
            <a:avLst/>
          </a:prstGeom>
        </p:spPr>
      </p:pic>
    </p:spTree>
    <p:extLst>
      <p:ext uri="{BB962C8B-B14F-4D97-AF65-F5344CB8AC3E}">
        <p14:creationId xmlns:p14="http://schemas.microsoft.com/office/powerpoint/2010/main" val="3173656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Standard slide_Quotes">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EEDB9AAD-E3DA-490D-9B6C-1A4359DA63B4}"/>
              </a:ext>
            </a:extLst>
          </p:cNvPr>
          <p:cNvSpPr>
            <a:spLocks noGrp="1"/>
          </p:cNvSpPr>
          <p:nvPr>
            <p:ph type="pic" sz="quarter" idx="10" hasCustomPrompt="1"/>
          </p:nvPr>
        </p:nvSpPr>
        <p:spPr>
          <a:xfrm>
            <a:off x="831289" y="396255"/>
            <a:ext cx="1233155" cy="1242290"/>
          </a:xfrm>
          <a:prstGeom prst="ellipse">
            <a:avLst/>
          </a:prstGeom>
          <a:ln>
            <a:noFill/>
          </a:ln>
        </p:spPr>
        <p:txBody>
          <a:bodyPr/>
          <a:lstStyle>
            <a:lvl1pPr marL="0" indent="0">
              <a:buNone/>
              <a:defRPr sz="1598"/>
            </a:lvl1pPr>
          </a:lstStyle>
          <a:p>
            <a:r>
              <a:rPr lang="en-US"/>
              <a:t>Photo</a:t>
            </a:r>
          </a:p>
        </p:txBody>
      </p:sp>
    </p:spTree>
    <p:extLst>
      <p:ext uri="{BB962C8B-B14F-4D97-AF65-F5344CB8AC3E}">
        <p14:creationId xmlns:p14="http://schemas.microsoft.com/office/powerpoint/2010/main" val="33491936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Standard slide_Quotes">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EEDB9AAD-E3DA-490D-9B6C-1A4359DA63B4}"/>
              </a:ext>
            </a:extLst>
          </p:cNvPr>
          <p:cNvSpPr>
            <a:spLocks noGrp="1"/>
          </p:cNvSpPr>
          <p:nvPr>
            <p:ph type="pic" sz="quarter" idx="10" hasCustomPrompt="1"/>
          </p:nvPr>
        </p:nvSpPr>
        <p:spPr>
          <a:xfrm>
            <a:off x="831289" y="396255"/>
            <a:ext cx="1233155" cy="1242290"/>
          </a:xfrm>
          <a:prstGeom prst="ellipse">
            <a:avLst/>
          </a:prstGeom>
          <a:ln>
            <a:noFill/>
          </a:ln>
        </p:spPr>
        <p:txBody>
          <a:bodyPr/>
          <a:lstStyle>
            <a:lvl1pPr marL="0" indent="0">
              <a:buNone/>
              <a:defRPr sz="1598"/>
            </a:lvl1pPr>
          </a:lstStyle>
          <a:p>
            <a:r>
              <a:rPr lang="en-US"/>
              <a:t>Photo</a:t>
            </a:r>
          </a:p>
        </p:txBody>
      </p:sp>
    </p:spTree>
    <p:extLst>
      <p:ext uri="{BB962C8B-B14F-4D97-AF65-F5344CB8AC3E}">
        <p14:creationId xmlns:p14="http://schemas.microsoft.com/office/powerpoint/2010/main" val="36362615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14321263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dirty="0"/>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12554553" y="1"/>
            <a:ext cx="1647523" cy="1816099"/>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209093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3237ED-5BE7-C8DE-F72D-4A043EDB9A67}"/>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3" name="Footer Placeholder 2">
            <a:extLst>
              <a:ext uri="{FF2B5EF4-FFF2-40B4-BE49-F238E27FC236}">
                <a16:creationId xmlns:a16="http://schemas.microsoft.com/office/drawing/2014/main" id="{D1C73D09-448D-295D-6001-87F66E0BCF7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E86122A-792F-20A9-8361-50DF5355B495}"/>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1915327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C4746-EB96-90CC-C6F7-06CEC6915D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6CFCA1-297D-DDF7-0B47-C693A1CFF8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A8A27B8-31CF-1196-6C88-98A5B9D6CA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389011-0FD5-B139-77F1-D97253216A0D}"/>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6" name="Footer Placeholder 5">
            <a:extLst>
              <a:ext uri="{FF2B5EF4-FFF2-40B4-BE49-F238E27FC236}">
                <a16:creationId xmlns:a16="http://schemas.microsoft.com/office/drawing/2014/main" id="{BD4F6B6A-AD10-CD55-93E4-B93593ED71C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B298F2C-DB87-C3F4-9523-9F70900C8E9E}"/>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108584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4DE0A-CEC7-053D-CD8F-E92E4CF9FB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5D9C50C-BEC0-FF88-2296-43A246BADC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530F2DC-D87C-1F4B-F217-5500AB2E8C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649C88-8EF4-AE07-4E4C-A83EF8AAA2A3}"/>
              </a:ext>
            </a:extLst>
          </p:cNvPr>
          <p:cNvSpPr>
            <a:spLocks noGrp="1"/>
          </p:cNvSpPr>
          <p:nvPr>
            <p:ph type="dt" sz="half" idx="10"/>
          </p:nvPr>
        </p:nvSpPr>
        <p:spPr/>
        <p:txBody>
          <a:bodyPr/>
          <a:lstStyle/>
          <a:p>
            <a:fld id="{C5F17EEB-C215-4C03-9F2B-B23E7238D627}" type="datetimeFigureOut">
              <a:rPr lang="en-GB" smtClean="0"/>
              <a:t>19/11/2025</a:t>
            </a:fld>
            <a:endParaRPr lang="en-GB"/>
          </a:p>
        </p:txBody>
      </p:sp>
      <p:sp>
        <p:nvSpPr>
          <p:cNvPr id="6" name="Footer Placeholder 5">
            <a:extLst>
              <a:ext uri="{FF2B5EF4-FFF2-40B4-BE49-F238E27FC236}">
                <a16:creationId xmlns:a16="http://schemas.microsoft.com/office/drawing/2014/main" id="{EA07AD9A-7EEC-9EF2-752C-CC278461583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C2EFA37-B7FC-3CA2-F837-DF12B1825518}"/>
              </a:ext>
            </a:extLst>
          </p:cNvPr>
          <p:cNvSpPr>
            <a:spLocks noGrp="1"/>
          </p:cNvSpPr>
          <p:nvPr>
            <p:ph type="sldNum" sz="quarter" idx="12"/>
          </p:nvPr>
        </p:nvSpPr>
        <p:spPr/>
        <p:txBody>
          <a:bodyPr/>
          <a:lstStyle/>
          <a:p>
            <a:fld id="{F2ECB653-80B5-4465-8109-0E0EC3AF6BBB}" type="slidenum">
              <a:rPr lang="en-GB" smtClean="0"/>
              <a:t>‹#›</a:t>
            </a:fld>
            <a:endParaRPr lang="en-GB"/>
          </a:p>
        </p:txBody>
      </p:sp>
    </p:spTree>
    <p:extLst>
      <p:ext uri="{BB962C8B-B14F-4D97-AF65-F5344CB8AC3E}">
        <p14:creationId xmlns:p14="http://schemas.microsoft.com/office/powerpoint/2010/main" val="1590362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6.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6" Type="http://schemas.openxmlformats.org/officeDocument/2006/relationships/theme" Target="../theme/theme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5.xml"/><Relationship Id="rId1" Type="http://schemas.openxmlformats.org/officeDocument/2006/relationships/slideLayout" Target="../slideLayouts/slideLayout68.xml"/><Relationship Id="rId4"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A2609C-BBB9-0362-64C4-5BC07F109A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5D526C8-66AE-5434-E086-C953774C6C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1CE47B-A621-5108-38E2-14DA586B7F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5F17EEB-C215-4C03-9F2B-B23E7238D627}" type="datetimeFigureOut">
              <a:rPr lang="en-GB" smtClean="0"/>
              <a:t>19/11/2025</a:t>
            </a:fld>
            <a:endParaRPr lang="en-GB"/>
          </a:p>
        </p:txBody>
      </p:sp>
      <p:sp>
        <p:nvSpPr>
          <p:cNvPr id="5" name="Footer Placeholder 4">
            <a:extLst>
              <a:ext uri="{FF2B5EF4-FFF2-40B4-BE49-F238E27FC236}">
                <a16:creationId xmlns:a16="http://schemas.microsoft.com/office/drawing/2014/main" id="{1DCE0E42-6A52-3964-B319-551079E1B9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43F5E111-3598-4A0C-F0E1-1F8D6E85B7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2ECB653-80B5-4465-8109-0E0EC3AF6BBB}" type="slidenum">
              <a:rPr lang="en-GB" smtClean="0"/>
              <a:t>‹#›</a:t>
            </a:fld>
            <a:endParaRPr lang="en-GB"/>
          </a:p>
        </p:txBody>
      </p:sp>
    </p:spTree>
    <p:extLst>
      <p:ext uri="{BB962C8B-B14F-4D97-AF65-F5344CB8AC3E}">
        <p14:creationId xmlns:p14="http://schemas.microsoft.com/office/powerpoint/2010/main" val="1258397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98" r:id="rId17"/>
    <p:sldLayoutId id="2147483699" r:id="rId18"/>
    <p:sldLayoutId id="2147483700" r:id="rId19"/>
    <p:sldLayoutId id="2147483717"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353985010"/>
              </p:ext>
            </p:extLst>
          </p:nvPr>
        </p:nvGraphicFramePr>
        <p:xfrm>
          <a:off x="2120" y="1600"/>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20" y="160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1" y="274638"/>
            <a:ext cx="10972800" cy="8640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607490" y="1313525"/>
            <a:ext cx="10972800" cy="486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7" name="Text Box 121">
            <a:extLst>
              <a:ext uri="{FF2B5EF4-FFF2-40B4-BE49-F238E27FC236}">
                <a16:creationId xmlns:a16="http://schemas.microsoft.com/office/drawing/2014/main" id="{75A9854D-BB44-4C8E-B2FE-C65397EC7FF7}"/>
              </a:ext>
            </a:extLst>
          </p:cNvPr>
          <p:cNvSpPr txBox="1">
            <a:spLocks noChangeArrowheads="1"/>
          </p:cNvSpPr>
          <p:nvPr userDrawn="1"/>
        </p:nvSpPr>
        <p:spPr bwMode="gray">
          <a:xfrm>
            <a:off x="607491" y="6598180"/>
            <a:ext cx="3024187" cy="107722"/>
          </a:xfrm>
          <a:prstGeom prst="rect">
            <a:avLst/>
          </a:prstGeom>
          <a:noFill/>
          <a:ln w="12700">
            <a:noFill/>
            <a:miter lim="800000"/>
            <a:headEnd type="none" w="sm" len="sm"/>
            <a:tailEnd type="none" w="sm" len="sm"/>
          </a:ln>
          <a:effectLst/>
        </p:spPr>
        <p:txBody>
          <a:bodyPr lIns="0" tIns="0" rIns="0" bIns="0" anchor="b">
            <a:spAutoFit/>
          </a:bodyPr>
          <a:lstStyle/>
          <a:p>
            <a:pPr marL="0" marR="0" lvl="0" indent="0" defTabSz="994514"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a:ln>
                  <a:noFill/>
                </a:ln>
                <a:solidFill>
                  <a:schemeClr val="tx2"/>
                </a:solidFill>
                <a:effectLst/>
                <a:uLnTx/>
                <a:uFillTx/>
                <a:latin typeface="+mn-lt"/>
                <a:cs typeface="Arial" charset="0"/>
              </a:rPr>
              <a:t>Confidential — </a:t>
            </a:r>
            <a:r>
              <a:rPr kumimoji="0" lang="en-US" sz="700" b="0" i="0" u="none" strike="noStrike" kern="0" cap="none" spc="0" normalizeH="0" baseline="0" noProof="0">
                <a:ln>
                  <a:noFill/>
                </a:ln>
                <a:solidFill>
                  <a:schemeClr val="tx2"/>
                </a:solidFill>
                <a:effectLst/>
                <a:uLnTx/>
                <a:uFillTx/>
                <a:latin typeface="+mn-lt"/>
                <a:cs typeface="Arial" charset="0"/>
              </a:rPr>
              <a:t>All Rights Reserved — EY</a:t>
            </a:r>
          </a:p>
        </p:txBody>
      </p:sp>
      <p:sp>
        <p:nvSpPr>
          <p:cNvPr id="88" name="Text Box 121">
            <a:extLst>
              <a:ext uri="{FF2B5EF4-FFF2-40B4-BE49-F238E27FC236}">
                <a16:creationId xmlns:a16="http://schemas.microsoft.com/office/drawing/2014/main" id="{0B568B0C-58BE-44D2-9D3E-2F0ABEC7D475}"/>
              </a:ext>
            </a:extLst>
          </p:cNvPr>
          <p:cNvSpPr txBox="1">
            <a:spLocks noChangeArrowheads="1"/>
          </p:cNvSpPr>
          <p:nvPr userDrawn="1"/>
        </p:nvSpPr>
        <p:spPr bwMode="gray">
          <a:xfrm>
            <a:off x="5855781" y="6593810"/>
            <a:ext cx="480441" cy="123111"/>
          </a:xfrm>
          <a:prstGeom prst="rect">
            <a:avLst/>
          </a:prstGeom>
          <a:noFill/>
          <a:ln w="12700">
            <a:noFill/>
            <a:miter lim="800000"/>
            <a:headEnd type="none" w="sm" len="sm"/>
            <a:tailEnd type="none" w="sm" len="sm"/>
          </a:ln>
          <a:effectLst/>
        </p:spPr>
        <p:txBody>
          <a:bodyPr wrap="square" lIns="0" tIns="0" rIns="0" bIns="0" anchor="ctr">
            <a:spAutoFit/>
          </a:bodyPr>
          <a:lstStyle/>
          <a:p>
            <a:pPr marL="0" marR="0" lvl="0" indent="0" algn="ctr" defTabSz="994514" eaLnBrk="1" fontAlgn="base" latinLnBrk="0" hangingPunct="1">
              <a:lnSpc>
                <a:spcPct val="100000"/>
              </a:lnSpc>
              <a:spcBef>
                <a:spcPct val="0"/>
              </a:spcBef>
              <a:spcAft>
                <a:spcPct val="0"/>
              </a:spcAft>
              <a:buClrTx/>
              <a:buSzTx/>
              <a:buFontTx/>
              <a:buNone/>
              <a:tabLst/>
              <a:defRPr/>
            </a:pPr>
            <a:fld id="{20E97BB7-A61A-454C-8385-91704C1F16A3}" type="slidenum">
              <a:rPr kumimoji="0" lang="en-US" sz="800" b="1" i="0" u="none" strike="noStrike" kern="0" cap="none" spc="0" normalizeH="0" baseline="0" noProof="0" smtClean="0">
                <a:ln>
                  <a:noFill/>
                </a:ln>
                <a:solidFill>
                  <a:schemeClr val="tx1"/>
                </a:solidFill>
                <a:effectLst/>
                <a:uLnTx/>
                <a:uFillTx/>
                <a:latin typeface="+mn-lt"/>
                <a:cs typeface="Arial" charset="0"/>
              </a:rPr>
              <a:pPr marL="0" marR="0" lvl="0" indent="0" algn="ctr" defTabSz="994514" eaLnBrk="1" fontAlgn="base" latinLnBrk="0" hangingPunct="1">
                <a:lnSpc>
                  <a:spcPct val="100000"/>
                </a:lnSpc>
                <a:spcBef>
                  <a:spcPct val="0"/>
                </a:spcBef>
                <a:spcAft>
                  <a:spcPct val="0"/>
                </a:spcAft>
                <a:buClrTx/>
                <a:buSzTx/>
                <a:buFontTx/>
                <a:buNone/>
                <a:tabLst/>
                <a:defRPr/>
              </a:pPr>
              <a:t>‹#›</a:t>
            </a:fld>
            <a:endParaRPr kumimoji="0" lang="en-US" sz="800" b="1" i="0" u="none" strike="noStrike" kern="0" cap="none" spc="0" normalizeH="0" baseline="0" noProof="0">
              <a:ln>
                <a:noFill/>
              </a:ln>
              <a:solidFill>
                <a:schemeClr val="tx1"/>
              </a:solidFill>
              <a:effectLst/>
              <a:uLnTx/>
              <a:uFillTx/>
              <a:latin typeface="+mn-lt"/>
              <a:cs typeface="Arial" charset="0"/>
            </a:endParaRPr>
          </a:p>
        </p:txBody>
      </p:sp>
      <p:cxnSp>
        <p:nvCxnSpPr>
          <p:cNvPr id="6" name="Straight Connector 5">
            <a:extLst>
              <a:ext uri="{FF2B5EF4-FFF2-40B4-BE49-F238E27FC236}">
                <a16:creationId xmlns:a16="http://schemas.microsoft.com/office/drawing/2014/main" id="{0BA58DD6-C9CA-41B1-90FF-25F614887C8C}"/>
              </a:ext>
            </a:extLst>
          </p:cNvPr>
          <p:cNvCxnSpPr>
            <a:cxnSpLocks/>
          </p:cNvCxnSpPr>
          <p:nvPr userDrawn="1"/>
        </p:nvCxnSpPr>
        <p:spPr>
          <a:xfrm>
            <a:off x="5855781" y="6525712"/>
            <a:ext cx="480441" cy="0"/>
          </a:xfrm>
          <a:prstGeom prst="line">
            <a:avLst/>
          </a:prstGeom>
          <a:ln w="9525">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DA9A5AB-404B-4162-B91B-F9AF0C52B8A5}"/>
              </a:ext>
            </a:extLst>
          </p:cNvPr>
          <p:cNvSpPr/>
          <p:nvPr userDrawn="1"/>
        </p:nvSpPr>
        <p:spPr>
          <a:xfrm>
            <a:off x="10980348" y="6163858"/>
            <a:ext cx="45695" cy="45719"/>
          </a:xfrm>
          <a:prstGeom prst="ellipse">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rgbClr val="FFFFFF"/>
              </a:solidFill>
            </a:endParaRPr>
          </a:p>
        </p:txBody>
      </p:sp>
      <p:grpSp>
        <p:nvGrpSpPr>
          <p:cNvPr id="59" name="Group 58">
            <a:extLst>
              <a:ext uri="{FF2B5EF4-FFF2-40B4-BE49-F238E27FC236}">
                <a16:creationId xmlns:a16="http://schemas.microsoft.com/office/drawing/2014/main" id="{A91F1353-6B1F-4E5D-821E-A49803386E09}"/>
              </a:ext>
            </a:extLst>
          </p:cNvPr>
          <p:cNvGrpSpPr/>
          <p:nvPr userDrawn="1"/>
        </p:nvGrpSpPr>
        <p:grpSpPr>
          <a:xfrm>
            <a:off x="2073" y="-927"/>
            <a:ext cx="713037" cy="384146"/>
            <a:chOff x="1246980" y="1521047"/>
            <a:chExt cx="2026444" cy="1167289"/>
          </a:xfrm>
          <a:solidFill>
            <a:srgbClr val="747480"/>
          </a:solidFill>
        </p:grpSpPr>
        <p:sp>
          <p:nvSpPr>
            <p:cNvPr id="60" name="Freeform: Shape 59">
              <a:extLst>
                <a:ext uri="{FF2B5EF4-FFF2-40B4-BE49-F238E27FC236}">
                  <a16:creationId xmlns:a16="http://schemas.microsoft.com/office/drawing/2014/main" id="{AB413DEF-8458-41E9-B653-3331E09EECC1}"/>
                </a:ext>
              </a:extLst>
            </p:cNvPr>
            <p:cNvSpPr/>
            <p:nvPr/>
          </p:nvSpPr>
          <p:spPr>
            <a:xfrm>
              <a:off x="2718783" y="1521047"/>
              <a:ext cx="381000" cy="38100"/>
            </a:xfrm>
            <a:custGeom>
              <a:avLst/>
              <a:gdLst>
                <a:gd name="connsiteX0" fmla="*/ 385572 w 381000"/>
                <a:gd name="connsiteY0" fmla="*/ 0 h 38100"/>
                <a:gd name="connsiteX1" fmla="*/ 364046 w 381000"/>
                <a:gd name="connsiteY1" fmla="*/ 37148 h 38100"/>
                <a:gd name="connsiteX2" fmla="*/ 24479 w 381000"/>
                <a:gd name="connsiteY2" fmla="*/ 37148 h 38100"/>
                <a:gd name="connsiteX3" fmla="*/ 3048 w 381000"/>
                <a:gd name="connsiteY3" fmla="*/ 0 h 38100"/>
                <a:gd name="connsiteX4" fmla="*/ 0 w 381000"/>
                <a:gd name="connsiteY4" fmla="*/ 0 h 38100"/>
                <a:gd name="connsiteX5" fmla="*/ 22574 w 381000"/>
                <a:gd name="connsiteY5" fmla="*/ 39053 h 38100"/>
                <a:gd name="connsiteX6" fmla="*/ 22955 w 381000"/>
                <a:gd name="connsiteY6" fmla="*/ 39719 h 38100"/>
                <a:gd name="connsiteX7" fmla="*/ 365569 w 381000"/>
                <a:gd name="connsiteY7" fmla="*/ 39719 h 38100"/>
                <a:gd name="connsiteX8" fmla="*/ 388525 w 381000"/>
                <a:gd name="connsiteY8"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 h="38100">
                  <a:moveTo>
                    <a:pt x="385572" y="0"/>
                  </a:moveTo>
                  <a:lnTo>
                    <a:pt x="364046" y="37148"/>
                  </a:lnTo>
                  <a:lnTo>
                    <a:pt x="24479" y="37148"/>
                  </a:lnTo>
                  <a:lnTo>
                    <a:pt x="3048" y="0"/>
                  </a:lnTo>
                  <a:lnTo>
                    <a:pt x="0" y="0"/>
                  </a:lnTo>
                  <a:lnTo>
                    <a:pt x="22574" y="39053"/>
                  </a:lnTo>
                  <a:lnTo>
                    <a:pt x="22955" y="39719"/>
                  </a:lnTo>
                  <a:lnTo>
                    <a:pt x="365569" y="39719"/>
                  </a:lnTo>
                  <a:lnTo>
                    <a:pt x="388525" y="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1" name="Freeform: Shape 60">
              <a:extLst>
                <a:ext uri="{FF2B5EF4-FFF2-40B4-BE49-F238E27FC236}">
                  <a16:creationId xmlns:a16="http://schemas.microsoft.com/office/drawing/2014/main" id="{3D8311CE-B967-47EA-8773-301AC91B05BA}"/>
                </a:ext>
              </a:extLst>
            </p:cNvPr>
            <p:cNvSpPr/>
            <p:nvPr/>
          </p:nvSpPr>
          <p:spPr>
            <a:xfrm>
              <a:off x="2570479" y="1558195"/>
              <a:ext cx="676275" cy="590550"/>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350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4" y="2572"/>
                  </a:moveTo>
                  <a:lnTo>
                    <a:pt x="2953" y="296704"/>
                  </a:lnTo>
                  <a:lnTo>
                    <a:pt x="172784" y="590836"/>
                  </a:lnTo>
                  <a:lnTo>
                    <a:pt x="512445" y="590836"/>
                  </a:lnTo>
                  <a:lnTo>
                    <a:pt x="682276" y="296704"/>
                  </a:lnTo>
                  <a:lnTo>
                    <a:pt x="512350"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2" name="Freeform: Shape 61">
              <a:extLst>
                <a:ext uri="{FF2B5EF4-FFF2-40B4-BE49-F238E27FC236}">
                  <a16:creationId xmlns:a16="http://schemas.microsoft.com/office/drawing/2014/main" id="{BBD06A32-AE66-420A-828B-54983856D2A1}"/>
                </a:ext>
              </a:extLst>
            </p:cNvPr>
            <p:cNvSpPr/>
            <p:nvPr/>
          </p:nvSpPr>
          <p:spPr>
            <a:xfrm>
              <a:off x="2058796" y="1521047"/>
              <a:ext cx="676275" cy="333375"/>
            </a:xfrm>
            <a:custGeom>
              <a:avLst/>
              <a:gdLst>
                <a:gd name="connsiteX0" fmla="*/ 659987 w 676275"/>
                <a:gd name="connsiteY0" fmla="*/ 0 h 333375"/>
                <a:gd name="connsiteX1" fmla="*/ 682181 w 676275"/>
                <a:gd name="connsiteY1" fmla="*/ 38481 h 333375"/>
                <a:gd name="connsiteX2" fmla="*/ 512445 w 676275"/>
                <a:gd name="connsiteY2" fmla="*/ 332613 h 333375"/>
                <a:gd name="connsiteX3" fmla="*/ 172784 w 676275"/>
                <a:gd name="connsiteY3" fmla="*/ 332613 h 333375"/>
                <a:gd name="connsiteX4" fmla="*/ 2953 w 676275"/>
                <a:gd name="connsiteY4" fmla="*/ 38481 h 333375"/>
                <a:gd name="connsiteX5" fmla="*/ 25146 w 676275"/>
                <a:gd name="connsiteY5" fmla="*/ 0 h 333375"/>
                <a:gd name="connsiteX6" fmla="*/ 22193 w 676275"/>
                <a:gd name="connsiteY6" fmla="*/ 0 h 333375"/>
                <a:gd name="connsiteX7" fmla="*/ 381 w 676275"/>
                <a:gd name="connsiteY7" fmla="*/ 37814 h 333375"/>
                <a:gd name="connsiteX8" fmla="*/ 0 w 676275"/>
                <a:gd name="connsiteY8" fmla="*/ 38481 h 333375"/>
                <a:gd name="connsiteX9" fmla="*/ 170974 w 676275"/>
                <a:gd name="connsiteY9" fmla="*/ 334518 h 333375"/>
                <a:gd name="connsiteX10" fmla="*/ 171355 w 676275"/>
                <a:gd name="connsiteY10" fmla="*/ 335090 h 333375"/>
                <a:gd name="connsiteX11" fmla="*/ 513874 w 676275"/>
                <a:gd name="connsiteY11" fmla="*/ 335090 h 333375"/>
                <a:gd name="connsiteX12" fmla="*/ 684848 w 676275"/>
                <a:gd name="connsiteY12" fmla="*/ 39053 h 333375"/>
                <a:gd name="connsiteX13" fmla="*/ 685228 w 676275"/>
                <a:gd name="connsiteY13" fmla="*/ 38481 h 333375"/>
                <a:gd name="connsiteX14" fmla="*/ 663035 w 676275"/>
                <a:gd name="connsiteY14"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333375">
                  <a:moveTo>
                    <a:pt x="659987" y="0"/>
                  </a:moveTo>
                  <a:lnTo>
                    <a:pt x="682181" y="38481"/>
                  </a:lnTo>
                  <a:lnTo>
                    <a:pt x="512445" y="332613"/>
                  </a:lnTo>
                  <a:lnTo>
                    <a:pt x="172784" y="332613"/>
                  </a:lnTo>
                  <a:lnTo>
                    <a:pt x="2953" y="38481"/>
                  </a:lnTo>
                  <a:lnTo>
                    <a:pt x="25146" y="0"/>
                  </a:lnTo>
                  <a:lnTo>
                    <a:pt x="22193" y="0"/>
                  </a:lnTo>
                  <a:lnTo>
                    <a:pt x="381" y="37814"/>
                  </a:lnTo>
                  <a:lnTo>
                    <a:pt x="0" y="38481"/>
                  </a:lnTo>
                  <a:lnTo>
                    <a:pt x="170974" y="334518"/>
                  </a:lnTo>
                  <a:lnTo>
                    <a:pt x="171355" y="335090"/>
                  </a:lnTo>
                  <a:lnTo>
                    <a:pt x="513874" y="335090"/>
                  </a:lnTo>
                  <a:lnTo>
                    <a:pt x="684848" y="39053"/>
                  </a:lnTo>
                  <a:lnTo>
                    <a:pt x="685228" y="38481"/>
                  </a:lnTo>
                  <a:lnTo>
                    <a:pt x="663035" y="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3" name="Freeform: Shape 62">
              <a:extLst>
                <a:ext uri="{FF2B5EF4-FFF2-40B4-BE49-F238E27FC236}">
                  <a16:creationId xmlns:a16="http://schemas.microsoft.com/office/drawing/2014/main" id="{F3F52FA2-6E6E-4D40-A3B2-621472FF6E55}"/>
                </a:ext>
              </a:extLst>
            </p:cNvPr>
            <p:cNvSpPr/>
            <p:nvPr/>
          </p:nvSpPr>
          <p:spPr>
            <a:xfrm>
              <a:off x="1695512" y="1521047"/>
              <a:ext cx="381000" cy="38100"/>
            </a:xfrm>
            <a:custGeom>
              <a:avLst/>
              <a:gdLst>
                <a:gd name="connsiteX0" fmla="*/ 385477 w 381000"/>
                <a:gd name="connsiteY0" fmla="*/ 0 h 38100"/>
                <a:gd name="connsiteX1" fmla="*/ 364045 w 381000"/>
                <a:gd name="connsiteY1" fmla="*/ 37148 h 38100"/>
                <a:gd name="connsiteX2" fmla="*/ 24384 w 381000"/>
                <a:gd name="connsiteY2" fmla="*/ 37148 h 38100"/>
                <a:gd name="connsiteX3" fmla="*/ 2953 w 381000"/>
                <a:gd name="connsiteY3" fmla="*/ 0 h 38100"/>
                <a:gd name="connsiteX4" fmla="*/ 0 w 381000"/>
                <a:gd name="connsiteY4" fmla="*/ 0 h 38100"/>
                <a:gd name="connsiteX5" fmla="*/ 22574 w 381000"/>
                <a:gd name="connsiteY5" fmla="*/ 39053 h 38100"/>
                <a:gd name="connsiteX6" fmla="*/ 22955 w 381000"/>
                <a:gd name="connsiteY6" fmla="*/ 39719 h 38100"/>
                <a:gd name="connsiteX7" fmla="*/ 365570 w 381000"/>
                <a:gd name="connsiteY7" fmla="*/ 39719 h 38100"/>
                <a:gd name="connsiteX8" fmla="*/ 388430 w 381000"/>
                <a:gd name="connsiteY8"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 h="38100">
                  <a:moveTo>
                    <a:pt x="385477" y="0"/>
                  </a:moveTo>
                  <a:lnTo>
                    <a:pt x="364045" y="37148"/>
                  </a:lnTo>
                  <a:lnTo>
                    <a:pt x="24384" y="37148"/>
                  </a:lnTo>
                  <a:lnTo>
                    <a:pt x="2953" y="0"/>
                  </a:lnTo>
                  <a:lnTo>
                    <a:pt x="0" y="0"/>
                  </a:lnTo>
                  <a:lnTo>
                    <a:pt x="22574" y="39053"/>
                  </a:lnTo>
                  <a:lnTo>
                    <a:pt x="22955" y="39719"/>
                  </a:lnTo>
                  <a:lnTo>
                    <a:pt x="365570" y="39719"/>
                  </a:lnTo>
                  <a:lnTo>
                    <a:pt x="388430" y="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4" name="Freeform: Shape 63">
              <a:extLst>
                <a:ext uri="{FF2B5EF4-FFF2-40B4-BE49-F238E27FC236}">
                  <a16:creationId xmlns:a16="http://schemas.microsoft.com/office/drawing/2014/main" id="{EE2B99CE-1B34-4F66-806B-001B9840D1E7}"/>
                </a:ext>
              </a:extLst>
            </p:cNvPr>
            <p:cNvSpPr/>
            <p:nvPr/>
          </p:nvSpPr>
          <p:spPr>
            <a:xfrm>
              <a:off x="1547113" y="1558195"/>
              <a:ext cx="676275" cy="590550"/>
            </a:xfrm>
            <a:custGeom>
              <a:avLst/>
              <a:gdLst>
                <a:gd name="connsiteX0" fmla="*/ 0 w 676275"/>
                <a:gd name="connsiteY0" fmla="*/ 296704 h 590550"/>
                <a:gd name="connsiteX1" fmla="*/ 381 w 676275"/>
                <a:gd name="connsiteY1" fmla="*/ 296037 h 590550"/>
                <a:gd name="connsiteX2" fmla="*/ 171355 w 676275"/>
                <a:gd name="connsiteY2" fmla="*/ 0 h 590550"/>
                <a:gd name="connsiteX3" fmla="*/ 513969 w 676275"/>
                <a:gd name="connsiteY3" fmla="*/ 0 h 590550"/>
                <a:gd name="connsiteX4" fmla="*/ 514350 w 676275"/>
                <a:gd name="connsiteY4" fmla="*/ 667 h 590550"/>
                <a:gd name="connsiteX5" fmla="*/ 685229 w 676275"/>
                <a:gd name="connsiteY5" fmla="*/ 296704 h 590550"/>
                <a:gd name="connsiteX6" fmla="*/ 684848 w 676275"/>
                <a:gd name="connsiteY6" fmla="*/ 297371 h 590550"/>
                <a:gd name="connsiteX7" fmla="*/ 513874 w 676275"/>
                <a:gd name="connsiteY7" fmla="*/ 593408 h 590550"/>
                <a:gd name="connsiteX8" fmla="*/ 171355 w 676275"/>
                <a:gd name="connsiteY8" fmla="*/ 593408 h 590550"/>
                <a:gd name="connsiteX9" fmla="*/ 170974 w 676275"/>
                <a:gd name="connsiteY9" fmla="*/ 592741 h 590550"/>
                <a:gd name="connsiteX10" fmla="*/ 0 w 676275"/>
                <a:gd name="connsiteY10" fmla="*/ 296704 h 590550"/>
                <a:gd name="connsiteX11" fmla="*/ 172784 w 676275"/>
                <a:gd name="connsiteY11" fmla="*/ 2572 h 590550"/>
                <a:gd name="connsiteX12" fmla="*/ 3048 w 676275"/>
                <a:gd name="connsiteY12" fmla="*/ 296704 h 590550"/>
                <a:gd name="connsiteX13" fmla="*/ 172879 w 676275"/>
                <a:gd name="connsiteY13" fmla="*/ 590836 h 590550"/>
                <a:gd name="connsiteX14" fmla="*/ 512540 w 676275"/>
                <a:gd name="connsiteY14" fmla="*/ 590836 h 590550"/>
                <a:gd name="connsiteX15" fmla="*/ 682371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355" y="0"/>
                  </a:lnTo>
                  <a:lnTo>
                    <a:pt x="513969" y="0"/>
                  </a:lnTo>
                  <a:lnTo>
                    <a:pt x="514350" y="667"/>
                  </a:lnTo>
                  <a:lnTo>
                    <a:pt x="685229" y="296704"/>
                  </a:lnTo>
                  <a:lnTo>
                    <a:pt x="684848" y="297371"/>
                  </a:lnTo>
                  <a:lnTo>
                    <a:pt x="513874" y="593408"/>
                  </a:lnTo>
                  <a:lnTo>
                    <a:pt x="171355" y="593408"/>
                  </a:lnTo>
                  <a:lnTo>
                    <a:pt x="170974" y="592741"/>
                  </a:lnTo>
                  <a:lnTo>
                    <a:pt x="0" y="296704"/>
                  </a:lnTo>
                  <a:close/>
                  <a:moveTo>
                    <a:pt x="172784" y="2572"/>
                  </a:moveTo>
                  <a:lnTo>
                    <a:pt x="3048" y="296704"/>
                  </a:lnTo>
                  <a:lnTo>
                    <a:pt x="172879" y="590836"/>
                  </a:lnTo>
                  <a:lnTo>
                    <a:pt x="512540" y="590836"/>
                  </a:lnTo>
                  <a:lnTo>
                    <a:pt x="682371"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5" name="Freeform: Shape 64">
              <a:extLst>
                <a:ext uri="{FF2B5EF4-FFF2-40B4-BE49-F238E27FC236}">
                  <a16:creationId xmlns:a16="http://schemas.microsoft.com/office/drawing/2014/main" id="{D5131F1A-2CAB-4AA8-8D3B-B907E2AAA96B}"/>
                </a:ext>
              </a:extLst>
            </p:cNvPr>
            <p:cNvSpPr/>
            <p:nvPr/>
          </p:nvSpPr>
          <p:spPr>
            <a:xfrm>
              <a:off x="1246980" y="1521047"/>
              <a:ext cx="466725" cy="333375"/>
            </a:xfrm>
            <a:custGeom>
              <a:avLst/>
              <a:gdLst>
                <a:gd name="connsiteX0" fmla="*/ 448532 w 466725"/>
                <a:gd name="connsiteY0" fmla="*/ 0 h 333375"/>
                <a:gd name="connsiteX1" fmla="*/ 470725 w 466725"/>
                <a:gd name="connsiteY1" fmla="*/ 38481 h 333375"/>
                <a:gd name="connsiteX2" fmla="*/ 300895 w 466725"/>
                <a:gd name="connsiteY2" fmla="*/ 332613 h 333375"/>
                <a:gd name="connsiteX3" fmla="*/ 0 w 466725"/>
                <a:gd name="connsiteY3" fmla="*/ 332613 h 333375"/>
                <a:gd name="connsiteX4" fmla="*/ 0 w 466725"/>
                <a:gd name="connsiteY4" fmla="*/ 335090 h 333375"/>
                <a:gd name="connsiteX5" fmla="*/ 302419 w 466725"/>
                <a:gd name="connsiteY5" fmla="*/ 335090 h 333375"/>
                <a:gd name="connsiteX6" fmla="*/ 473297 w 466725"/>
                <a:gd name="connsiteY6" fmla="*/ 39053 h 333375"/>
                <a:gd name="connsiteX7" fmla="*/ 473678 w 466725"/>
                <a:gd name="connsiteY7" fmla="*/ 38481 h 333375"/>
                <a:gd name="connsiteX8" fmla="*/ 451485 w 466725"/>
                <a:gd name="connsiteY8"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725" h="333375">
                  <a:moveTo>
                    <a:pt x="448532" y="0"/>
                  </a:moveTo>
                  <a:lnTo>
                    <a:pt x="470725" y="38481"/>
                  </a:lnTo>
                  <a:lnTo>
                    <a:pt x="300895" y="332613"/>
                  </a:lnTo>
                  <a:lnTo>
                    <a:pt x="0" y="332613"/>
                  </a:lnTo>
                  <a:lnTo>
                    <a:pt x="0" y="335090"/>
                  </a:lnTo>
                  <a:lnTo>
                    <a:pt x="302419" y="335090"/>
                  </a:lnTo>
                  <a:lnTo>
                    <a:pt x="473297" y="39053"/>
                  </a:lnTo>
                  <a:lnTo>
                    <a:pt x="473678" y="38481"/>
                  </a:lnTo>
                  <a:lnTo>
                    <a:pt x="451485" y="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6" name="Freeform: Shape 65">
              <a:extLst>
                <a:ext uri="{FF2B5EF4-FFF2-40B4-BE49-F238E27FC236}">
                  <a16:creationId xmlns:a16="http://schemas.microsoft.com/office/drawing/2014/main" id="{08C361E2-D818-4414-9D9F-D062395248F8}"/>
                </a:ext>
              </a:extLst>
            </p:cNvPr>
            <p:cNvSpPr/>
            <p:nvPr/>
          </p:nvSpPr>
          <p:spPr>
            <a:xfrm>
              <a:off x="1246980" y="1853660"/>
              <a:ext cx="466725" cy="590550"/>
            </a:xfrm>
            <a:custGeom>
              <a:avLst/>
              <a:gdLst>
                <a:gd name="connsiteX0" fmla="*/ 302800 w 466725"/>
                <a:gd name="connsiteY0" fmla="*/ 572 h 590550"/>
                <a:gd name="connsiteX1" fmla="*/ 302419 w 466725"/>
                <a:gd name="connsiteY1" fmla="*/ 0 h 590550"/>
                <a:gd name="connsiteX2" fmla="*/ 0 w 466725"/>
                <a:gd name="connsiteY2" fmla="*/ 0 h 590550"/>
                <a:gd name="connsiteX3" fmla="*/ 0 w 466725"/>
                <a:gd name="connsiteY3" fmla="*/ 2477 h 590550"/>
                <a:gd name="connsiteX4" fmla="*/ 300895 w 466725"/>
                <a:gd name="connsiteY4" fmla="*/ 2477 h 590550"/>
                <a:gd name="connsiteX5" fmla="*/ 470725 w 466725"/>
                <a:gd name="connsiteY5" fmla="*/ 296609 h 590550"/>
                <a:gd name="connsiteX6" fmla="*/ 300895 w 466725"/>
                <a:gd name="connsiteY6" fmla="*/ 590741 h 590550"/>
                <a:gd name="connsiteX7" fmla="*/ 0 w 466725"/>
                <a:gd name="connsiteY7" fmla="*/ 590741 h 590550"/>
                <a:gd name="connsiteX8" fmla="*/ 0 w 466725"/>
                <a:gd name="connsiteY8" fmla="*/ 593312 h 590550"/>
                <a:gd name="connsiteX9" fmla="*/ 302419 w 466725"/>
                <a:gd name="connsiteY9" fmla="*/ 593312 h 590550"/>
                <a:gd name="connsiteX10" fmla="*/ 473297 w 466725"/>
                <a:gd name="connsiteY10" fmla="*/ 297275 h 590550"/>
                <a:gd name="connsiteX11" fmla="*/ 473678 w 466725"/>
                <a:gd name="connsiteY11" fmla="*/ 296609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725" h="590550">
                  <a:moveTo>
                    <a:pt x="302800" y="572"/>
                  </a:moveTo>
                  <a:lnTo>
                    <a:pt x="302419" y="0"/>
                  </a:lnTo>
                  <a:lnTo>
                    <a:pt x="0" y="0"/>
                  </a:lnTo>
                  <a:lnTo>
                    <a:pt x="0" y="2477"/>
                  </a:lnTo>
                  <a:lnTo>
                    <a:pt x="300895" y="2477"/>
                  </a:lnTo>
                  <a:lnTo>
                    <a:pt x="470725" y="296609"/>
                  </a:lnTo>
                  <a:lnTo>
                    <a:pt x="300895" y="590741"/>
                  </a:lnTo>
                  <a:lnTo>
                    <a:pt x="0" y="590741"/>
                  </a:lnTo>
                  <a:lnTo>
                    <a:pt x="0" y="593312"/>
                  </a:lnTo>
                  <a:lnTo>
                    <a:pt x="302419" y="593312"/>
                  </a:lnTo>
                  <a:lnTo>
                    <a:pt x="473297" y="297275"/>
                  </a:lnTo>
                  <a:lnTo>
                    <a:pt x="473678" y="296609"/>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7" name="Freeform: Shape 66">
              <a:extLst>
                <a:ext uri="{FF2B5EF4-FFF2-40B4-BE49-F238E27FC236}">
                  <a16:creationId xmlns:a16="http://schemas.microsoft.com/office/drawing/2014/main" id="{A9F71242-D1CC-4D86-B5A2-945693BDAEAD}"/>
                </a:ext>
              </a:extLst>
            </p:cNvPr>
            <p:cNvSpPr/>
            <p:nvPr/>
          </p:nvSpPr>
          <p:spPr>
            <a:xfrm>
              <a:off x="1246980" y="1521047"/>
              <a:ext cx="819150" cy="390525"/>
            </a:xfrm>
            <a:custGeom>
              <a:avLst/>
              <a:gdLst>
                <a:gd name="connsiteX0" fmla="*/ 807434 w 819150"/>
                <a:gd name="connsiteY0" fmla="*/ 0 h 390525"/>
                <a:gd name="connsiteX1" fmla="*/ 812102 w 819150"/>
                <a:gd name="connsiteY1" fmla="*/ 8001 h 390525"/>
                <a:gd name="connsiteX2" fmla="*/ 593598 w 819150"/>
                <a:gd name="connsiteY2" fmla="*/ 386239 h 390525"/>
                <a:gd name="connsiteX3" fmla="*/ 156781 w 819150"/>
                <a:gd name="connsiteY3" fmla="*/ 386239 h 390525"/>
                <a:gd name="connsiteX4" fmla="*/ 0 w 819150"/>
                <a:gd name="connsiteY4" fmla="*/ 114681 h 390525"/>
                <a:gd name="connsiteX5" fmla="*/ 0 w 819150"/>
                <a:gd name="connsiteY5" fmla="*/ 141446 h 390525"/>
                <a:gd name="connsiteX6" fmla="*/ 149066 w 819150"/>
                <a:gd name="connsiteY6" fmla="*/ 399669 h 390525"/>
                <a:gd name="connsiteX7" fmla="*/ 601409 w 819150"/>
                <a:gd name="connsiteY7" fmla="*/ 399669 h 390525"/>
                <a:gd name="connsiteX8" fmla="*/ 827532 w 819150"/>
                <a:gd name="connsiteY8" fmla="*/ 8001 h 390525"/>
                <a:gd name="connsiteX9" fmla="*/ 822865 w 819150"/>
                <a:gd name="connsiteY9"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150" h="390525">
                  <a:moveTo>
                    <a:pt x="807434" y="0"/>
                  </a:moveTo>
                  <a:lnTo>
                    <a:pt x="812102" y="8001"/>
                  </a:lnTo>
                  <a:lnTo>
                    <a:pt x="593598" y="386239"/>
                  </a:lnTo>
                  <a:lnTo>
                    <a:pt x="156781" y="386239"/>
                  </a:lnTo>
                  <a:lnTo>
                    <a:pt x="0" y="114681"/>
                  </a:lnTo>
                  <a:lnTo>
                    <a:pt x="0" y="141446"/>
                  </a:lnTo>
                  <a:lnTo>
                    <a:pt x="149066" y="399669"/>
                  </a:lnTo>
                  <a:lnTo>
                    <a:pt x="601409" y="399669"/>
                  </a:lnTo>
                  <a:lnTo>
                    <a:pt x="827532" y="8001"/>
                  </a:lnTo>
                  <a:lnTo>
                    <a:pt x="822865" y="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8" name="Freeform: Shape 67">
              <a:extLst>
                <a:ext uri="{FF2B5EF4-FFF2-40B4-BE49-F238E27FC236}">
                  <a16:creationId xmlns:a16="http://schemas.microsoft.com/office/drawing/2014/main" id="{2E5D2FEB-D72B-4311-BEB7-2E782B782BFC}"/>
                </a:ext>
              </a:extLst>
            </p:cNvPr>
            <p:cNvSpPr/>
            <p:nvPr/>
          </p:nvSpPr>
          <p:spPr>
            <a:xfrm>
              <a:off x="1246980" y="1907286"/>
              <a:ext cx="819150" cy="781050"/>
            </a:xfrm>
            <a:custGeom>
              <a:avLst/>
              <a:gdLst>
                <a:gd name="connsiteX0" fmla="*/ 601409 w 819150"/>
                <a:gd name="connsiteY0" fmla="*/ 0 h 781050"/>
                <a:gd name="connsiteX1" fmla="*/ 149066 w 819150"/>
                <a:gd name="connsiteY1" fmla="*/ 0 h 781050"/>
                <a:gd name="connsiteX2" fmla="*/ 0 w 819150"/>
                <a:gd name="connsiteY2" fmla="*/ 258223 h 781050"/>
                <a:gd name="connsiteX3" fmla="*/ 0 w 819150"/>
                <a:gd name="connsiteY3" fmla="*/ 284988 h 781050"/>
                <a:gd name="connsiteX4" fmla="*/ 156781 w 819150"/>
                <a:gd name="connsiteY4" fmla="*/ 13430 h 781050"/>
                <a:gd name="connsiteX5" fmla="*/ 593598 w 819150"/>
                <a:gd name="connsiteY5" fmla="*/ 13430 h 781050"/>
                <a:gd name="connsiteX6" fmla="*/ 812102 w 819150"/>
                <a:gd name="connsiteY6" fmla="*/ 391763 h 781050"/>
                <a:gd name="connsiteX7" fmla="*/ 593598 w 819150"/>
                <a:gd name="connsiteY7" fmla="*/ 770001 h 781050"/>
                <a:gd name="connsiteX8" fmla="*/ 156781 w 819150"/>
                <a:gd name="connsiteY8" fmla="*/ 770001 h 781050"/>
                <a:gd name="connsiteX9" fmla="*/ 0 w 819150"/>
                <a:gd name="connsiteY9" fmla="*/ 498443 h 781050"/>
                <a:gd name="connsiteX10" fmla="*/ 0 w 819150"/>
                <a:gd name="connsiteY10" fmla="*/ 525209 h 781050"/>
                <a:gd name="connsiteX11" fmla="*/ 149066 w 819150"/>
                <a:gd name="connsiteY11" fmla="*/ 783431 h 781050"/>
                <a:gd name="connsiteX12" fmla="*/ 601409 w 819150"/>
                <a:gd name="connsiteY12" fmla="*/ 783431 h 781050"/>
                <a:gd name="connsiteX13" fmla="*/ 827532 w 819150"/>
                <a:gd name="connsiteY13" fmla="*/ 391763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9150" h="781050">
                  <a:moveTo>
                    <a:pt x="601409" y="0"/>
                  </a:moveTo>
                  <a:lnTo>
                    <a:pt x="149066" y="0"/>
                  </a:lnTo>
                  <a:lnTo>
                    <a:pt x="0" y="258223"/>
                  </a:lnTo>
                  <a:lnTo>
                    <a:pt x="0" y="284988"/>
                  </a:lnTo>
                  <a:lnTo>
                    <a:pt x="156781" y="13430"/>
                  </a:lnTo>
                  <a:lnTo>
                    <a:pt x="593598" y="13430"/>
                  </a:lnTo>
                  <a:lnTo>
                    <a:pt x="812102" y="391763"/>
                  </a:lnTo>
                  <a:lnTo>
                    <a:pt x="593598" y="770001"/>
                  </a:lnTo>
                  <a:lnTo>
                    <a:pt x="156781" y="770001"/>
                  </a:lnTo>
                  <a:lnTo>
                    <a:pt x="0" y="498443"/>
                  </a:lnTo>
                  <a:lnTo>
                    <a:pt x="0" y="525209"/>
                  </a:lnTo>
                  <a:lnTo>
                    <a:pt x="149066" y="783431"/>
                  </a:lnTo>
                  <a:lnTo>
                    <a:pt x="601409" y="783431"/>
                  </a:lnTo>
                  <a:lnTo>
                    <a:pt x="827532" y="391763"/>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69" name="Freeform: Shape 68">
              <a:extLst>
                <a:ext uri="{FF2B5EF4-FFF2-40B4-BE49-F238E27FC236}">
                  <a16:creationId xmlns:a16="http://schemas.microsoft.com/office/drawing/2014/main" id="{46AA338D-10A9-4867-B3E0-FDB702971F2E}"/>
                </a:ext>
              </a:extLst>
            </p:cNvPr>
            <p:cNvSpPr/>
            <p:nvPr/>
          </p:nvSpPr>
          <p:spPr>
            <a:xfrm>
              <a:off x="1246980" y="1635728"/>
              <a:ext cx="152400" cy="552450"/>
            </a:xfrm>
            <a:custGeom>
              <a:avLst/>
              <a:gdLst>
                <a:gd name="connsiteX0" fmla="*/ 0 w 152400"/>
                <a:gd name="connsiteY0" fmla="*/ 0 h 552450"/>
                <a:gd name="connsiteX1" fmla="*/ 0 w 152400"/>
                <a:gd name="connsiteY1" fmla="*/ 26765 h 552450"/>
                <a:gd name="connsiteX2" fmla="*/ 145256 w 152400"/>
                <a:gd name="connsiteY2" fmla="*/ 278321 h 552450"/>
                <a:gd name="connsiteX3" fmla="*/ 0 w 152400"/>
                <a:gd name="connsiteY3" fmla="*/ 529781 h 552450"/>
                <a:gd name="connsiteX4" fmla="*/ 0 w 152400"/>
                <a:gd name="connsiteY4" fmla="*/ 556546 h 552450"/>
                <a:gd name="connsiteX5" fmla="*/ 160687 w 152400"/>
                <a:gd name="connsiteY5" fmla="*/ 278321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552450">
                  <a:moveTo>
                    <a:pt x="0" y="0"/>
                  </a:moveTo>
                  <a:lnTo>
                    <a:pt x="0" y="26765"/>
                  </a:lnTo>
                  <a:lnTo>
                    <a:pt x="145256" y="278321"/>
                  </a:lnTo>
                  <a:lnTo>
                    <a:pt x="0" y="529781"/>
                  </a:lnTo>
                  <a:lnTo>
                    <a:pt x="0" y="556546"/>
                  </a:lnTo>
                  <a:lnTo>
                    <a:pt x="160687" y="278321"/>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0" name="Freeform: Shape 69">
              <a:extLst>
                <a:ext uri="{FF2B5EF4-FFF2-40B4-BE49-F238E27FC236}">
                  <a16:creationId xmlns:a16="http://schemas.microsoft.com/office/drawing/2014/main" id="{C545C2AA-ED3E-4170-B33D-953FD5099EA3}"/>
                </a:ext>
              </a:extLst>
            </p:cNvPr>
            <p:cNvSpPr/>
            <p:nvPr/>
          </p:nvSpPr>
          <p:spPr>
            <a:xfrm>
              <a:off x="3054158" y="1530096"/>
              <a:ext cx="57150" cy="57150"/>
            </a:xfrm>
            <a:custGeom>
              <a:avLst/>
              <a:gdLst>
                <a:gd name="connsiteX0" fmla="*/ 0 w 57150"/>
                <a:gd name="connsiteY0" fmla="*/ 29432 h 57150"/>
                <a:gd name="connsiteX1" fmla="*/ 29432 w 57150"/>
                <a:gd name="connsiteY1" fmla="*/ 58865 h 57150"/>
                <a:gd name="connsiteX2" fmla="*/ 58865 w 57150"/>
                <a:gd name="connsiteY2" fmla="*/ 29432 h 57150"/>
                <a:gd name="connsiteX3" fmla="*/ 29432 w 57150"/>
                <a:gd name="connsiteY3" fmla="*/ 0 h 57150"/>
                <a:gd name="connsiteX4" fmla="*/ 0 w 57150"/>
                <a:gd name="connsiteY4" fmla="*/ 2943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29432"/>
                  </a:moveTo>
                  <a:cubicBezTo>
                    <a:pt x="0" y="45720"/>
                    <a:pt x="13145" y="58865"/>
                    <a:pt x="29432" y="58865"/>
                  </a:cubicBezTo>
                  <a:cubicBezTo>
                    <a:pt x="45720" y="58865"/>
                    <a:pt x="58865" y="45720"/>
                    <a:pt x="58865" y="29432"/>
                  </a:cubicBezTo>
                  <a:cubicBezTo>
                    <a:pt x="58865" y="13144"/>
                    <a:pt x="45720" y="0"/>
                    <a:pt x="29432" y="0"/>
                  </a:cubicBezTo>
                  <a:cubicBezTo>
                    <a:pt x="13240" y="0"/>
                    <a:pt x="0" y="13144"/>
                    <a:pt x="0" y="2943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1" name="Freeform: Shape 70">
              <a:extLst>
                <a:ext uri="{FF2B5EF4-FFF2-40B4-BE49-F238E27FC236}">
                  <a16:creationId xmlns:a16="http://schemas.microsoft.com/office/drawing/2014/main" id="{164C8CA1-42D0-452F-B3CD-4ED525F4EFDD}"/>
                </a:ext>
              </a:extLst>
            </p:cNvPr>
            <p:cNvSpPr/>
            <p:nvPr/>
          </p:nvSpPr>
          <p:spPr>
            <a:xfrm>
              <a:off x="3225799" y="1826514"/>
              <a:ext cx="47625" cy="47625"/>
            </a:xfrm>
            <a:custGeom>
              <a:avLst/>
              <a:gdLst>
                <a:gd name="connsiteX0" fmla="*/ 28384 w 47625"/>
                <a:gd name="connsiteY0" fmla="*/ 56769 h 47625"/>
                <a:gd name="connsiteX1" fmla="*/ 56769 w 47625"/>
                <a:gd name="connsiteY1" fmla="*/ 28384 h 47625"/>
                <a:gd name="connsiteX2" fmla="*/ 28384 w 47625"/>
                <a:gd name="connsiteY2" fmla="*/ 0 h 47625"/>
                <a:gd name="connsiteX3" fmla="*/ 0 w 47625"/>
                <a:gd name="connsiteY3" fmla="*/ 28384 h 47625"/>
                <a:gd name="connsiteX4" fmla="*/ 28384 w 47625"/>
                <a:gd name="connsiteY4" fmla="*/ 5676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8384" y="56769"/>
                  </a:moveTo>
                  <a:cubicBezTo>
                    <a:pt x="44101" y="56769"/>
                    <a:pt x="56769" y="44005"/>
                    <a:pt x="56769" y="28384"/>
                  </a:cubicBezTo>
                  <a:cubicBezTo>
                    <a:pt x="56769" y="12668"/>
                    <a:pt x="44005" y="0"/>
                    <a:pt x="28384" y="0"/>
                  </a:cubicBezTo>
                  <a:cubicBezTo>
                    <a:pt x="12668" y="0"/>
                    <a:pt x="0" y="12764"/>
                    <a:pt x="0" y="28384"/>
                  </a:cubicBezTo>
                  <a:cubicBezTo>
                    <a:pt x="0" y="44101"/>
                    <a:pt x="12668" y="56769"/>
                    <a:pt x="28384" y="5676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2" name="Freeform: Shape 71">
              <a:extLst>
                <a:ext uri="{FF2B5EF4-FFF2-40B4-BE49-F238E27FC236}">
                  <a16:creationId xmlns:a16="http://schemas.microsoft.com/office/drawing/2014/main" id="{140DC28A-E22E-43BF-9316-6AA5FE8439AC}"/>
                </a:ext>
              </a:extLst>
            </p:cNvPr>
            <p:cNvSpPr/>
            <p:nvPr/>
          </p:nvSpPr>
          <p:spPr>
            <a:xfrm>
              <a:off x="3050348" y="2117026"/>
              <a:ext cx="57150" cy="57150"/>
            </a:xfrm>
            <a:custGeom>
              <a:avLst/>
              <a:gdLst>
                <a:gd name="connsiteX0" fmla="*/ 0 w 57150"/>
                <a:gd name="connsiteY0" fmla="*/ 33242 h 57150"/>
                <a:gd name="connsiteX1" fmla="*/ 33242 w 57150"/>
                <a:gd name="connsiteY1" fmla="*/ 66485 h 57150"/>
                <a:gd name="connsiteX2" fmla="*/ 66484 w 57150"/>
                <a:gd name="connsiteY2" fmla="*/ 33242 h 57150"/>
                <a:gd name="connsiteX3" fmla="*/ 33242 w 57150"/>
                <a:gd name="connsiteY3" fmla="*/ 0 h 57150"/>
                <a:gd name="connsiteX4" fmla="*/ 0 w 57150"/>
                <a:gd name="connsiteY4" fmla="*/ 3324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3242"/>
                  </a:moveTo>
                  <a:cubicBezTo>
                    <a:pt x="0" y="51625"/>
                    <a:pt x="14859" y="66485"/>
                    <a:pt x="33242" y="66485"/>
                  </a:cubicBezTo>
                  <a:cubicBezTo>
                    <a:pt x="51625" y="66485"/>
                    <a:pt x="66484" y="51625"/>
                    <a:pt x="66484" y="33242"/>
                  </a:cubicBezTo>
                  <a:cubicBezTo>
                    <a:pt x="66484" y="14859"/>
                    <a:pt x="51625" y="0"/>
                    <a:pt x="33242" y="0"/>
                  </a:cubicBezTo>
                  <a:cubicBezTo>
                    <a:pt x="14859" y="0"/>
                    <a:pt x="0" y="14954"/>
                    <a:pt x="0" y="3324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3" name="Freeform: Shape 72">
              <a:extLst>
                <a:ext uri="{FF2B5EF4-FFF2-40B4-BE49-F238E27FC236}">
                  <a16:creationId xmlns:a16="http://schemas.microsoft.com/office/drawing/2014/main" id="{5AF25336-E80A-4640-A279-9ED9FF92C9BB}"/>
                </a:ext>
              </a:extLst>
            </p:cNvPr>
            <p:cNvSpPr/>
            <p:nvPr/>
          </p:nvSpPr>
          <p:spPr>
            <a:xfrm>
              <a:off x="2706115" y="2113883"/>
              <a:ext cx="66675" cy="66675"/>
            </a:xfrm>
            <a:custGeom>
              <a:avLst/>
              <a:gdLst>
                <a:gd name="connsiteX0" fmla="*/ 0 w 66675"/>
                <a:gd name="connsiteY0" fmla="*/ 36385 h 66675"/>
                <a:gd name="connsiteX1" fmla="*/ 36385 w 66675"/>
                <a:gd name="connsiteY1" fmla="*/ 72771 h 66675"/>
                <a:gd name="connsiteX2" fmla="*/ 72771 w 66675"/>
                <a:gd name="connsiteY2" fmla="*/ 36385 h 66675"/>
                <a:gd name="connsiteX3" fmla="*/ 36385 w 66675"/>
                <a:gd name="connsiteY3" fmla="*/ 0 h 66675"/>
                <a:gd name="connsiteX4" fmla="*/ 0 w 66675"/>
                <a:gd name="connsiteY4" fmla="*/ 3638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0" y="36385"/>
                  </a:moveTo>
                  <a:cubicBezTo>
                    <a:pt x="0" y="56483"/>
                    <a:pt x="16288" y="72771"/>
                    <a:pt x="36385" y="72771"/>
                  </a:cubicBezTo>
                  <a:cubicBezTo>
                    <a:pt x="56483" y="72771"/>
                    <a:pt x="72771" y="56483"/>
                    <a:pt x="72771" y="36385"/>
                  </a:cubicBezTo>
                  <a:cubicBezTo>
                    <a:pt x="72771" y="16288"/>
                    <a:pt x="56483" y="0"/>
                    <a:pt x="36385" y="0"/>
                  </a:cubicBezTo>
                  <a:cubicBezTo>
                    <a:pt x="16288" y="95"/>
                    <a:pt x="0" y="16383"/>
                    <a:pt x="0" y="3638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4" name="Freeform: Shape 73">
              <a:extLst>
                <a:ext uri="{FF2B5EF4-FFF2-40B4-BE49-F238E27FC236}">
                  <a16:creationId xmlns:a16="http://schemas.microsoft.com/office/drawing/2014/main" id="{D9F04AFE-4672-49AF-8A12-508E831FA33D}"/>
                </a:ext>
              </a:extLst>
            </p:cNvPr>
            <p:cNvSpPr/>
            <p:nvPr/>
          </p:nvSpPr>
          <p:spPr>
            <a:xfrm>
              <a:off x="2704210" y="1521237"/>
              <a:ext cx="76200" cy="76200"/>
            </a:xfrm>
            <a:custGeom>
              <a:avLst/>
              <a:gdLst>
                <a:gd name="connsiteX0" fmla="*/ 76581 w 76200"/>
                <a:gd name="connsiteY0" fmla="*/ 38291 h 76200"/>
                <a:gd name="connsiteX1" fmla="*/ 38290 w 76200"/>
                <a:gd name="connsiteY1" fmla="*/ 0 h 76200"/>
                <a:gd name="connsiteX2" fmla="*/ 0 w 76200"/>
                <a:gd name="connsiteY2" fmla="*/ 38291 h 76200"/>
                <a:gd name="connsiteX3" fmla="*/ 38290 w 76200"/>
                <a:gd name="connsiteY3" fmla="*/ 76581 h 76200"/>
                <a:gd name="connsiteX4" fmla="*/ 76581 w 76200"/>
                <a:gd name="connsiteY4" fmla="*/ 3829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6581" y="38291"/>
                  </a:moveTo>
                  <a:cubicBezTo>
                    <a:pt x="76581" y="17145"/>
                    <a:pt x="59436" y="0"/>
                    <a:pt x="38290" y="0"/>
                  </a:cubicBezTo>
                  <a:cubicBezTo>
                    <a:pt x="17145" y="0"/>
                    <a:pt x="0" y="17145"/>
                    <a:pt x="0" y="38291"/>
                  </a:cubicBezTo>
                  <a:cubicBezTo>
                    <a:pt x="0" y="59436"/>
                    <a:pt x="17145" y="76581"/>
                    <a:pt x="38290" y="76581"/>
                  </a:cubicBezTo>
                  <a:cubicBezTo>
                    <a:pt x="59436" y="76486"/>
                    <a:pt x="76581" y="59436"/>
                    <a:pt x="76581" y="3829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5" name="Freeform: Shape 74">
              <a:extLst>
                <a:ext uri="{FF2B5EF4-FFF2-40B4-BE49-F238E27FC236}">
                  <a16:creationId xmlns:a16="http://schemas.microsoft.com/office/drawing/2014/main" id="{E8F75326-CECF-4DD0-AAF8-2D99B5388A78}"/>
                </a:ext>
              </a:extLst>
            </p:cNvPr>
            <p:cNvSpPr/>
            <p:nvPr/>
          </p:nvSpPr>
          <p:spPr>
            <a:xfrm>
              <a:off x="2557810" y="1840801"/>
              <a:ext cx="19050" cy="19050"/>
            </a:xfrm>
            <a:custGeom>
              <a:avLst/>
              <a:gdLst>
                <a:gd name="connsiteX0" fmla="*/ 14097 w 19050"/>
                <a:gd name="connsiteY0" fmla="*/ 0 h 19050"/>
                <a:gd name="connsiteX1" fmla="*/ 0 w 19050"/>
                <a:gd name="connsiteY1" fmla="*/ 14097 h 19050"/>
                <a:gd name="connsiteX2" fmla="*/ 14097 w 19050"/>
                <a:gd name="connsiteY2" fmla="*/ 28194 h 19050"/>
                <a:gd name="connsiteX3" fmla="*/ 28194 w 19050"/>
                <a:gd name="connsiteY3" fmla="*/ 14097 h 19050"/>
                <a:gd name="connsiteX4" fmla="*/ 14097 w 190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4097" y="0"/>
                  </a:moveTo>
                  <a:cubicBezTo>
                    <a:pt x="6287" y="0"/>
                    <a:pt x="0" y="6286"/>
                    <a:pt x="0" y="14097"/>
                  </a:cubicBezTo>
                  <a:cubicBezTo>
                    <a:pt x="0" y="21907"/>
                    <a:pt x="6287" y="28194"/>
                    <a:pt x="14097" y="28194"/>
                  </a:cubicBezTo>
                  <a:cubicBezTo>
                    <a:pt x="21908" y="28194"/>
                    <a:pt x="28194" y="21907"/>
                    <a:pt x="28194" y="14097"/>
                  </a:cubicBezTo>
                  <a:cubicBezTo>
                    <a:pt x="28194" y="6286"/>
                    <a:pt x="21908" y="0"/>
                    <a:pt x="14097" y="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6" name="Freeform: Shape 75">
              <a:extLst>
                <a:ext uri="{FF2B5EF4-FFF2-40B4-BE49-F238E27FC236}">
                  <a16:creationId xmlns:a16="http://schemas.microsoft.com/office/drawing/2014/main" id="{88FEAEFB-B737-4936-8DA4-69E6ACF551F5}"/>
                </a:ext>
              </a:extLst>
            </p:cNvPr>
            <p:cNvSpPr/>
            <p:nvPr/>
          </p:nvSpPr>
          <p:spPr>
            <a:xfrm>
              <a:off x="2032030" y="2122074"/>
              <a:ext cx="47625" cy="47625"/>
            </a:xfrm>
            <a:custGeom>
              <a:avLst/>
              <a:gdLst>
                <a:gd name="connsiteX0" fmla="*/ 0 w 47625"/>
                <a:gd name="connsiteY0" fmla="*/ 28194 h 47625"/>
                <a:gd name="connsiteX1" fmla="*/ 28194 w 47625"/>
                <a:gd name="connsiteY1" fmla="*/ 56388 h 47625"/>
                <a:gd name="connsiteX2" fmla="*/ 56388 w 47625"/>
                <a:gd name="connsiteY2" fmla="*/ 28194 h 47625"/>
                <a:gd name="connsiteX3" fmla="*/ 28194 w 47625"/>
                <a:gd name="connsiteY3" fmla="*/ 0 h 47625"/>
                <a:gd name="connsiteX4" fmla="*/ 0 w 47625"/>
                <a:gd name="connsiteY4" fmla="*/ 2819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8194"/>
                  </a:moveTo>
                  <a:cubicBezTo>
                    <a:pt x="0" y="43815"/>
                    <a:pt x="12668" y="56388"/>
                    <a:pt x="28194" y="56388"/>
                  </a:cubicBezTo>
                  <a:cubicBezTo>
                    <a:pt x="43720" y="56388"/>
                    <a:pt x="56388" y="43720"/>
                    <a:pt x="56388" y="28194"/>
                  </a:cubicBezTo>
                  <a:cubicBezTo>
                    <a:pt x="56388" y="12573"/>
                    <a:pt x="43720" y="0"/>
                    <a:pt x="28194" y="0"/>
                  </a:cubicBezTo>
                  <a:cubicBezTo>
                    <a:pt x="12668" y="0"/>
                    <a:pt x="0" y="12668"/>
                    <a:pt x="0" y="2819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7" name="Freeform: Shape 76">
              <a:extLst>
                <a:ext uri="{FF2B5EF4-FFF2-40B4-BE49-F238E27FC236}">
                  <a16:creationId xmlns:a16="http://schemas.microsoft.com/office/drawing/2014/main" id="{CD78E509-C563-42E1-8DB0-C71AD0C29D81}"/>
                </a:ext>
              </a:extLst>
            </p:cNvPr>
            <p:cNvSpPr/>
            <p:nvPr/>
          </p:nvSpPr>
          <p:spPr>
            <a:xfrm>
              <a:off x="2187669" y="1811750"/>
              <a:ext cx="85725" cy="85725"/>
            </a:xfrm>
            <a:custGeom>
              <a:avLst/>
              <a:gdLst>
                <a:gd name="connsiteX0" fmla="*/ 86296 w 85725"/>
                <a:gd name="connsiteY0" fmla="*/ 43148 h 85725"/>
                <a:gd name="connsiteX1" fmla="*/ 43148 w 85725"/>
                <a:gd name="connsiteY1" fmla="*/ 0 h 85725"/>
                <a:gd name="connsiteX2" fmla="*/ 0 w 85725"/>
                <a:gd name="connsiteY2" fmla="*/ 43148 h 85725"/>
                <a:gd name="connsiteX3" fmla="*/ 43148 w 85725"/>
                <a:gd name="connsiteY3" fmla="*/ 86297 h 85725"/>
                <a:gd name="connsiteX4" fmla="*/ 86296 w 85725"/>
                <a:gd name="connsiteY4" fmla="*/ 4314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6296" y="43148"/>
                  </a:moveTo>
                  <a:cubicBezTo>
                    <a:pt x="86296" y="19336"/>
                    <a:pt x="66961" y="0"/>
                    <a:pt x="43148" y="0"/>
                  </a:cubicBezTo>
                  <a:cubicBezTo>
                    <a:pt x="19336" y="0"/>
                    <a:pt x="0" y="19336"/>
                    <a:pt x="0" y="43148"/>
                  </a:cubicBezTo>
                  <a:cubicBezTo>
                    <a:pt x="0" y="66961"/>
                    <a:pt x="19336" y="86297"/>
                    <a:pt x="43148" y="86297"/>
                  </a:cubicBezTo>
                  <a:cubicBezTo>
                    <a:pt x="67056" y="86297"/>
                    <a:pt x="86296" y="66961"/>
                    <a:pt x="86296" y="43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8" name="Freeform: Shape 77">
              <a:extLst>
                <a:ext uri="{FF2B5EF4-FFF2-40B4-BE49-F238E27FC236}">
                  <a16:creationId xmlns:a16="http://schemas.microsoft.com/office/drawing/2014/main" id="{B1D54E0C-1598-4E62-B473-904DD124F6A5}"/>
                </a:ext>
              </a:extLst>
            </p:cNvPr>
            <p:cNvSpPr/>
            <p:nvPr/>
          </p:nvSpPr>
          <p:spPr>
            <a:xfrm>
              <a:off x="2023363" y="1522571"/>
              <a:ext cx="66675" cy="66675"/>
            </a:xfrm>
            <a:custGeom>
              <a:avLst/>
              <a:gdLst>
                <a:gd name="connsiteX0" fmla="*/ 36957 w 66675"/>
                <a:gd name="connsiteY0" fmla="*/ 73914 h 66675"/>
                <a:gd name="connsiteX1" fmla="*/ 73914 w 66675"/>
                <a:gd name="connsiteY1" fmla="*/ 36957 h 66675"/>
                <a:gd name="connsiteX2" fmla="*/ 36957 w 66675"/>
                <a:gd name="connsiteY2" fmla="*/ 0 h 66675"/>
                <a:gd name="connsiteX3" fmla="*/ 0 w 66675"/>
                <a:gd name="connsiteY3" fmla="*/ 36957 h 66675"/>
                <a:gd name="connsiteX4" fmla="*/ 36957 w 66675"/>
                <a:gd name="connsiteY4" fmla="*/ 7391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6957" y="73914"/>
                  </a:moveTo>
                  <a:cubicBezTo>
                    <a:pt x="57340" y="73914"/>
                    <a:pt x="73914" y="57341"/>
                    <a:pt x="73914" y="36957"/>
                  </a:cubicBezTo>
                  <a:cubicBezTo>
                    <a:pt x="73914" y="16574"/>
                    <a:pt x="57340" y="0"/>
                    <a:pt x="36957" y="0"/>
                  </a:cubicBezTo>
                  <a:cubicBezTo>
                    <a:pt x="16573" y="0"/>
                    <a:pt x="0" y="16574"/>
                    <a:pt x="0" y="36957"/>
                  </a:cubicBezTo>
                  <a:cubicBezTo>
                    <a:pt x="0" y="57341"/>
                    <a:pt x="16478" y="73914"/>
                    <a:pt x="36957" y="7391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79" name="Freeform: Shape 78">
              <a:extLst>
                <a:ext uri="{FF2B5EF4-FFF2-40B4-BE49-F238E27FC236}">
                  <a16:creationId xmlns:a16="http://schemas.microsoft.com/office/drawing/2014/main" id="{F8F47F5C-F6ED-4931-B87A-CE91801BF163}"/>
                </a:ext>
              </a:extLst>
            </p:cNvPr>
            <p:cNvSpPr/>
            <p:nvPr/>
          </p:nvSpPr>
          <p:spPr>
            <a:xfrm>
              <a:off x="1519586" y="1825847"/>
              <a:ext cx="57150" cy="57150"/>
            </a:xfrm>
            <a:custGeom>
              <a:avLst/>
              <a:gdLst>
                <a:gd name="connsiteX0" fmla="*/ 0 w 57150"/>
                <a:gd name="connsiteY0" fmla="*/ 29051 h 57150"/>
                <a:gd name="connsiteX1" fmla="*/ 29051 w 57150"/>
                <a:gd name="connsiteY1" fmla="*/ 58102 h 57150"/>
                <a:gd name="connsiteX2" fmla="*/ 58103 w 57150"/>
                <a:gd name="connsiteY2" fmla="*/ 29051 h 57150"/>
                <a:gd name="connsiteX3" fmla="*/ 29051 w 57150"/>
                <a:gd name="connsiteY3" fmla="*/ 0 h 57150"/>
                <a:gd name="connsiteX4" fmla="*/ 0 w 57150"/>
                <a:gd name="connsiteY4" fmla="*/ 29051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29051"/>
                  </a:moveTo>
                  <a:cubicBezTo>
                    <a:pt x="0" y="45053"/>
                    <a:pt x="13049" y="58102"/>
                    <a:pt x="29051" y="58102"/>
                  </a:cubicBezTo>
                  <a:cubicBezTo>
                    <a:pt x="45053" y="58102"/>
                    <a:pt x="58103" y="45053"/>
                    <a:pt x="58103" y="29051"/>
                  </a:cubicBezTo>
                  <a:cubicBezTo>
                    <a:pt x="58103" y="13049"/>
                    <a:pt x="45053" y="0"/>
                    <a:pt x="29051" y="0"/>
                  </a:cubicBezTo>
                  <a:cubicBezTo>
                    <a:pt x="12954" y="0"/>
                    <a:pt x="0" y="13049"/>
                    <a:pt x="0" y="2905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80" name="Freeform: Shape 79">
              <a:extLst>
                <a:ext uri="{FF2B5EF4-FFF2-40B4-BE49-F238E27FC236}">
                  <a16:creationId xmlns:a16="http://schemas.microsoft.com/office/drawing/2014/main" id="{CBD9CF08-AF33-40A9-B513-8DEC0625E977}"/>
                </a:ext>
              </a:extLst>
            </p:cNvPr>
            <p:cNvSpPr/>
            <p:nvPr/>
          </p:nvSpPr>
          <p:spPr>
            <a:xfrm>
              <a:off x="1688559" y="2119598"/>
              <a:ext cx="57150" cy="57150"/>
            </a:xfrm>
            <a:custGeom>
              <a:avLst/>
              <a:gdLst>
                <a:gd name="connsiteX0" fmla="*/ 61341 w 57150"/>
                <a:gd name="connsiteY0" fmla="*/ 30670 h 57150"/>
                <a:gd name="connsiteX1" fmla="*/ 30671 w 57150"/>
                <a:gd name="connsiteY1" fmla="*/ 0 h 57150"/>
                <a:gd name="connsiteX2" fmla="*/ 0 w 57150"/>
                <a:gd name="connsiteY2" fmla="*/ 30670 h 57150"/>
                <a:gd name="connsiteX3" fmla="*/ 30671 w 57150"/>
                <a:gd name="connsiteY3" fmla="*/ 61341 h 57150"/>
                <a:gd name="connsiteX4" fmla="*/ 61341 w 57150"/>
                <a:gd name="connsiteY4" fmla="*/ 3067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1341" y="30670"/>
                  </a:moveTo>
                  <a:cubicBezTo>
                    <a:pt x="61341" y="13716"/>
                    <a:pt x="47625" y="0"/>
                    <a:pt x="30671" y="0"/>
                  </a:cubicBezTo>
                  <a:cubicBezTo>
                    <a:pt x="13716" y="0"/>
                    <a:pt x="0" y="13716"/>
                    <a:pt x="0" y="30670"/>
                  </a:cubicBezTo>
                  <a:cubicBezTo>
                    <a:pt x="0" y="47625"/>
                    <a:pt x="13716" y="61341"/>
                    <a:pt x="30671" y="61341"/>
                  </a:cubicBezTo>
                  <a:cubicBezTo>
                    <a:pt x="47625" y="61341"/>
                    <a:pt x="61341" y="47625"/>
                    <a:pt x="61341" y="3067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81" name="Freeform: Shape 80">
              <a:extLst>
                <a:ext uri="{FF2B5EF4-FFF2-40B4-BE49-F238E27FC236}">
                  <a16:creationId xmlns:a16="http://schemas.microsoft.com/office/drawing/2014/main" id="{CFC82A9D-1B96-4B02-9549-5003A6FF4D9E}"/>
                </a:ext>
              </a:extLst>
            </p:cNvPr>
            <p:cNvSpPr/>
            <p:nvPr/>
          </p:nvSpPr>
          <p:spPr>
            <a:xfrm>
              <a:off x="1702084" y="1542383"/>
              <a:ext cx="28575" cy="28575"/>
            </a:xfrm>
            <a:custGeom>
              <a:avLst/>
              <a:gdLst>
                <a:gd name="connsiteX0" fmla="*/ 17145 w 28575"/>
                <a:gd name="connsiteY0" fmla="*/ 0 h 28575"/>
                <a:gd name="connsiteX1" fmla="*/ 0 w 28575"/>
                <a:gd name="connsiteY1" fmla="*/ 17145 h 28575"/>
                <a:gd name="connsiteX2" fmla="*/ 17145 w 28575"/>
                <a:gd name="connsiteY2" fmla="*/ 34290 h 28575"/>
                <a:gd name="connsiteX3" fmla="*/ 34290 w 28575"/>
                <a:gd name="connsiteY3" fmla="*/ 17145 h 28575"/>
                <a:gd name="connsiteX4" fmla="*/ 17145 w 2857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145" y="0"/>
                  </a:moveTo>
                  <a:cubicBezTo>
                    <a:pt x="7715" y="0"/>
                    <a:pt x="0" y="7715"/>
                    <a:pt x="0" y="17145"/>
                  </a:cubicBezTo>
                  <a:cubicBezTo>
                    <a:pt x="0" y="26575"/>
                    <a:pt x="7715" y="34290"/>
                    <a:pt x="17145" y="34290"/>
                  </a:cubicBezTo>
                  <a:cubicBezTo>
                    <a:pt x="26575" y="34290"/>
                    <a:pt x="34290" y="26575"/>
                    <a:pt x="34290" y="17145"/>
                  </a:cubicBezTo>
                  <a:cubicBezTo>
                    <a:pt x="34290" y="7715"/>
                    <a:pt x="26575" y="0"/>
                    <a:pt x="17145" y="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82" name="Freeform: Shape 81">
              <a:extLst>
                <a:ext uri="{FF2B5EF4-FFF2-40B4-BE49-F238E27FC236}">
                  <a16:creationId xmlns:a16="http://schemas.microsoft.com/office/drawing/2014/main" id="{AE2D2F54-7AB7-40FC-ACA9-C924B51F4BCC}"/>
                </a:ext>
              </a:extLst>
            </p:cNvPr>
            <p:cNvSpPr/>
            <p:nvPr/>
          </p:nvSpPr>
          <p:spPr>
            <a:xfrm>
              <a:off x="1525967" y="2423065"/>
              <a:ext cx="38100" cy="38100"/>
            </a:xfrm>
            <a:custGeom>
              <a:avLst/>
              <a:gdLst>
                <a:gd name="connsiteX0" fmla="*/ 45339 w 38100"/>
                <a:gd name="connsiteY0" fmla="*/ 22670 h 38100"/>
                <a:gd name="connsiteX1" fmla="*/ 22670 w 38100"/>
                <a:gd name="connsiteY1" fmla="*/ 45339 h 38100"/>
                <a:gd name="connsiteX2" fmla="*/ 0 w 38100"/>
                <a:gd name="connsiteY2" fmla="*/ 22670 h 38100"/>
                <a:gd name="connsiteX3" fmla="*/ 22670 w 38100"/>
                <a:gd name="connsiteY3" fmla="*/ 0 h 38100"/>
                <a:gd name="connsiteX4" fmla="*/ 45339 w 38100"/>
                <a:gd name="connsiteY4" fmla="*/ 2267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grpSp>
      <p:grpSp>
        <p:nvGrpSpPr>
          <p:cNvPr id="83" name="Group 82">
            <a:extLst>
              <a:ext uri="{FF2B5EF4-FFF2-40B4-BE49-F238E27FC236}">
                <a16:creationId xmlns:a16="http://schemas.microsoft.com/office/drawing/2014/main" id="{3EBEFC37-CF93-44DA-A2F8-0F2A53E40F26}"/>
              </a:ext>
            </a:extLst>
          </p:cNvPr>
          <p:cNvGrpSpPr/>
          <p:nvPr userDrawn="1"/>
        </p:nvGrpSpPr>
        <p:grpSpPr>
          <a:xfrm>
            <a:off x="10324485" y="3501"/>
            <a:ext cx="1863063" cy="1172838"/>
            <a:chOff x="9328504" y="1651380"/>
            <a:chExt cx="2869846" cy="1808421"/>
          </a:xfrm>
        </p:grpSpPr>
        <p:grpSp>
          <p:nvGrpSpPr>
            <p:cNvPr id="84" name="Group 83">
              <a:extLst>
                <a:ext uri="{FF2B5EF4-FFF2-40B4-BE49-F238E27FC236}">
                  <a16:creationId xmlns:a16="http://schemas.microsoft.com/office/drawing/2014/main" id="{B88C1DD2-586E-4C6D-9372-3EAB59F50D30}"/>
                </a:ext>
              </a:extLst>
            </p:cNvPr>
            <p:cNvGrpSpPr/>
            <p:nvPr userDrawn="1"/>
          </p:nvGrpSpPr>
          <p:grpSpPr>
            <a:xfrm>
              <a:off x="10818273" y="2590596"/>
              <a:ext cx="1380076" cy="869205"/>
              <a:chOff x="9095341" y="0"/>
              <a:chExt cx="3103008" cy="1954349"/>
            </a:xfrm>
            <a:solidFill>
              <a:srgbClr val="C4C4CD"/>
            </a:solidFill>
          </p:grpSpPr>
          <p:sp>
            <p:nvSpPr>
              <p:cNvPr id="210" name="Freeform: Shape 209">
                <a:extLst>
                  <a:ext uri="{FF2B5EF4-FFF2-40B4-BE49-F238E27FC236}">
                    <a16:creationId xmlns:a16="http://schemas.microsoft.com/office/drawing/2014/main" id="{2D00AFC5-25B8-4CE0-8C20-DF146DCB1D37}"/>
                  </a:ext>
                </a:extLst>
              </p:cNvPr>
              <p:cNvSpPr/>
              <p:nvPr/>
            </p:nvSpPr>
            <p:spPr>
              <a:xfrm flipV="1">
                <a:off x="11866698" y="1483085"/>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8 h 590550"/>
                  <a:gd name="connsiteX11" fmla="*/ 435483 w 428625"/>
                  <a:gd name="connsiteY11" fmla="*/ 593408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8"/>
                    </a:lnTo>
                    <a:lnTo>
                      <a:pt x="435483" y="593408"/>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1" name="Freeform: Shape 210">
                <a:extLst>
                  <a:ext uri="{FF2B5EF4-FFF2-40B4-BE49-F238E27FC236}">
                    <a16:creationId xmlns:a16="http://schemas.microsoft.com/office/drawing/2014/main" id="{89AFE1AF-09BD-4EBF-BD53-56D495430682}"/>
                  </a:ext>
                </a:extLst>
              </p:cNvPr>
              <p:cNvSpPr/>
              <p:nvPr/>
            </p:nvSpPr>
            <p:spPr>
              <a:xfrm flipV="1">
                <a:off x="11866698" y="1030150"/>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8 h 590550"/>
                  <a:gd name="connsiteX11" fmla="*/ 435483 w 428625"/>
                  <a:gd name="connsiteY11" fmla="*/ 593408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8"/>
                    </a:lnTo>
                    <a:lnTo>
                      <a:pt x="435483" y="593408"/>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2" name="Freeform: Shape 211">
                <a:extLst>
                  <a:ext uri="{FF2B5EF4-FFF2-40B4-BE49-F238E27FC236}">
                    <a16:creationId xmlns:a16="http://schemas.microsoft.com/office/drawing/2014/main" id="{819A78A5-D889-44B0-A4A9-C3142214D5FC}"/>
                  </a:ext>
                </a:extLst>
              </p:cNvPr>
              <p:cNvSpPr/>
              <p:nvPr/>
            </p:nvSpPr>
            <p:spPr>
              <a:xfrm flipV="1">
                <a:off x="11866698" y="577214"/>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7 h 590550"/>
                  <a:gd name="connsiteX11" fmla="*/ 435483 w 428625"/>
                  <a:gd name="connsiteY11" fmla="*/ 59340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7"/>
                    </a:lnTo>
                    <a:lnTo>
                      <a:pt x="435483" y="593407"/>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3" name="Freeform: Shape 212">
                <a:extLst>
                  <a:ext uri="{FF2B5EF4-FFF2-40B4-BE49-F238E27FC236}">
                    <a16:creationId xmlns:a16="http://schemas.microsoft.com/office/drawing/2014/main" id="{A0BC6FDC-D39D-476F-A4ED-5155AF2D3F93}"/>
                  </a:ext>
                </a:extLst>
              </p:cNvPr>
              <p:cNvSpPr/>
              <p:nvPr/>
            </p:nvSpPr>
            <p:spPr>
              <a:xfrm flipV="1">
                <a:off x="11866698" y="124278"/>
                <a:ext cx="328585" cy="452717"/>
              </a:xfrm>
              <a:custGeom>
                <a:avLst/>
                <a:gdLst>
                  <a:gd name="connsiteX0" fmla="*/ 435483 w 428625"/>
                  <a:gd name="connsiteY0" fmla="*/ 590740 h 590550"/>
                  <a:gd name="connsiteX1" fmla="*/ 172783 w 428625"/>
                  <a:gd name="connsiteY1" fmla="*/ 590740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312 h 590550"/>
                  <a:gd name="connsiteX11" fmla="*/ 435483 w 428625"/>
                  <a:gd name="connsiteY11" fmla="*/ 5933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740"/>
                    </a:moveTo>
                    <a:lnTo>
                      <a:pt x="172783" y="590740"/>
                    </a:lnTo>
                    <a:lnTo>
                      <a:pt x="2953" y="296704"/>
                    </a:lnTo>
                    <a:lnTo>
                      <a:pt x="172783" y="2572"/>
                    </a:lnTo>
                    <a:lnTo>
                      <a:pt x="435483" y="2572"/>
                    </a:lnTo>
                    <a:lnTo>
                      <a:pt x="435483" y="0"/>
                    </a:lnTo>
                    <a:lnTo>
                      <a:pt x="171259" y="0"/>
                    </a:lnTo>
                    <a:lnTo>
                      <a:pt x="381" y="296037"/>
                    </a:lnTo>
                    <a:lnTo>
                      <a:pt x="0" y="296704"/>
                    </a:lnTo>
                    <a:lnTo>
                      <a:pt x="170879" y="592741"/>
                    </a:lnTo>
                    <a:lnTo>
                      <a:pt x="171259" y="593312"/>
                    </a:lnTo>
                    <a:lnTo>
                      <a:pt x="435483" y="59331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4" name="Freeform: Shape 213">
                <a:extLst>
                  <a:ext uri="{FF2B5EF4-FFF2-40B4-BE49-F238E27FC236}">
                    <a16:creationId xmlns:a16="http://schemas.microsoft.com/office/drawing/2014/main" id="{E7105466-E15C-43EC-92E3-1AE54A3B27FD}"/>
                  </a:ext>
                </a:extLst>
              </p:cNvPr>
              <p:cNvSpPr/>
              <p:nvPr/>
            </p:nvSpPr>
            <p:spPr>
              <a:xfrm flipV="1">
                <a:off x="11926354" y="0"/>
                <a:ext cx="270170" cy="124132"/>
              </a:xfrm>
              <a:custGeom>
                <a:avLst/>
                <a:gdLst>
                  <a:gd name="connsiteX0" fmla="*/ 357664 w 352425"/>
                  <a:gd name="connsiteY0" fmla="*/ 0 h 161925"/>
                  <a:gd name="connsiteX1" fmla="*/ 93440 w 352425"/>
                  <a:gd name="connsiteY1" fmla="*/ 0 h 161925"/>
                  <a:gd name="connsiteX2" fmla="*/ 0 w 352425"/>
                  <a:gd name="connsiteY2" fmla="*/ 161925 h 161925"/>
                  <a:gd name="connsiteX3" fmla="*/ 2953 w 352425"/>
                  <a:gd name="connsiteY3" fmla="*/ 161925 h 161925"/>
                  <a:gd name="connsiteX4" fmla="*/ 94964 w 352425"/>
                  <a:gd name="connsiteY4" fmla="*/ 2572 h 161925"/>
                  <a:gd name="connsiteX5" fmla="*/ 357664 w 352425"/>
                  <a:gd name="connsiteY5" fmla="*/ 257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161925">
                    <a:moveTo>
                      <a:pt x="357664" y="0"/>
                    </a:moveTo>
                    <a:lnTo>
                      <a:pt x="93440" y="0"/>
                    </a:lnTo>
                    <a:lnTo>
                      <a:pt x="0" y="161925"/>
                    </a:lnTo>
                    <a:lnTo>
                      <a:pt x="2953" y="161925"/>
                    </a:lnTo>
                    <a:lnTo>
                      <a:pt x="94964" y="2572"/>
                    </a:lnTo>
                    <a:lnTo>
                      <a:pt x="35766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5" name="Freeform: Shape 214">
                <a:extLst>
                  <a:ext uri="{FF2B5EF4-FFF2-40B4-BE49-F238E27FC236}">
                    <a16:creationId xmlns:a16="http://schemas.microsoft.com/office/drawing/2014/main" id="{58F634BD-35A5-4943-9565-5A39BCE6575F}"/>
                  </a:ext>
                </a:extLst>
              </p:cNvPr>
              <p:cNvSpPr/>
              <p:nvPr/>
            </p:nvSpPr>
            <p:spPr>
              <a:xfrm flipV="1">
                <a:off x="11474441" y="1256581"/>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0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0"/>
                    </a:lnTo>
                    <a:lnTo>
                      <a:pt x="513874" y="593407"/>
                    </a:lnTo>
                    <a:lnTo>
                      <a:pt x="171259" y="593407"/>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6" name="Freeform: Shape 215">
                <a:extLst>
                  <a:ext uri="{FF2B5EF4-FFF2-40B4-BE49-F238E27FC236}">
                    <a16:creationId xmlns:a16="http://schemas.microsoft.com/office/drawing/2014/main" id="{EB93A192-EA0A-448A-81F4-BE81EF8F6DB7}"/>
                  </a:ext>
                </a:extLst>
              </p:cNvPr>
              <p:cNvSpPr/>
              <p:nvPr/>
            </p:nvSpPr>
            <p:spPr>
              <a:xfrm flipV="1">
                <a:off x="11474441" y="350782"/>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7" name="Freeform: Shape 216">
                <a:extLst>
                  <a:ext uri="{FF2B5EF4-FFF2-40B4-BE49-F238E27FC236}">
                    <a16:creationId xmlns:a16="http://schemas.microsoft.com/office/drawing/2014/main" id="{413EACE7-B34B-4866-A449-FBD0DD366B7E}"/>
                  </a:ext>
                </a:extLst>
              </p:cNvPr>
              <p:cNvSpPr/>
              <p:nvPr/>
            </p:nvSpPr>
            <p:spPr>
              <a:xfrm flipV="1">
                <a:off x="11474441" y="73"/>
                <a:ext cx="518434" cy="350490"/>
              </a:xfrm>
              <a:custGeom>
                <a:avLst/>
                <a:gdLst>
                  <a:gd name="connsiteX0" fmla="*/ 95726 w 676275"/>
                  <a:gd name="connsiteY0" fmla="*/ 457295 h 457200"/>
                  <a:gd name="connsiteX1" fmla="*/ 2953 w 676275"/>
                  <a:gd name="connsiteY1" fmla="*/ 296704 h 457200"/>
                  <a:gd name="connsiteX2" fmla="*/ 172783 w 676275"/>
                  <a:gd name="connsiteY2" fmla="*/ 2572 h 457200"/>
                  <a:gd name="connsiteX3" fmla="*/ 512445 w 676275"/>
                  <a:gd name="connsiteY3" fmla="*/ 2572 h 457200"/>
                  <a:gd name="connsiteX4" fmla="*/ 682180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133 w 676275"/>
                  <a:gd name="connsiteY8" fmla="*/ 296704 h 457200"/>
                  <a:gd name="connsiteX9" fmla="*/ 514255 w 676275"/>
                  <a:gd name="connsiteY9" fmla="*/ 667 h 457200"/>
                  <a:gd name="connsiteX10" fmla="*/ 513874 w 676275"/>
                  <a:gd name="connsiteY10" fmla="*/ 0 h 457200"/>
                  <a:gd name="connsiteX11" fmla="*/ 171259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2953" y="296704"/>
                    </a:lnTo>
                    <a:lnTo>
                      <a:pt x="172783" y="2572"/>
                    </a:lnTo>
                    <a:lnTo>
                      <a:pt x="512445" y="2572"/>
                    </a:lnTo>
                    <a:lnTo>
                      <a:pt x="682180" y="296704"/>
                    </a:lnTo>
                    <a:lnTo>
                      <a:pt x="589502" y="457295"/>
                    </a:lnTo>
                    <a:lnTo>
                      <a:pt x="592455" y="457295"/>
                    </a:lnTo>
                    <a:lnTo>
                      <a:pt x="684847" y="297371"/>
                    </a:lnTo>
                    <a:lnTo>
                      <a:pt x="685133" y="296704"/>
                    </a:lnTo>
                    <a:lnTo>
                      <a:pt x="514255" y="667"/>
                    </a:lnTo>
                    <a:lnTo>
                      <a:pt x="513874" y="0"/>
                    </a:lnTo>
                    <a:lnTo>
                      <a:pt x="171259"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8" name="Freeform: Shape 217">
                <a:extLst>
                  <a:ext uri="{FF2B5EF4-FFF2-40B4-BE49-F238E27FC236}">
                    <a16:creationId xmlns:a16="http://schemas.microsoft.com/office/drawing/2014/main" id="{AF40D872-FA4B-435F-9985-672AD621FC74}"/>
                  </a:ext>
                </a:extLst>
              </p:cNvPr>
              <p:cNvSpPr/>
              <p:nvPr/>
            </p:nvSpPr>
            <p:spPr>
              <a:xfrm flipV="1">
                <a:off x="11082184" y="577214"/>
                <a:ext cx="518434" cy="452717"/>
              </a:xfrm>
              <a:custGeom>
                <a:avLst/>
                <a:gdLst>
                  <a:gd name="connsiteX0" fmla="*/ 0 w 676275"/>
                  <a:gd name="connsiteY0" fmla="*/ 296704 h 590550"/>
                  <a:gd name="connsiteX1" fmla="*/ 381 w 676275"/>
                  <a:gd name="connsiteY1" fmla="*/ 296037 h 590550"/>
                  <a:gd name="connsiteX2" fmla="*/ 171355 w 676275"/>
                  <a:gd name="connsiteY2" fmla="*/ 0 h 590550"/>
                  <a:gd name="connsiteX3" fmla="*/ 513969 w 676275"/>
                  <a:gd name="connsiteY3" fmla="*/ 0 h 590550"/>
                  <a:gd name="connsiteX4" fmla="*/ 514350 w 676275"/>
                  <a:gd name="connsiteY4" fmla="*/ 667 h 590550"/>
                  <a:gd name="connsiteX5" fmla="*/ 685229 w 676275"/>
                  <a:gd name="connsiteY5" fmla="*/ 296704 h 590550"/>
                  <a:gd name="connsiteX6" fmla="*/ 684847 w 676275"/>
                  <a:gd name="connsiteY6" fmla="*/ 297371 h 590550"/>
                  <a:gd name="connsiteX7" fmla="*/ 513969 w 676275"/>
                  <a:gd name="connsiteY7" fmla="*/ 593407 h 590550"/>
                  <a:gd name="connsiteX8" fmla="*/ 171355 w 676275"/>
                  <a:gd name="connsiteY8" fmla="*/ 593407 h 590550"/>
                  <a:gd name="connsiteX9" fmla="*/ 170974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355" y="0"/>
                    </a:lnTo>
                    <a:lnTo>
                      <a:pt x="513969" y="0"/>
                    </a:lnTo>
                    <a:lnTo>
                      <a:pt x="514350" y="667"/>
                    </a:lnTo>
                    <a:lnTo>
                      <a:pt x="685229" y="296704"/>
                    </a:lnTo>
                    <a:lnTo>
                      <a:pt x="684847" y="297371"/>
                    </a:lnTo>
                    <a:lnTo>
                      <a:pt x="513969" y="593407"/>
                    </a:lnTo>
                    <a:lnTo>
                      <a:pt x="171355" y="593407"/>
                    </a:lnTo>
                    <a:lnTo>
                      <a:pt x="170974"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19" name="Freeform: Shape 218">
                <a:extLst>
                  <a:ext uri="{FF2B5EF4-FFF2-40B4-BE49-F238E27FC236}">
                    <a16:creationId xmlns:a16="http://schemas.microsoft.com/office/drawing/2014/main" id="{4BA5381C-EFBD-4E75-9328-CFC61C551AC5}"/>
                  </a:ext>
                </a:extLst>
              </p:cNvPr>
              <p:cNvSpPr/>
              <p:nvPr/>
            </p:nvSpPr>
            <p:spPr>
              <a:xfrm flipV="1">
                <a:off x="11082184" y="124278"/>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0" name="Freeform: Shape 219">
                <a:extLst>
                  <a:ext uri="{FF2B5EF4-FFF2-40B4-BE49-F238E27FC236}">
                    <a16:creationId xmlns:a16="http://schemas.microsoft.com/office/drawing/2014/main" id="{A8CF0EE3-B3A1-4346-86AF-589A7741856C}"/>
                  </a:ext>
                </a:extLst>
              </p:cNvPr>
              <p:cNvSpPr/>
              <p:nvPr/>
            </p:nvSpPr>
            <p:spPr>
              <a:xfrm flipV="1">
                <a:off x="11141840" y="0"/>
                <a:ext cx="401604" cy="124132"/>
              </a:xfrm>
              <a:custGeom>
                <a:avLst/>
                <a:gdLst>
                  <a:gd name="connsiteX0" fmla="*/ 2953 w 523875"/>
                  <a:gd name="connsiteY0" fmla="*/ 161925 h 161925"/>
                  <a:gd name="connsiteX1" fmla="*/ 94964 w 523875"/>
                  <a:gd name="connsiteY1" fmla="*/ 2572 h 161925"/>
                  <a:gd name="connsiteX2" fmla="*/ 434626 w 523875"/>
                  <a:gd name="connsiteY2" fmla="*/ 2572 h 161925"/>
                  <a:gd name="connsiteX3" fmla="*/ 526637 w 523875"/>
                  <a:gd name="connsiteY3" fmla="*/ 161925 h 161925"/>
                  <a:gd name="connsiteX4" fmla="*/ 529590 w 523875"/>
                  <a:gd name="connsiteY4" fmla="*/ 161925 h 161925"/>
                  <a:gd name="connsiteX5" fmla="*/ 436436 w 523875"/>
                  <a:gd name="connsiteY5" fmla="*/ 667 h 161925"/>
                  <a:gd name="connsiteX6" fmla="*/ 436055 w 523875"/>
                  <a:gd name="connsiteY6" fmla="*/ 0 h 161925"/>
                  <a:gd name="connsiteX7" fmla="*/ 93536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626" y="2572"/>
                    </a:lnTo>
                    <a:lnTo>
                      <a:pt x="526637" y="161925"/>
                    </a:lnTo>
                    <a:lnTo>
                      <a:pt x="529590" y="161925"/>
                    </a:lnTo>
                    <a:lnTo>
                      <a:pt x="436436" y="667"/>
                    </a:lnTo>
                    <a:lnTo>
                      <a:pt x="436055" y="0"/>
                    </a:lnTo>
                    <a:lnTo>
                      <a:pt x="93536"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1" name="Freeform: Shape 220">
                <a:extLst>
                  <a:ext uri="{FF2B5EF4-FFF2-40B4-BE49-F238E27FC236}">
                    <a16:creationId xmlns:a16="http://schemas.microsoft.com/office/drawing/2014/main" id="{8C7048EE-06D5-4882-A665-C9479739FD0A}"/>
                  </a:ext>
                </a:extLst>
              </p:cNvPr>
              <p:cNvSpPr/>
              <p:nvPr/>
            </p:nvSpPr>
            <p:spPr>
              <a:xfrm flipV="1">
                <a:off x="10689926" y="350782"/>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2" name="Freeform: Shape 221">
                <a:extLst>
                  <a:ext uri="{FF2B5EF4-FFF2-40B4-BE49-F238E27FC236}">
                    <a16:creationId xmlns:a16="http://schemas.microsoft.com/office/drawing/2014/main" id="{742D9FBF-1BE0-4D06-8802-0114567C5B99}"/>
                  </a:ext>
                </a:extLst>
              </p:cNvPr>
              <p:cNvSpPr/>
              <p:nvPr/>
            </p:nvSpPr>
            <p:spPr>
              <a:xfrm flipV="1">
                <a:off x="10689926" y="73"/>
                <a:ext cx="518434" cy="350490"/>
              </a:xfrm>
              <a:custGeom>
                <a:avLst/>
                <a:gdLst>
                  <a:gd name="connsiteX0" fmla="*/ 95726 w 676275"/>
                  <a:gd name="connsiteY0" fmla="*/ 457295 h 457200"/>
                  <a:gd name="connsiteX1" fmla="*/ 3048 w 676275"/>
                  <a:gd name="connsiteY1" fmla="*/ 296704 h 457200"/>
                  <a:gd name="connsiteX2" fmla="*/ 172783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3" y="2572"/>
                    </a:lnTo>
                    <a:lnTo>
                      <a:pt x="512445" y="2572"/>
                    </a:lnTo>
                    <a:lnTo>
                      <a:pt x="682276" y="296704"/>
                    </a:lnTo>
                    <a:lnTo>
                      <a:pt x="589502" y="457295"/>
                    </a:lnTo>
                    <a:lnTo>
                      <a:pt x="592455" y="457295"/>
                    </a:lnTo>
                    <a:lnTo>
                      <a:pt x="684847" y="297371"/>
                    </a:lnTo>
                    <a:lnTo>
                      <a:pt x="685229" y="296704"/>
                    </a:lnTo>
                    <a:lnTo>
                      <a:pt x="514255" y="667"/>
                    </a:lnTo>
                    <a:lnTo>
                      <a:pt x="513969" y="0"/>
                    </a:lnTo>
                    <a:lnTo>
                      <a:pt x="171355"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3" name="Freeform: Shape 222">
                <a:extLst>
                  <a:ext uri="{FF2B5EF4-FFF2-40B4-BE49-F238E27FC236}">
                    <a16:creationId xmlns:a16="http://schemas.microsoft.com/office/drawing/2014/main" id="{6B9C912C-5A67-4BC0-8310-F6E81E998096}"/>
                  </a:ext>
                </a:extLst>
              </p:cNvPr>
              <p:cNvSpPr/>
              <p:nvPr/>
            </p:nvSpPr>
            <p:spPr>
              <a:xfrm flipV="1">
                <a:off x="10297742" y="124278"/>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4" name="Freeform: Shape 223">
                <a:extLst>
                  <a:ext uri="{FF2B5EF4-FFF2-40B4-BE49-F238E27FC236}">
                    <a16:creationId xmlns:a16="http://schemas.microsoft.com/office/drawing/2014/main" id="{7127B614-E492-43BA-BAEE-D23E98C6E29D}"/>
                  </a:ext>
                </a:extLst>
              </p:cNvPr>
              <p:cNvSpPr/>
              <p:nvPr/>
            </p:nvSpPr>
            <p:spPr>
              <a:xfrm flipV="1">
                <a:off x="10357398" y="0"/>
                <a:ext cx="401604" cy="124132"/>
              </a:xfrm>
              <a:custGeom>
                <a:avLst/>
                <a:gdLst>
                  <a:gd name="connsiteX0" fmla="*/ 2953 w 523875"/>
                  <a:gd name="connsiteY0" fmla="*/ 161925 h 161925"/>
                  <a:gd name="connsiteX1" fmla="*/ 94964 w 523875"/>
                  <a:gd name="connsiteY1" fmla="*/ 2572 h 161925"/>
                  <a:gd name="connsiteX2" fmla="*/ 434531 w 523875"/>
                  <a:gd name="connsiteY2" fmla="*/ 2572 h 161925"/>
                  <a:gd name="connsiteX3" fmla="*/ 526542 w 523875"/>
                  <a:gd name="connsiteY3" fmla="*/ 161925 h 161925"/>
                  <a:gd name="connsiteX4" fmla="*/ 529495 w 523875"/>
                  <a:gd name="connsiteY4" fmla="*/ 161925 h 161925"/>
                  <a:gd name="connsiteX5" fmla="*/ 436436 w 523875"/>
                  <a:gd name="connsiteY5" fmla="*/ 667 h 161925"/>
                  <a:gd name="connsiteX6" fmla="*/ 436055 w 523875"/>
                  <a:gd name="connsiteY6" fmla="*/ 0 h 161925"/>
                  <a:gd name="connsiteX7" fmla="*/ 93440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531" y="2572"/>
                    </a:lnTo>
                    <a:lnTo>
                      <a:pt x="526542" y="161925"/>
                    </a:lnTo>
                    <a:lnTo>
                      <a:pt x="529495" y="161925"/>
                    </a:lnTo>
                    <a:lnTo>
                      <a:pt x="436436" y="667"/>
                    </a:lnTo>
                    <a:lnTo>
                      <a:pt x="436055" y="0"/>
                    </a:lnTo>
                    <a:lnTo>
                      <a:pt x="93440"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5" name="Freeform: Shape 224">
                <a:extLst>
                  <a:ext uri="{FF2B5EF4-FFF2-40B4-BE49-F238E27FC236}">
                    <a16:creationId xmlns:a16="http://schemas.microsoft.com/office/drawing/2014/main" id="{34B99188-866A-48F6-8336-08FF5A45F503}"/>
                  </a:ext>
                </a:extLst>
              </p:cNvPr>
              <p:cNvSpPr/>
              <p:nvPr/>
            </p:nvSpPr>
            <p:spPr>
              <a:xfrm flipV="1">
                <a:off x="9120971" y="350782"/>
                <a:ext cx="518434" cy="452717"/>
              </a:xfrm>
              <a:custGeom>
                <a:avLst/>
                <a:gdLst>
                  <a:gd name="connsiteX0" fmla="*/ 0 w 676275"/>
                  <a:gd name="connsiteY0" fmla="*/ 296704 h 590550"/>
                  <a:gd name="connsiteX1" fmla="*/ 381 w 676275"/>
                  <a:gd name="connsiteY1" fmla="*/ 296037 h 590550"/>
                  <a:gd name="connsiteX2" fmla="*/ 171260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355 w 676275"/>
                  <a:gd name="connsiteY8" fmla="*/ 593408 h 590550"/>
                  <a:gd name="connsiteX9" fmla="*/ 170974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60" y="0"/>
                    </a:lnTo>
                    <a:lnTo>
                      <a:pt x="513874" y="0"/>
                    </a:lnTo>
                    <a:lnTo>
                      <a:pt x="514255" y="667"/>
                    </a:lnTo>
                    <a:lnTo>
                      <a:pt x="685133" y="296704"/>
                    </a:lnTo>
                    <a:lnTo>
                      <a:pt x="684752" y="297371"/>
                    </a:lnTo>
                    <a:lnTo>
                      <a:pt x="513874" y="593408"/>
                    </a:lnTo>
                    <a:lnTo>
                      <a:pt x="171355" y="593408"/>
                    </a:lnTo>
                    <a:lnTo>
                      <a:pt x="170974"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6" name="Freeform: Shape 225">
                <a:extLst>
                  <a:ext uri="{FF2B5EF4-FFF2-40B4-BE49-F238E27FC236}">
                    <a16:creationId xmlns:a16="http://schemas.microsoft.com/office/drawing/2014/main" id="{A3922151-F123-422A-BB4F-8F5C83544F8B}"/>
                  </a:ext>
                </a:extLst>
              </p:cNvPr>
              <p:cNvSpPr/>
              <p:nvPr/>
            </p:nvSpPr>
            <p:spPr>
              <a:xfrm flipV="1">
                <a:off x="9120971" y="73"/>
                <a:ext cx="518434" cy="350490"/>
              </a:xfrm>
              <a:custGeom>
                <a:avLst/>
                <a:gdLst>
                  <a:gd name="connsiteX0" fmla="*/ 95726 w 676275"/>
                  <a:gd name="connsiteY0" fmla="*/ 457295 h 457200"/>
                  <a:gd name="connsiteX1" fmla="*/ 3048 w 676275"/>
                  <a:gd name="connsiteY1" fmla="*/ 296704 h 457200"/>
                  <a:gd name="connsiteX2" fmla="*/ 172784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8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4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4" y="2572"/>
                    </a:lnTo>
                    <a:lnTo>
                      <a:pt x="512445" y="2572"/>
                    </a:lnTo>
                    <a:lnTo>
                      <a:pt x="682276" y="296704"/>
                    </a:lnTo>
                    <a:lnTo>
                      <a:pt x="589502" y="457295"/>
                    </a:lnTo>
                    <a:lnTo>
                      <a:pt x="592455" y="457295"/>
                    </a:lnTo>
                    <a:lnTo>
                      <a:pt x="684848" y="297371"/>
                    </a:lnTo>
                    <a:lnTo>
                      <a:pt x="685229" y="296704"/>
                    </a:lnTo>
                    <a:lnTo>
                      <a:pt x="514255" y="667"/>
                    </a:lnTo>
                    <a:lnTo>
                      <a:pt x="513969" y="0"/>
                    </a:lnTo>
                    <a:lnTo>
                      <a:pt x="171355" y="0"/>
                    </a:lnTo>
                    <a:lnTo>
                      <a:pt x="381" y="296037"/>
                    </a:lnTo>
                    <a:lnTo>
                      <a:pt x="0" y="296704"/>
                    </a:lnTo>
                    <a:lnTo>
                      <a:pt x="92774"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7" name="Freeform: Shape 226">
                <a:extLst>
                  <a:ext uri="{FF2B5EF4-FFF2-40B4-BE49-F238E27FC236}">
                    <a16:creationId xmlns:a16="http://schemas.microsoft.com/office/drawing/2014/main" id="{006CAA77-EDE6-415F-8A15-D29E6CD56E1E}"/>
                  </a:ext>
                </a:extLst>
              </p:cNvPr>
              <p:cNvSpPr/>
              <p:nvPr/>
            </p:nvSpPr>
            <p:spPr>
              <a:xfrm flipV="1">
                <a:off x="11898972" y="568232"/>
                <a:ext cx="299377" cy="598754"/>
              </a:xfrm>
              <a:custGeom>
                <a:avLst/>
                <a:gdLst>
                  <a:gd name="connsiteX0" fmla="*/ 393383 w 390525"/>
                  <a:gd name="connsiteY0" fmla="*/ 770001 h 781050"/>
                  <a:gd name="connsiteX1" fmla="*/ 233934 w 390525"/>
                  <a:gd name="connsiteY1" fmla="*/ 770001 h 781050"/>
                  <a:gd name="connsiteX2" fmla="*/ 15430 w 390525"/>
                  <a:gd name="connsiteY2" fmla="*/ 391763 h 781050"/>
                  <a:gd name="connsiteX3" fmla="*/ 233934 w 390525"/>
                  <a:gd name="connsiteY3" fmla="*/ 13430 h 781050"/>
                  <a:gd name="connsiteX4" fmla="*/ 393383 w 390525"/>
                  <a:gd name="connsiteY4" fmla="*/ 13430 h 781050"/>
                  <a:gd name="connsiteX5" fmla="*/ 393383 w 390525"/>
                  <a:gd name="connsiteY5" fmla="*/ 0 h 781050"/>
                  <a:gd name="connsiteX6" fmla="*/ 226124 w 390525"/>
                  <a:gd name="connsiteY6" fmla="*/ 0 h 781050"/>
                  <a:gd name="connsiteX7" fmla="*/ 0 w 390525"/>
                  <a:gd name="connsiteY7" fmla="*/ 391763 h 781050"/>
                  <a:gd name="connsiteX8" fmla="*/ 226124 w 390525"/>
                  <a:gd name="connsiteY8" fmla="*/ 783431 h 781050"/>
                  <a:gd name="connsiteX9" fmla="*/ 393383 w 390525"/>
                  <a:gd name="connsiteY9" fmla="*/ 783431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781050">
                    <a:moveTo>
                      <a:pt x="393383" y="770001"/>
                    </a:moveTo>
                    <a:lnTo>
                      <a:pt x="233934" y="770001"/>
                    </a:lnTo>
                    <a:lnTo>
                      <a:pt x="15430" y="391763"/>
                    </a:lnTo>
                    <a:lnTo>
                      <a:pt x="233934" y="13430"/>
                    </a:lnTo>
                    <a:lnTo>
                      <a:pt x="393383" y="13430"/>
                    </a:lnTo>
                    <a:lnTo>
                      <a:pt x="393383" y="0"/>
                    </a:lnTo>
                    <a:lnTo>
                      <a:pt x="226124" y="0"/>
                    </a:lnTo>
                    <a:lnTo>
                      <a:pt x="0" y="391763"/>
                    </a:lnTo>
                    <a:lnTo>
                      <a:pt x="226124" y="783431"/>
                    </a:lnTo>
                    <a:lnTo>
                      <a:pt x="393383" y="783431"/>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8" name="Freeform: Shape 227">
                <a:extLst>
                  <a:ext uri="{FF2B5EF4-FFF2-40B4-BE49-F238E27FC236}">
                    <a16:creationId xmlns:a16="http://schemas.microsoft.com/office/drawing/2014/main" id="{18AF184E-AE50-415E-AF7D-28AC00682F29}"/>
                  </a:ext>
                </a:extLst>
              </p:cNvPr>
              <p:cNvSpPr/>
              <p:nvPr/>
            </p:nvSpPr>
            <p:spPr>
              <a:xfrm flipV="1">
                <a:off x="11898972" y="7155"/>
                <a:ext cx="299377" cy="569547"/>
              </a:xfrm>
              <a:custGeom>
                <a:avLst/>
                <a:gdLst>
                  <a:gd name="connsiteX0" fmla="*/ 393383 w 390525"/>
                  <a:gd name="connsiteY0" fmla="*/ 13430 h 742950"/>
                  <a:gd name="connsiteX1" fmla="*/ 393383 w 390525"/>
                  <a:gd name="connsiteY1" fmla="*/ 0 h 742950"/>
                  <a:gd name="connsiteX2" fmla="*/ 226124 w 390525"/>
                  <a:gd name="connsiteY2" fmla="*/ 0 h 742950"/>
                  <a:gd name="connsiteX3" fmla="*/ 0 w 390525"/>
                  <a:gd name="connsiteY3" fmla="*/ 391668 h 742950"/>
                  <a:gd name="connsiteX4" fmla="*/ 208217 w 390525"/>
                  <a:gd name="connsiteY4" fmla="*/ 752284 h 742950"/>
                  <a:gd name="connsiteX5" fmla="*/ 223647 w 390525"/>
                  <a:gd name="connsiteY5" fmla="*/ 752284 h 742950"/>
                  <a:gd name="connsiteX6" fmla="*/ 15430 w 390525"/>
                  <a:gd name="connsiteY6" fmla="*/ 391668 h 742950"/>
                  <a:gd name="connsiteX7" fmla="*/ 233934 w 390525"/>
                  <a:gd name="connsiteY7" fmla="*/ 1343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742950">
                    <a:moveTo>
                      <a:pt x="393383" y="13430"/>
                    </a:moveTo>
                    <a:lnTo>
                      <a:pt x="393383" y="0"/>
                    </a:lnTo>
                    <a:lnTo>
                      <a:pt x="226124" y="0"/>
                    </a:lnTo>
                    <a:lnTo>
                      <a:pt x="0" y="391668"/>
                    </a:lnTo>
                    <a:lnTo>
                      <a:pt x="208217" y="752284"/>
                    </a:lnTo>
                    <a:lnTo>
                      <a:pt x="223647" y="752284"/>
                    </a:lnTo>
                    <a:lnTo>
                      <a:pt x="15430" y="391668"/>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29" name="Freeform: Shape 228">
                <a:extLst>
                  <a:ext uri="{FF2B5EF4-FFF2-40B4-BE49-F238E27FC236}">
                    <a16:creationId xmlns:a16="http://schemas.microsoft.com/office/drawing/2014/main" id="{D092A780-D761-465C-A26C-E61CDC1C675E}"/>
                  </a:ext>
                </a:extLst>
              </p:cNvPr>
              <p:cNvSpPr/>
              <p:nvPr/>
            </p:nvSpPr>
            <p:spPr>
              <a:xfrm flipV="1">
                <a:off x="11387767" y="273090"/>
                <a:ext cx="686377" cy="598754"/>
              </a:xfrm>
              <a:custGeom>
                <a:avLst/>
                <a:gdLst>
                  <a:gd name="connsiteX0" fmla="*/ 0 w 895350"/>
                  <a:gd name="connsiteY0" fmla="*/ 391668 h 781050"/>
                  <a:gd name="connsiteX1" fmla="*/ 226123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219 w 895350"/>
                  <a:gd name="connsiteY5" fmla="*/ 783336 h 781050"/>
                  <a:gd name="connsiteX6" fmla="*/ 0 w 895350"/>
                  <a:gd name="connsiteY6" fmla="*/ 391668 h 781050"/>
                  <a:gd name="connsiteX7" fmla="*/ 233934 w 895350"/>
                  <a:gd name="connsiteY7" fmla="*/ 13430 h 781050"/>
                  <a:gd name="connsiteX8" fmla="*/ 15526 w 895350"/>
                  <a:gd name="connsiteY8" fmla="*/ 391763 h 781050"/>
                  <a:gd name="connsiteX9" fmla="*/ 233934 w 895350"/>
                  <a:gd name="connsiteY9" fmla="*/ 770096 h 781050"/>
                  <a:gd name="connsiteX10" fmla="*/ 670750 w 895350"/>
                  <a:gd name="connsiteY10" fmla="*/ 770096 h 781050"/>
                  <a:gd name="connsiteX11" fmla="*/ 889159 w 895350"/>
                  <a:gd name="connsiteY11" fmla="*/ 391763 h 781050"/>
                  <a:gd name="connsiteX12" fmla="*/ 670750 w 895350"/>
                  <a:gd name="connsiteY12" fmla="*/ 13430 h 781050"/>
                  <a:gd name="connsiteX13" fmla="*/ 233934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3" y="0"/>
                    </a:lnTo>
                    <a:lnTo>
                      <a:pt x="678371" y="0"/>
                    </a:lnTo>
                    <a:lnTo>
                      <a:pt x="904494" y="391668"/>
                    </a:lnTo>
                    <a:lnTo>
                      <a:pt x="678371" y="783336"/>
                    </a:lnTo>
                    <a:lnTo>
                      <a:pt x="226219" y="783336"/>
                    </a:lnTo>
                    <a:lnTo>
                      <a:pt x="0" y="391668"/>
                    </a:lnTo>
                    <a:close/>
                    <a:moveTo>
                      <a:pt x="233934" y="13430"/>
                    </a:moveTo>
                    <a:lnTo>
                      <a:pt x="15526" y="391763"/>
                    </a:lnTo>
                    <a:lnTo>
                      <a:pt x="233934" y="770096"/>
                    </a:lnTo>
                    <a:lnTo>
                      <a:pt x="670750" y="770096"/>
                    </a:lnTo>
                    <a:lnTo>
                      <a:pt x="889159" y="391763"/>
                    </a:lnTo>
                    <a:lnTo>
                      <a:pt x="670750" y="13430"/>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0" name="Freeform: Shape 229">
                <a:extLst>
                  <a:ext uri="{FF2B5EF4-FFF2-40B4-BE49-F238E27FC236}">
                    <a16:creationId xmlns:a16="http://schemas.microsoft.com/office/drawing/2014/main" id="{9B591DE1-2792-4841-8226-137D4E48A2E8}"/>
                  </a:ext>
                </a:extLst>
              </p:cNvPr>
              <p:cNvSpPr/>
              <p:nvPr/>
            </p:nvSpPr>
            <p:spPr>
              <a:xfrm flipV="1">
                <a:off x="11398574" y="4089"/>
                <a:ext cx="671773" cy="277472"/>
              </a:xfrm>
              <a:custGeom>
                <a:avLst/>
                <a:gdLst>
                  <a:gd name="connsiteX0" fmla="*/ 15430 w 876300"/>
                  <a:gd name="connsiteY0" fmla="*/ 367284 h 361950"/>
                  <a:gd name="connsiteX1" fmla="*/ 219837 w 876300"/>
                  <a:gd name="connsiteY1" fmla="*/ 13430 h 361950"/>
                  <a:gd name="connsiteX2" fmla="*/ 656654 w 876300"/>
                  <a:gd name="connsiteY2" fmla="*/ 13430 h 361950"/>
                  <a:gd name="connsiteX3" fmla="*/ 860965 w 876300"/>
                  <a:gd name="connsiteY3" fmla="*/ 367284 h 361950"/>
                  <a:gd name="connsiteX4" fmla="*/ 876395 w 876300"/>
                  <a:gd name="connsiteY4" fmla="*/ 367284 h 361950"/>
                  <a:gd name="connsiteX5" fmla="*/ 664369 w 876300"/>
                  <a:gd name="connsiteY5" fmla="*/ 0 h 361950"/>
                  <a:gd name="connsiteX6" fmla="*/ 212122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837" y="13430"/>
                    </a:lnTo>
                    <a:lnTo>
                      <a:pt x="656654" y="13430"/>
                    </a:lnTo>
                    <a:lnTo>
                      <a:pt x="860965" y="367284"/>
                    </a:lnTo>
                    <a:lnTo>
                      <a:pt x="876395" y="367284"/>
                    </a:lnTo>
                    <a:lnTo>
                      <a:pt x="664369" y="0"/>
                    </a:lnTo>
                    <a:lnTo>
                      <a:pt x="212122"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1" name="Freeform: Shape 230">
                <a:extLst>
                  <a:ext uri="{FF2B5EF4-FFF2-40B4-BE49-F238E27FC236}">
                    <a16:creationId xmlns:a16="http://schemas.microsoft.com/office/drawing/2014/main" id="{3C733223-9122-42AF-B4F7-E093182FCBD5}"/>
                  </a:ext>
                </a:extLst>
              </p:cNvPr>
              <p:cNvSpPr/>
              <p:nvPr/>
            </p:nvSpPr>
            <p:spPr>
              <a:xfrm flipV="1">
                <a:off x="9854225" y="7155"/>
                <a:ext cx="686377" cy="569547"/>
              </a:xfrm>
              <a:custGeom>
                <a:avLst/>
                <a:gdLst>
                  <a:gd name="connsiteX0" fmla="*/ 223647 w 895350"/>
                  <a:gd name="connsiteY0" fmla="*/ 752284 h 742950"/>
                  <a:gd name="connsiteX1" fmla="*/ 15431 w 895350"/>
                  <a:gd name="connsiteY1" fmla="*/ 391668 h 742950"/>
                  <a:gd name="connsiteX2" fmla="*/ 233839 w 895350"/>
                  <a:gd name="connsiteY2" fmla="*/ 13430 h 742950"/>
                  <a:gd name="connsiteX3" fmla="*/ 670655 w 895350"/>
                  <a:gd name="connsiteY3" fmla="*/ 13430 h 742950"/>
                  <a:gd name="connsiteX4" fmla="*/ 889064 w 895350"/>
                  <a:gd name="connsiteY4" fmla="*/ 391668 h 742950"/>
                  <a:gd name="connsiteX5" fmla="*/ 680942 w 895350"/>
                  <a:gd name="connsiteY5" fmla="*/ 752284 h 742950"/>
                  <a:gd name="connsiteX6" fmla="*/ 696373 w 895350"/>
                  <a:gd name="connsiteY6" fmla="*/ 752284 h 742950"/>
                  <a:gd name="connsiteX7" fmla="*/ 904494 w 895350"/>
                  <a:gd name="connsiteY7" fmla="*/ 391668 h 742950"/>
                  <a:gd name="connsiteX8" fmla="*/ 678371 w 895350"/>
                  <a:gd name="connsiteY8" fmla="*/ 0 h 742950"/>
                  <a:gd name="connsiteX9" fmla="*/ 226124 w 895350"/>
                  <a:gd name="connsiteY9" fmla="*/ 0 h 742950"/>
                  <a:gd name="connsiteX10" fmla="*/ 0 w 895350"/>
                  <a:gd name="connsiteY10" fmla="*/ 391668 h 742950"/>
                  <a:gd name="connsiteX11" fmla="*/ 208217 w 895350"/>
                  <a:gd name="connsiteY11" fmla="*/ 752284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350" h="742950">
                    <a:moveTo>
                      <a:pt x="223647" y="752284"/>
                    </a:moveTo>
                    <a:lnTo>
                      <a:pt x="15431" y="391668"/>
                    </a:lnTo>
                    <a:lnTo>
                      <a:pt x="233839" y="13430"/>
                    </a:lnTo>
                    <a:lnTo>
                      <a:pt x="670655" y="13430"/>
                    </a:lnTo>
                    <a:lnTo>
                      <a:pt x="889064" y="391668"/>
                    </a:lnTo>
                    <a:lnTo>
                      <a:pt x="680942" y="752284"/>
                    </a:lnTo>
                    <a:lnTo>
                      <a:pt x="696373" y="752284"/>
                    </a:lnTo>
                    <a:lnTo>
                      <a:pt x="904494" y="391668"/>
                    </a:lnTo>
                    <a:lnTo>
                      <a:pt x="678371" y="0"/>
                    </a:lnTo>
                    <a:lnTo>
                      <a:pt x="226124" y="0"/>
                    </a:lnTo>
                    <a:lnTo>
                      <a:pt x="0" y="391668"/>
                    </a:lnTo>
                    <a:lnTo>
                      <a:pt x="208217" y="752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2" name="Freeform: Shape 231">
                <a:extLst>
                  <a:ext uri="{FF2B5EF4-FFF2-40B4-BE49-F238E27FC236}">
                    <a16:creationId xmlns:a16="http://schemas.microsoft.com/office/drawing/2014/main" id="{D902D092-ECE0-49F9-B3FF-1F5AED15085F}"/>
                  </a:ext>
                </a:extLst>
              </p:cNvPr>
              <p:cNvSpPr/>
              <p:nvPr/>
            </p:nvSpPr>
            <p:spPr>
              <a:xfrm flipV="1">
                <a:off x="9343021" y="273090"/>
                <a:ext cx="686377" cy="598754"/>
              </a:xfrm>
              <a:custGeom>
                <a:avLst/>
                <a:gdLst>
                  <a:gd name="connsiteX0" fmla="*/ 0 w 895350"/>
                  <a:gd name="connsiteY0" fmla="*/ 391668 h 781050"/>
                  <a:gd name="connsiteX1" fmla="*/ 226124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124 w 895350"/>
                  <a:gd name="connsiteY5" fmla="*/ 783336 h 781050"/>
                  <a:gd name="connsiteX6" fmla="*/ 0 w 895350"/>
                  <a:gd name="connsiteY6" fmla="*/ 391668 h 781050"/>
                  <a:gd name="connsiteX7" fmla="*/ 233839 w 895350"/>
                  <a:gd name="connsiteY7" fmla="*/ 13430 h 781050"/>
                  <a:gd name="connsiteX8" fmla="*/ 15431 w 895350"/>
                  <a:gd name="connsiteY8" fmla="*/ 391763 h 781050"/>
                  <a:gd name="connsiteX9" fmla="*/ 233839 w 895350"/>
                  <a:gd name="connsiteY9" fmla="*/ 770096 h 781050"/>
                  <a:gd name="connsiteX10" fmla="*/ 670655 w 895350"/>
                  <a:gd name="connsiteY10" fmla="*/ 770096 h 781050"/>
                  <a:gd name="connsiteX11" fmla="*/ 889063 w 895350"/>
                  <a:gd name="connsiteY11" fmla="*/ 391763 h 781050"/>
                  <a:gd name="connsiteX12" fmla="*/ 670655 w 895350"/>
                  <a:gd name="connsiteY12" fmla="*/ 13430 h 781050"/>
                  <a:gd name="connsiteX13" fmla="*/ 233839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4" y="0"/>
                    </a:lnTo>
                    <a:lnTo>
                      <a:pt x="678371" y="0"/>
                    </a:lnTo>
                    <a:lnTo>
                      <a:pt x="904494" y="391668"/>
                    </a:lnTo>
                    <a:lnTo>
                      <a:pt x="678371" y="783336"/>
                    </a:lnTo>
                    <a:lnTo>
                      <a:pt x="226124" y="783336"/>
                    </a:lnTo>
                    <a:lnTo>
                      <a:pt x="0" y="391668"/>
                    </a:lnTo>
                    <a:close/>
                    <a:moveTo>
                      <a:pt x="233839" y="13430"/>
                    </a:moveTo>
                    <a:lnTo>
                      <a:pt x="15431" y="391763"/>
                    </a:lnTo>
                    <a:lnTo>
                      <a:pt x="233839" y="770096"/>
                    </a:lnTo>
                    <a:lnTo>
                      <a:pt x="670655" y="770096"/>
                    </a:lnTo>
                    <a:lnTo>
                      <a:pt x="889063" y="391763"/>
                    </a:lnTo>
                    <a:lnTo>
                      <a:pt x="670655" y="13430"/>
                    </a:lnTo>
                    <a:lnTo>
                      <a:pt x="233839"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3" name="Freeform: Shape 232">
                <a:extLst>
                  <a:ext uri="{FF2B5EF4-FFF2-40B4-BE49-F238E27FC236}">
                    <a16:creationId xmlns:a16="http://schemas.microsoft.com/office/drawing/2014/main" id="{099BC1CA-4504-4D09-8D5E-DCB7C1AC30E5}"/>
                  </a:ext>
                </a:extLst>
              </p:cNvPr>
              <p:cNvSpPr/>
              <p:nvPr/>
            </p:nvSpPr>
            <p:spPr>
              <a:xfrm flipV="1">
                <a:off x="9353827" y="4089"/>
                <a:ext cx="671773" cy="277472"/>
              </a:xfrm>
              <a:custGeom>
                <a:avLst/>
                <a:gdLst>
                  <a:gd name="connsiteX0" fmla="*/ 15430 w 876300"/>
                  <a:gd name="connsiteY0" fmla="*/ 367284 h 361950"/>
                  <a:gd name="connsiteX1" fmla="*/ 219742 w 876300"/>
                  <a:gd name="connsiteY1" fmla="*/ 13430 h 361950"/>
                  <a:gd name="connsiteX2" fmla="*/ 656558 w 876300"/>
                  <a:gd name="connsiteY2" fmla="*/ 13430 h 361950"/>
                  <a:gd name="connsiteX3" fmla="*/ 860965 w 876300"/>
                  <a:gd name="connsiteY3" fmla="*/ 367284 h 361950"/>
                  <a:gd name="connsiteX4" fmla="*/ 876395 w 876300"/>
                  <a:gd name="connsiteY4" fmla="*/ 367284 h 361950"/>
                  <a:gd name="connsiteX5" fmla="*/ 664274 w 876300"/>
                  <a:gd name="connsiteY5" fmla="*/ 0 h 361950"/>
                  <a:gd name="connsiteX6" fmla="*/ 212027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742" y="13430"/>
                    </a:lnTo>
                    <a:lnTo>
                      <a:pt x="656558" y="13430"/>
                    </a:lnTo>
                    <a:lnTo>
                      <a:pt x="860965" y="367284"/>
                    </a:lnTo>
                    <a:lnTo>
                      <a:pt x="876395" y="367284"/>
                    </a:lnTo>
                    <a:lnTo>
                      <a:pt x="664274" y="0"/>
                    </a:lnTo>
                    <a:lnTo>
                      <a:pt x="212027"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4" name="Freeform: Shape 233">
                <a:extLst>
                  <a:ext uri="{FF2B5EF4-FFF2-40B4-BE49-F238E27FC236}">
                    <a16:creationId xmlns:a16="http://schemas.microsoft.com/office/drawing/2014/main" id="{FE66C856-8D59-4A06-85D5-810C5A14F981}"/>
                  </a:ext>
                </a:extLst>
              </p:cNvPr>
              <p:cNvSpPr/>
              <p:nvPr/>
            </p:nvSpPr>
            <p:spPr>
              <a:xfrm flipV="1">
                <a:off x="11979000" y="1917840"/>
                <a:ext cx="36509" cy="36509"/>
              </a:xfrm>
              <a:custGeom>
                <a:avLst/>
                <a:gdLst>
                  <a:gd name="connsiteX0" fmla="*/ 0 w 47625"/>
                  <a:gd name="connsiteY0" fmla="*/ 25527 h 47625"/>
                  <a:gd name="connsiteX1" fmla="*/ 25527 w 47625"/>
                  <a:gd name="connsiteY1" fmla="*/ 51054 h 47625"/>
                  <a:gd name="connsiteX2" fmla="*/ 51054 w 47625"/>
                  <a:gd name="connsiteY2" fmla="*/ 25527 h 47625"/>
                  <a:gd name="connsiteX3" fmla="*/ 25527 w 47625"/>
                  <a:gd name="connsiteY3" fmla="*/ 0 h 47625"/>
                  <a:gd name="connsiteX4" fmla="*/ 0 w 47625"/>
                  <a:gd name="connsiteY4" fmla="*/ 25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5527"/>
                    </a:moveTo>
                    <a:cubicBezTo>
                      <a:pt x="0" y="39624"/>
                      <a:pt x="11430" y="51054"/>
                      <a:pt x="25527" y="51054"/>
                    </a:cubicBezTo>
                    <a:cubicBezTo>
                      <a:pt x="39624" y="51054"/>
                      <a:pt x="51054" y="39624"/>
                      <a:pt x="51054" y="25527"/>
                    </a:cubicBezTo>
                    <a:cubicBezTo>
                      <a:pt x="51054" y="11430"/>
                      <a:pt x="39624" y="0"/>
                      <a:pt x="25527" y="0"/>
                    </a:cubicBezTo>
                    <a:cubicBezTo>
                      <a:pt x="11430" y="0"/>
                      <a:pt x="0" y="11430"/>
                      <a:pt x="0" y="25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5" name="Freeform: Shape 234">
                <a:extLst>
                  <a:ext uri="{FF2B5EF4-FFF2-40B4-BE49-F238E27FC236}">
                    <a16:creationId xmlns:a16="http://schemas.microsoft.com/office/drawing/2014/main" id="{D5B251E8-4026-493C-9C92-B50561E2EF16}"/>
                  </a:ext>
                </a:extLst>
              </p:cNvPr>
              <p:cNvSpPr/>
              <p:nvPr/>
            </p:nvSpPr>
            <p:spPr>
              <a:xfrm flipV="1">
                <a:off x="11850268" y="1696739"/>
                <a:ext cx="29208" cy="29208"/>
              </a:xfrm>
              <a:custGeom>
                <a:avLst/>
                <a:gdLst>
                  <a:gd name="connsiteX0" fmla="*/ 0 w 38100"/>
                  <a:gd name="connsiteY0" fmla="*/ 22955 h 38100"/>
                  <a:gd name="connsiteX1" fmla="*/ 22955 w 38100"/>
                  <a:gd name="connsiteY1" fmla="*/ 45910 h 38100"/>
                  <a:gd name="connsiteX2" fmla="*/ 45910 w 38100"/>
                  <a:gd name="connsiteY2" fmla="*/ 22955 h 38100"/>
                  <a:gd name="connsiteX3" fmla="*/ 22955 w 38100"/>
                  <a:gd name="connsiteY3" fmla="*/ 0 h 38100"/>
                  <a:gd name="connsiteX4" fmla="*/ 0 w 38100"/>
                  <a:gd name="connsiteY4" fmla="*/ 2295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955"/>
                    </a:moveTo>
                    <a:cubicBezTo>
                      <a:pt x="0" y="35623"/>
                      <a:pt x="10287" y="45910"/>
                      <a:pt x="22955" y="45910"/>
                    </a:cubicBezTo>
                    <a:cubicBezTo>
                      <a:pt x="35623" y="45910"/>
                      <a:pt x="45910" y="35623"/>
                      <a:pt x="45910" y="22955"/>
                    </a:cubicBezTo>
                    <a:cubicBezTo>
                      <a:pt x="45910" y="10287"/>
                      <a:pt x="35623" y="0"/>
                      <a:pt x="22955" y="0"/>
                    </a:cubicBezTo>
                    <a:cubicBezTo>
                      <a:pt x="10192" y="0"/>
                      <a:pt x="0" y="10287"/>
                      <a:pt x="0" y="2295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6" name="Freeform: Shape 235">
                <a:extLst>
                  <a:ext uri="{FF2B5EF4-FFF2-40B4-BE49-F238E27FC236}">
                    <a16:creationId xmlns:a16="http://schemas.microsoft.com/office/drawing/2014/main" id="{308CF3BF-771B-4BD9-A287-25488DB810CB}"/>
                  </a:ext>
                </a:extLst>
              </p:cNvPr>
              <p:cNvSpPr/>
              <p:nvPr/>
            </p:nvSpPr>
            <p:spPr>
              <a:xfrm flipV="1">
                <a:off x="11967098" y="1454900"/>
                <a:ext cx="58415" cy="58415"/>
              </a:xfrm>
              <a:custGeom>
                <a:avLst/>
                <a:gdLst>
                  <a:gd name="connsiteX0" fmla="*/ 82105 w 76200"/>
                  <a:gd name="connsiteY0" fmla="*/ 41053 h 76200"/>
                  <a:gd name="connsiteX1" fmla="*/ 41053 w 76200"/>
                  <a:gd name="connsiteY1" fmla="*/ 0 h 76200"/>
                  <a:gd name="connsiteX2" fmla="*/ 0 w 76200"/>
                  <a:gd name="connsiteY2" fmla="*/ 41053 h 76200"/>
                  <a:gd name="connsiteX3" fmla="*/ 41053 w 76200"/>
                  <a:gd name="connsiteY3" fmla="*/ 82105 h 76200"/>
                  <a:gd name="connsiteX4" fmla="*/ 82105 w 76200"/>
                  <a:gd name="connsiteY4" fmla="*/ 4105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82105" y="41053"/>
                    </a:moveTo>
                    <a:cubicBezTo>
                      <a:pt x="82105" y="18383"/>
                      <a:pt x="63722" y="0"/>
                      <a:pt x="41053" y="0"/>
                    </a:cubicBezTo>
                    <a:cubicBezTo>
                      <a:pt x="18383" y="0"/>
                      <a:pt x="0" y="18383"/>
                      <a:pt x="0" y="41053"/>
                    </a:cubicBezTo>
                    <a:cubicBezTo>
                      <a:pt x="0" y="63722"/>
                      <a:pt x="18383" y="82105"/>
                      <a:pt x="41053" y="82105"/>
                    </a:cubicBezTo>
                    <a:cubicBezTo>
                      <a:pt x="63722" y="82010"/>
                      <a:pt x="82105" y="63627"/>
                      <a:pt x="82105" y="4105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7" name="Freeform: Shape 236">
                <a:extLst>
                  <a:ext uri="{FF2B5EF4-FFF2-40B4-BE49-F238E27FC236}">
                    <a16:creationId xmlns:a16="http://schemas.microsoft.com/office/drawing/2014/main" id="{29C507C3-A878-4A2D-9CD6-377CB682B120}"/>
                  </a:ext>
                </a:extLst>
              </p:cNvPr>
              <p:cNvSpPr/>
              <p:nvPr/>
            </p:nvSpPr>
            <p:spPr>
              <a:xfrm flipV="1">
                <a:off x="11969362" y="1007003"/>
                <a:ext cx="51113" cy="51113"/>
              </a:xfrm>
              <a:custGeom>
                <a:avLst/>
                <a:gdLst>
                  <a:gd name="connsiteX0" fmla="*/ 0 w 66675"/>
                  <a:gd name="connsiteY0" fmla="*/ 38005 h 66675"/>
                  <a:gd name="connsiteX1" fmla="*/ 38005 w 66675"/>
                  <a:gd name="connsiteY1" fmla="*/ 76009 h 66675"/>
                  <a:gd name="connsiteX2" fmla="*/ 76009 w 66675"/>
                  <a:gd name="connsiteY2" fmla="*/ 38005 h 66675"/>
                  <a:gd name="connsiteX3" fmla="*/ 38005 w 66675"/>
                  <a:gd name="connsiteY3" fmla="*/ 0 h 66675"/>
                  <a:gd name="connsiteX4" fmla="*/ 0 w 66675"/>
                  <a:gd name="connsiteY4" fmla="*/ 3800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0" y="38005"/>
                    </a:moveTo>
                    <a:cubicBezTo>
                      <a:pt x="0" y="59055"/>
                      <a:pt x="17050" y="76009"/>
                      <a:pt x="38005" y="76009"/>
                    </a:cubicBezTo>
                    <a:cubicBezTo>
                      <a:pt x="59055" y="76009"/>
                      <a:pt x="76009" y="58960"/>
                      <a:pt x="76009" y="38005"/>
                    </a:cubicBezTo>
                    <a:cubicBezTo>
                      <a:pt x="76009" y="17050"/>
                      <a:pt x="58960" y="0"/>
                      <a:pt x="38005" y="0"/>
                    </a:cubicBezTo>
                    <a:cubicBezTo>
                      <a:pt x="17050" y="0"/>
                      <a:pt x="0" y="17050"/>
                      <a:pt x="0" y="3800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8" name="Freeform: Shape 237">
                <a:extLst>
                  <a:ext uri="{FF2B5EF4-FFF2-40B4-BE49-F238E27FC236}">
                    <a16:creationId xmlns:a16="http://schemas.microsoft.com/office/drawing/2014/main" id="{DB52586B-3ECC-4A58-A4E0-AB1C65E595AA}"/>
                  </a:ext>
                </a:extLst>
              </p:cNvPr>
              <p:cNvSpPr/>
              <p:nvPr/>
            </p:nvSpPr>
            <p:spPr>
              <a:xfrm flipV="1">
                <a:off x="11986083" y="566626"/>
                <a:ext cx="21906" cy="21906"/>
              </a:xfrm>
              <a:custGeom>
                <a:avLst/>
                <a:gdLst>
                  <a:gd name="connsiteX0" fmla="*/ 0 w 28575"/>
                  <a:gd name="connsiteY0" fmla="*/ 16288 h 28575"/>
                  <a:gd name="connsiteX1" fmla="*/ 16288 w 28575"/>
                  <a:gd name="connsiteY1" fmla="*/ 32575 h 28575"/>
                  <a:gd name="connsiteX2" fmla="*/ 32575 w 28575"/>
                  <a:gd name="connsiteY2" fmla="*/ 16288 h 28575"/>
                  <a:gd name="connsiteX3" fmla="*/ 16288 w 28575"/>
                  <a:gd name="connsiteY3" fmla="*/ 0 h 28575"/>
                  <a:gd name="connsiteX4" fmla="*/ 0 w 28575"/>
                  <a:gd name="connsiteY4" fmla="*/ 1628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0" y="16288"/>
                    </a:moveTo>
                    <a:cubicBezTo>
                      <a:pt x="0" y="25336"/>
                      <a:pt x="7334" y="32575"/>
                      <a:pt x="16288" y="32575"/>
                    </a:cubicBezTo>
                    <a:cubicBezTo>
                      <a:pt x="25336" y="32575"/>
                      <a:pt x="32575" y="25241"/>
                      <a:pt x="32575" y="16288"/>
                    </a:cubicBezTo>
                    <a:cubicBezTo>
                      <a:pt x="32575" y="7239"/>
                      <a:pt x="25241" y="0"/>
                      <a:pt x="16288" y="0"/>
                    </a:cubicBezTo>
                    <a:cubicBezTo>
                      <a:pt x="7239" y="0"/>
                      <a:pt x="0" y="7334"/>
                      <a:pt x="0" y="1628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39" name="Freeform: Shape 238">
                <a:extLst>
                  <a:ext uri="{FF2B5EF4-FFF2-40B4-BE49-F238E27FC236}">
                    <a16:creationId xmlns:a16="http://schemas.microsoft.com/office/drawing/2014/main" id="{8CBB220B-EF9E-449C-AD53-97710226878D}"/>
                  </a:ext>
                </a:extLst>
              </p:cNvPr>
              <p:cNvSpPr/>
              <p:nvPr/>
            </p:nvSpPr>
            <p:spPr>
              <a:xfrm flipV="1">
                <a:off x="11977467" y="107703"/>
                <a:ext cx="36509" cy="36509"/>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672"/>
                      <a:pt x="12287" y="55054"/>
                      <a:pt x="27527" y="55054"/>
                    </a:cubicBezTo>
                    <a:cubicBezTo>
                      <a:pt x="42767" y="55054"/>
                      <a:pt x="55054" y="42767"/>
                      <a:pt x="55054" y="27527"/>
                    </a:cubicBezTo>
                    <a:cubicBezTo>
                      <a:pt x="55054" y="12383"/>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0" name="Freeform: Shape 239">
                <a:extLst>
                  <a:ext uri="{FF2B5EF4-FFF2-40B4-BE49-F238E27FC236}">
                    <a16:creationId xmlns:a16="http://schemas.microsoft.com/office/drawing/2014/main" id="{41A5629E-DBE0-44D1-97C1-8F79CF63F109}"/>
                  </a:ext>
                </a:extLst>
              </p:cNvPr>
              <p:cNvSpPr/>
              <p:nvPr/>
            </p:nvSpPr>
            <p:spPr>
              <a:xfrm flipV="1">
                <a:off x="11582727" y="1688122"/>
                <a:ext cx="43811" cy="43811"/>
              </a:xfrm>
              <a:custGeom>
                <a:avLst/>
                <a:gdLst>
                  <a:gd name="connsiteX0" fmla="*/ 0 w 57150"/>
                  <a:gd name="connsiteY0" fmla="*/ 30766 h 57150"/>
                  <a:gd name="connsiteX1" fmla="*/ 30766 w 57150"/>
                  <a:gd name="connsiteY1" fmla="*/ 61532 h 57150"/>
                  <a:gd name="connsiteX2" fmla="*/ 61531 w 57150"/>
                  <a:gd name="connsiteY2" fmla="*/ 30766 h 57150"/>
                  <a:gd name="connsiteX3" fmla="*/ 30766 w 57150"/>
                  <a:gd name="connsiteY3" fmla="*/ 0 h 57150"/>
                  <a:gd name="connsiteX4" fmla="*/ 0 w 57150"/>
                  <a:gd name="connsiteY4" fmla="*/ 3076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0766"/>
                    </a:moveTo>
                    <a:cubicBezTo>
                      <a:pt x="0" y="47816"/>
                      <a:pt x="13811" y="61532"/>
                      <a:pt x="30766" y="61532"/>
                    </a:cubicBezTo>
                    <a:cubicBezTo>
                      <a:pt x="47816" y="61532"/>
                      <a:pt x="61531" y="47720"/>
                      <a:pt x="61531" y="30766"/>
                    </a:cubicBezTo>
                    <a:cubicBezTo>
                      <a:pt x="61531" y="13716"/>
                      <a:pt x="47720" y="0"/>
                      <a:pt x="30766" y="0"/>
                    </a:cubicBezTo>
                    <a:cubicBezTo>
                      <a:pt x="13811" y="0"/>
                      <a:pt x="0" y="13811"/>
                      <a:pt x="0" y="3076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1" name="Freeform: Shape 240">
                <a:extLst>
                  <a:ext uri="{FF2B5EF4-FFF2-40B4-BE49-F238E27FC236}">
                    <a16:creationId xmlns:a16="http://schemas.microsoft.com/office/drawing/2014/main" id="{A7C04098-CC42-47EC-A6CA-016250910846}"/>
                  </a:ext>
                </a:extLst>
              </p:cNvPr>
              <p:cNvSpPr/>
              <p:nvPr/>
            </p:nvSpPr>
            <p:spPr>
              <a:xfrm flipV="1">
                <a:off x="11855817" y="1245555"/>
                <a:ext cx="21906" cy="21906"/>
              </a:xfrm>
              <a:custGeom>
                <a:avLst/>
                <a:gdLst>
                  <a:gd name="connsiteX0" fmla="*/ 31433 w 28575"/>
                  <a:gd name="connsiteY0" fmla="*/ 15716 h 28575"/>
                  <a:gd name="connsiteX1" fmla="*/ 15716 w 28575"/>
                  <a:gd name="connsiteY1" fmla="*/ 0 h 28575"/>
                  <a:gd name="connsiteX2" fmla="*/ 0 w 28575"/>
                  <a:gd name="connsiteY2" fmla="*/ 15716 h 28575"/>
                  <a:gd name="connsiteX3" fmla="*/ 15716 w 28575"/>
                  <a:gd name="connsiteY3" fmla="*/ 31433 h 28575"/>
                  <a:gd name="connsiteX4" fmla="*/ 31433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1433" y="15716"/>
                    </a:moveTo>
                    <a:cubicBezTo>
                      <a:pt x="31433" y="7049"/>
                      <a:pt x="24384" y="0"/>
                      <a:pt x="15716" y="0"/>
                    </a:cubicBezTo>
                    <a:cubicBezTo>
                      <a:pt x="7049" y="0"/>
                      <a:pt x="0" y="7049"/>
                      <a:pt x="0" y="15716"/>
                    </a:cubicBezTo>
                    <a:cubicBezTo>
                      <a:pt x="0" y="24384"/>
                      <a:pt x="7049" y="31433"/>
                      <a:pt x="15716" y="31433"/>
                    </a:cubicBezTo>
                    <a:cubicBezTo>
                      <a:pt x="24384" y="31433"/>
                      <a:pt x="31433" y="24384"/>
                      <a:pt x="31433" y="1571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2" name="Freeform: Shape 241">
                <a:extLst>
                  <a:ext uri="{FF2B5EF4-FFF2-40B4-BE49-F238E27FC236}">
                    <a16:creationId xmlns:a16="http://schemas.microsoft.com/office/drawing/2014/main" id="{380A04C0-A4EB-40F0-A719-599BBEFD0381}"/>
                  </a:ext>
                </a:extLst>
              </p:cNvPr>
              <p:cNvSpPr/>
              <p:nvPr/>
            </p:nvSpPr>
            <p:spPr>
              <a:xfrm flipV="1">
                <a:off x="11583895" y="1234018"/>
                <a:ext cx="43811" cy="43811"/>
              </a:xfrm>
              <a:custGeom>
                <a:avLst/>
                <a:gdLst>
                  <a:gd name="connsiteX0" fmla="*/ 0 w 57150"/>
                  <a:gd name="connsiteY0" fmla="*/ 29242 h 57150"/>
                  <a:gd name="connsiteX1" fmla="*/ 29242 w 57150"/>
                  <a:gd name="connsiteY1" fmla="*/ 58483 h 57150"/>
                  <a:gd name="connsiteX2" fmla="*/ 58484 w 57150"/>
                  <a:gd name="connsiteY2" fmla="*/ 29242 h 57150"/>
                  <a:gd name="connsiteX3" fmla="*/ 29242 w 57150"/>
                  <a:gd name="connsiteY3" fmla="*/ 0 h 57150"/>
                  <a:gd name="connsiteX4" fmla="*/ 0 w 57150"/>
                  <a:gd name="connsiteY4" fmla="*/ 2924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29242"/>
                    </a:moveTo>
                    <a:cubicBezTo>
                      <a:pt x="0" y="45339"/>
                      <a:pt x="13049" y="58483"/>
                      <a:pt x="29242" y="58483"/>
                    </a:cubicBezTo>
                    <a:cubicBezTo>
                      <a:pt x="45339" y="58483"/>
                      <a:pt x="58484" y="45434"/>
                      <a:pt x="58484" y="29242"/>
                    </a:cubicBezTo>
                    <a:cubicBezTo>
                      <a:pt x="58484" y="13144"/>
                      <a:pt x="45434" y="0"/>
                      <a:pt x="29242" y="0"/>
                    </a:cubicBezTo>
                    <a:cubicBezTo>
                      <a:pt x="13145" y="0"/>
                      <a:pt x="0" y="13144"/>
                      <a:pt x="0" y="2924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3" name="Freeform: Shape 242">
                <a:extLst>
                  <a:ext uri="{FF2B5EF4-FFF2-40B4-BE49-F238E27FC236}">
                    <a16:creationId xmlns:a16="http://schemas.microsoft.com/office/drawing/2014/main" id="{E67FD73F-106E-4E79-8643-4C0B59280FE1}"/>
                  </a:ext>
                </a:extLst>
              </p:cNvPr>
              <p:cNvSpPr/>
              <p:nvPr/>
            </p:nvSpPr>
            <p:spPr>
              <a:xfrm flipV="1">
                <a:off x="11461443" y="1021241"/>
                <a:ext cx="21906" cy="21906"/>
              </a:xfrm>
              <a:custGeom>
                <a:avLst/>
                <a:gdLst>
                  <a:gd name="connsiteX0" fmla="*/ 36957 w 28575"/>
                  <a:gd name="connsiteY0" fmla="*/ 18479 h 28575"/>
                  <a:gd name="connsiteX1" fmla="*/ 18479 w 28575"/>
                  <a:gd name="connsiteY1" fmla="*/ 36957 h 28575"/>
                  <a:gd name="connsiteX2" fmla="*/ 0 w 28575"/>
                  <a:gd name="connsiteY2" fmla="*/ 18479 h 28575"/>
                  <a:gd name="connsiteX3" fmla="*/ 18479 w 28575"/>
                  <a:gd name="connsiteY3" fmla="*/ 0 h 28575"/>
                  <a:gd name="connsiteX4" fmla="*/ 36957 w 28575"/>
                  <a:gd name="connsiteY4" fmla="*/ 1847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957" y="18479"/>
                    </a:moveTo>
                    <a:cubicBezTo>
                      <a:pt x="36957" y="28684"/>
                      <a:pt x="28684" y="36957"/>
                      <a:pt x="18479" y="36957"/>
                    </a:cubicBezTo>
                    <a:cubicBezTo>
                      <a:pt x="8273" y="36957"/>
                      <a:pt x="0" y="28684"/>
                      <a:pt x="0" y="18479"/>
                    </a:cubicBezTo>
                    <a:cubicBezTo>
                      <a:pt x="0" y="8273"/>
                      <a:pt x="8273" y="0"/>
                      <a:pt x="18479" y="0"/>
                    </a:cubicBezTo>
                    <a:cubicBezTo>
                      <a:pt x="28684" y="0"/>
                      <a:pt x="36957" y="8273"/>
                      <a:pt x="36957" y="1847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4" name="Freeform: Shape 243">
                <a:extLst>
                  <a:ext uri="{FF2B5EF4-FFF2-40B4-BE49-F238E27FC236}">
                    <a16:creationId xmlns:a16="http://schemas.microsoft.com/office/drawing/2014/main" id="{00EBDFAF-5711-4F74-8695-E042CC551BE5}"/>
                  </a:ext>
                </a:extLst>
              </p:cNvPr>
              <p:cNvSpPr/>
              <p:nvPr/>
            </p:nvSpPr>
            <p:spPr>
              <a:xfrm flipV="1">
                <a:off x="11834788" y="769838"/>
                <a:ext cx="65717" cy="65717"/>
              </a:xfrm>
              <a:custGeom>
                <a:avLst/>
                <a:gdLst>
                  <a:gd name="connsiteX0" fmla="*/ 86296 w 85725"/>
                  <a:gd name="connsiteY0" fmla="*/ 43148 h 85725"/>
                  <a:gd name="connsiteX1" fmla="*/ 43148 w 85725"/>
                  <a:gd name="connsiteY1" fmla="*/ 0 h 85725"/>
                  <a:gd name="connsiteX2" fmla="*/ 0 w 85725"/>
                  <a:gd name="connsiteY2" fmla="*/ 43148 h 85725"/>
                  <a:gd name="connsiteX3" fmla="*/ 43148 w 85725"/>
                  <a:gd name="connsiteY3" fmla="*/ 86296 h 85725"/>
                  <a:gd name="connsiteX4" fmla="*/ 86296 w 85725"/>
                  <a:gd name="connsiteY4" fmla="*/ 4314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6296" y="43148"/>
                    </a:moveTo>
                    <a:cubicBezTo>
                      <a:pt x="86296" y="19336"/>
                      <a:pt x="66961" y="0"/>
                      <a:pt x="43148" y="0"/>
                    </a:cubicBezTo>
                    <a:cubicBezTo>
                      <a:pt x="19336" y="0"/>
                      <a:pt x="0" y="19336"/>
                      <a:pt x="0" y="43148"/>
                    </a:cubicBezTo>
                    <a:cubicBezTo>
                      <a:pt x="0" y="66961"/>
                      <a:pt x="19336" y="86296"/>
                      <a:pt x="43148" y="86296"/>
                    </a:cubicBezTo>
                    <a:cubicBezTo>
                      <a:pt x="66961" y="86296"/>
                      <a:pt x="86296" y="66961"/>
                      <a:pt x="86296" y="43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5" name="Freeform: Shape 244">
                <a:extLst>
                  <a:ext uri="{FF2B5EF4-FFF2-40B4-BE49-F238E27FC236}">
                    <a16:creationId xmlns:a16="http://schemas.microsoft.com/office/drawing/2014/main" id="{A69A4A3F-A782-4387-8EE7-9AA4E627FDB8}"/>
                  </a:ext>
                </a:extLst>
              </p:cNvPr>
              <p:cNvSpPr/>
              <p:nvPr/>
            </p:nvSpPr>
            <p:spPr>
              <a:xfrm flipV="1">
                <a:off x="11843258" y="330264"/>
                <a:ext cx="43811" cy="43811"/>
              </a:xfrm>
              <a:custGeom>
                <a:avLst/>
                <a:gdLst>
                  <a:gd name="connsiteX0" fmla="*/ 0 w 57150"/>
                  <a:gd name="connsiteY0" fmla="*/ 32004 h 57150"/>
                  <a:gd name="connsiteX1" fmla="*/ 32004 w 57150"/>
                  <a:gd name="connsiteY1" fmla="*/ 64008 h 57150"/>
                  <a:gd name="connsiteX2" fmla="*/ 64008 w 57150"/>
                  <a:gd name="connsiteY2" fmla="*/ 32004 h 57150"/>
                  <a:gd name="connsiteX3" fmla="*/ 32004 w 57150"/>
                  <a:gd name="connsiteY3" fmla="*/ 0 h 57150"/>
                  <a:gd name="connsiteX4" fmla="*/ 0 w 57150"/>
                  <a:gd name="connsiteY4" fmla="*/ 3200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2004"/>
                    </a:moveTo>
                    <a:cubicBezTo>
                      <a:pt x="0" y="49721"/>
                      <a:pt x="14383" y="64008"/>
                      <a:pt x="32004" y="64008"/>
                    </a:cubicBezTo>
                    <a:cubicBezTo>
                      <a:pt x="49721" y="64008"/>
                      <a:pt x="64008" y="49626"/>
                      <a:pt x="64008" y="32004"/>
                    </a:cubicBezTo>
                    <a:cubicBezTo>
                      <a:pt x="64008" y="14288"/>
                      <a:pt x="49625" y="0"/>
                      <a:pt x="32004" y="0"/>
                    </a:cubicBezTo>
                    <a:cubicBezTo>
                      <a:pt x="14383" y="-95"/>
                      <a:pt x="0" y="14288"/>
                      <a:pt x="0" y="3200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6" name="Freeform: Shape 245">
                <a:extLst>
                  <a:ext uri="{FF2B5EF4-FFF2-40B4-BE49-F238E27FC236}">
                    <a16:creationId xmlns:a16="http://schemas.microsoft.com/office/drawing/2014/main" id="{F8723096-D6BE-4110-A33B-33928E9F5E35}"/>
                  </a:ext>
                </a:extLst>
              </p:cNvPr>
              <p:cNvSpPr/>
              <p:nvPr/>
            </p:nvSpPr>
            <p:spPr>
              <a:xfrm flipV="1">
                <a:off x="11451147" y="103760"/>
                <a:ext cx="43811" cy="43811"/>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7" name="Freeform: Shape 246">
                <a:extLst>
                  <a:ext uri="{FF2B5EF4-FFF2-40B4-BE49-F238E27FC236}">
                    <a16:creationId xmlns:a16="http://schemas.microsoft.com/office/drawing/2014/main" id="{C7ACE137-5A4D-4086-A5D3-3A95E07986EE}"/>
                  </a:ext>
                </a:extLst>
              </p:cNvPr>
              <p:cNvSpPr/>
              <p:nvPr/>
            </p:nvSpPr>
            <p:spPr>
              <a:xfrm flipV="1">
                <a:off x="11577470" y="327270"/>
                <a:ext cx="51113" cy="51113"/>
              </a:xfrm>
              <a:custGeom>
                <a:avLst/>
                <a:gdLst>
                  <a:gd name="connsiteX0" fmla="*/ 75247 w 66675"/>
                  <a:gd name="connsiteY0" fmla="*/ 37624 h 66675"/>
                  <a:gd name="connsiteX1" fmla="*/ 37624 w 66675"/>
                  <a:gd name="connsiteY1" fmla="*/ 75248 h 66675"/>
                  <a:gd name="connsiteX2" fmla="*/ 0 w 66675"/>
                  <a:gd name="connsiteY2" fmla="*/ 37624 h 66675"/>
                  <a:gd name="connsiteX3" fmla="*/ 37624 w 66675"/>
                  <a:gd name="connsiteY3" fmla="*/ 0 h 66675"/>
                  <a:gd name="connsiteX4" fmla="*/ 75247 w 66675"/>
                  <a:gd name="connsiteY4" fmla="*/ 3762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5247" y="37624"/>
                    </a:moveTo>
                    <a:cubicBezTo>
                      <a:pt x="75247" y="58403"/>
                      <a:pt x="58403" y="75248"/>
                      <a:pt x="37624" y="75248"/>
                    </a:cubicBezTo>
                    <a:cubicBezTo>
                      <a:pt x="16845" y="75248"/>
                      <a:pt x="0" y="58403"/>
                      <a:pt x="0" y="37624"/>
                    </a:cubicBezTo>
                    <a:cubicBezTo>
                      <a:pt x="0" y="16845"/>
                      <a:pt x="16844" y="0"/>
                      <a:pt x="37624" y="0"/>
                    </a:cubicBezTo>
                    <a:cubicBezTo>
                      <a:pt x="58402" y="0"/>
                      <a:pt x="75247" y="16844"/>
                      <a:pt x="75247" y="3762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8" name="Freeform: Shape 247">
                <a:extLst>
                  <a:ext uri="{FF2B5EF4-FFF2-40B4-BE49-F238E27FC236}">
                    <a16:creationId xmlns:a16="http://schemas.microsoft.com/office/drawing/2014/main" id="{31B84BEE-948E-477B-A953-852F0F7F90CF}"/>
                  </a:ext>
                </a:extLst>
              </p:cNvPr>
              <p:cNvSpPr/>
              <p:nvPr/>
            </p:nvSpPr>
            <p:spPr>
              <a:xfrm flipV="1">
                <a:off x="11456770" y="1464247"/>
                <a:ext cx="36509" cy="36509"/>
              </a:xfrm>
              <a:custGeom>
                <a:avLst/>
                <a:gdLst>
                  <a:gd name="connsiteX0" fmla="*/ 24575 w 47625"/>
                  <a:gd name="connsiteY0" fmla="*/ 49149 h 47625"/>
                  <a:gd name="connsiteX1" fmla="*/ 49149 w 47625"/>
                  <a:gd name="connsiteY1" fmla="*/ 24575 h 47625"/>
                  <a:gd name="connsiteX2" fmla="*/ 24575 w 47625"/>
                  <a:gd name="connsiteY2" fmla="*/ 0 h 47625"/>
                  <a:gd name="connsiteX3" fmla="*/ 0 w 47625"/>
                  <a:gd name="connsiteY3" fmla="*/ 24575 h 47625"/>
                  <a:gd name="connsiteX4" fmla="*/ 24575 w 47625"/>
                  <a:gd name="connsiteY4" fmla="*/ 4914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4575" y="49149"/>
                    </a:moveTo>
                    <a:cubicBezTo>
                      <a:pt x="38100" y="49149"/>
                      <a:pt x="49149" y="38195"/>
                      <a:pt x="49149" y="24575"/>
                    </a:cubicBezTo>
                    <a:cubicBezTo>
                      <a:pt x="49149" y="11049"/>
                      <a:pt x="38195" y="0"/>
                      <a:pt x="24575" y="0"/>
                    </a:cubicBezTo>
                    <a:cubicBezTo>
                      <a:pt x="11049" y="0"/>
                      <a:pt x="0" y="10954"/>
                      <a:pt x="0" y="24575"/>
                    </a:cubicBezTo>
                    <a:cubicBezTo>
                      <a:pt x="0" y="38195"/>
                      <a:pt x="10954" y="49149"/>
                      <a:pt x="24575" y="4914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49" name="Freeform: Shape 248">
                <a:extLst>
                  <a:ext uri="{FF2B5EF4-FFF2-40B4-BE49-F238E27FC236}">
                    <a16:creationId xmlns:a16="http://schemas.microsoft.com/office/drawing/2014/main" id="{30D92300-0486-40AC-8B06-7D3A36195AF4}"/>
                  </a:ext>
                </a:extLst>
              </p:cNvPr>
              <p:cNvSpPr/>
              <p:nvPr/>
            </p:nvSpPr>
            <p:spPr>
              <a:xfrm flipV="1">
                <a:off x="11591124" y="788457"/>
                <a:ext cx="29208" cy="29208"/>
              </a:xfrm>
              <a:custGeom>
                <a:avLst/>
                <a:gdLst>
                  <a:gd name="connsiteX0" fmla="*/ 39624 w 38100"/>
                  <a:gd name="connsiteY0" fmla="*/ 19812 h 38100"/>
                  <a:gd name="connsiteX1" fmla="*/ 19812 w 38100"/>
                  <a:gd name="connsiteY1" fmla="*/ 39624 h 38100"/>
                  <a:gd name="connsiteX2" fmla="*/ 0 w 38100"/>
                  <a:gd name="connsiteY2" fmla="*/ 19812 h 38100"/>
                  <a:gd name="connsiteX3" fmla="*/ 19812 w 38100"/>
                  <a:gd name="connsiteY3" fmla="*/ 0 h 38100"/>
                  <a:gd name="connsiteX4" fmla="*/ 39624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624" y="19812"/>
                    </a:moveTo>
                    <a:cubicBezTo>
                      <a:pt x="39624" y="30754"/>
                      <a:pt x="30754" y="39624"/>
                      <a:pt x="19812" y="39624"/>
                    </a:cubicBezTo>
                    <a:cubicBezTo>
                      <a:pt x="8870" y="39624"/>
                      <a:pt x="0" y="30754"/>
                      <a:pt x="0" y="19812"/>
                    </a:cubicBezTo>
                    <a:cubicBezTo>
                      <a:pt x="0" y="8870"/>
                      <a:pt x="8870" y="0"/>
                      <a:pt x="19812" y="0"/>
                    </a:cubicBezTo>
                    <a:cubicBezTo>
                      <a:pt x="30754" y="0"/>
                      <a:pt x="39624" y="8870"/>
                      <a:pt x="39624"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0" name="Freeform: Shape 249">
                <a:extLst>
                  <a:ext uri="{FF2B5EF4-FFF2-40B4-BE49-F238E27FC236}">
                    <a16:creationId xmlns:a16="http://schemas.microsoft.com/office/drawing/2014/main" id="{37D7C027-015C-4174-AD50-24813FFFCDCD}"/>
                  </a:ext>
                </a:extLst>
              </p:cNvPr>
              <p:cNvSpPr/>
              <p:nvPr/>
            </p:nvSpPr>
            <p:spPr>
              <a:xfrm flipV="1">
                <a:off x="11459326" y="563121"/>
                <a:ext cx="29208" cy="29208"/>
              </a:xfrm>
              <a:custGeom>
                <a:avLst/>
                <a:gdLst>
                  <a:gd name="connsiteX0" fmla="*/ 0 w 38100"/>
                  <a:gd name="connsiteY0" fmla="*/ 21241 h 38100"/>
                  <a:gd name="connsiteX1" fmla="*/ 21241 w 38100"/>
                  <a:gd name="connsiteY1" fmla="*/ 42482 h 38100"/>
                  <a:gd name="connsiteX2" fmla="*/ 42481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6" y="42482"/>
                      <a:pt x="42481" y="32957"/>
                      <a:pt x="42481" y="21241"/>
                    </a:cubicBezTo>
                    <a:cubicBezTo>
                      <a:pt x="42481" y="9525"/>
                      <a:pt x="32956" y="0"/>
                      <a:pt x="21241" y="0"/>
                    </a:cubicBezTo>
                    <a:cubicBezTo>
                      <a:pt x="9525" y="95"/>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1" name="Freeform: Shape 250">
                <a:extLst>
                  <a:ext uri="{FF2B5EF4-FFF2-40B4-BE49-F238E27FC236}">
                    <a16:creationId xmlns:a16="http://schemas.microsoft.com/office/drawing/2014/main" id="{7CB5C5A7-8DA9-448F-B689-74DDA9B22BD2}"/>
                  </a:ext>
                </a:extLst>
              </p:cNvPr>
              <p:cNvSpPr/>
              <p:nvPr/>
            </p:nvSpPr>
            <p:spPr>
              <a:xfrm flipV="1">
                <a:off x="11193099" y="107557"/>
                <a:ext cx="36509" cy="36509"/>
              </a:xfrm>
              <a:custGeom>
                <a:avLst/>
                <a:gdLst>
                  <a:gd name="connsiteX0" fmla="*/ 54673 w 47625"/>
                  <a:gd name="connsiteY0" fmla="*/ 27337 h 47625"/>
                  <a:gd name="connsiteX1" fmla="*/ 27337 w 47625"/>
                  <a:gd name="connsiteY1" fmla="*/ 0 h 47625"/>
                  <a:gd name="connsiteX2" fmla="*/ 0 w 47625"/>
                  <a:gd name="connsiteY2" fmla="*/ 27337 h 47625"/>
                  <a:gd name="connsiteX3" fmla="*/ 27337 w 47625"/>
                  <a:gd name="connsiteY3" fmla="*/ 54673 h 47625"/>
                  <a:gd name="connsiteX4" fmla="*/ 54673 w 47625"/>
                  <a:gd name="connsiteY4" fmla="*/ 2733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4673" y="27337"/>
                    </a:moveTo>
                    <a:cubicBezTo>
                      <a:pt x="54673" y="12192"/>
                      <a:pt x="42481" y="0"/>
                      <a:pt x="27337" y="0"/>
                    </a:cubicBezTo>
                    <a:cubicBezTo>
                      <a:pt x="12192" y="0"/>
                      <a:pt x="0" y="12287"/>
                      <a:pt x="0" y="27337"/>
                    </a:cubicBezTo>
                    <a:cubicBezTo>
                      <a:pt x="0" y="42481"/>
                      <a:pt x="12287" y="54673"/>
                      <a:pt x="27337" y="54673"/>
                    </a:cubicBezTo>
                    <a:cubicBezTo>
                      <a:pt x="42481" y="54673"/>
                      <a:pt x="54673" y="42386"/>
                      <a:pt x="54673" y="2733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2" name="Freeform: Shape 251">
                <a:extLst>
                  <a:ext uri="{FF2B5EF4-FFF2-40B4-BE49-F238E27FC236}">
                    <a16:creationId xmlns:a16="http://schemas.microsoft.com/office/drawing/2014/main" id="{1E7B8F0F-225E-479B-8C41-0B91B24BE14E}"/>
                  </a:ext>
                </a:extLst>
              </p:cNvPr>
              <p:cNvSpPr/>
              <p:nvPr/>
            </p:nvSpPr>
            <p:spPr>
              <a:xfrm flipV="1">
                <a:off x="11189813" y="1009412"/>
                <a:ext cx="43811" cy="43811"/>
              </a:xfrm>
              <a:custGeom>
                <a:avLst/>
                <a:gdLst>
                  <a:gd name="connsiteX0" fmla="*/ 63246 w 57150"/>
                  <a:gd name="connsiteY0" fmla="*/ 31623 h 57150"/>
                  <a:gd name="connsiteX1" fmla="*/ 31623 w 57150"/>
                  <a:gd name="connsiteY1" fmla="*/ 63246 h 57150"/>
                  <a:gd name="connsiteX2" fmla="*/ 0 w 57150"/>
                  <a:gd name="connsiteY2" fmla="*/ 31623 h 57150"/>
                  <a:gd name="connsiteX3" fmla="*/ 31623 w 57150"/>
                  <a:gd name="connsiteY3" fmla="*/ 0 h 57150"/>
                  <a:gd name="connsiteX4" fmla="*/ 63246 w 57150"/>
                  <a:gd name="connsiteY4" fmla="*/ 3162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246" y="31623"/>
                    </a:moveTo>
                    <a:cubicBezTo>
                      <a:pt x="63246" y="49088"/>
                      <a:pt x="49088" y="63246"/>
                      <a:pt x="31623" y="63246"/>
                    </a:cubicBezTo>
                    <a:cubicBezTo>
                      <a:pt x="14158" y="63246"/>
                      <a:pt x="0" y="49088"/>
                      <a:pt x="0" y="31623"/>
                    </a:cubicBezTo>
                    <a:cubicBezTo>
                      <a:pt x="0" y="14158"/>
                      <a:pt x="14158" y="0"/>
                      <a:pt x="31623" y="0"/>
                    </a:cubicBezTo>
                    <a:cubicBezTo>
                      <a:pt x="49088" y="0"/>
                      <a:pt x="63246" y="14158"/>
                      <a:pt x="63246" y="3162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3" name="Freeform: Shape 252">
                <a:extLst>
                  <a:ext uri="{FF2B5EF4-FFF2-40B4-BE49-F238E27FC236}">
                    <a16:creationId xmlns:a16="http://schemas.microsoft.com/office/drawing/2014/main" id="{21B83ED3-B01D-4C3A-8891-2FA59335F08B}"/>
                  </a:ext>
                </a:extLst>
              </p:cNvPr>
              <p:cNvSpPr/>
              <p:nvPr/>
            </p:nvSpPr>
            <p:spPr>
              <a:xfrm flipV="1">
                <a:off x="11058233" y="783784"/>
                <a:ext cx="43811" cy="43811"/>
              </a:xfrm>
              <a:custGeom>
                <a:avLst/>
                <a:gdLst>
                  <a:gd name="connsiteX0" fmla="*/ 65532 w 57150"/>
                  <a:gd name="connsiteY0" fmla="*/ 32766 h 57150"/>
                  <a:gd name="connsiteX1" fmla="*/ 32766 w 57150"/>
                  <a:gd name="connsiteY1" fmla="*/ 65532 h 57150"/>
                  <a:gd name="connsiteX2" fmla="*/ 0 w 57150"/>
                  <a:gd name="connsiteY2" fmla="*/ 32766 h 57150"/>
                  <a:gd name="connsiteX3" fmla="*/ 32766 w 57150"/>
                  <a:gd name="connsiteY3" fmla="*/ 0 h 57150"/>
                  <a:gd name="connsiteX4" fmla="*/ 65532 w 57150"/>
                  <a:gd name="connsiteY4" fmla="*/ 3276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5532" y="32766"/>
                    </a:moveTo>
                    <a:cubicBezTo>
                      <a:pt x="65532" y="50862"/>
                      <a:pt x="50862" y="65532"/>
                      <a:pt x="32766" y="65532"/>
                    </a:cubicBezTo>
                    <a:cubicBezTo>
                      <a:pt x="14670" y="65532"/>
                      <a:pt x="0" y="50862"/>
                      <a:pt x="0" y="32766"/>
                    </a:cubicBezTo>
                    <a:cubicBezTo>
                      <a:pt x="0" y="14670"/>
                      <a:pt x="14670" y="0"/>
                      <a:pt x="32766" y="0"/>
                    </a:cubicBezTo>
                    <a:cubicBezTo>
                      <a:pt x="50862" y="0"/>
                      <a:pt x="65532" y="14670"/>
                      <a:pt x="65532" y="3276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4" name="Freeform: Shape 253">
                <a:extLst>
                  <a:ext uri="{FF2B5EF4-FFF2-40B4-BE49-F238E27FC236}">
                    <a16:creationId xmlns:a16="http://schemas.microsoft.com/office/drawing/2014/main" id="{45E483E4-071B-4DB0-9076-F39CFC26C5C0}"/>
                  </a:ext>
                </a:extLst>
              </p:cNvPr>
              <p:cNvSpPr/>
              <p:nvPr/>
            </p:nvSpPr>
            <p:spPr>
              <a:xfrm flipV="1">
                <a:off x="10675907" y="562026"/>
                <a:ext cx="29208" cy="29208"/>
              </a:xfrm>
              <a:custGeom>
                <a:avLst/>
                <a:gdLst>
                  <a:gd name="connsiteX0" fmla="*/ 0 w 38100"/>
                  <a:gd name="connsiteY0" fmla="*/ 19812 h 38100"/>
                  <a:gd name="connsiteX1" fmla="*/ 19812 w 38100"/>
                  <a:gd name="connsiteY1" fmla="*/ 39624 h 38100"/>
                  <a:gd name="connsiteX2" fmla="*/ 39624 w 38100"/>
                  <a:gd name="connsiteY2" fmla="*/ 19812 h 38100"/>
                  <a:gd name="connsiteX3" fmla="*/ 19812 w 38100"/>
                  <a:gd name="connsiteY3" fmla="*/ 0 h 38100"/>
                  <a:gd name="connsiteX4" fmla="*/ 0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19812"/>
                    </a:moveTo>
                    <a:cubicBezTo>
                      <a:pt x="0" y="30766"/>
                      <a:pt x="8858" y="39624"/>
                      <a:pt x="19812" y="39624"/>
                    </a:cubicBezTo>
                    <a:cubicBezTo>
                      <a:pt x="30766" y="39624"/>
                      <a:pt x="39624" y="30766"/>
                      <a:pt x="39624" y="19812"/>
                    </a:cubicBezTo>
                    <a:cubicBezTo>
                      <a:pt x="39624" y="8858"/>
                      <a:pt x="30766" y="0"/>
                      <a:pt x="19812" y="0"/>
                    </a:cubicBezTo>
                    <a:cubicBezTo>
                      <a:pt x="8858" y="0"/>
                      <a:pt x="0" y="8858"/>
                      <a:pt x="0"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5" name="Freeform: Shape 254">
                <a:extLst>
                  <a:ext uri="{FF2B5EF4-FFF2-40B4-BE49-F238E27FC236}">
                    <a16:creationId xmlns:a16="http://schemas.microsoft.com/office/drawing/2014/main" id="{3FF9470F-0E12-481A-9017-1752BD2DB99F}"/>
                  </a:ext>
                </a:extLst>
              </p:cNvPr>
              <p:cNvSpPr/>
              <p:nvPr/>
            </p:nvSpPr>
            <p:spPr>
              <a:xfrm flipV="1">
                <a:off x="10802010" y="785756"/>
                <a:ext cx="36509" cy="36509"/>
              </a:xfrm>
              <a:custGeom>
                <a:avLst/>
                <a:gdLst>
                  <a:gd name="connsiteX0" fmla="*/ 51625 w 47625"/>
                  <a:gd name="connsiteY0" fmla="*/ 25813 h 47625"/>
                  <a:gd name="connsiteX1" fmla="*/ 25813 w 47625"/>
                  <a:gd name="connsiteY1" fmla="*/ 0 h 47625"/>
                  <a:gd name="connsiteX2" fmla="*/ 0 w 47625"/>
                  <a:gd name="connsiteY2" fmla="*/ 25813 h 47625"/>
                  <a:gd name="connsiteX3" fmla="*/ 25813 w 47625"/>
                  <a:gd name="connsiteY3" fmla="*/ 51625 h 47625"/>
                  <a:gd name="connsiteX4" fmla="*/ 51625 w 47625"/>
                  <a:gd name="connsiteY4" fmla="*/ 25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1625" y="25813"/>
                    </a:moveTo>
                    <a:cubicBezTo>
                      <a:pt x="51625" y="11525"/>
                      <a:pt x="40100" y="0"/>
                      <a:pt x="25813" y="0"/>
                    </a:cubicBezTo>
                    <a:cubicBezTo>
                      <a:pt x="11525" y="0"/>
                      <a:pt x="0" y="11525"/>
                      <a:pt x="0" y="25813"/>
                    </a:cubicBezTo>
                    <a:cubicBezTo>
                      <a:pt x="0" y="40100"/>
                      <a:pt x="11525" y="51625"/>
                      <a:pt x="25813" y="51625"/>
                    </a:cubicBezTo>
                    <a:cubicBezTo>
                      <a:pt x="40100" y="51625"/>
                      <a:pt x="51625" y="40005"/>
                      <a:pt x="51625" y="2581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6" name="Freeform: Shape 255">
                <a:extLst>
                  <a:ext uri="{FF2B5EF4-FFF2-40B4-BE49-F238E27FC236}">
                    <a16:creationId xmlns:a16="http://schemas.microsoft.com/office/drawing/2014/main" id="{7868FF64-812A-46A4-9401-A996E45BDAFE}"/>
                  </a:ext>
                </a:extLst>
              </p:cNvPr>
              <p:cNvSpPr/>
              <p:nvPr/>
            </p:nvSpPr>
            <p:spPr>
              <a:xfrm flipV="1">
                <a:off x="11192953" y="560638"/>
                <a:ext cx="36509" cy="36509"/>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767"/>
                      <a:pt x="12287" y="55054"/>
                      <a:pt x="27527" y="55054"/>
                    </a:cubicBezTo>
                    <a:cubicBezTo>
                      <a:pt x="42767" y="55054"/>
                      <a:pt x="55054" y="42767"/>
                      <a:pt x="55054" y="27527"/>
                    </a:cubicBezTo>
                    <a:cubicBezTo>
                      <a:pt x="55054" y="12287"/>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7" name="Freeform: Shape 256">
                <a:extLst>
                  <a:ext uri="{FF2B5EF4-FFF2-40B4-BE49-F238E27FC236}">
                    <a16:creationId xmlns:a16="http://schemas.microsoft.com/office/drawing/2014/main" id="{EF9FEC46-B743-4BEE-853C-758C73EE4347}"/>
                  </a:ext>
                </a:extLst>
              </p:cNvPr>
              <p:cNvSpPr/>
              <p:nvPr/>
            </p:nvSpPr>
            <p:spPr>
              <a:xfrm flipV="1">
                <a:off x="10791861" y="321136"/>
                <a:ext cx="58415" cy="58415"/>
              </a:xfrm>
              <a:custGeom>
                <a:avLst/>
                <a:gdLst>
                  <a:gd name="connsiteX0" fmla="*/ 78295 w 76200"/>
                  <a:gd name="connsiteY0" fmla="*/ 39148 h 76200"/>
                  <a:gd name="connsiteX1" fmla="*/ 39148 w 76200"/>
                  <a:gd name="connsiteY1" fmla="*/ 78295 h 76200"/>
                  <a:gd name="connsiteX2" fmla="*/ 0 w 76200"/>
                  <a:gd name="connsiteY2" fmla="*/ 39148 h 76200"/>
                  <a:gd name="connsiteX3" fmla="*/ 39148 w 76200"/>
                  <a:gd name="connsiteY3" fmla="*/ 0 h 76200"/>
                  <a:gd name="connsiteX4" fmla="*/ 78295 w 76200"/>
                  <a:gd name="connsiteY4" fmla="*/ 3914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8295" y="39148"/>
                    </a:moveTo>
                    <a:cubicBezTo>
                      <a:pt x="78295" y="60768"/>
                      <a:pt x="60768" y="78295"/>
                      <a:pt x="39148" y="78295"/>
                    </a:cubicBezTo>
                    <a:cubicBezTo>
                      <a:pt x="17527" y="78295"/>
                      <a:pt x="0" y="60768"/>
                      <a:pt x="0" y="39148"/>
                    </a:cubicBezTo>
                    <a:cubicBezTo>
                      <a:pt x="0" y="17527"/>
                      <a:pt x="17527" y="0"/>
                      <a:pt x="39148" y="0"/>
                    </a:cubicBezTo>
                    <a:cubicBezTo>
                      <a:pt x="60769" y="0"/>
                      <a:pt x="78295" y="17527"/>
                      <a:pt x="78295" y="39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8" name="Freeform: Shape 257">
                <a:extLst>
                  <a:ext uri="{FF2B5EF4-FFF2-40B4-BE49-F238E27FC236}">
                    <a16:creationId xmlns:a16="http://schemas.microsoft.com/office/drawing/2014/main" id="{548119A1-456F-4681-9186-CD51E9F40643}"/>
                  </a:ext>
                </a:extLst>
              </p:cNvPr>
              <p:cNvSpPr/>
              <p:nvPr/>
            </p:nvSpPr>
            <p:spPr>
              <a:xfrm flipV="1">
                <a:off x="10674154" y="110842"/>
                <a:ext cx="29208" cy="29208"/>
              </a:xfrm>
              <a:custGeom>
                <a:avLst/>
                <a:gdLst>
                  <a:gd name="connsiteX0" fmla="*/ 0 w 38100"/>
                  <a:gd name="connsiteY0" fmla="*/ 22098 h 38100"/>
                  <a:gd name="connsiteX1" fmla="*/ 22098 w 38100"/>
                  <a:gd name="connsiteY1" fmla="*/ 44196 h 38100"/>
                  <a:gd name="connsiteX2" fmla="*/ 44196 w 38100"/>
                  <a:gd name="connsiteY2" fmla="*/ 22098 h 38100"/>
                  <a:gd name="connsiteX3" fmla="*/ 22098 w 38100"/>
                  <a:gd name="connsiteY3" fmla="*/ 0 h 38100"/>
                  <a:gd name="connsiteX4" fmla="*/ 0 w 38100"/>
                  <a:gd name="connsiteY4" fmla="*/ 22098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098"/>
                    </a:moveTo>
                    <a:cubicBezTo>
                      <a:pt x="0" y="34290"/>
                      <a:pt x="9906" y="44196"/>
                      <a:pt x="22098" y="44196"/>
                    </a:cubicBezTo>
                    <a:cubicBezTo>
                      <a:pt x="34290" y="44196"/>
                      <a:pt x="44196" y="34290"/>
                      <a:pt x="44196" y="22098"/>
                    </a:cubicBezTo>
                    <a:cubicBezTo>
                      <a:pt x="44196" y="9906"/>
                      <a:pt x="34290" y="0"/>
                      <a:pt x="22098" y="0"/>
                    </a:cubicBezTo>
                    <a:cubicBezTo>
                      <a:pt x="9906" y="0"/>
                      <a:pt x="0" y="9906"/>
                      <a:pt x="0" y="2209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59" name="Freeform: Shape 258">
                <a:extLst>
                  <a:ext uri="{FF2B5EF4-FFF2-40B4-BE49-F238E27FC236}">
                    <a16:creationId xmlns:a16="http://schemas.microsoft.com/office/drawing/2014/main" id="{1EF7F443-8C47-4234-B3A3-22EFE0790B99}"/>
                  </a:ext>
                </a:extLst>
              </p:cNvPr>
              <p:cNvSpPr/>
              <p:nvPr/>
            </p:nvSpPr>
            <p:spPr>
              <a:xfrm flipV="1">
                <a:off x="11044711" y="315257"/>
                <a:ext cx="73019" cy="73019"/>
              </a:xfrm>
              <a:custGeom>
                <a:avLst/>
                <a:gdLst>
                  <a:gd name="connsiteX0" fmla="*/ 86257 w 95250"/>
                  <a:gd name="connsiteY0" fmla="*/ 35729 h 95250"/>
                  <a:gd name="connsiteX1" fmla="*/ 65328 w 95250"/>
                  <a:gd name="connsiteY1" fmla="*/ 86257 h 95250"/>
                  <a:gd name="connsiteX2" fmla="*/ 14800 w 95250"/>
                  <a:gd name="connsiteY2" fmla="*/ 65328 h 95250"/>
                  <a:gd name="connsiteX3" fmla="*/ 35729 w 95250"/>
                  <a:gd name="connsiteY3" fmla="*/ 14800 h 95250"/>
                  <a:gd name="connsiteX4" fmla="*/ 86257 w 95250"/>
                  <a:gd name="connsiteY4" fmla="*/ 3572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257" y="35729"/>
                    </a:moveTo>
                    <a:cubicBezTo>
                      <a:pt x="94430" y="55461"/>
                      <a:pt x="85060" y="78083"/>
                      <a:pt x="65328" y="86257"/>
                    </a:cubicBezTo>
                    <a:cubicBezTo>
                      <a:pt x="45595" y="94430"/>
                      <a:pt x="22973" y="85060"/>
                      <a:pt x="14800" y="65328"/>
                    </a:cubicBezTo>
                    <a:cubicBezTo>
                      <a:pt x="6626" y="45595"/>
                      <a:pt x="15996" y="22973"/>
                      <a:pt x="35729" y="14800"/>
                    </a:cubicBezTo>
                    <a:cubicBezTo>
                      <a:pt x="55461" y="6626"/>
                      <a:pt x="78083" y="15996"/>
                      <a:pt x="86257" y="357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0" name="Freeform: Shape 259">
                <a:extLst>
                  <a:ext uri="{FF2B5EF4-FFF2-40B4-BE49-F238E27FC236}">
                    <a16:creationId xmlns:a16="http://schemas.microsoft.com/office/drawing/2014/main" id="{EDFCD0D9-7B13-4D9B-AA7D-B7E83BF7C7E1}"/>
                  </a:ext>
                </a:extLst>
              </p:cNvPr>
              <p:cNvSpPr/>
              <p:nvPr/>
            </p:nvSpPr>
            <p:spPr>
              <a:xfrm flipV="1">
                <a:off x="9892634" y="568087"/>
                <a:ext cx="21906" cy="21906"/>
              </a:xfrm>
              <a:custGeom>
                <a:avLst/>
                <a:gdLst>
                  <a:gd name="connsiteX0" fmla="*/ 36385 w 28575"/>
                  <a:gd name="connsiteY0" fmla="*/ 18193 h 28575"/>
                  <a:gd name="connsiteX1" fmla="*/ 18193 w 28575"/>
                  <a:gd name="connsiteY1" fmla="*/ 36386 h 28575"/>
                  <a:gd name="connsiteX2" fmla="*/ 0 w 28575"/>
                  <a:gd name="connsiteY2" fmla="*/ 18193 h 28575"/>
                  <a:gd name="connsiteX3" fmla="*/ 18193 w 28575"/>
                  <a:gd name="connsiteY3" fmla="*/ 0 h 28575"/>
                  <a:gd name="connsiteX4" fmla="*/ 36385 w 28575"/>
                  <a:gd name="connsiteY4" fmla="*/ 18193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385" y="18193"/>
                    </a:moveTo>
                    <a:cubicBezTo>
                      <a:pt x="36385" y="28240"/>
                      <a:pt x="28240" y="36386"/>
                      <a:pt x="18193" y="36386"/>
                    </a:cubicBezTo>
                    <a:cubicBezTo>
                      <a:pt x="8145" y="36386"/>
                      <a:pt x="0" y="28240"/>
                      <a:pt x="0" y="18193"/>
                    </a:cubicBezTo>
                    <a:cubicBezTo>
                      <a:pt x="0" y="8145"/>
                      <a:pt x="8145" y="0"/>
                      <a:pt x="18193" y="0"/>
                    </a:cubicBezTo>
                    <a:cubicBezTo>
                      <a:pt x="28240" y="0"/>
                      <a:pt x="36385" y="8145"/>
                      <a:pt x="36385" y="1819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1" name="Freeform: Shape 260">
                <a:extLst>
                  <a:ext uri="{FF2B5EF4-FFF2-40B4-BE49-F238E27FC236}">
                    <a16:creationId xmlns:a16="http://schemas.microsoft.com/office/drawing/2014/main" id="{C8B2B0F8-E28F-4E8E-B5B2-00BD049C317B}"/>
                  </a:ext>
                </a:extLst>
              </p:cNvPr>
              <p:cNvSpPr/>
              <p:nvPr/>
            </p:nvSpPr>
            <p:spPr>
              <a:xfrm flipV="1">
                <a:off x="10413331" y="563121"/>
                <a:ext cx="29208" cy="29208"/>
              </a:xfrm>
              <a:custGeom>
                <a:avLst/>
                <a:gdLst>
                  <a:gd name="connsiteX0" fmla="*/ 0 w 38100"/>
                  <a:gd name="connsiteY0" fmla="*/ 21241 h 38100"/>
                  <a:gd name="connsiteX1" fmla="*/ 21241 w 38100"/>
                  <a:gd name="connsiteY1" fmla="*/ 42482 h 38100"/>
                  <a:gd name="connsiteX2" fmla="*/ 42482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7" y="42482"/>
                      <a:pt x="42482" y="32957"/>
                      <a:pt x="42482" y="21241"/>
                    </a:cubicBezTo>
                    <a:cubicBezTo>
                      <a:pt x="42482" y="9525"/>
                      <a:pt x="32957" y="0"/>
                      <a:pt x="21241" y="0"/>
                    </a:cubicBezTo>
                    <a:cubicBezTo>
                      <a:pt x="9430" y="0"/>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2" name="Freeform: Shape 261">
                <a:extLst>
                  <a:ext uri="{FF2B5EF4-FFF2-40B4-BE49-F238E27FC236}">
                    <a16:creationId xmlns:a16="http://schemas.microsoft.com/office/drawing/2014/main" id="{0AF4DDED-976E-4B95-8912-8D4AC837BEAD}"/>
                  </a:ext>
                </a:extLst>
              </p:cNvPr>
              <p:cNvSpPr/>
              <p:nvPr/>
            </p:nvSpPr>
            <p:spPr>
              <a:xfrm flipV="1">
                <a:off x="10267001" y="322962"/>
                <a:ext cx="58415" cy="58415"/>
              </a:xfrm>
              <a:custGeom>
                <a:avLst/>
                <a:gdLst>
                  <a:gd name="connsiteX0" fmla="*/ 83058 w 76200"/>
                  <a:gd name="connsiteY0" fmla="*/ 41529 h 76200"/>
                  <a:gd name="connsiteX1" fmla="*/ 41529 w 76200"/>
                  <a:gd name="connsiteY1" fmla="*/ 0 h 76200"/>
                  <a:gd name="connsiteX2" fmla="*/ 0 w 76200"/>
                  <a:gd name="connsiteY2" fmla="*/ 41529 h 76200"/>
                  <a:gd name="connsiteX3" fmla="*/ 41529 w 76200"/>
                  <a:gd name="connsiteY3" fmla="*/ 83058 h 76200"/>
                  <a:gd name="connsiteX4" fmla="*/ 83058 w 76200"/>
                  <a:gd name="connsiteY4" fmla="*/ 41529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83058" y="41529"/>
                    </a:moveTo>
                    <a:cubicBezTo>
                      <a:pt x="83058" y="18574"/>
                      <a:pt x="64484" y="0"/>
                      <a:pt x="41529" y="0"/>
                    </a:cubicBezTo>
                    <a:cubicBezTo>
                      <a:pt x="18574" y="0"/>
                      <a:pt x="0" y="18574"/>
                      <a:pt x="0" y="41529"/>
                    </a:cubicBezTo>
                    <a:cubicBezTo>
                      <a:pt x="0" y="64484"/>
                      <a:pt x="18574" y="83058"/>
                      <a:pt x="41529" y="83058"/>
                    </a:cubicBezTo>
                    <a:cubicBezTo>
                      <a:pt x="64484" y="83058"/>
                      <a:pt x="83058" y="64389"/>
                      <a:pt x="83058" y="415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3" name="Freeform: Shape 262">
                <a:extLst>
                  <a:ext uri="{FF2B5EF4-FFF2-40B4-BE49-F238E27FC236}">
                    <a16:creationId xmlns:a16="http://schemas.microsoft.com/office/drawing/2014/main" id="{DE47A2EF-8361-4239-BA54-E18708012B90}"/>
                  </a:ext>
                </a:extLst>
              </p:cNvPr>
              <p:cNvSpPr/>
              <p:nvPr/>
            </p:nvSpPr>
            <p:spPr>
              <a:xfrm flipV="1">
                <a:off x="10412308" y="111207"/>
                <a:ext cx="29208" cy="29208"/>
              </a:xfrm>
              <a:custGeom>
                <a:avLst/>
                <a:gdLst>
                  <a:gd name="connsiteX0" fmla="*/ 0 w 38100"/>
                  <a:gd name="connsiteY0" fmla="*/ 22574 h 38100"/>
                  <a:gd name="connsiteX1" fmla="*/ 22574 w 38100"/>
                  <a:gd name="connsiteY1" fmla="*/ 45148 h 38100"/>
                  <a:gd name="connsiteX2" fmla="*/ 45149 w 38100"/>
                  <a:gd name="connsiteY2" fmla="*/ 22574 h 38100"/>
                  <a:gd name="connsiteX3" fmla="*/ 22574 w 38100"/>
                  <a:gd name="connsiteY3" fmla="*/ 0 h 38100"/>
                  <a:gd name="connsiteX4" fmla="*/ 0 w 38100"/>
                  <a:gd name="connsiteY4" fmla="*/ 2257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574"/>
                    </a:moveTo>
                    <a:cubicBezTo>
                      <a:pt x="0" y="35052"/>
                      <a:pt x="10096" y="45148"/>
                      <a:pt x="22574" y="45148"/>
                    </a:cubicBezTo>
                    <a:cubicBezTo>
                      <a:pt x="35052" y="45148"/>
                      <a:pt x="45149" y="35052"/>
                      <a:pt x="45149" y="22574"/>
                    </a:cubicBezTo>
                    <a:cubicBezTo>
                      <a:pt x="45149" y="10096"/>
                      <a:pt x="35052" y="0"/>
                      <a:pt x="22574" y="0"/>
                    </a:cubicBezTo>
                    <a:cubicBezTo>
                      <a:pt x="10096" y="0"/>
                      <a:pt x="0" y="10096"/>
                      <a:pt x="0" y="2257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4" name="Freeform: Shape 263">
                <a:extLst>
                  <a:ext uri="{FF2B5EF4-FFF2-40B4-BE49-F238E27FC236}">
                    <a16:creationId xmlns:a16="http://schemas.microsoft.com/office/drawing/2014/main" id="{B21316AC-6954-4A7C-9428-82032955C801}"/>
                  </a:ext>
                </a:extLst>
              </p:cNvPr>
              <p:cNvSpPr/>
              <p:nvPr/>
            </p:nvSpPr>
            <p:spPr>
              <a:xfrm flipV="1">
                <a:off x="9626334" y="558229"/>
                <a:ext cx="36509" cy="36509"/>
              </a:xfrm>
              <a:custGeom>
                <a:avLst/>
                <a:gdLst>
                  <a:gd name="connsiteX0" fmla="*/ 24479 w 47625"/>
                  <a:gd name="connsiteY0" fmla="*/ 48958 h 47625"/>
                  <a:gd name="connsiteX1" fmla="*/ 48958 w 47625"/>
                  <a:gd name="connsiteY1" fmla="*/ 24479 h 47625"/>
                  <a:gd name="connsiteX2" fmla="*/ 24479 w 47625"/>
                  <a:gd name="connsiteY2" fmla="*/ 0 h 47625"/>
                  <a:gd name="connsiteX3" fmla="*/ 0 w 47625"/>
                  <a:gd name="connsiteY3" fmla="*/ 24479 h 47625"/>
                  <a:gd name="connsiteX4" fmla="*/ 24479 w 47625"/>
                  <a:gd name="connsiteY4" fmla="*/ 48958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4479" y="48958"/>
                    </a:moveTo>
                    <a:cubicBezTo>
                      <a:pt x="38005" y="48958"/>
                      <a:pt x="48958" y="38005"/>
                      <a:pt x="48958" y="24479"/>
                    </a:cubicBezTo>
                    <a:cubicBezTo>
                      <a:pt x="48958" y="10954"/>
                      <a:pt x="38005" y="0"/>
                      <a:pt x="24479" y="0"/>
                    </a:cubicBezTo>
                    <a:cubicBezTo>
                      <a:pt x="10954" y="0"/>
                      <a:pt x="0" y="10954"/>
                      <a:pt x="0" y="24479"/>
                    </a:cubicBezTo>
                    <a:cubicBezTo>
                      <a:pt x="0" y="37909"/>
                      <a:pt x="10954" y="48958"/>
                      <a:pt x="24479" y="4895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5" name="Freeform: Shape 264">
                <a:extLst>
                  <a:ext uri="{FF2B5EF4-FFF2-40B4-BE49-F238E27FC236}">
                    <a16:creationId xmlns:a16="http://schemas.microsoft.com/office/drawing/2014/main" id="{7255985B-2BE8-4550-9A8D-F68C24AC3BF8}"/>
                  </a:ext>
                </a:extLst>
              </p:cNvPr>
              <p:cNvSpPr/>
              <p:nvPr/>
            </p:nvSpPr>
            <p:spPr>
              <a:xfrm flipV="1">
                <a:off x="9882119" y="103760"/>
                <a:ext cx="43811" cy="43811"/>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6" name="Freeform: Shape 265">
                <a:extLst>
                  <a:ext uri="{FF2B5EF4-FFF2-40B4-BE49-F238E27FC236}">
                    <a16:creationId xmlns:a16="http://schemas.microsoft.com/office/drawing/2014/main" id="{7BA795B9-794E-43E0-8336-0B116CBC120B}"/>
                  </a:ext>
                </a:extLst>
              </p:cNvPr>
              <p:cNvSpPr/>
              <p:nvPr/>
            </p:nvSpPr>
            <p:spPr>
              <a:xfrm flipV="1">
                <a:off x="9620639" y="103760"/>
                <a:ext cx="43811" cy="43811"/>
              </a:xfrm>
              <a:custGeom>
                <a:avLst/>
                <a:gdLst>
                  <a:gd name="connsiteX0" fmla="*/ 63817 w 57150"/>
                  <a:gd name="connsiteY0" fmla="*/ 31909 h 57150"/>
                  <a:gd name="connsiteX1" fmla="*/ 31909 w 57150"/>
                  <a:gd name="connsiteY1" fmla="*/ 0 h 57150"/>
                  <a:gd name="connsiteX2" fmla="*/ 0 w 57150"/>
                  <a:gd name="connsiteY2" fmla="*/ 31909 h 57150"/>
                  <a:gd name="connsiteX3" fmla="*/ 31909 w 57150"/>
                  <a:gd name="connsiteY3" fmla="*/ 63818 h 57150"/>
                  <a:gd name="connsiteX4" fmla="*/ 63817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817" y="31909"/>
                    </a:moveTo>
                    <a:cubicBezTo>
                      <a:pt x="63817" y="14288"/>
                      <a:pt x="49530" y="0"/>
                      <a:pt x="31909" y="0"/>
                    </a:cubicBezTo>
                    <a:cubicBezTo>
                      <a:pt x="14288" y="0"/>
                      <a:pt x="0" y="14288"/>
                      <a:pt x="0" y="31909"/>
                    </a:cubicBezTo>
                    <a:cubicBezTo>
                      <a:pt x="0" y="49530"/>
                      <a:pt x="14288" y="63818"/>
                      <a:pt x="31909" y="63818"/>
                    </a:cubicBezTo>
                    <a:cubicBezTo>
                      <a:pt x="49530" y="63818"/>
                      <a:pt x="63817" y="49530"/>
                      <a:pt x="63817"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7" name="Freeform: Shape 266">
                <a:extLst>
                  <a:ext uri="{FF2B5EF4-FFF2-40B4-BE49-F238E27FC236}">
                    <a16:creationId xmlns:a16="http://schemas.microsoft.com/office/drawing/2014/main" id="{928574E0-14B5-44C2-A622-68DE059F9A1A}"/>
                  </a:ext>
                </a:extLst>
              </p:cNvPr>
              <p:cNvSpPr/>
              <p:nvPr/>
            </p:nvSpPr>
            <p:spPr>
              <a:xfrm flipV="1">
                <a:off x="9494973" y="785391"/>
                <a:ext cx="36509" cy="36509"/>
              </a:xfrm>
              <a:custGeom>
                <a:avLst/>
                <a:gdLst>
                  <a:gd name="connsiteX0" fmla="*/ 50673 w 47625"/>
                  <a:gd name="connsiteY0" fmla="*/ 25336 h 47625"/>
                  <a:gd name="connsiteX1" fmla="*/ 25336 w 47625"/>
                  <a:gd name="connsiteY1" fmla="*/ 50673 h 47625"/>
                  <a:gd name="connsiteX2" fmla="*/ 0 w 47625"/>
                  <a:gd name="connsiteY2" fmla="*/ 25336 h 47625"/>
                  <a:gd name="connsiteX3" fmla="*/ 25336 w 47625"/>
                  <a:gd name="connsiteY3" fmla="*/ 0 h 47625"/>
                  <a:gd name="connsiteX4" fmla="*/ 50673 w 47625"/>
                  <a:gd name="connsiteY4" fmla="*/ 2533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0673" y="25336"/>
                    </a:moveTo>
                    <a:cubicBezTo>
                      <a:pt x="50673" y="39329"/>
                      <a:pt x="39329" y="50673"/>
                      <a:pt x="25336" y="50673"/>
                    </a:cubicBezTo>
                    <a:cubicBezTo>
                      <a:pt x="11344" y="50673"/>
                      <a:pt x="0" y="39329"/>
                      <a:pt x="0" y="25336"/>
                    </a:cubicBezTo>
                    <a:cubicBezTo>
                      <a:pt x="0" y="11344"/>
                      <a:pt x="11344" y="0"/>
                      <a:pt x="25336" y="0"/>
                    </a:cubicBezTo>
                    <a:cubicBezTo>
                      <a:pt x="39329" y="0"/>
                      <a:pt x="50673" y="11343"/>
                      <a:pt x="50673" y="2533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8" name="Freeform: Shape 267">
                <a:extLst>
                  <a:ext uri="{FF2B5EF4-FFF2-40B4-BE49-F238E27FC236}">
                    <a16:creationId xmlns:a16="http://schemas.microsoft.com/office/drawing/2014/main" id="{320608B7-3D1B-4EDD-AC21-D5F4A5127B85}"/>
                  </a:ext>
                </a:extLst>
              </p:cNvPr>
              <p:cNvSpPr/>
              <p:nvPr/>
            </p:nvSpPr>
            <p:spPr>
              <a:xfrm flipV="1">
                <a:off x="9492855" y="334572"/>
                <a:ext cx="36509" cy="36509"/>
              </a:xfrm>
              <a:custGeom>
                <a:avLst/>
                <a:gdLst>
                  <a:gd name="connsiteX0" fmla="*/ 0 w 47625"/>
                  <a:gd name="connsiteY0" fmla="*/ 28099 h 47625"/>
                  <a:gd name="connsiteX1" fmla="*/ 28099 w 47625"/>
                  <a:gd name="connsiteY1" fmla="*/ 56197 h 47625"/>
                  <a:gd name="connsiteX2" fmla="*/ 56197 w 47625"/>
                  <a:gd name="connsiteY2" fmla="*/ 28099 h 47625"/>
                  <a:gd name="connsiteX3" fmla="*/ 28099 w 47625"/>
                  <a:gd name="connsiteY3" fmla="*/ 0 h 47625"/>
                  <a:gd name="connsiteX4" fmla="*/ 0 w 47625"/>
                  <a:gd name="connsiteY4" fmla="*/ 2809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8099"/>
                    </a:moveTo>
                    <a:cubicBezTo>
                      <a:pt x="0" y="43624"/>
                      <a:pt x="12573" y="56197"/>
                      <a:pt x="28099" y="56197"/>
                    </a:cubicBezTo>
                    <a:cubicBezTo>
                      <a:pt x="43624" y="56197"/>
                      <a:pt x="56197" y="43624"/>
                      <a:pt x="56197" y="28099"/>
                    </a:cubicBezTo>
                    <a:cubicBezTo>
                      <a:pt x="56197" y="12573"/>
                      <a:pt x="43624" y="0"/>
                      <a:pt x="28099" y="0"/>
                    </a:cubicBezTo>
                    <a:cubicBezTo>
                      <a:pt x="12573" y="0"/>
                      <a:pt x="0" y="12573"/>
                      <a:pt x="0" y="2809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69" name="Freeform: Shape 268">
                <a:extLst>
                  <a:ext uri="{FF2B5EF4-FFF2-40B4-BE49-F238E27FC236}">
                    <a16:creationId xmlns:a16="http://schemas.microsoft.com/office/drawing/2014/main" id="{DEE9BADC-27C9-4DD4-BCEC-725539D1E014}"/>
                  </a:ext>
                </a:extLst>
              </p:cNvPr>
              <p:cNvSpPr/>
              <p:nvPr/>
            </p:nvSpPr>
            <p:spPr>
              <a:xfrm flipV="1">
                <a:off x="9231156" y="787727"/>
                <a:ext cx="36509" cy="36509"/>
              </a:xfrm>
              <a:custGeom>
                <a:avLst/>
                <a:gdLst>
                  <a:gd name="connsiteX0" fmla="*/ 56769 w 47625"/>
                  <a:gd name="connsiteY0" fmla="*/ 28384 h 47625"/>
                  <a:gd name="connsiteX1" fmla="*/ 28385 w 47625"/>
                  <a:gd name="connsiteY1" fmla="*/ 56769 h 47625"/>
                  <a:gd name="connsiteX2" fmla="*/ 0 w 47625"/>
                  <a:gd name="connsiteY2" fmla="*/ 28384 h 47625"/>
                  <a:gd name="connsiteX3" fmla="*/ 28385 w 47625"/>
                  <a:gd name="connsiteY3" fmla="*/ 0 h 47625"/>
                  <a:gd name="connsiteX4" fmla="*/ 56769 w 47625"/>
                  <a:gd name="connsiteY4" fmla="*/ 2838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6769" y="28384"/>
                    </a:moveTo>
                    <a:cubicBezTo>
                      <a:pt x="56769" y="44061"/>
                      <a:pt x="44061" y="56769"/>
                      <a:pt x="28385" y="56769"/>
                    </a:cubicBezTo>
                    <a:cubicBezTo>
                      <a:pt x="12708" y="56769"/>
                      <a:pt x="0" y="44061"/>
                      <a:pt x="0" y="28384"/>
                    </a:cubicBezTo>
                    <a:cubicBezTo>
                      <a:pt x="0" y="12708"/>
                      <a:pt x="12708" y="0"/>
                      <a:pt x="28385" y="0"/>
                    </a:cubicBezTo>
                    <a:cubicBezTo>
                      <a:pt x="44061" y="0"/>
                      <a:pt x="56769" y="12708"/>
                      <a:pt x="56769" y="2838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70" name="Freeform: Shape 269">
                <a:extLst>
                  <a:ext uri="{FF2B5EF4-FFF2-40B4-BE49-F238E27FC236}">
                    <a16:creationId xmlns:a16="http://schemas.microsoft.com/office/drawing/2014/main" id="{A31E382F-9EEE-4090-BD8D-26A738B039D6}"/>
                  </a:ext>
                </a:extLst>
              </p:cNvPr>
              <p:cNvSpPr/>
              <p:nvPr/>
            </p:nvSpPr>
            <p:spPr>
              <a:xfrm flipV="1">
                <a:off x="9110017" y="566261"/>
                <a:ext cx="21906" cy="21906"/>
              </a:xfrm>
              <a:custGeom>
                <a:avLst/>
                <a:gdLst>
                  <a:gd name="connsiteX0" fmla="*/ 15811 w 28575"/>
                  <a:gd name="connsiteY0" fmla="*/ 0 h 28575"/>
                  <a:gd name="connsiteX1" fmla="*/ 0 w 28575"/>
                  <a:gd name="connsiteY1" fmla="*/ 15812 h 28575"/>
                  <a:gd name="connsiteX2" fmla="*/ 15811 w 28575"/>
                  <a:gd name="connsiteY2" fmla="*/ 31623 h 28575"/>
                  <a:gd name="connsiteX3" fmla="*/ 31623 w 28575"/>
                  <a:gd name="connsiteY3" fmla="*/ 15812 h 28575"/>
                  <a:gd name="connsiteX4" fmla="*/ 15811 w 2857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811" y="0"/>
                    </a:moveTo>
                    <a:cubicBezTo>
                      <a:pt x="7048" y="0"/>
                      <a:pt x="0" y="7048"/>
                      <a:pt x="0" y="15812"/>
                    </a:cubicBezTo>
                    <a:cubicBezTo>
                      <a:pt x="0" y="24574"/>
                      <a:pt x="7048" y="31623"/>
                      <a:pt x="15811" y="31623"/>
                    </a:cubicBezTo>
                    <a:cubicBezTo>
                      <a:pt x="24575" y="31623"/>
                      <a:pt x="31623" y="24574"/>
                      <a:pt x="31623" y="15812"/>
                    </a:cubicBezTo>
                    <a:cubicBezTo>
                      <a:pt x="31623" y="7048"/>
                      <a:pt x="24575" y="0"/>
                      <a:pt x="15811" y="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71" name="Freeform: Shape 270">
                <a:extLst>
                  <a:ext uri="{FF2B5EF4-FFF2-40B4-BE49-F238E27FC236}">
                    <a16:creationId xmlns:a16="http://schemas.microsoft.com/office/drawing/2014/main" id="{8701F39E-00D3-4892-BDBB-CCF91BD393B8}"/>
                  </a:ext>
                </a:extLst>
              </p:cNvPr>
              <p:cNvSpPr/>
              <p:nvPr/>
            </p:nvSpPr>
            <p:spPr>
              <a:xfrm flipV="1">
                <a:off x="9230280" y="328366"/>
                <a:ext cx="43811" cy="43811"/>
              </a:xfrm>
              <a:custGeom>
                <a:avLst/>
                <a:gdLst>
                  <a:gd name="connsiteX0" fmla="*/ 59055 w 57150"/>
                  <a:gd name="connsiteY0" fmla="*/ 29527 h 57150"/>
                  <a:gd name="connsiteX1" fmla="*/ 29528 w 57150"/>
                  <a:gd name="connsiteY1" fmla="*/ 59055 h 57150"/>
                  <a:gd name="connsiteX2" fmla="*/ 0 w 57150"/>
                  <a:gd name="connsiteY2" fmla="*/ 29527 h 57150"/>
                  <a:gd name="connsiteX3" fmla="*/ 29528 w 57150"/>
                  <a:gd name="connsiteY3" fmla="*/ 0 h 57150"/>
                  <a:gd name="connsiteX4" fmla="*/ 59055 w 57150"/>
                  <a:gd name="connsiteY4" fmla="*/ 29527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9055" y="29527"/>
                    </a:moveTo>
                    <a:cubicBezTo>
                      <a:pt x="59055" y="45835"/>
                      <a:pt x="45835" y="59055"/>
                      <a:pt x="29528" y="59055"/>
                    </a:cubicBezTo>
                    <a:cubicBezTo>
                      <a:pt x="13220" y="59055"/>
                      <a:pt x="0" y="45835"/>
                      <a:pt x="0" y="29527"/>
                    </a:cubicBezTo>
                    <a:cubicBezTo>
                      <a:pt x="0" y="13220"/>
                      <a:pt x="13220" y="0"/>
                      <a:pt x="29528" y="0"/>
                    </a:cubicBezTo>
                    <a:cubicBezTo>
                      <a:pt x="45835" y="0"/>
                      <a:pt x="59055" y="13220"/>
                      <a:pt x="59055" y="29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72" name="Freeform: Shape 271">
                <a:extLst>
                  <a:ext uri="{FF2B5EF4-FFF2-40B4-BE49-F238E27FC236}">
                    <a16:creationId xmlns:a16="http://schemas.microsoft.com/office/drawing/2014/main" id="{C9961474-B4E7-4CA1-8F0B-C28809ED5889}"/>
                  </a:ext>
                </a:extLst>
              </p:cNvPr>
              <p:cNvSpPr/>
              <p:nvPr/>
            </p:nvSpPr>
            <p:spPr>
              <a:xfrm flipV="1">
                <a:off x="9095341" y="98794"/>
                <a:ext cx="51113" cy="51113"/>
              </a:xfrm>
              <a:custGeom>
                <a:avLst/>
                <a:gdLst>
                  <a:gd name="connsiteX0" fmla="*/ 69914 w 66675"/>
                  <a:gd name="connsiteY0" fmla="*/ 34957 h 66675"/>
                  <a:gd name="connsiteX1" fmla="*/ 34957 w 66675"/>
                  <a:gd name="connsiteY1" fmla="*/ 0 h 66675"/>
                  <a:gd name="connsiteX2" fmla="*/ 0 w 66675"/>
                  <a:gd name="connsiteY2" fmla="*/ 34957 h 66675"/>
                  <a:gd name="connsiteX3" fmla="*/ 34957 w 66675"/>
                  <a:gd name="connsiteY3" fmla="*/ 69913 h 66675"/>
                  <a:gd name="connsiteX4" fmla="*/ 69914 w 66675"/>
                  <a:gd name="connsiteY4" fmla="*/ 34957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9914" y="34957"/>
                    </a:moveTo>
                    <a:cubicBezTo>
                      <a:pt x="69914" y="15621"/>
                      <a:pt x="54293" y="0"/>
                      <a:pt x="34957" y="0"/>
                    </a:cubicBezTo>
                    <a:cubicBezTo>
                      <a:pt x="15621" y="0"/>
                      <a:pt x="0" y="15621"/>
                      <a:pt x="0" y="34957"/>
                    </a:cubicBezTo>
                    <a:cubicBezTo>
                      <a:pt x="0" y="54293"/>
                      <a:pt x="15621" y="69913"/>
                      <a:pt x="34957" y="69913"/>
                    </a:cubicBezTo>
                    <a:cubicBezTo>
                      <a:pt x="54293" y="69913"/>
                      <a:pt x="69914" y="54293"/>
                      <a:pt x="69914" y="3495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grpSp>
        <p:grpSp>
          <p:nvGrpSpPr>
            <p:cNvPr id="85" name="Group 84">
              <a:extLst>
                <a:ext uri="{FF2B5EF4-FFF2-40B4-BE49-F238E27FC236}">
                  <a16:creationId xmlns:a16="http://schemas.microsoft.com/office/drawing/2014/main" id="{EBA1DE93-6CD6-461A-AEAF-606F35B63FE2}"/>
                </a:ext>
              </a:extLst>
            </p:cNvPr>
            <p:cNvGrpSpPr/>
            <p:nvPr userDrawn="1"/>
          </p:nvGrpSpPr>
          <p:grpSpPr>
            <a:xfrm>
              <a:off x="9328504" y="1651380"/>
              <a:ext cx="2869846" cy="978609"/>
              <a:chOff x="6901843" y="0"/>
              <a:chExt cx="2359970" cy="804742"/>
            </a:xfrm>
            <a:solidFill>
              <a:srgbClr val="747480">
                <a:alpha val="32000"/>
              </a:srgbClr>
            </a:solidFill>
          </p:grpSpPr>
          <p:sp>
            <p:nvSpPr>
              <p:cNvPr id="160" name="Freeform: Shape 159">
                <a:extLst>
                  <a:ext uri="{FF2B5EF4-FFF2-40B4-BE49-F238E27FC236}">
                    <a16:creationId xmlns:a16="http://schemas.microsoft.com/office/drawing/2014/main" id="{43FA4915-D2F1-458E-A9BE-70BAA60D47FC}"/>
                  </a:ext>
                </a:extLst>
              </p:cNvPr>
              <p:cNvSpPr/>
              <p:nvPr/>
            </p:nvSpPr>
            <p:spPr>
              <a:xfrm flipV="1">
                <a:off x="9009578" y="438996"/>
                <a:ext cx="249903" cy="344310"/>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7 h 590550"/>
                  <a:gd name="connsiteX11" fmla="*/ 435483 w 428625"/>
                  <a:gd name="connsiteY11" fmla="*/ 59340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7"/>
                    </a:lnTo>
                    <a:lnTo>
                      <a:pt x="435483" y="593407"/>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1" name="Freeform: Shape 160">
                <a:extLst>
                  <a:ext uri="{FF2B5EF4-FFF2-40B4-BE49-F238E27FC236}">
                    <a16:creationId xmlns:a16="http://schemas.microsoft.com/office/drawing/2014/main" id="{745D2F20-83F3-4C03-940D-4D940A6716D9}"/>
                  </a:ext>
                </a:extLst>
              </p:cNvPr>
              <p:cNvSpPr/>
              <p:nvPr/>
            </p:nvSpPr>
            <p:spPr>
              <a:xfrm flipV="1">
                <a:off x="8711250" y="266785"/>
                <a:ext cx="394291" cy="344310"/>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2" name="Freeform: Shape 161">
                <a:extLst>
                  <a:ext uri="{FF2B5EF4-FFF2-40B4-BE49-F238E27FC236}">
                    <a16:creationId xmlns:a16="http://schemas.microsoft.com/office/drawing/2014/main" id="{460FFD92-A472-472C-B122-32CABB112A27}"/>
                  </a:ext>
                </a:extLst>
              </p:cNvPr>
              <p:cNvSpPr/>
              <p:nvPr/>
            </p:nvSpPr>
            <p:spPr>
              <a:xfrm flipV="1">
                <a:off x="8711250" y="56"/>
                <a:ext cx="394291" cy="266562"/>
              </a:xfrm>
              <a:custGeom>
                <a:avLst/>
                <a:gdLst>
                  <a:gd name="connsiteX0" fmla="*/ 95726 w 676275"/>
                  <a:gd name="connsiteY0" fmla="*/ 457295 h 457200"/>
                  <a:gd name="connsiteX1" fmla="*/ 2953 w 676275"/>
                  <a:gd name="connsiteY1" fmla="*/ 296704 h 457200"/>
                  <a:gd name="connsiteX2" fmla="*/ 172783 w 676275"/>
                  <a:gd name="connsiteY2" fmla="*/ 2572 h 457200"/>
                  <a:gd name="connsiteX3" fmla="*/ 512445 w 676275"/>
                  <a:gd name="connsiteY3" fmla="*/ 2572 h 457200"/>
                  <a:gd name="connsiteX4" fmla="*/ 682180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133 w 676275"/>
                  <a:gd name="connsiteY8" fmla="*/ 296704 h 457200"/>
                  <a:gd name="connsiteX9" fmla="*/ 514255 w 676275"/>
                  <a:gd name="connsiteY9" fmla="*/ 667 h 457200"/>
                  <a:gd name="connsiteX10" fmla="*/ 513874 w 676275"/>
                  <a:gd name="connsiteY10" fmla="*/ 0 h 457200"/>
                  <a:gd name="connsiteX11" fmla="*/ 171259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2953" y="296704"/>
                    </a:lnTo>
                    <a:lnTo>
                      <a:pt x="172783" y="2572"/>
                    </a:lnTo>
                    <a:lnTo>
                      <a:pt x="512445" y="2572"/>
                    </a:lnTo>
                    <a:lnTo>
                      <a:pt x="682180" y="296704"/>
                    </a:lnTo>
                    <a:lnTo>
                      <a:pt x="589502" y="457295"/>
                    </a:lnTo>
                    <a:lnTo>
                      <a:pt x="592455" y="457295"/>
                    </a:lnTo>
                    <a:lnTo>
                      <a:pt x="684847" y="297371"/>
                    </a:lnTo>
                    <a:lnTo>
                      <a:pt x="685133" y="296704"/>
                    </a:lnTo>
                    <a:lnTo>
                      <a:pt x="514255" y="667"/>
                    </a:lnTo>
                    <a:lnTo>
                      <a:pt x="513874" y="0"/>
                    </a:lnTo>
                    <a:lnTo>
                      <a:pt x="171259"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3" name="Freeform: Shape 162">
                <a:extLst>
                  <a:ext uri="{FF2B5EF4-FFF2-40B4-BE49-F238E27FC236}">
                    <a16:creationId xmlns:a16="http://schemas.microsoft.com/office/drawing/2014/main" id="{62F72525-164F-4EC9-8782-68C660A9CDE7}"/>
                  </a:ext>
                </a:extLst>
              </p:cNvPr>
              <p:cNvSpPr/>
              <p:nvPr/>
            </p:nvSpPr>
            <p:spPr>
              <a:xfrm flipV="1">
                <a:off x="8412922" y="438996"/>
                <a:ext cx="394291" cy="344310"/>
              </a:xfrm>
              <a:custGeom>
                <a:avLst/>
                <a:gdLst>
                  <a:gd name="connsiteX0" fmla="*/ 0 w 676275"/>
                  <a:gd name="connsiteY0" fmla="*/ 296704 h 590550"/>
                  <a:gd name="connsiteX1" fmla="*/ 381 w 676275"/>
                  <a:gd name="connsiteY1" fmla="*/ 296037 h 590550"/>
                  <a:gd name="connsiteX2" fmla="*/ 171355 w 676275"/>
                  <a:gd name="connsiteY2" fmla="*/ 0 h 590550"/>
                  <a:gd name="connsiteX3" fmla="*/ 513969 w 676275"/>
                  <a:gd name="connsiteY3" fmla="*/ 0 h 590550"/>
                  <a:gd name="connsiteX4" fmla="*/ 514350 w 676275"/>
                  <a:gd name="connsiteY4" fmla="*/ 667 h 590550"/>
                  <a:gd name="connsiteX5" fmla="*/ 685229 w 676275"/>
                  <a:gd name="connsiteY5" fmla="*/ 296704 h 590550"/>
                  <a:gd name="connsiteX6" fmla="*/ 684847 w 676275"/>
                  <a:gd name="connsiteY6" fmla="*/ 297371 h 590550"/>
                  <a:gd name="connsiteX7" fmla="*/ 513969 w 676275"/>
                  <a:gd name="connsiteY7" fmla="*/ 593407 h 590550"/>
                  <a:gd name="connsiteX8" fmla="*/ 171355 w 676275"/>
                  <a:gd name="connsiteY8" fmla="*/ 593407 h 590550"/>
                  <a:gd name="connsiteX9" fmla="*/ 170974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355" y="0"/>
                    </a:lnTo>
                    <a:lnTo>
                      <a:pt x="513969" y="0"/>
                    </a:lnTo>
                    <a:lnTo>
                      <a:pt x="514350" y="667"/>
                    </a:lnTo>
                    <a:lnTo>
                      <a:pt x="685229" y="296704"/>
                    </a:lnTo>
                    <a:lnTo>
                      <a:pt x="684847" y="297371"/>
                    </a:lnTo>
                    <a:lnTo>
                      <a:pt x="513969" y="593407"/>
                    </a:lnTo>
                    <a:lnTo>
                      <a:pt x="171355" y="593407"/>
                    </a:lnTo>
                    <a:lnTo>
                      <a:pt x="170974"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4" name="Freeform: Shape 163">
                <a:extLst>
                  <a:ext uri="{FF2B5EF4-FFF2-40B4-BE49-F238E27FC236}">
                    <a16:creationId xmlns:a16="http://schemas.microsoft.com/office/drawing/2014/main" id="{C2E23C24-E6C0-427C-A393-30578E33A3F3}"/>
                  </a:ext>
                </a:extLst>
              </p:cNvPr>
              <p:cNvSpPr/>
              <p:nvPr/>
            </p:nvSpPr>
            <p:spPr>
              <a:xfrm flipV="1">
                <a:off x="8412922" y="94519"/>
                <a:ext cx="394291" cy="344310"/>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5" name="Freeform: Shape 164">
                <a:extLst>
                  <a:ext uri="{FF2B5EF4-FFF2-40B4-BE49-F238E27FC236}">
                    <a16:creationId xmlns:a16="http://schemas.microsoft.com/office/drawing/2014/main" id="{CA880666-97E8-40B6-AB84-4254CA48EEFD}"/>
                  </a:ext>
                </a:extLst>
              </p:cNvPr>
              <p:cNvSpPr/>
              <p:nvPr/>
            </p:nvSpPr>
            <p:spPr>
              <a:xfrm flipV="1">
                <a:off x="8458293" y="0"/>
                <a:ext cx="305437" cy="94408"/>
              </a:xfrm>
              <a:custGeom>
                <a:avLst/>
                <a:gdLst>
                  <a:gd name="connsiteX0" fmla="*/ 2953 w 523875"/>
                  <a:gd name="connsiteY0" fmla="*/ 161925 h 161925"/>
                  <a:gd name="connsiteX1" fmla="*/ 94964 w 523875"/>
                  <a:gd name="connsiteY1" fmla="*/ 2572 h 161925"/>
                  <a:gd name="connsiteX2" fmla="*/ 434626 w 523875"/>
                  <a:gd name="connsiteY2" fmla="*/ 2572 h 161925"/>
                  <a:gd name="connsiteX3" fmla="*/ 526637 w 523875"/>
                  <a:gd name="connsiteY3" fmla="*/ 161925 h 161925"/>
                  <a:gd name="connsiteX4" fmla="*/ 529590 w 523875"/>
                  <a:gd name="connsiteY4" fmla="*/ 161925 h 161925"/>
                  <a:gd name="connsiteX5" fmla="*/ 436436 w 523875"/>
                  <a:gd name="connsiteY5" fmla="*/ 667 h 161925"/>
                  <a:gd name="connsiteX6" fmla="*/ 436055 w 523875"/>
                  <a:gd name="connsiteY6" fmla="*/ 0 h 161925"/>
                  <a:gd name="connsiteX7" fmla="*/ 93536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626" y="2572"/>
                    </a:lnTo>
                    <a:lnTo>
                      <a:pt x="526637" y="161925"/>
                    </a:lnTo>
                    <a:lnTo>
                      <a:pt x="529590" y="161925"/>
                    </a:lnTo>
                    <a:lnTo>
                      <a:pt x="436436" y="667"/>
                    </a:lnTo>
                    <a:lnTo>
                      <a:pt x="436055" y="0"/>
                    </a:lnTo>
                    <a:lnTo>
                      <a:pt x="93536"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6" name="Freeform: Shape 165">
                <a:extLst>
                  <a:ext uri="{FF2B5EF4-FFF2-40B4-BE49-F238E27FC236}">
                    <a16:creationId xmlns:a16="http://schemas.microsoft.com/office/drawing/2014/main" id="{7F78732B-6A8D-4B75-A00B-7D019A3694B3}"/>
                  </a:ext>
                </a:extLst>
              </p:cNvPr>
              <p:cNvSpPr/>
              <p:nvPr/>
            </p:nvSpPr>
            <p:spPr>
              <a:xfrm flipV="1">
                <a:off x="8114593" y="266785"/>
                <a:ext cx="394291" cy="344310"/>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7" name="Freeform: Shape 166">
                <a:extLst>
                  <a:ext uri="{FF2B5EF4-FFF2-40B4-BE49-F238E27FC236}">
                    <a16:creationId xmlns:a16="http://schemas.microsoft.com/office/drawing/2014/main" id="{F451CF5F-5C7A-4381-BA13-E9D985C4299E}"/>
                  </a:ext>
                </a:extLst>
              </p:cNvPr>
              <p:cNvSpPr/>
              <p:nvPr/>
            </p:nvSpPr>
            <p:spPr>
              <a:xfrm flipV="1">
                <a:off x="8114593" y="56"/>
                <a:ext cx="394291" cy="266562"/>
              </a:xfrm>
              <a:custGeom>
                <a:avLst/>
                <a:gdLst>
                  <a:gd name="connsiteX0" fmla="*/ 95726 w 676275"/>
                  <a:gd name="connsiteY0" fmla="*/ 457295 h 457200"/>
                  <a:gd name="connsiteX1" fmla="*/ 3048 w 676275"/>
                  <a:gd name="connsiteY1" fmla="*/ 296704 h 457200"/>
                  <a:gd name="connsiteX2" fmla="*/ 172783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3" y="2572"/>
                    </a:lnTo>
                    <a:lnTo>
                      <a:pt x="512445" y="2572"/>
                    </a:lnTo>
                    <a:lnTo>
                      <a:pt x="682276" y="296704"/>
                    </a:lnTo>
                    <a:lnTo>
                      <a:pt x="589502" y="457295"/>
                    </a:lnTo>
                    <a:lnTo>
                      <a:pt x="592455" y="457295"/>
                    </a:lnTo>
                    <a:lnTo>
                      <a:pt x="684847" y="297371"/>
                    </a:lnTo>
                    <a:lnTo>
                      <a:pt x="685229" y="296704"/>
                    </a:lnTo>
                    <a:lnTo>
                      <a:pt x="514255" y="667"/>
                    </a:lnTo>
                    <a:lnTo>
                      <a:pt x="513969" y="0"/>
                    </a:lnTo>
                    <a:lnTo>
                      <a:pt x="171355"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8" name="Freeform: Shape 167">
                <a:extLst>
                  <a:ext uri="{FF2B5EF4-FFF2-40B4-BE49-F238E27FC236}">
                    <a16:creationId xmlns:a16="http://schemas.microsoft.com/office/drawing/2014/main" id="{ECA626FB-2FAA-43A8-AA20-56869B74652A}"/>
                  </a:ext>
                </a:extLst>
              </p:cNvPr>
              <p:cNvSpPr/>
              <p:nvPr/>
            </p:nvSpPr>
            <p:spPr>
              <a:xfrm flipV="1">
                <a:off x="7816320" y="94519"/>
                <a:ext cx="394291" cy="344310"/>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69" name="Freeform: Shape 168">
                <a:extLst>
                  <a:ext uri="{FF2B5EF4-FFF2-40B4-BE49-F238E27FC236}">
                    <a16:creationId xmlns:a16="http://schemas.microsoft.com/office/drawing/2014/main" id="{E9702D13-067A-4B15-879E-43CBAF3EE06B}"/>
                  </a:ext>
                </a:extLst>
              </p:cNvPr>
              <p:cNvSpPr/>
              <p:nvPr/>
            </p:nvSpPr>
            <p:spPr>
              <a:xfrm flipV="1">
                <a:off x="7861691" y="0"/>
                <a:ext cx="305437" cy="94408"/>
              </a:xfrm>
              <a:custGeom>
                <a:avLst/>
                <a:gdLst>
                  <a:gd name="connsiteX0" fmla="*/ 2953 w 523875"/>
                  <a:gd name="connsiteY0" fmla="*/ 161925 h 161925"/>
                  <a:gd name="connsiteX1" fmla="*/ 94964 w 523875"/>
                  <a:gd name="connsiteY1" fmla="*/ 2572 h 161925"/>
                  <a:gd name="connsiteX2" fmla="*/ 434531 w 523875"/>
                  <a:gd name="connsiteY2" fmla="*/ 2572 h 161925"/>
                  <a:gd name="connsiteX3" fmla="*/ 526542 w 523875"/>
                  <a:gd name="connsiteY3" fmla="*/ 161925 h 161925"/>
                  <a:gd name="connsiteX4" fmla="*/ 529495 w 523875"/>
                  <a:gd name="connsiteY4" fmla="*/ 161925 h 161925"/>
                  <a:gd name="connsiteX5" fmla="*/ 436436 w 523875"/>
                  <a:gd name="connsiteY5" fmla="*/ 667 h 161925"/>
                  <a:gd name="connsiteX6" fmla="*/ 436055 w 523875"/>
                  <a:gd name="connsiteY6" fmla="*/ 0 h 161925"/>
                  <a:gd name="connsiteX7" fmla="*/ 93440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531" y="2572"/>
                    </a:lnTo>
                    <a:lnTo>
                      <a:pt x="526542" y="161925"/>
                    </a:lnTo>
                    <a:lnTo>
                      <a:pt x="529495" y="161925"/>
                    </a:lnTo>
                    <a:lnTo>
                      <a:pt x="436436" y="667"/>
                    </a:lnTo>
                    <a:lnTo>
                      <a:pt x="436055" y="0"/>
                    </a:lnTo>
                    <a:lnTo>
                      <a:pt x="93440"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0" name="Freeform: Shape 169">
                <a:extLst>
                  <a:ext uri="{FF2B5EF4-FFF2-40B4-BE49-F238E27FC236}">
                    <a16:creationId xmlns:a16="http://schemas.microsoft.com/office/drawing/2014/main" id="{59708AC8-4B7E-4E47-B91B-918381C0D1C1}"/>
                  </a:ext>
                </a:extLst>
              </p:cNvPr>
              <p:cNvSpPr/>
              <p:nvPr/>
            </p:nvSpPr>
            <p:spPr>
              <a:xfrm flipV="1">
                <a:off x="6921336" y="266785"/>
                <a:ext cx="394291" cy="344310"/>
              </a:xfrm>
              <a:custGeom>
                <a:avLst/>
                <a:gdLst>
                  <a:gd name="connsiteX0" fmla="*/ 0 w 676275"/>
                  <a:gd name="connsiteY0" fmla="*/ 296704 h 590550"/>
                  <a:gd name="connsiteX1" fmla="*/ 381 w 676275"/>
                  <a:gd name="connsiteY1" fmla="*/ 296037 h 590550"/>
                  <a:gd name="connsiteX2" fmla="*/ 171260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355 w 676275"/>
                  <a:gd name="connsiteY8" fmla="*/ 593408 h 590550"/>
                  <a:gd name="connsiteX9" fmla="*/ 170974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60" y="0"/>
                    </a:lnTo>
                    <a:lnTo>
                      <a:pt x="513874" y="0"/>
                    </a:lnTo>
                    <a:lnTo>
                      <a:pt x="514255" y="667"/>
                    </a:lnTo>
                    <a:lnTo>
                      <a:pt x="685133" y="296704"/>
                    </a:lnTo>
                    <a:lnTo>
                      <a:pt x="684752" y="297371"/>
                    </a:lnTo>
                    <a:lnTo>
                      <a:pt x="513874" y="593408"/>
                    </a:lnTo>
                    <a:lnTo>
                      <a:pt x="171355" y="593408"/>
                    </a:lnTo>
                    <a:lnTo>
                      <a:pt x="170974"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1" name="Freeform: Shape 170">
                <a:extLst>
                  <a:ext uri="{FF2B5EF4-FFF2-40B4-BE49-F238E27FC236}">
                    <a16:creationId xmlns:a16="http://schemas.microsoft.com/office/drawing/2014/main" id="{E5E0891D-2313-4DBA-ACDA-1BC96FF1BD37}"/>
                  </a:ext>
                </a:extLst>
              </p:cNvPr>
              <p:cNvSpPr/>
              <p:nvPr/>
            </p:nvSpPr>
            <p:spPr>
              <a:xfrm flipV="1">
                <a:off x="6921336" y="56"/>
                <a:ext cx="394291" cy="266562"/>
              </a:xfrm>
              <a:custGeom>
                <a:avLst/>
                <a:gdLst>
                  <a:gd name="connsiteX0" fmla="*/ 95726 w 676275"/>
                  <a:gd name="connsiteY0" fmla="*/ 457295 h 457200"/>
                  <a:gd name="connsiteX1" fmla="*/ 3048 w 676275"/>
                  <a:gd name="connsiteY1" fmla="*/ 296704 h 457200"/>
                  <a:gd name="connsiteX2" fmla="*/ 172784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8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4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4" y="2572"/>
                    </a:lnTo>
                    <a:lnTo>
                      <a:pt x="512445" y="2572"/>
                    </a:lnTo>
                    <a:lnTo>
                      <a:pt x="682276" y="296704"/>
                    </a:lnTo>
                    <a:lnTo>
                      <a:pt x="589502" y="457295"/>
                    </a:lnTo>
                    <a:lnTo>
                      <a:pt x="592455" y="457295"/>
                    </a:lnTo>
                    <a:lnTo>
                      <a:pt x="684848" y="297371"/>
                    </a:lnTo>
                    <a:lnTo>
                      <a:pt x="685229" y="296704"/>
                    </a:lnTo>
                    <a:lnTo>
                      <a:pt x="514255" y="667"/>
                    </a:lnTo>
                    <a:lnTo>
                      <a:pt x="513969" y="0"/>
                    </a:lnTo>
                    <a:lnTo>
                      <a:pt x="171355" y="0"/>
                    </a:lnTo>
                    <a:lnTo>
                      <a:pt x="381" y="296037"/>
                    </a:lnTo>
                    <a:lnTo>
                      <a:pt x="0" y="296704"/>
                    </a:lnTo>
                    <a:lnTo>
                      <a:pt x="92774"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2" name="Freeform: Shape 171">
                <a:extLst>
                  <a:ext uri="{FF2B5EF4-FFF2-40B4-BE49-F238E27FC236}">
                    <a16:creationId xmlns:a16="http://schemas.microsoft.com/office/drawing/2014/main" id="{9B98A375-23DF-4930-877A-EFF87E304AF6}"/>
                  </a:ext>
                </a:extLst>
              </p:cNvPr>
              <p:cNvSpPr/>
              <p:nvPr/>
            </p:nvSpPr>
            <p:spPr>
              <a:xfrm flipV="1">
                <a:off x="9034124" y="5442"/>
                <a:ext cx="227689" cy="433165"/>
              </a:xfrm>
              <a:custGeom>
                <a:avLst/>
                <a:gdLst>
                  <a:gd name="connsiteX0" fmla="*/ 393383 w 390525"/>
                  <a:gd name="connsiteY0" fmla="*/ 13430 h 742950"/>
                  <a:gd name="connsiteX1" fmla="*/ 393383 w 390525"/>
                  <a:gd name="connsiteY1" fmla="*/ 0 h 742950"/>
                  <a:gd name="connsiteX2" fmla="*/ 226124 w 390525"/>
                  <a:gd name="connsiteY2" fmla="*/ 0 h 742950"/>
                  <a:gd name="connsiteX3" fmla="*/ 0 w 390525"/>
                  <a:gd name="connsiteY3" fmla="*/ 391668 h 742950"/>
                  <a:gd name="connsiteX4" fmla="*/ 208217 w 390525"/>
                  <a:gd name="connsiteY4" fmla="*/ 752284 h 742950"/>
                  <a:gd name="connsiteX5" fmla="*/ 223647 w 390525"/>
                  <a:gd name="connsiteY5" fmla="*/ 752284 h 742950"/>
                  <a:gd name="connsiteX6" fmla="*/ 15430 w 390525"/>
                  <a:gd name="connsiteY6" fmla="*/ 391668 h 742950"/>
                  <a:gd name="connsiteX7" fmla="*/ 233934 w 390525"/>
                  <a:gd name="connsiteY7" fmla="*/ 1343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742950">
                    <a:moveTo>
                      <a:pt x="393383" y="13430"/>
                    </a:moveTo>
                    <a:lnTo>
                      <a:pt x="393383" y="0"/>
                    </a:lnTo>
                    <a:lnTo>
                      <a:pt x="226124" y="0"/>
                    </a:lnTo>
                    <a:lnTo>
                      <a:pt x="0" y="391668"/>
                    </a:lnTo>
                    <a:lnTo>
                      <a:pt x="208217" y="752284"/>
                    </a:lnTo>
                    <a:lnTo>
                      <a:pt x="223647" y="752284"/>
                    </a:lnTo>
                    <a:lnTo>
                      <a:pt x="15430" y="391668"/>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3" name="Freeform: Shape 172">
                <a:extLst>
                  <a:ext uri="{FF2B5EF4-FFF2-40B4-BE49-F238E27FC236}">
                    <a16:creationId xmlns:a16="http://schemas.microsoft.com/office/drawing/2014/main" id="{DD09F0D3-01EC-40D2-9109-7985A15EAA26}"/>
                  </a:ext>
                </a:extLst>
              </p:cNvPr>
              <p:cNvSpPr/>
              <p:nvPr/>
            </p:nvSpPr>
            <p:spPr>
              <a:xfrm flipV="1">
                <a:off x="8645331" y="207696"/>
                <a:ext cx="522019" cy="455378"/>
              </a:xfrm>
              <a:custGeom>
                <a:avLst/>
                <a:gdLst>
                  <a:gd name="connsiteX0" fmla="*/ 0 w 895350"/>
                  <a:gd name="connsiteY0" fmla="*/ 391668 h 781050"/>
                  <a:gd name="connsiteX1" fmla="*/ 226123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219 w 895350"/>
                  <a:gd name="connsiteY5" fmla="*/ 783336 h 781050"/>
                  <a:gd name="connsiteX6" fmla="*/ 0 w 895350"/>
                  <a:gd name="connsiteY6" fmla="*/ 391668 h 781050"/>
                  <a:gd name="connsiteX7" fmla="*/ 233934 w 895350"/>
                  <a:gd name="connsiteY7" fmla="*/ 13430 h 781050"/>
                  <a:gd name="connsiteX8" fmla="*/ 15526 w 895350"/>
                  <a:gd name="connsiteY8" fmla="*/ 391763 h 781050"/>
                  <a:gd name="connsiteX9" fmla="*/ 233934 w 895350"/>
                  <a:gd name="connsiteY9" fmla="*/ 770096 h 781050"/>
                  <a:gd name="connsiteX10" fmla="*/ 670750 w 895350"/>
                  <a:gd name="connsiteY10" fmla="*/ 770096 h 781050"/>
                  <a:gd name="connsiteX11" fmla="*/ 889159 w 895350"/>
                  <a:gd name="connsiteY11" fmla="*/ 391763 h 781050"/>
                  <a:gd name="connsiteX12" fmla="*/ 670750 w 895350"/>
                  <a:gd name="connsiteY12" fmla="*/ 13430 h 781050"/>
                  <a:gd name="connsiteX13" fmla="*/ 233934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3" y="0"/>
                    </a:lnTo>
                    <a:lnTo>
                      <a:pt x="678371" y="0"/>
                    </a:lnTo>
                    <a:lnTo>
                      <a:pt x="904494" y="391668"/>
                    </a:lnTo>
                    <a:lnTo>
                      <a:pt x="678371" y="783336"/>
                    </a:lnTo>
                    <a:lnTo>
                      <a:pt x="226219" y="783336"/>
                    </a:lnTo>
                    <a:lnTo>
                      <a:pt x="0" y="391668"/>
                    </a:lnTo>
                    <a:close/>
                    <a:moveTo>
                      <a:pt x="233934" y="13430"/>
                    </a:moveTo>
                    <a:lnTo>
                      <a:pt x="15526" y="391763"/>
                    </a:lnTo>
                    <a:lnTo>
                      <a:pt x="233934" y="770096"/>
                    </a:lnTo>
                    <a:lnTo>
                      <a:pt x="670750" y="770096"/>
                    </a:lnTo>
                    <a:lnTo>
                      <a:pt x="889159" y="391763"/>
                    </a:lnTo>
                    <a:lnTo>
                      <a:pt x="670750" y="13430"/>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4" name="Freeform: Shape 173">
                <a:extLst>
                  <a:ext uri="{FF2B5EF4-FFF2-40B4-BE49-F238E27FC236}">
                    <a16:creationId xmlns:a16="http://schemas.microsoft.com/office/drawing/2014/main" id="{F3D0CD0F-A125-4CD1-B11C-1F86A7FBE857}"/>
                  </a:ext>
                </a:extLst>
              </p:cNvPr>
              <p:cNvSpPr/>
              <p:nvPr/>
            </p:nvSpPr>
            <p:spPr>
              <a:xfrm flipV="1">
                <a:off x="8653550" y="3110"/>
                <a:ext cx="510912" cy="211029"/>
              </a:xfrm>
              <a:custGeom>
                <a:avLst/>
                <a:gdLst>
                  <a:gd name="connsiteX0" fmla="*/ 15430 w 876300"/>
                  <a:gd name="connsiteY0" fmla="*/ 367284 h 361950"/>
                  <a:gd name="connsiteX1" fmla="*/ 219837 w 876300"/>
                  <a:gd name="connsiteY1" fmla="*/ 13430 h 361950"/>
                  <a:gd name="connsiteX2" fmla="*/ 656654 w 876300"/>
                  <a:gd name="connsiteY2" fmla="*/ 13430 h 361950"/>
                  <a:gd name="connsiteX3" fmla="*/ 860965 w 876300"/>
                  <a:gd name="connsiteY3" fmla="*/ 367284 h 361950"/>
                  <a:gd name="connsiteX4" fmla="*/ 876395 w 876300"/>
                  <a:gd name="connsiteY4" fmla="*/ 367284 h 361950"/>
                  <a:gd name="connsiteX5" fmla="*/ 664369 w 876300"/>
                  <a:gd name="connsiteY5" fmla="*/ 0 h 361950"/>
                  <a:gd name="connsiteX6" fmla="*/ 212122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837" y="13430"/>
                    </a:lnTo>
                    <a:lnTo>
                      <a:pt x="656654" y="13430"/>
                    </a:lnTo>
                    <a:lnTo>
                      <a:pt x="860965" y="367284"/>
                    </a:lnTo>
                    <a:lnTo>
                      <a:pt x="876395" y="367284"/>
                    </a:lnTo>
                    <a:lnTo>
                      <a:pt x="664369" y="0"/>
                    </a:lnTo>
                    <a:lnTo>
                      <a:pt x="212122"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5" name="Freeform: Shape 174">
                <a:extLst>
                  <a:ext uri="{FF2B5EF4-FFF2-40B4-BE49-F238E27FC236}">
                    <a16:creationId xmlns:a16="http://schemas.microsoft.com/office/drawing/2014/main" id="{FA008269-6DB5-49AC-80CD-48BA132D2D20}"/>
                  </a:ext>
                </a:extLst>
              </p:cNvPr>
              <p:cNvSpPr/>
              <p:nvPr/>
            </p:nvSpPr>
            <p:spPr>
              <a:xfrm flipV="1">
                <a:off x="7479007" y="5442"/>
                <a:ext cx="522019" cy="433165"/>
              </a:xfrm>
              <a:custGeom>
                <a:avLst/>
                <a:gdLst>
                  <a:gd name="connsiteX0" fmla="*/ 223647 w 895350"/>
                  <a:gd name="connsiteY0" fmla="*/ 752284 h 742950"/>
                  <a:gd name="connsiteX1" fmla="*/ 15431 w 895350"/>
                  <a:gd name="connsiteY1" fmla="*/ 391668 h 742950"/>
                  <a:gd name="connsiteX2" fmla="*/ 233839 w 895350"/>
                  <a:gd name="connsiteY2" fmla="*/ 13430 h 742950"/>
                  <a:gd name="connsiteX3" fmla="*/ 670655 w 895350"/>
                  <a:gd name="connsiteY3" fmla="*/ 13430 h 742950"/>
                  <a:gd name="connsiteX4" fmla="*/ 889064 w 895350"/>
                  <a:gd name="connsiteY4" fmla="*/ 391668 h 742950"/>
                  <a:gd name="connsiteX5" fmla="*/ 680942 w 895350"/>
                  <a:gd name="connsiteY5" fmla="*/ 752284 h 742950"/>
                  <a:gd name="connsiteX6" fmla="*/ 696373 w 895350"/>
                  <a:gd name="connsiteY6" fmla="*/ 752284 h 742950"/>
                  <a:gd name="connsiteX7" fmla="*/ 904494 w 895350"/>
                  <a:gd name="connsiteY7" fmla="*/ 391668 h 742950"/>
                  <a:gd name="connsiteX8" fmla="*/ 678371 w 895350"/>
                  <a:gd name="connsiteY8" fmla="*/ 0 h 742950"/>
                  <a:gd name="connsiteX9" fmla="*/ 226124 w 895350"/>
                  <a:gd name="connsiteY9" fmla="*/ 0 h 742950"/>
                  <a:gd name="connsiteX10" fmla="*/ 0 w 895350"/>
                  <a:gd name="connsiteY10" fmla="*/ 391668 h 742950"/>
                  <a:gd name="connsiteX11" fmla="*/ 208217 w 895350"/>
                  <a:gd name="connsiteY11" fmla="*/ 752284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350" h="742950">
                    <a:moveTo>
                      <a:pt x="223647" y="752284"/>
                    </a:moveTo>
                    <a:lnTo>
                      <a:pt x="15431" y="391668"/>
                    </a:lnTo>
                    <a:lnTo>
                      <a:pt x="233839" y="13430"/>
                    </a:lnTo>
                    <a:lnTo>
                      <a:pt x="670655" y="13430"/>
                    </a:lnTo>
                    <a:lnTo>
                      <a:pt x="889064" y="391668"/>
                    </a:lnTo>
                    <a:lnTo>
                      <a:pt x="680942" y="752284"/>
                    </a:lnTo>
                    <a:lnTo>
                      <a:pt x="696373" y="752284"/>
                    </a:lnTo>
                    <a:lnTo>
                      <a:pt x="904494" y="391668"/>
                    </a:lnTo>
                    <a:lnTo>
                      <a:pt x="678371" y="0"/>
                    </a:lnTo>
                    <a:lnTo>
                      <a:pt x="226124" y="0"/>
                    </a:lnTo>
                    <a:lnTo>
                      <a:pt x="0" y="391668"/>
                    </a:lnTo>
                    <a:lnTo>
                      <a:pt x="208217" y="752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6" name="Freeform: Shape 175">
                <a:extLst>
                  <a:ext uri="{FF2B5EF4-FFF2-40B4-BE49-F238E27FC236}">
                    <a16:creationId xmlns:a16="http://schemas.microsoft.com/office/drawing/2014/main" id="{DC62BF56-F770-423C-B2C6-CB2327255224}"/>
                  </a:ext>
                </a:extLst>
              </p:cNvPr>
              <p:cNvSpPr/>
              <p:nvPr/>
            </p:nvSpPr>
            <p:spPr>
              <a:xfrm flipV="1">
                <a:off x="7090214" y="207696"/>
                <a:ext cx="522019" cy="455378"/>
              </a:xfrm>
              <a:custGeom>
                <a:avLst/>
                <a:gdLst>
                  <a:gd name="connsiteX0" fmla="*/ 0 w 895350"/>
                  <a:gd name="connsiteY0" fmla="*/ 391668 h 781050"/>
                  <a:gd name="connsiteX1" fmla="*/ 226124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124 w 895350"/>
                  <a:gd name="connsiteY5" fmla="*/ 783336 h 781050"/>
                  <a:gd name="connsiteX6" fmla="*/ 0 w 895350"/>
                  <a:gd name="connsiteY6" fmla="*/ 391668 h 781050"/>
                  <a:gd name="connsiteX7" fmla="*/ 233839 w 895350"/>
                  <a:gd name="connsiteY7" fmla="*/ 13430 h 781050"/>
                  <a:gd name="connsiteX8" fmla="*/ 15431 w 895350"/>
                  <a:gd name="connsiteY8" fmla="*/ 391763 h 781050"/>
                  <a:gd name="connsiteX9" fmla="*/ 233839 w 895350"/>
                  <a:gd name="connsiteY9" fmla="*/ 770096 h 781050"/>
                  <a:gd name="connsiteX10" fmla="*/ 670655 w 895350"/>
                  <a:gd name="connsiteY10" fmla="*/ 770096 h 781050"/>
                  <a:gd name="connsiteX11" fmla="*/ 889063 w 895350"/>
                  <a:gd name="connsiteY11" fmla="*/ 391763 h 781050"/>
                  <a:gd name="connsiteX12" fmla="*/ 670655 w 895350"/>
                  <a:gd name="connsiteY12" fmla="*/ 13430 h 781050"/>
                  <a:gd name="connsiteX13" fmla="*/ 233839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4" y="0"/>
                    </a:lnTo>
                    <a:lnTo>
                      <a:pt x="678371" y="0"/>
                    </a:lnTo>
                    <a:lnTo>
                      <a:pt x="904494" y="391668"/>
                    </a:lnTo>
                    <a:lnTo>
                      <a:pt x="678371" y="783336"/>
                    </a:lnTo>
                    <a:lnTo>
                      <a:pt x="226124" y="783336"/>
                    </a:lnTo>
                    <a:lnTo>
                      <a:pt x="0" y="391668"/>
                    </a:lnTo>
                    <a:close/>
                    <a:moveTo>
                      <a:pt x="233839" y="13430"/>
                    </a:moveTo>
                    <a:lnTo>
                      <a:pt x="15431" y="391763"/>
                    </a:lnTo>
                    <a:lnTo>
                      <a:pt x="233839" y="770096"/>
                    </a:lnTo>
                    <a:lnTo>
                      <a:pt x="670655" y="770096"/>
                    </a:lnTo>
                    <a:lnTo>
                      <a:pt x="889063" y="391763"/>
                    </a:lnTo>
                    <a:lnTo>
                      <a:pt x="670655" y="13430"/>
                    </a:lnTo>
                    <a:lnTo>
                      <a:pt x="233839"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7" name="Freeform: Shape 176">
                <a:extLst>
                  <a:ext uri="{FF2B5EF4-FFF2-40B4-BE49-F238E27FC236}">
                    <a16:creationId xmlns:a16="http://schemas.microsoft.com/office/drawing/2014/main" id="{D8D390C5-AEE4-4D51-A969-A04E21B64E20}"/>
                  </a:ext>
                </a:extLst>
              </p:cNvPr>
              <p:cNvSpPr/>
              <p:nvPr/>
            </p:nvSpPr>
            <p:spPr>
              <a:xfrm flipV="1">
                <a:off x="7098433" y="3110"/>
                <a:ext cx="510912" cy="211029"/>
              </a:xfrm>
              <a:custGeom>
                <a:avLst/>
                <a:gdLst>
                  <a:gd name="connsiteX0" fmla="*/ 15430 w 876300"/>
                  <a:gd name="connsiteY0" fmla="*/ 367284 h 361950"/>
                  <a:gd name="connsiteX1" fmla="*/ 219742 w 876300"/>
                  <a:gd name="connsiteY1" fmla="*/ 13430 h 361950"/>
                  <a:gd name="connsiteX2" fmla="*/ 656558 w 876300"/>
                  <a:gd name="connsiteY2" fmla="*/ 13430 h 361950"/>
                  <a:gd name="connsiteX3" fmla="*/ 860965 w 876300"/>
                  <a:gd name="connsiteY3" fmla="*/ 367284 h 361950"/>
                  <a:gd name="connsiteX4" fmla="*/ 876395 w 876300"/>
                  <a:gd name="connsiteY4" fmla="*/ 367284 h 361950"/>
                  <a:gd name="connsiteX5" fmla="*/ 664274 w 876300"/>
                  <a:gd name="connsiteY5" fmla="*/ 0 h 361950"/>
                  <a:gd name="connsiteX6" fmla="*/ 212027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742" y="13430"/>
                    </a:lnTo>
                    <a:lnTo>
                      <a:pt x="656558" y="13430"/>
                    </a:lnTo>
                    <a:lnTo>
                      <a:pt x="860965" y="367284"/>
                    </a:lnTo>
                    <a:lnTo>
                      <a:pt x="876395" y="367284"/>
                    </a:lnTo>
                    <a:lnTo>
                      <a:pt x="664274" y="0"/>
                    </a:lnTo>
                    <a:lnTo>
                      <a:pt x="212027"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8" name="Freeform: Shape 177">
                <a:extLst>
                  <a:ext uri="{FF2B5EF4-FFF2-40B4-BE49-F238E27FC236}">
                    <a16:creationId xmlns:a16="http://schemas.microsoft.com/office/drawing/2014/main" id="{79FC4EE0-4DFF-44AE-B2AA-B1EA378D5E50}"/>
                  </a:ext>
                </a:extLst>
              </p:cNvPr>
              <p:cNvSpPr/>
              <p:nvPr/>
            </p:nvSpPr>
            <p:spPr>
              <a:xfrm flipV="1">
                <a:off x="9087659" y="765868"/>
                <a:ext cx="38874" cy="38874"/>
              </a:xfrm>
              <a:custGeom>
                <a:avLst/>
                <a:gdLst>
                  <a:gd name="connsiteX0" fmla="*/ 0 w 66675"/>
                  <a:gd name="connsiteY0" fmla="*/ 38005 h 66675"/>
                  <a:gd name="connsiteX1" fmla="*/ 38005 w 66675"/>
                  <a:gd name="connsiteY1" fmla="*/ 76009 h 66675"/>
                  <a:gd name="connsiteX2" fmla="*/ 76009 w 66675"/>
                  <a:gd name="connsiteY2" fmla="*/ 38005 h 66675"/>
                  <a:gd name="connsiteX3" fmla="*/ 38005 w 66675"/>
                  <a:gd name="connsiteY3" fmla="*/ 0 h 66675"/>
                  <a:gd name="connsiteX4" fmla="*/ 0 w 66675"/>
                  <a:gd name="connsiteY4" fmla="*/ 3800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0" y="38005"/>
                    </a:moveTo>
                    <a:cubicBezTo>
                      <a:pt x="0" y="59055"/>
                      <a:pt x="17050" y="76009"/>
                      <a:pt x="38005" y="76009"/>
                    </a:cubicBezTo>
                    <a:cubicBezTo>
                      <a:pt x="59055" y="76009"/>
                      <a:pt x="76009" y="58960"/>
                      <a:pt x="76009" y="38005"/>
                    </a:cubicBezTo>
                    <a:cubicBezTo>
                      <a:pt x="76009" y="17050"/>
                      <a:pt x="58960" y="0"/>
                      <a:pt x="38005" y="0"/>
                    </a:cubicBezTo>
                    <a:cubicBezTo>
                      <a:pt x="17050" y="0"/>
                      <a:pt x="0" y="17050"/>
                      <a:pt x="0" y="3800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79" name="Freeform: Shape 178">
                <a:extLst>
                  <a:ext uri="{FF2B5EF4-FFF2-40B4-BE49-F238E27FC236}">
                    <a16:creationId xmlns:a16="http://schemas.microsoft.com/office/drawing/2014/main" id="{8331803B-4EF3-44B9-863D-3AA8B5F51D64}"/>
                  </a:ext>
                </a:extLst>
              </p:cNvPr>
              <p:cNvSpPr/>
              <p:nvPr/>
            </p:nvSpPr>
            <p:spPr>
              <a:xfrm flipV="1">
                <a:off x="9100376" y="430943"/>
                <a:ext cx="16660" cy="16660"/>
              </a:xfrm>
              <a:custGeom>
                <a:avLst/>
                <a:gdLst>
                  <a:gd name="connsiteX0" fmla="*/ 0 w 28575"/>
                  <a:gd name="connsiteY0" fmla="*/ 16288 h 28575"/>
                  <a:gd name="connsiteX1" fmla="*/ 16288 w 28575"/>
                  <a:gd name="connsiteY1" fmla="*/ 32575 h 28575"/>
                  <a:gd name="connsiteX2" fmla="*/ 32575 w 28575"/>
                  <a:gd name="connsiteY2" fmla="*/ 16288 h 28575"/>
                  <a:gd name="connsiteX3" fmla="*/ 16288 w 28575"/>
                  <a:gd name="connsiteY3" fmla="*/ 0 h 28575"/>
                  <a:gd name="connsiteX4" fmla="*/ 0 w 28575"/>
                  <a:gd name="connsiteY4" fmla="*/ 1628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0" y="16288"/>
                    </a:moveTo>
                    <a:cubicBezTo>
                      <a:pt x="0" y="25336"/>
                      <a:pt x="7334" y="32575"/>
                      <a:pt x="16288" y="32575"/>
                    </a:cubicBezTo>
                    <a:cubicBezTo>
                      <a:pt x="25336" y="32575"/>
                      <a:pt x="32575" y="25241"/>
                      <a:pt x="32575" y="16288"/>
                    </a:cubicBezTo>
                    <a:cubicBezTo>
                      <a:pt x="32575" y="7239"/>
                      <a:pt x="25241" y="0"/>
                      <a:pt x="16288" y="0"/>
                    </a:cubicBezTo>
                    <a:cubicBezTo>
                      <a:pt x="7239" y="0"/>
                      <a:pt x="0" y="7334"/>
                      <a:pt x="0" y="1628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0" name="Freeform: Shape 179">
                <a:extLst>
                  <a:ext uri="{FF2B5EF4-FFF2-40B4-BE49-F238E27FC236}">
                    <a16:creationId xmlns:a16="http://schemas.microsoft.com/office/drawing/2014/main" id="{6E38847F-65D5-40AA-8605-072603843F05}"/>
                  </a:ext>
                </a:extLst>
              </p:cNvPr>
              <p:cNvSpPr/>
              <p:nvPr/>
            </p:nvSpPr>
            <p:spPr>
              <a:xfrm flipV="1">
                <a:off x="9093823" y="81913"/>
                <a:ext cx="27767" cy="27767"/>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672"/>
                      <a:pt x="12287" y="55054"/>
                      <a:pt x="27527" y="55054"/>
                    </a:cubicBezTo>
                    <a:cubicBezTo>
                      <a:pt x="42767" y="55054"/>
                      <a:pt x="55054" y="42767"/>
                      <a:pt x="55054" y="27527"/>
                    </a:cubicBezTo>
                    <a:cubicBezTo>
                      <a:pt x="55054" y="12383"/>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1" name="Freeform: Shape 180">
                <a:extLst>
                  <a:ext uri="{FF2B5EF4-FFF2-40B4-BE49-F238E27FC236}">
                    <a16:creationId xmlns:a16="http://schemas.microsoft.com/office/drawing/2014/main" id="{B665F0BC-2ABC-4EAE-A723-AB2C8BAFABE8}"/>
                  </a:ext>
                </a:extLst>
              </p:cNvPr>
              <p:cNvSpPr/>
              <p:nvPr/>
            </p:nvSpPr>
            <p:spPr>
              <a:xfrm flipV="1">
                <a:off x="8701365" y="776697"/>
                <a:ext cx="16660" cy="16660"/>
              </a:xfrm>
              <a:custGeom>
                <a:avLst/>
                <a:gdLst>
                  <a:gd name="connsiteX0" fmla="*/ 36957 w 28575"/>
                  <a:gd name="connsiteY0" fmla="*/ 18479 h 28575"/>
                  <a:gd name="connsiteX1" fmla="*/ 18479 w 28575"/>
                  <a:gd name="connsiteY1" fmla="*/ 36957 h 28575"/>
                  <a:gd name="connsiteX2" fmla="*/ 0 w 28575"/>
                  <a:gd name="connsiteY2" fmla="*/ 18479 h 28575"/>
                  <a:gd name="connsiteX3" fmla="*/ 18479 w 28575"/>
                  <a:gd name="connsiteY3" fmla="*/ 0 h 28575"/>
                  <a:gd name="connsiteX4" fmla="*/ 36957 w 28575"/>
                  <a:gd name="connsiteY4" fmla="*/ 1847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957" y="18479"/>
                    </a:moveTo>
                    <a:cubicBezTo>
                      <a:pt x="36957" y="28684"/>
                      <a:pt x="28684" y="36957"/>
                      <a:pt x="18479" y="36957"/>
                    </a:cubicBezTo>
                    <a:cubicBezTo>
                      <a:pt x="8273" y="36957"/>
                      <a:pt x="0" y="28684"/>
                      <a:pt x="0" y="18479"/>
                    </a:cubicBezTo>
                    <a:cubicBezTo>
                      <a:pt x="0" y="8273"/>
                      <a:pt x="8273" y="0"/>
                      <a:pt x="18479" y="0"/>
                    </a:cubicBezTo>
                    <a:cubicBezTo>
                      <a:pt x="28684" y="0"/>
                      <a:pt x="36957" y="8273"/>
                      <a:pt x="36957" y="1847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2" name="Freeform: Shape 181">
                <a:extLst>
                  <a:ext uri="{FF2B5EF4-FFF2-40B4-BE49-F238E27FC236}">
                    <a16:creationId xmlns:a16="http://schemas.microsoft.com/office/drawing/2014/main" id="{E13A78D7-B4CE-48B1-8B20-52EF8FC722B7}"/>
                  </a:ext>
                </a:extLst>
              </p:cNvPr>
              <p:cNvSpPr/>
              <p:nvPr/>
            </p:nvSpPr>
            <p:spPr>
              <a:xfrm flipV="1">
                <a:off x="8985309" y="585494"/>
                <a:ext cx="49981" cy="49981"/>
              </a:xfrm>
              <a:custGeom>
                <a:avLst/>
                <a:gdLst>
                  <a:gd name="connsiteX0" fmla="*/ 86296 w 85725"/>
                  <a:gd name="connsiteY0" fmla="*/ 43148 h 85725"/>
                  <a:gd name="connsiteX1" fmla="*/ 43148 w 85725"/>
                  <a:gd name="connsiteY1" fmla="*/ 0 h 85725"/>
                  <a:gd name="connsiteX2" fmla="*/ 0 w 85725"/>
                  <a:gd name="connsiteY2" fmla="*/ 43148 h 85725"/>
                  <a:gd name="connsiteX3" fmla="*/ 43148 w 85725"/>
                  <a:gd name="connsiteY3" fmla="*/ 86296 h 85725"/>
                  <a:gd name="connsiteX4" fmla="*/ 86296 w 85725"/>
                  <a:gd name="connsiteY4" fmla="*/ 4314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6296" y="43148"/>
                    </a:moveTo>
                    <a:cubicBezTo>
                      <a:pt x="86296" y="19336"/>
                      <a:pt x="66961" y="0"/>
                      <a:pt x="43148" y="0"/>
                    </a:cubicBezTo>
                    <a:cubicBezTo>
                      <a:pt x="19336" y="0"/>
                      <a:pt x="0" y="19336"/>
                      <a:pt x="0" y="43148"/>
                    </a:cubicBezTo>
                    <a:cubicBezTo>
                      <a:pt x="0" y="66961"/>
                      <a:pt x="19336" y="86296"/>
                      <a:pt x="43148" y="86296"/>
                    </a:cubicBezTo>
                    <a:cubicBezTo>
                      <a:pt x="66961" y="86296"/>
                      <a:pt x="86296" y="66961"/>
                      <a:pt x="86296" y="43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3" name="Freeform: Shape 182">
                <a:extLst>
                  <a:ext uri="{FF2B5EF4-FFF2-40B4-BE49-F238E27FC236}">
                    <a16:creationId xmlns:a16="http://schemas.microsoft.com/office/drawing/2014/main" id="{9EE2C268-EAEA-4617-A22D-60589F18B513}"/>
                  </a:ext>
                </a:extLst>
              </p:cNvPr>
              <p:cNvSpPr/>
              <p:nvPr/>
            </p:nvSpPr>
            <p:spPr>
              <a:xfrm flipV="1">
                <a:off x="8991751" y="251180"/>
                <a:ext cx="33320" cy="33320"/>
              </a:xfrm>
              <a:custGeom>
                <a:avLst/>
                <a:gdLst>
                  <a:gd name="connsiteX0" fmla="*/ 0 w 57150"/>
                  <a:gd name="connsiteY0" fmla="*/ 32004 h 57150"/>
                  <a:gd name="connsiteX1" fmla="*/ 32004 w 57150"/>
                  <a:gd name="connsiteY1" fmla="*/ 64008 h 57150"/>
                  <a:gd name="connsiteX2" fmla="*/ 64008 w 57150"/>
                  <a:gd name="connsiteY2" fmla="*/ 32004 h 57150"/>
                  <a:gd name="connsiteX3" fmla="*/ 32004 w 57150"/>
                  <a:gd name="connsiteY3" fmla="*/ 0 h 57150"/>
                  <a:gd name="connsiteX4" fmla="*/ 0 w 57150"/>
                  <a:gd name="connsiteY4" fmla="*/ 3200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2004"/>
                    </a:moveTo>
                    <a:cubicBezTo>
                      <a:pt x="0" y="49721"/>
                      <a:pt x="14383" y="64008"/>
                      <a:pt x="32004" y="64008"/>
                    </a:cubicBezTo>
                    <a:cubicBezTo>
                      <a:pt x="49721" y="64008"/>
                      <a:pt x="64008" y="49626"/>
                      <a:pt x="64008" y="32004"/>
                    </a:cubicBezTo>
                    <a:cubicBezTo>
                      <a:pt x="64008" y="14288"/>
                      <a:pt x="49625" y="0"/>
                      <a:pt x="32004" y="0"/>
                    </a:cubicBezTo>
                    <a:cubicBezTo>
                      <a:pt x="14383" y="-95"/>
                      <a:pt x="0" y="14288"/>
                      <a:pt x="0" y="3200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4" name="Freeform: Shape 183">
                <a:extLst>
                  <a:ext uri="{FF2B5EF4-FFF2-40B4-BE49-F238E27FC236}">
                    <a16:creationId xmlns:a16="http://schemas.microsoft.com/office/drawing/2014/main" id="{99318293-A166-404F-8BB9-358172FB56F9}"/>
                  </a:ext>
                </a:extLst>
              </p:cNvPr>
              <p:cNvSpPr/>
              <p:nvPr/>
            </p:nvSpPr>
            <p:spPr>
              <a:xfrm flipV="1">
                <a:off x="8693534" y="78914"/>
                <a:ext cx="33320" cy="33320"/>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5" name="Freeform: Shape 184">
                <a:extLst>
                  <a:ext uri="{FF2B5EF4-FFF2-40B4-BE49-F238E27FC236}">
                    <a16:creationId xmlns:a16="http://schemas.microsoft.com/office/drawing/2014/main" id="{3A7BDF73-8793-459C-91FC-BB07177D565A}"/>
                  </a:ext>
                </a:extLst>
              </p:cNvPr>
              <p:cNvSpPr/>
              <p:nvPr/>
            </p:nvSpPr>
            <p:spPr>
              <a:xfrm flipV="1">
                <a:off x="8789608" y="248903"/>
                <a:ext cx="38874" cy="38874"/>
              </a:xfrm>
              <a:custGeom>
                <a:avLst/>
                <a:gdLst>
                  <a:gd name="connsiteX0" fmla="*/ 75247 w 66675"/>
                  <a:gd name="connsiteY0" fmla="*/ 37624 h 66675"/>
                  <a:gd name="connsiteX1" fmla="*/ 37624 w 66675"/>
                  <a:gd name="connsiteY1" fmla="*/ 75248 h 66675"/>
                  <a:gd name="connsiteX2" fmla="*/ 0 w 66675"/>
                  <a:gd name="connsiteY2" fmla="*/ 37624 h 66675"/>
                  <a:gd name="connsiteX3" fmla="*/ 37624 w 66675"/>
                  <a:gd name="connsiteY3" fmla="*/ 0 h 66675"/>
                  <a:gd name="connsiteX4" fmla="*/ 75247 w 66675"/>
                  <a:gd name="connsiteY4" fmla="*/ 3762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5247" y="37624"/>
                    </a:moveTo>
                    <a:cubicBezTo>
                      <a:pt x="75247" y="58403"/>
                      <a:pt x="58403" y="75248"/>
                      <a:pt x="37624" y="75248"/>
                    </a:cubicBezTo>
                    <a:cubicBezTo>
                      <a:pt x="16845" y="75248"/>
                      <a:pt x="0" y="58403"/>
                      <a:pt x="0" y="37624"/>
                    </a:cubicBezTo>
                    <a:cubicBezTo>
                      <a:pt x="0" y="16845"/>
                      <a:pt x="16844" y="0"/>
                      <a:pt x="37624" y="0"/>
                    </a:cubicBezTo>
                    <a:cubicBezTo>
                      <a:pt x="58402" y="0"/>
                      <a:pt x="75247" y="16844"/>
                      <a:pt x="75247" y="3762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6" name="Freeform: Shape 185">
                <a:extLst>
                  <a:ext uri="{FF2B5EF4-FFF2-40B4-BE49-F238E27FC236}">
                    <a16:creationId xmlns:a16="http://schemas.microsoft.com/office/drawing/2014/main" id="{7F37B5E3-7739-4B81-A264-18752563500D}"/>
                  </a:ext>
                </a:extLst>
              </p:cNvPr>
              <p:cNvSpPr/>
              <p:nvPr/>
            </p:nvSpPr>
            <p:spPr>
              <a:xfrm flipV="1">
                <a:off x="8799992" y="599655"/>
                <a:ext cx="22214" cy="22214"/>
              </a:xfrm>
              <a:custGeom>
                <a:avLst/>
                <a:gdLst>
                  <a:gd name="connsiteX0" fmla="*/ 39624 w 38100"/>
                  <a:gd name="connsiteY0" fmla="*/ 19812 h 38100"/>
                  <a:gd name="connsiteX1" fmla="*/ 19812 w 38100"/>
                  <a:gd name="connsiteY1" fmla="*/ 39624 h 38100"/>
                  <a:gd name="connsiteX2" fmla="*/ 0 w 38100"/>
                  <a:gd name="connsiteY2" fmla="*/ 19812 h 38100"/>
                  <a:gd name="connsiteX3" fmla="*/ 19812 w 38100"/>
                  <a:gd name="connsiteY3" fmla="*/ 0 h 38100"/>
                  <a:gd name="connsiteX4" fmla="*/ 39624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624" y="19812"/>
                    </a:moveTo>
                    <a:cubicBezTo>
                      <a:pt x="39624" y="30754"/>
                      <a:pt x="30754" y="39624"/>
                      <a:pt x="19812" y="39624"/>
                    </a:cubicBezTo>
                    <a:cubicBezTo>
                      <a:pt x="8870" y="39624"/>
                      <a:pt x="0" y="30754"/>
                      <a:pt x="0" y="19812"/>
                    </a:cubicBezTo>
                    <a:cubicBezTo>
                      <a:pt x="0" y="8870"/>
                      <a:pt x="8870" y="0"/>
                      <a:pt x="19812" y="0"/>
                    </a:cubicBezTo>
                    <a:cubicBezTo>
                      <a:pt x="30754" y="0"/>
                      <a:pt x="39624" y="8870"/>
                      <a:pt x="39624"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7" name="Freeform: Shape 186">
                <a:extLst>
                  <a:ext uri="{FF2B5EF4-FFF2-40B4-BE49-F238E27FC236}">
                    <a16:creationId xmlns:a16="http://schemas.microsoft.com/office/drawing/2014/main" id="{FDEEDEE0-0C32-4465-8BA7-226EB426C0DC}"/>
                  </a:ext>
                </a:extLst>
              </p:cNvPr>
              <p:cNvSpPr/>
              <p:nvPr/>
            </p:nvSpPr>
            <p:spPr>
              <a:xfrm flipV="1">
                <a:off x="8699754" y="428277"/>
                <a:ext cx="22214" cy="22214"/>
              </a:xfrm>
              <a:custGeom>
                <a:avLst/>
                <a:gdLst>
                  <a:gd name="connsiteX0" fmla="*/ 0 w 38100"/>
                  <a:gd name="connsiteY0" fmla="*/ 21241 h 38100"/>
                  <a:gd name="connsiteX1" fmla="*/ 21241 w 38100"/>
                  <a:gd name="connsiteY1" fmla="*/ 42482 h 38100"/>
                  <a:gd name="connsiteX2" fmla="*/ 42481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6" y="42482"/>
                      <a:pt x="42481" y="32957"/>
                      <a:pt x="42481" y="21241"/>
                    </a:cubicBezTo>
                    <a:cubicBezTo>
                      <a:pt x="42481" y="9525"/>
                      <a:pt x="32956" y="0"/>
                      <a:pt x="21241" y="0"/>
                    </a:cubicBezTo>
                    <a:cubicBezTo>
                      <a:pt x="9525" y="95"/>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8" name="Freeform: Shape 187">
                <a:extLst>
                  <a:ext uri="{FF2B5EF4-FFF2-40B4-BE49-F238E27FC236}">
                    <a16:creationId xmlns:a16="http://schemas.microsoft.com/office/drawing/2014/main" id="{8C38E285-A321-48E2-8C5E-B2A27A0C439C}"/>
                  </a:ext>
                </a:extLst>
              </p:cNvPr>
              <p:cNvSpPr/>
              <p:nvPr/>
            </p:nvSpPr>
            <p:spPr>
              <a:xfrm flipV="1">
                <a:off x="8497277" y="81802"/>
                <a:ext cx="27767" cy="27767"/>
              </a:xfrm>
              <a:custGeom>
                <a:avLst/>
                <a:gdLst>
                  <a:gd name="connsiteX0" fmla="*/ 54673 w 47625"/>
                  <a:gd name="connsiteY0" fmla="*/ 27337 h 47625"/>
                  <a:gd name="connsiteX1" fmla="*/ 27337 w 47625"/>
                  <a:gd name="connsiteY1" fmla="*/ 0 h 47625"/>
                  <a:gd name="connsiteX2" fmla="*/ 0 w 47625"/>
                  <a:gd name="connsiteY2" fmla="*/ 27337 h 47625"/>
                  <a:gd name="connsiteX3" fmla="*/ 27337 w 47625"/>
                  <a:gd name="connsiteY3" fmla="*/ 54673 h 47625"/>
                  <a:gd name="connsiteX4" fmla="*/ 54673 w 47625"/>
                  <a:gd name="connsiteY4" fmla="*/ 2733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4673" y="27337"/>
                    </a:moveTo>
                    <a:cubicBezTo>
                      <a:pt x="54673" y="12192"/>
                      <a:pt x="42481" y="0"/>
                      <a:pt x="27337" y="0"/>
                    </a:cubicBezTo>
                    <a:cubicBezTo>
                      <a:pt x="12192" y="0"/>
                      <a:pt x="0" y="12287"/>
                      <a:pt x="0" y="27337"/>
                    </a:cubicBezTo>
                    <a:cubicBezTo>
                      <a:pt x="0" y="42481"/>
                      <a:pt x="12287" y="54673"/>
                      <a:pt x="27337" y="54673"/>
                    </a:cubicBezTo>
                    <a:cubicBezTo>
                      <a:pt x="42481" y="54673"/>
                      <a:pt x="54673" y="42386"/>
                      <a:pt x="54673" y="2733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89" name="Freeform: Shape 188">
                <a:extLst>
                  <a:ext uri="{FF2B5EF4-FFF2-40B4-BE49-F238E27FC236}">
                    <a16:creationId xmlns:a16="http://schemas.microsoft.com/office/drawing/2014/main" id="{BDB80423-EB1E-4F4B-9A9D-D75C9B4BFFD9}"/>
                  </a:ext>
                </a:extLst>
              </p:cNvPr>
              <p:cNvSpPr/>
              <p:nvPr/>
            </p:nvSpPr>
            <p:spPr>
              <a:xfrm flipV="1">
                <a:off x="8494778" y="767700"/>
                <a:ext cx="33320" cy="33320"/>
              </a:xfrm>
              <a:custGeom>
                <a:avLst/>
                <a:gdLst>
                  <a:gd name="connsiteX0" fmla="*/ 63246 w 57150"/>
                  <a:gd name="connsiteY0" fmla="*/ 31623 h 57150"/>
                  <a:gd name="connsiteX1" fmla="*/ 31623 w 57150"/>
                  <a:gd name="connsiteY1" fmla="*/ 63246 h 57150"/>
                  <a:gd name="connsiteX2" fmla="*/ 0 w 57150"/>
                  <a:gd name="connsiteY2" fmla="*/ 31623 h 57150"/>
                  <a:gd name="connsiteX3" fmla="*/ 31623 w 57150"/>
                  <a:gd name="connsiteY3" fmla="*/ 0 h 57150"/>
                  <a:gd name="connsiteX4" fmla="*/ 63246 w 57150"/>
                  <a:gd name="connsiteY4" fmla="*/ 3162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246" y="31623"/>
                    </a:moveTo>
                    <a:cubicBezTo>
                      <a:pt x="63246" y="49088"/>
                      <a:pt x="49088" y="63246"/>
                      <a:pt x="31623" y="63246"/>
                    </a:cubicBezTo>
                    <a:cubicBezTo>
                      <a:pt x="14158" y="63246"/>
                      <a:pt x="0" y="49088"/>
                      <a:pt x="0" y="31623"/>
                    </a:cubicBezTo>
                    <a:cubicBezTo>
                      <a:pt x="0" y="14158"/>
                      <a:pt x="14158" y="0"/>
                      <a:pt x="31623" y="0"/>
                    </a:cubicBezTo>
                    <a:cubicBezTo>
                      <a:pt x="49088" y="0"/>
                      <a:pt x="63246" y="14158"/>
                      <a:pt x="63246" y="3162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0" name="Freeform: Shape 189">
                <a:extLst>
                  <a:ext uri="{FF2B5EF4-FFF2-40B4-BE49-F238E27FC236}">
                    <a16:creationId xmlns:a16="http://schemas.microsoft.com/office/drawing/2014/main" id="{02B0C78E-7372-490E-821C-C222452787E2}"/>
                  </a:ext>
                </a:extLst>
              </p:cNvPr>
              <p:cNvSpPr/>
              <p:nvPr/>
            </p:nvSpPr>
            <p:spPr>
              <a:xfrm flipV="1">
                <a:off x="8394706" y="596101"/>
                <a:ext cx="33320" cy="33320"/>
              </a:xfrm>
              <a:custGeom>
                <a:avLst/>
                <a:gdLst>
                  <a:gd name="connsiteX0" fmla="*/ 65532 w 57150"/>
                  <a:gd name="connsiteY0" fmla="*/ 32766 h 57150"/>
                  <a:gd name="connsiteX1" fmla="*/ 32766 w 57150"/>
                  <a:gd name="connsiteY1" fmla="*/ 65532 h 57150"/>
                  <a:gd name="connsiteX2" fmla="*/ 0 w 57150"/>
                  <a:gd name="connsiteY2" fmla="*/ 32766 h 57150"/>
                  <a:gd name="connsiteX3" fmla="*/ 32766 w 57150"/>
                  <a:gd name="connsiteY3" fmla="*/ 0 h 57150"/>
                  <a:gd name="connsiteX4" fmla="*/ 65532 w 57150"/>
                  <a:gd name="connsiteY4" fmla="*/ 3276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5532" y="32766"/>
                    </a:moveTo>
                    <a:cubicBezTo>
                      <a:pt x="65532" y="50862"/>
                      <a:pt x="50862" y="65532"/>
                      <a:pt x="32766" y="65532"/>
                    </a:cubicBezTo>
                    <a:cubicBezTo>
                      <a:pt x="14670" y="65532"/>
                      <a:pt x="0" y="50862"/>
                      <a:pt x="0" y="32766"/>
                    </a:cubicBezTo>
                    <a:cubicBezTo>
                      <a:pt x="0" y="14670"/>
                      <a:pt x="14670" y="0"/>
                      <a:pt x="32766" y="0"/>
                    </a:cubicBezTo>
                    <a:cubicBezTo>
                      <a:pt x="50862" y="0"/>
                      <a:pt x="65532" y="14670"/>
                      <a:pt x="65532" y="3276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1" name="Freeform: Shape 190">
                <a:extLst>
                  <a:ext uri="{FF2B5EF4-FFF2-40B4-BE49-F238E27FC236}">
                    <a16:creationId xmlns:a16="http://schemas.microsoft.com/office/drawing/2014/main" id="{A6141628-D4FA-4A43-B519-EB44F5038226}"/>
                  </a:ext>
                </a:extLst>
              </p:cNvPr>
              <p:cNvSpPr/>
              <p:nvPr/>
            </p:nvSpPr>
            <p:spPr>
              <a:xfrm flipV="1">
                <a:off x="8103931" y="427445"/>
                <a:ext cx="22214" cy="22214"/>
              </a:xfrm>
              <a:custGeom>
                <a:avLst/>
                <a:gdLst>
                  <a:gd name="connsiteX0" fmla="*/ 0 w 38100"/>
                  <a:gd name="connsiteY0" fmla="*/ 19812 h 38100"/>
                  <a:gd name="connsiteX1" fmla="*/ 19812 w 38100"/>
                  <a:gd name="connsiteY1" fmla="*/ 39624 h 38100"/>
                  <a:gd name="connsiteX2" fmla="*/ 39624 w 38100"/>
                  <a:gd name="connsiteY2" fmla="*/ 19812 h 38100"/>
                  <a:gd name="connsiteX3" fmla="*/ 19812 w 38100"/>
                  <a:gd name="connsiteY3" fmla="*/ 0 h 38100"/>
                  <a:gd name="connsiteX4" fmla="*/ 0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19812"/>
                    </a:moveTo>
                    <a:cubicBezTo>
                      <a:pt x="0" y="30766"/>
                      <a:pt x="8858" y="39624"/>
                      <a:pt x="19812" y="39624"/>
                    </a:cubicBezTo>
                    <a:cubicBezTo>
                      <a:pt x="30766" y="39624"/>
                      <a:pt x="39624" y="30766"/>
                      <a:pt x="39624" y="19812"/>
                    </a:cubicBezTo>
                    <a:cubicBezTo>
                      <a:pt x="39624" y="8858"/>
                      <a:pt x="30766" y="0"/>
                      <a:pt x="19812" y="0"/>
                    </a:cubicBezTo>
                    <a:cubicBezTo>
                      <a:pt x="8858" y="0"/>
                      <a:pt x="0" y="8858"/>
                      <a:pt x="0"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2" name="Freeform: Shape 191">
                <a:extLst>
                  <a:ext uri="{FF2B5EF4-FFF2-40B4-BE49-F238E27FC236}">
                    <a16:creationId xmlns:a16="http://schemas.microsoft.com/office/drawing/2014/main" id="{1AD523F3-4143-486B-9F38-5FA7BF3BCB13}"/>
                  </a:ext>
                </a:extLst>
              </p:cNvPr>
              <p:cNvSpPr/>
              <p:nvPr/>
            </p:nvSpPr>
            <p:spPr>
              <a:xfrm flipV="1">
                <a:off x="8199838" y="597601"/>
                <a:ext cx="27767" cy="27767"/>
              </a:xfrm>
              <a:custGeom>
                <a:avLst/>
                <a:gdLst>
                  <a:gd name="connsiteX0" fmla="*/ 51625 w 47625"/>
                  <a:gd name="connsiteY0" fmla="*/ 25813 h 47625"/>
                  <a:gd name="connsiteX1" fmla="*/ 25813 w 47625"/>
                  <a:gd name="connsiteY1" fmla="*/ 0 h 47625"/>
                  <a:gd name="connsiteX2" fmla="*/ 0 w 47625"/>
                  <a:gd name="connsiteY2" fmla="*/ 25813 h 47625"/>
                  <a:gd name="connsiteX3" fmla="*/ 25813 w 47625"/>
                  <a:gd name="connsiteY3" fmla="*/ 51625 h 47625"/>
                  <a:gd name="connsiteX4" fmla="*/ 51625 w 47625"/>
                  <a:gd name="connsiteY4" fmla="*/ 25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1625" y="25813"/>
                    </a:moveTo>
                    <a:cubicBezTo>
                      <a:pt x="51625" y="11525"/>
                      <a:pt x="40100" y="0"/>
                      <a:pt x="25813" y="0"/>
                    </a:cubicBezTo>
                    <a:cubicBezTo>
                      <a:pt x="11525" y="0"/>
                      <a:pt x="0" y="11525"/>
                      <a:pt x="0" y="25813"/>
                    </a:cubicBezTo>
                    <a:cubicBezTo>
                      <a:pt x="0" y="40100"/>
                      <a:pt x="11525" y="51625"/>
                      <a:pt x="25813" y="51625"/>
                    </a:cubicBezTo>
                    <a:cubicBezTo>
                      <a:pt x="40100" y="51625"/>
                      <a:pt x="51625" y="40005"/>
                      <a:pt x="51625" y="2581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3" name="Freeform: Shape 192">
                <a:extLst>
                  <a:ext uri="{FF2B5EF4-FFF2-40B4-BE49-F238E27FC236}">
                    <a16:creationId xmlns:a16="http://schemas.microsoft.com/office/drawing/2014/main" id="{24952B54-6287-4F60-8AC5-418E8E33B47D}"/>
                  </a:ext>
                </a:extLst>
              </p:cNvPr>
              <p:cNvSpPr/>
              <p:nvPr/>
            </p:nvSpPr>
            <p:spPr>
              <a:xfrm flipV="1">
                <a:off x="8497166" y="426389"/>
                <a:ext cx="27767" cy="27767"/>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767"/>
                      <a:pt x="12287" y="55054"/>
                      <a:pt x="27527" y="55054"/>
                    </a:cubicBezTo>
                    <a:cubicBezTo>
                      <a:pt x="42767" y="55054"/>
                      <a:pt x="55054" y="42767"/>
                      <a:pt x="55054" y="27527"/>
                    </a:cubicBezTo>
                    <a:cubicBezTo>
                      <a:pt x="55054" y="12287"/>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4" name="Freeform: Shape 193">
                <a:extLst>
                  <a:ext uri="{FF2B5EF4-FFF2-40B4-BE49-F238E27FC236}">
                    <a16:creationId xmlns:a16="http://schemas.microsoft.com/office/drawing/2014/main" id="{CBD78CC7-6541-4AD8-B517-12118396D725}"/>
                  </a:ext>
                </a:extLst>
              </p:cNvPr>
              <p:cNvSpPr/>
              <p:nvPr/>
            </p:nvSpPr>
            <p:spPr>
              <a:xfrm flipV="1">
                <a:off x="8192119" y="244237"/>
                <a:ext cx="44427" cy="44427"/>
              </a:xfrm>
              <a:custGeom>
                <a:avLst/>
                <a:gdLst>
                  <a:gd name="connsiteX0" fmla="*/ 78295 w 76200"/>
                  <a:gd name="connsiteY0" fmla="*/ 39148 h 76200"/>
                  <a:gd name="connsiteX1" fmla="*/ 39148 w 76200"/>
                  <a:gd name="connsiteY1" fmla="*/ 78295 h 76200"/>
                  <a:gd name="connsiteX2" fmla="*/ 0 w 76200"/>
                  <a:gd name="connsiteY2" fmla="*/ 39148 h 76200"/>
                  <a:gd name="connsiteX3" fmla="*/ 39148 w 76200"/>
                  <a:gd name="connsiteY3" fmla="*/ 0 h 76200"/>
                  <a:gd name="connsiteX4" fmla="*/ 78295 w 76200"/>
                  <a:gd name="connsiteY4" fmla="*/ 3914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8295" y="39148"/>
                    </a:moveTo>
                    <a:cubicBezTo>
                      <a:pt x="78295" y="60768"/>
                      <a:pt x="60768" y="78295"/>
                      <a:pt x="39148" y="78295"/>
                    </a:cubicBezTo>
                    <a:cubicBezTo>
                      <a:pt x="17527" y="78295"/>
                      <a:pt x="0" y="60768"/>
                      <a:pt x="0" y="39148"/>
                    </a:cubicBezTo>
                    <a:cubicBezTo>
                      <a:pt x="0" y="17527"/>
                      <a:pt x="17527" y="0"/>
                      <a:pt x="39148" y="0"/>
                    </a:cubicBezTo>
                    <a:cubicBezTo>
                      <a:pt x="60769" y="0"/>
                      <a:pt x="78295" y="17527"/>
                      <a:pt x="78295" y="39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5" name="Freeform: Shape 194">
                <a:extLst>
                  <a:ext uri="{FF2B5EF4-FFF2-40B4-BE49-F238E27FC236}">
                    <a16:creationId xmlns:a16="http://schemas.microsoft.com/office/drawing/2014/main" id="{FAA24CE8-7CA2-4887-AB55-DB4EE377CCE7}"/>
                  </a:ext>
                </a:extLst>
              </p:cNvPr>
              <p:cNvSpPr/>
              <p:nvPr/>
            </p:nvSpPr>
            <p:spPr>
              <a:xfrm flipV="1">
                <a:off x="8102598" y="84300"/>
                <a:ext cx="22214" cy="22214"/>
              </a:xfrm>
              <a:custGeom>
                <a:avLst/>
                <a:gdLst>
                  <a:gd name="connsiteX0" fmla="*/ 0 w 38100"/>
                  <a:gd name="connsiteY0" fmla="*/ 22098 h 38100"/>
                  <a:gd name="connsiteX1" fmla="*/ 22098 w 38100"/>
                  <a:gd name="connsiteY1" fmla="*/ 44196 h 38100"/>
                  <a:gd name="connsiteX2" fmla="*/ 44196 w 38100"/>
                  <a:gd name="connsiteY2" fmla="*/ 22098 h 38100"/>
                  <a:gd name="connsiteX3" fmla="*/ 22098 w 38100"/>
                  <a:gd name="connsiteY3" fmla="*/ 0 h 38100"/>
                  <a:gd name="connsiteX4" fmla="*/ 0 w 38100"/>
                  <a:gd name="connsiteY4" fmla="*/ 22098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098"/>
                    </a:moveTo>
                    <a:cubicBezTo>
                      <a:pt x="0" y="34290"/>
                      <a:pt x="9906" y="44196"/>
                      <a:pt x="22098" y="44196"/>
                    </a:cubicBezTo>
                    <a:cubicBezTo>
                      <a:pt x="34290" y="44196"/>
                      <a:pt x="44196" y="34290"/>
                      <a:pt x="44196" y="22098"/>
                    </a:cubicBezTo>
                    <a:cubicBezTo>
                      <a:pt x="44196" y="9906"/>
                      <a:pt x="34290" y="0"/>
                      <a:pt x="22098" y="0"/>
                    </a:cubicBezTo>
                    <a:cubicBezTo>
                      <a:pt x="9906" y="0"/>
                      <a:pt x="0" y="9906"/>
                      <a:pt x="0" y="2209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6" name="Freeform: Shape 195">
                <a:extLst>
                  <a:ext uri="{FF2B5EF4-FFF2-40B4-BE49-F238E27FC236}">
                    <a16:creationId xmlns:a16="http://schemas.microsoft.com/office/drawing/2014/main" id="{F84E7AA1-97E1-4CB3-BE56-CCD3D96DA7E5}"/>
                  </a:ext>
                </a:extLst>
              </p:cNvPr>
              <p:cNvSpPr/>
              <p:nvPr/>
            </p:nvSpPr>
            <p:spPr>
              <a:xfrm flipV="1">
                <a:off x="8384422" y="239766"/>
                <a:ext cx="55534" cy="55534"/>
              </a:xfrm>
              <a:custGeom>
                <a:avLst/>
                <a:gdLst>
                  <a:gd name="connsiteX0" fmla="*/ 86257 w 95250"/>
                  <a:gd name="connsiteY0" fmla="*/ 35729 h 95250"/>
                  <a:gd name="connsiteX1" fmla="*/ 65328 w 95250"/>
                  <a:gd name="connsiteY1" fmla="*/ 86257 h 95250"/>
                  <a:gd name="connsiteX2" fmla="*/ 14800 w 95250"/>
                  <a:gd name="connsiteY2" fmla="*/ 65328 h 95250"/>
                  <a:gd name="connsiteX3" fmla="*/ 35729 w 95250"/>
                  <a:gd name="connsiteY3" fmla="*/ 14800 h 95250"/>
                  <a:gd name="connsiteX4" fmla="*/ 86257 w 95250"/>
                  <a:gd name="connsiteY4" fmla="*/ 3572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257" y="35729"/>
                    </a:moveTo>
                    <a:cubicBezTo>
                      <a:pt x="94430" y="55461"/>
                      <a:pt x="85060" y="78083"/>
                      <a:pt x="65328" y="86257"/>
                    </a:cubicBezTo>
                    <a:cubicBezTo>
                      <a:pt x="45595" y="94430"/>
                      <a:pt x="22973" y="85060"/>
                      <a:pt x="14800" y="65328"/>
                    </a:cubicBezTo>
                    <a:cubicBezTo>
                      <a:pt x="6626" y="45595"/>
                      <a:pt x="15996" y="22973"/>
                      <a:pt x="35729" y="14800"/>
                    </a:cubicBezTo>
                    <a:cubicBezTo>
                      <a:pt x="55461" y="6626"/>
                      <a:pt x="78083" y="15996"/>
                      <a:pt x="86257" y="357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7" name="Freeform: Shape 196">
                <a:extLst>
                  <a:ext uri="{FF2B5EF4-FFF2-40B4-BE49-F238E27FC236}">
                    <a16:creationId xmlns:a16="http://schemas.microsoft.com/office/drawing/2014/main" id="{291C2191-9499-4074-ACC6-5E15B4BC854E}"/>
                  </a:ext>
                </a:extLst>
              </p:cNvPr>
              <p:cNvSpPr/>
              <p:nvPr/>
            </p:nvSpPr>
            <p:spPr>
              <a:xfrm flipV="1">
                <a:off x="7508218" y="432054"/>
                <a:ext cx="16660" cy="16660"/>
              </a:xfrm>
              <a:custGeom>
                <a:avLst/>
                <a:gdLst>
                  <a:gd name="connsiteX0" fmla="*/ 36385 w 28575"/>
                  <a:gd name="connsiteY0" fmla="*/ 18193 h 28575"/>
                  <a:gd name="connsiteX1" fmla="*/ 18193 w 28575"/>
                  <a:gd name="connsiteY1" fmla="*/ 36386 h 28575"/>
                  <a:gd name="connsiteX2" fmla="*/ 0 w 28575"/>
                  <a:gd name="connsiteY2" fmla="*/ 18193 h 28575"/>
                  <a:gd name="connsiteX3" fmla="*/ 18193 w 28575"/>
                  <a:gd name="connsiteY3" fmla="*/ 0 h 28575"/>
                  <a:gd name="connsiteX4" fmla="*/ 36385 w 28575"/>
                  <a:gd name="connsiteY4" fmla="*/ 18193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385" y="18193"/>
                    </a:moveTo>
                    <a:cubicBezTo>
                      <a:pt x="36385" y="28240"/>
                      <a:pt x="28240" y="36386"/>
                      <a:pt x="18193" y="36386"/>
                    </a:cubicBezTo>
                    <a:cubicBezTo>
                      <a:pt x="8145" y="36386"/>
                      <a:pt x="0" y="28240"/>
                      <a:pt x="0" y="18193"/>
                    </a:cubicBezTo>
                    <a:cubicBezTo>
                      <a:pt x="0" y="8145"/>
                      <a:pt x="8145" y="0"/>
                      <a:pt x="18193" y="0"/>
                    </a:cubicBezTo>
                    <a:cubicBezTo>
                      <a:pt x="28240" y="0"/>
                      <a:pt x="36385" y="8145"/>
                      <a:pt x="36385" y="1819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8" name="Freeform: Shape 197">
                <a:extLst>
                  <a:ext uri="{FF2B5EF4-FFF2-40B4-BE49-F238E27FC236}">
                    <a16:creationId xmlns:a16="http://schemas.microsoft.com/office/drawing/2014/main" id="{E5DCB629-B643-4878-809D-6EBF0BAE1BD3}"/>
                  </a:ext>
                </a:extLst>
              </p:cNvPr>
              <p:cNvSpPr/>
              <p:nvPr/>
            </p:nvSpPr>
            <p:spPr>
              <a:xfrm flipV="1">
                <a:off x="7904231" y="428277"/>
                <a:ext cx="22214" cy="22214"/>
              </a:xfrm>
              <a:custGeom>
                <a:avLst/>
                <a:gdLst>
                  <a:gd name="connsiteX0" fmla="*/ 0 w 38100"/>
                  <a:gd name="connsiteY0" fmla="*/ 21241 h 38100"/>
                  <a:gd name="connsiteX1" fmla="*/ 21241 w 38100"/>
                  <a:gd name="connsiteY1" fmla="*/ 42482 h 38100"/>
                  <a:gd name="connsiteX2" fmla="*/ 42482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7" y="42482"/>
                      <a:pt x="42482" y="32957"/>
                      <a:pt x="42482" y="21241"/>
                    </a:cubicBezTo>
                    <a:cubicBezTo>
                      <a:pt x="42482" y="9525"/>
                      <a:pt x="32957" y="0"/>
                      <a:pt x="21241" y="0"/>
                    </a:cubicBezTo>
                    <a:cubicBezTo>
                      <a:pt x="9430" y="0"/>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99" name="Freeform: Shape 198">
                <a:extLst>
                  <a:ext uri="{FF2B5EF4-FFF2-40B4-BE49-F238E27FC236}">
                    <a16:creationId xmlns:a16="http://schemas.microsoft.com/office/drawing/2014/main" id="{3FB2A995-7FB0-4387-8BB8-772CDA09DCAC}"/>
                  </a:ext>
                </a:extLst>
              </p:cNvPr>
              <p:cNvSpPr/>
              <p:nvPr/>
            </p:nvSpPr>
            <p:spPr>
              <a:xfrm flipV="1">
                <a:off x="7792940" y="245626"/>
                <a:ext cx="44427" cy="44427"/>
              </a:xfrm>
              <a:custGeom>
                <a:avLst/>
                <a:gdLst>
                  <a:gd name="connsiteX0" fmla="*/ 83058 w 76200"/>
                  <a:gd name="connsiteY0" fmla="*/ 41529 h 76200"/>
                  <a:gd name="connsiteX1" fmla="*/ 41529 w 76200"/>
                  <a:gd name="connsiteY1" fmla="*/ 0 h 76200"/>
                  <a:gd name="connsiteX2" fmla="*/ 0 w 76200"/>
                  <a:gd name="connsiteY2" fmla="*/ 41529 h 76200"/>
                  <a:gd name="connsiteX3" fmla="*/ 41529 w 76200"/>
                  <a:gd name="connsiteY3" fmla="*/ 83058 h 76200"/>
                  <a:gd name="connsiteX4" fmla="*/ 83058 w 76200"/>
                  <a:gd name="connsiteY4" fmla="*/ 41529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83058" y="41529"/>
                    </a:moveTo>
                    <a:cubicBezTo>
                      <a:pt x="83058" y="18574"/>
                      <a:pt x="64484" y="0"/>
                      <a:pt x="41529" y="0"/>
                    </a:cubicBezTo>
                    <a:cubicBezTo>
                      <a:pt x="18574" y="0"/>
                      <a:pt x="0" y="18574"/>
                      <a:pt x="0" y="41529"/>
                    </a:cubicBezTo>
                    <a:cubicBezTo>
                      <a:pt x="0" y="64484"/>
                      <a:pt x="18574" y="83058"/>
                      <a:pt x="41529" y="83058"/>
                    </a:cubicBezTo>
                    <a:cubicBezTo>
                      <a:pt x="64484" y="83058"/>
                      <a:pt x="83058" y="64389"/>
                      <a:pt x="83058" y="415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0" name="Freeform: Shape 199">
                <a:extLst>
                  <a:ext uri="{FF2B5EF4-FFF2-40B4-BE49-F238E27FC236}">
                    <a16:creationId xmlns:a16="http://schemas.microsoft.com/office/drawing/2014/main" id="{336819E9-6F50-41FD-888A-5DD3AD76A94E}"/>
                  </a:ext>
                </a:extLst>
              </p:cNvPr>
              <p:cNvSpPr/>
              <p:nvPr/>
            </p:nvSpPr>
            <p:spPr>
              <a:xfrm flipV="1">
                <a:off x="7903453" y="84578"/>
                <a:ext cx="22214" cy="22214"/>
              </a:xfrm>
              <a:custGeom>
                <a:avLst/>
                <a:gdLst>
                  <a:gd name="connsiteX0" fmla="*/ 0 w 38100"/>
                  <a:gd name="connsiteY0" fmla="*/ 22574 h 38100"/>
                  <a:gd name="connsiteX1" fmla="*/ 22574 w 38100"/>
                  <a:gd name="connsiteY1" fmla="*/ 45148 h 38100"/>
                  <a:gd name="connsiteX2" fmla="*/ 45149 w 38100"/>
                  <a:gd name="connsiteY2" fmla="*/ 22574 h 38100"/>
                  <a:gd name="connsiteX3" fmla="*/ 22574 w 38100"/>
                  <a:gd name="connsiteY3" fmla="*/ 0 h 38100"/>
                  <a:gd name="connsiteX4" fmla="*/ 0 w 38100"/>
                  <a:gd name="connsiteY4" fmla="*/ 2257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574"/>
                    </a:moveTo>
                    <a:cubicBezTo>
                      <a:pt x="0" y="35052"/>
                      <a:pt x="10096" y="45148"/>
                      <a:pt x="22574" y="45148"/>
                    </a:cubicBezTo>
                    <a:cubicBezTo>
                      <a:pt x="35052" y="45148"/>
                      <a:pt x="45149" y="35052"/>
                      <a:pt x="45149" y="22574"/>
                    </a:cubicBezTo>
                    <a:cubicBezTo>
                      <a:pt x="45149" y="10096"/>
                      <a:pt x="35052" y="0"/>
                      <a:pt x="22574" y="0"/>
                    </a:cubicBezTo>
                    <a:cubicBezTo>
                      <a:pt x="10096" y="0"/>
                      <a:pt x="0" y="10096"/>
                      <a:pt x="0" y="2257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1" name="Freeform: Shape 200">
                <a:extLst>
                  <a:ext uri="{FF2B5EF4-FFF2-40B4-BE49-F238E27FC236}">
                    <a16:creationId xmlns:a16="http://schemas.microsoft.com/office/drawing/2014/main" id="{B7079B4B-3341-40D8-9AE7-EE552E928638}"/>
                  </a:ext>
                </a:extLst>
              </p:cNvPr>
              <p:cNvSpPr/>
              <p:nvPr/>
            </p:nvSpPr>
            <p:spPr>
              <a:xfrm flipV="1">
                <a:off x="7305686" y="424557"/>
                <a:ext cx="27767" cy="27767"/>
              </a:xfrm>
              <a:custGeom>
                <a:avLst/>
                <a:gdLst>
                  <a:gd name="connsiteX0" fmla="*/ 24479 w 47625"/>
                  <a:gd name="connsiteY0" fmla="*/ 48958 h 47625"/>
                  <a:gd name="connsiteX1" fmla="*/ 48958 w 47625"/>
                  <a:gd name="connsiteY1" fmla="*/ 24479 h 47625"/>
                  <a:gd name="connsiteX2" fmla="*/ 24479 w 47625"/>
                  <a:gd name="connsiteY2" fmla="*/ 0 h 47625"/>
                  <a:gd name="connsiteX3" fmla="*/ 0 w 47625"/>
                  <a:gd name="connsiteY3" fmla="*/ 24479 h 47625"/>
                  <a:gd name="connsiteX4" fmla="*/ 24479 w 47625"/>
                  <a:gd name="connsiteY4" fmla="*/ 48958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4479" y="48958"/>
                    </a:moveTo>
                    <a:cubicBezTo>
                      <a:pt x="38005" y="48958"/>
                      <a:pt x="48958" y="38005"/>
                      <a:pt x="48958" y="24479"/>
                    </a:cubicBezTo>
                    <a:cubicBezTo>
                      <a:pt x="48958" y="10954"/>
                      <a:pt x="38005" y="0"/>
                      <a:pt x="24479" y="0"/>
                    </a:cubicBezTo>
                    <a:cubicBezTo>
                      <a:pt x="10954" y="0"/>
                      <a:pt x="0" y="10954"/>
                      <a:pt x="0" y="24479"/>
                    </a:cubicBezTo>
                    <a:cubicBezTo>
                      <a:pt x="0" y="37909"/>
                      <a:pt x="10954" y="48958"/>
                      <a:pt x="24479" y="4895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2" name="Freeform: Shape 201">
                <a:extLst>
                  <a:ext uri="{FF2B5EF4-FFF2-40B4-BE49-F238E27FC236}">
                    <a16:creationId xmlns:a16="http://schemas.microsoft.com/office/drawing/2014/main" id="{BED57599-1AC7-4A30-93FC-CA374FBCA23E}"/>
                  </a:ext>
                </a:extLst>
              </p:cNvPr>
              <p:cNvSpPr/>
              <p:nvPr/>
            </p:nvSpPr>
            <p:spPr>
              <a:xfrm flipV="1">
                <a:off x="7500221" y="78914"/>
                <a:ext cx="33320" cy="33320"/>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3" name="Freeform: Shape 202">
                <a:extLst>
                  <a:ext uri="{FF2B5EF4-FFF2-40B4-BE49-F238E27FC236}">
                    <a16:creationId xmlns:a16="http://schemas.microsoft.com/office/drawing/2014/main" id="{1FCF2612-67C3-4A40-86C8-04B431ECCB03}"/>
                  </a:ext>
                </a:extLst>
              </p:cNvPr>
              <p:cNvSpPr/>
              <p:nvPr/>
            </p:nvSpPr>
            <p:spPr>
              <a:xfrm flipV="1">
                <a:off x="7301355" y="78914"/>
                <a:ext cx="33320" cy="33320"/>
              </a:xfrm>
              <a:custGeom>
                <a:avLst/>
                <a:gdLst>
                  <a:gd name="connsiteX0" fmla="*/ 63817 w 57150"/>
                  <a:gd name="connsiteY0" fmla="*/ 31909 h 57150"/>
                  <a:gd name="connsiteX1" fmla="*/ 31909 w 57150"/>
                  <a:gd name="connsiteY1" fmla="*/ 0 h 57150"/>
                  <a:gd name="connsiteX2" fmla="*/ 0 w 57150"/>
                  <a:gd name="connsiteY2" fmla="*/ 31909 h 57150"/>
                  <a:gd name="connsiteX3" fmla="*/ 31909 w 57150"/>
                  <a:gd name="connsiteY3" fmla="*/ 63818 h 57150"/>
                  <a:gd name="connsiteX4" fmla="*/ 63817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817" y="31909"/>
                    </a:moveTo>
                    <a:cubicBezTo>
                      <a:pt x="63817" y="14288"/>
                      <a:pt x="49530" y="0"/>
                      <a:pt x="31909" y="0"/>
                    </a:cubicBezTo>
                    <a:cubicBezTo>
                      <a:pt x="14288" y="0"/>
                      <a:pt x="0" y="14288"/>
                      <a:pt x="0" y="31909"/>
                    </a:cubicBezTo>
                    <a:cubicBezTo>
                      <a:pt x="0" y="49530"/>
                      <a:pt x="14288" y="63818"/>
                      <a:pt x="31909" y="63818"/>
                    </a:cubicBezTo>
                    <a:cubicBezTo>
                      <a:pt x="49530" y="63818"/>
                      <a:pt x="63817" y="49530"/>
                      <a:pt x="63817"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4" name="Freeform: Shape 203">
                <a:extLst>
                  <a:ext uri="{FF2B5EF4-FFF2-40B4-BE49-F238E27FC236}">
                    <a16:creationId xmlns:a16="http://schemas.microsoft.com/office/drawing/2014/main" id="{A8F81FFF-83D0-4456-B7B4-9A3969962D4A}"/>
                  </a:ext>
                </a:extLst>
              </p:cNvPr>
              <p:cNvSpPr/>
              <p:nvPr/>
            </p:nvSpPr>
            <p:spPr>
              <a:xfrm flipV="1">
                <a:off x="7205780" y="597323"/>
                <a:ext cx="27767" cy="27767"/>
              </a:xfrm>
              <a:custGeom>
                <a:avLst/>
                <a:gdLst>
                  <a:gd name="connsiteX0" fmla="*/ 50673 w 47625"/>
                  <a:gd name="connsiteY0" fmla="*/ 25336 h 47625"/>
                  <a:gd name="connsiteX1" fmla="*/ 25336 w 47625"/>
                  <a:gd name="connsiteY1" fmla="*/ 50673 h 47625"/>
                  <a:gd name="connsiteX2" fmla="*/ 0 w 47625"/>
                  <a:gd name="connsiteY2" fmla="*/ 25336 h 47625"/>
                  <a:gd name="connsiteX3" fmla="*/ 25336 w 47625"/>
                  <a:gd name="connsiteY3" fmla="*/ 0 h 47625"/>
                  <a:gd name="connsiteX4" fmla="*/ 50673 w 47625"/>
                  <a:gd name="connsiteY4" fmla="*/ 2533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0673" y="25336"/>
                    </a:moveTo>
                    <a:cubicBezTo>
                      <a:pt x="50673" y="39329"/>
                      <a:pt x="39329" y="50673"/>
                      <a:pt x="25336" y="50673"/>
                    </a:cubicBezTo>
                    <a:cubicBezTo>
                      <a:pt x="11344" y="50673"/>
                      <a:pt x="0" y="39329"/>
                      <a:pt x="0" y="25336"/>
                    </a:cubicBezTo>
                    <a:cubicBezTo>
                      <a:pt x="0" y="11344"/>
                      <a:pt x="11344" y="0"/>
                      <a:pt x="25336" y="0"/>
                    </a:cubicBezTo>
                    <a:cubicBezTo>
                      <a:pt x="39329" y="0"/>
                      <a:pt x="50673" y="11343"/>
                      <a:pt x="50673" y="2533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5" name="Freeform: Shape 204">
                <a:extLst>
                  <a:ext uri="{FF2B5EF4-FFF2-40B4-BE49-F238E27FC236}">
                    <a16:creationId xmlns:a16="http://schemas.microsoft.com/office/drawing/2014/main" id="{F16A6A46-9051-4D43-BF5A-09A72B026E80}"/>
                  </a:ext>
                </a:extLst>
              </p:cNvPr>
              <p:cNvSpPr/>
              <p:nvPr/>
            </p:nvSpPr>
            <p:spPr>
              <a:xfrm flipV="1">
                <a:off x="7204169" y="254456"/>
                <a:ext cx="27767" cy="27767"/>
              </a:xfrm>
              <a:custGeom>
                <a:avLst/>
                <a:gdLst>
                  <a:gd name="connsiteX0" fmla="*/ 0 w 47625"/>
                  <a:gd name="connsiteY0" fmla="*/ 28099 h 47625"/>
                  <a:gd name="connsiteX1" fmla="*/ 28099 w 47625"/>
                  <a:gd name="connsiteY1" fmla="*/ 56197 h 47625"/>
                  <a:gd name="connsiteX2" fmla="*/ 56197 w 47625"/>
                  <a:gd name="connsiteY2" fmla="*/ 28099 h 47625"/>
                  <a:gd name="connsiteX3" fmla="*/ 28099 w 47625"/>
                  <a:gd name="connsiteY3" fmla="*/ 0 h 47625"/>
                  <a:gd name="connsiteX4" fmla="*/ 0 w 47625"/>
                  <a:gd name="connsiteY4" fmla="*/ 2809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8099"/>
                    </a:moveTo>
                    <a:cubicBezTo>
                      <a:pt x="0" y="43624"/>
                      <a:pt x="12573" y="56197"/>
                      <a:pt x="28099" y="56197"/>
                    </a:cubicBezTo>
                    <a:cubicBezTo>
                      <a:pt x="43624" y="56197"/>
                      <a:pt x="56197" y="43624"/>
                      <a:pt x="56197" y="28099"/>
                    </a:cubicBezTo>
                    <a:cubicBezTo>
                      <a:pt x="56197" y="12573"/>
                      <a:pt x="43624" y="0"/>
                      <a:pt x="28099" y="0"/>
                    </a:cubicBezTo>
                    <a:cubicBezTo>
                      <a:pt x="12573" y="0"/>
                      <a:pt x="0" y="12573"/>
                      <a:pt x="0" y="2809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6" name="Freeform: Shape 205">
                <a:extLst>
                  <a:ext uri="{FF2B5EF4-FFF2-40B4-BE49-F238E27FC236}">
                    <a16:creationId xmlns:a16="http://schemas.microsoft.com/office/drawing/2014/main" id="{642D6A74-36A4-4E70-ABB0-8DC66ACA1FE5}"/>
                  </a:ext>
                </a:extLst>
              </p:cNvPr>
              <p:cNvSpPr/>
              <p:nvPr/>
            </p:nvSpPr>
            <p:spPr>
              <a:xfrm flipV="1">
                <a:off x="7005136" y="599100"/>
                <a:ext cx="27767" cy="27767"/>
              </a:xfrm>
              <a:custGeom>
                <a:avLst/>
                <a:gdLst>
                  <a:gd name="connsiteX0" fmla="*/ 56769 w 47625"/>
                  <a:gd name="connsiteY0" fmla="*/ 28384 h 47625"/>
                  <a:gd name="connsiteX1" fmla="*/ 28385 w 47625"/>
                  <a:gd name="connsiteY1" fmla="*/ 56769 h 47625"/>
                  <a:gd name="connsiteX2" fmla="*/ 0 w 47625"/>
                  <a:gd name="connsiteY2" fmla="*/ 28384 h 47625"/>
                  <a:gd name="connsiteX3" fmla="*/ 28385 w 47625"/>
                  <a:gd name="connsiteY3" fmla="*/ 0 h 47625"/>
                  <a:gd name="connsiteX4" fmla="*/ 56769 w 47625"/>
                  <a:gd name="connsiteY4" fmla="*/ 2838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6769" y="28384"/>
                    </a:moveTo>
                    <a:cubicBezTo>
                      <a:pt x="56769" y="44061"/>
                      <a:pt x="44061" y="56769"/>
                      <a:pt x="28385" y="56769"/>
                    </a:cubicBezTo>
                    <a:cubicBezTo>
                      <a:pt x="12708" y="56769"/>
                      <a:pt x="0" y="44061"/>
                      <a:pt x="0" y="28384"/>
                    </a:cubicBezTo>
                    <a:cubicBezTo>
                      <a:pt x="0" y="12708"/>
                      <a:pt x="12708" y="0"/>
                      <a:pt x="28385" y="0"/>
                    </a:cubicBezTo>
                    <a:cubicBezTo>
                      <a:pt x="44061" y="0"/>
                      <a:pt x="56769" y="12708"/>
                      <a:pt x="56769" y="2838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7" name="Freeform: Shape 206">
                <a:extLst>
                  <a:ext uri="{FF2B5EF4-FFF2-40B4-BE49-F238E27FC236}">
                    <a16:creationId xmlns:a16="http://schemas.microsoft.com/office/drawing/2014/main" id="{AF71FA1B-F17F-4CCB-9030-CB7DFDE8E7C6}"/>
                  </a:ext>
                </a:extLst>
              </p:cNvPr>
              <p:cNvSpPr/>
              <p:nvPr/>
            </p:nvSpPr>
            <p:spPr>
              <a:xfrm flipV="1">
                <a:off x="6913005" y="430665"/>
                <a:ext cx="16660" cy="16660"/>
              </a:xfrm>
              <a:custGeom>
                <a:avLst/>
                <a:gdLst>
                  <a:gd name="connsiteX0" fmla="*/ 15811 w 28575"/>
                  <a:gd name="connsiteY0" fmla="*/ 0 h 28575"/>
                  <a:gd name="connsiteX1" fmla="*/ 0 w 28575"/>
                  <a:gd name="connsiteY1" fmla="*/ 15812 h 28575"/>
                  <a:gd name="connsiteX2" fmla="*/ 15811 w 28575"/>
                  <a:gd name="connsiteY2" fmla="*/ 31623 h 28575"/>
                  <a:gd name="connsiteX3" fmla="*/ 31623 w 28575"/>
                  <a:gd name="connsiteY3" fmla="*/ 15812 h 28575"/>
                  <a:gd name="connsiteX4" fmla="*/ 15811 w 2857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811" y="0"/>
                    </a:moveTo>
                    <a:cubicBezTo>
                      <a:pt x="7048" y="0"/>
                      <a:pt x="0" y="7048"/>
                      <a:pt x="0" y="15812"/>
                    </a:cubicBezTo>
                    <a:cubicBezTo>
                      <a:pt x="0" y="24574"/>
                      <a:pt x="7048" y="31623"/>
                      <a:pt x="15811" y="31623"/>
                    </a:cubicBezTo>
                    <a:cubicBezTo>
                      <a:pt x="24575" y="31623"/>
                      <a:pt x="31623" y="24574"/>
                      <a:pt x="31623" y="15812"/>
                    </a:cubicBezTo>
                    <a:cubicBezTo>
                      <a:pt x="31623" y="7048"/>
                      <a:pt x="24575" y="0"/>
                      <a:pt x="15811" y="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8" name="Freeform: Shape 207">
                <a:extLst>
                  <a:ext uri="{FF2B5EF4-FFF2-40B4-BE49-F238E27FC236}">
                    <a16:creationId xmlns:a16="http://schemas.microsoft.com/office/drawing/2014/main" id="{A191AB26-B0CA-4ECB-B192-B28622FCF183}"/>
                  </a:ext>
                </a:extLst>
              </p:cNvPr>
              <p:cNvSpPr/>
              <p:nvPr/>
            </p:nvSpPr>
            <p:spPr>
              <a:xfrm flipV="1">
                <a:off x="7004470" y="249736"/>
                <a:ext cx="33320" cy="33320"/>
              </a:xfrm>
              <a:custGeom>
                <a:avLst/>
                <a:gdLst>
                  <a:gd name="connsiteX0" fmla="*/ 59055 w 57150"/>
                  <a:gd name="connsiteY0" fmla="*/ 29527 h 57150"/>
                  <a:gd name="connsiteX1" fmla="*/ 29528 w 57150"/>
                  <a:gd name="connsiteY1" fmla="*/ 59055 h 57150"/>
                  <a:gd name="connsiteX2" fmla="*/ 0 w 57150"/>
                  <a:gd name="connsiteY2" fmla="*/ 29527 h 57150"/>
                  <a:gd name="connsiteX3" fmla="*/ 29528 w 57150"/>
                  <a:gd name="connsiteY3" fmla="*/ 0 h 57150"/>
                  <a:gd name="connsiteX4" fmla="*/ 59055 w 57150"/>
                  <a:gd name="connsiteY4" fmla="*/ 29527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9055" y="29527"/>
                    </a:moveTo>
                    <a:cubicBezTo>
                      <a:pt x="59055" y="45835"/>
                      <a:pt x="45835" y="59055"/>
                      <a:pt x="29528" y="59055"/>
                    </a:cubicBezTo>
                    <a:cubicBezTo>
                      <a:pt x="13220" y="59055"/>
                      <a:pt x="0" y="45835"/>
                      <a:pt x="0" y="29527"/>
                    </a:cubicBezTo>
                    <a:cubicBezTo>
                      <a:pt x="0" y="13220"/>
                      <a:pt x="13220" y="0"/>
                      <a:pt x="29528" y="0"/>
                    </a:cubicBezTo>
                    <a:cubicBezTo>
                      <a:pt x="45835" y="0"/>
                      <a:pt x="59055" y="13220"/>
                      <a:pt x="59055" y="29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209" name="Freeform: Shape 208">
                <a:extLst>
                  <a:ext uri="{FF2B5EF4-FFF2-40B4-BE49-F238E27FC236}">
                    <a16:creationId xmlns:a16="http://schemas.microsoft.com/office/drawing/2014/main" id="{1E6457E4-E030-4CA7-A72B-A941D6C4DEC6}"/>
                  </a:ext>
                </a:extLst>
              </p:cNvPr>
              <p:cNvSpPr/>
              <p:nvPr/>
            </p:nvSpPr>
            <p:spPr>
              <a:xfrm flipV="1">
                <a:off x="6901843" y="75137"/>
                <a:ext cx="38874" cy="38874"/>
              </a:xfrm>
              <a:custGeom>
                <a:avLst/>
                <a:gdLst>
                  <a:gd name="connsiteX0" fmla="*/ 69914 w 66675"/>
                  <a:gd name="connsiteY0" fmla="*/ 34957 h 66675"/>
                  <a:gd name="connsiteX1" fmla="*/ 34957 w 66675"/>
                  <a:gd name="connsiteY1" fmla="*/ 0 h 66675"/>
                  <a:gd name="connsiteX2" fmla="*/ 0 w 66675"/>
                  <a:gd name="connsiteY2" fmla="*/ 34957 h 66675"/>
                  <a:gd name="connsiteX3" fmla="*/ 34957 w 66675"/>
                  <a:gd name="connsiteY3" fmla="*/ 69913 h 66675"/>
                  <a:gd name="connsiteX4" fmla="*/ 69914 w 66675"/>
                  <a:gd name="connsiteY4" fmla="*/ 34957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9914" y="34957"/>
                    </a:moveTo>
                    <a:cubicBezTo>
                      <a:pt x="69914" y="15621"/>
                      <a:pt x="54293" y="0"/>
                      <a:pt x="34957" y="0"/>
                    </a:cubicBezTo>
                    <a:cubicBezTo>
                      <a:pt x="15621" y="0"/>
                      <a:pt x="0" y="15621"/>
                      <a:pt x="0" y="34957"/>
                    </a:cubicBezTo>
                    <a:cubicBezTo>
                      <a:pt x="0" y="54293"/>
                      <a:pt x="15621" y="69913"/>
                      <a:pt x="34957" y="69913"/>
                    </a:cubicBezTo>
                    <a:cubicBezTo>
                      <a:pt x="54293" y="69913"/>
                      <a:pt x="69914" y="54293"/>
                      <a:pt x="69914" y="3495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grpSp>
        <p:sp>
          <p:nvSpPr>
            <p:cNvPr id="86" name="Hexagon 85">
              <a:extLst>
                <a:ext uri="{FF2B5EF4-FFF2-40B4-BE49-F238E27FC236}">
                  <a16:creationId xmlns:a16="http://schemas.microsoft.com/office/drawing/2014/main" id="{407465EC-AC64-4112-8EAD-3D257B2A8FE0}"/>
                </a:ext>
              </a:extLst>
            </p:cNvPr>
            <p:cNvSpPr/>
            <p:nvPr userDrawn="1"/>
          </p:nvSpPr>
          <p:spPr>
            <a:xfrm>
              <a:off x="11270024" y="2308950"/>
              <a:ext cx="520774" cy="448944"/>
            </a:xfrm>
            <a:prstGeom prst="hexagon">
              <a:avLst/>
            </a:pr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90" name="Freeform: Shape 89">
              <a:extLst>
                <a:ext uri="{FF2B5EF4-FFF2-40B4-BE49-F238E27FC236}">
                  <a16:creationId xmlns:a16="http://schemas.microsoft.com/office/drawing/2014/main" id="{0AD630CC-43F5-490F-AC3E-927DD9022727}"/>
                </a:ext>
              </a:extLst>
            </p:cNvPr>
            <p:cNvSpPr/>
            <p:nvPr userDrawn="1"/>
          </p:nvSpPr>
          <p:spPr>
            <a:xfrm>
              <a:off x="11894969" y="2634734"/>
              <a:ext cx="303380" cy="545410"/>
            </a:xfrm>
            <a:custGeom>
              <a:avLst/>
              <a:gdLst>
                <a:gd name="connsiteX0" fmla="*/ 240985 w 536184"/>
                <a:gd name="connsiteY0" fmla="*/ 0 h 963941"/>
                <a:gd name="connsiteX1" fmla="*/ 536184 w 536184"/>
                <a:gd name="connsiteY1" fmla="*/ 0 h 963941"/>
                <a:gd name="connsiteX2" fmla="*/ 536184 w 536184"/>
                <a:gd name="connsiteY2" fmla="*/ 963941 h 963941"/>
                <a:gd name="connsiteX3" fmla="*/ 240985 w 536184"/>
                <a:gd name="connsiteY3" fmla="*/ 963941 h 963941"/>
                <a:gd name="connsiteX4" fmla="*/ 0 w 536184"/>
                <a:gd name="connsiteY4" fmla="*/ 481971 h 96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184" h="963941">
                  <a:moveTo>
                    <a:pt x="240985" y="0"/>
                  </a:moveTo>
                  <a:lnTo>
                    <a:pt x="536184" y="0"/>
                  </a:lnTo>
                  <a:lnTo>
                    <a:pt x="536184" y="963941"/>
                  </a:lnTo>
                  <a:lnTo>
                    <a:pt x="240985" y="963941"/>
                  </a:lnTo>
                  <a:lnTo>
                    <a:pt x="0" y="481971"/>
                  </a:lnTo>
                  <a:close/>
                </a:path>
              </a:pathLst>
            </a:cu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91" name="Hexagon 90">
              <a:extLst>
                <a:ext uri="{FF2B5EF4-FFF2-40B4-BE49-F238E27FC236}">
                  <a16:creationId xmlns:a16="http://schemas.microsoft.com/office/drawing/2014/main" id="{DEDF86C0-93A3-4E19-AF1D-2B1A96BAA9CC}"/>
                </a:ext>
              </a:extLst>
            </p:cNvPr>
            <p:cNvSpPr/>
            <p:nvPr userDrawn="1"/>
          </p:nvSpPr>
          <p:spPr>
            <a:xfrm>
              <a:off x="11588432" y="2553958"/>
              <a:ext cx="520774" cy="448944"/>
            </a:xfrm>
            <a:prstGeom prst="hexagon">
              <a:avLst/>
            </a:pr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grpSp>
          <p:nvGrpSpPr>
            <p:cNvPr id="92" name="Group 91">
              <a:extLst>
                <a:ext uri="{FF2B5EF4-FFF2-40B4-BE49-F238E27FC236}">
                  <a16:creationId xmlns:a16="http://schemas.microsoft.com/office/drawing/2014/main" id="{EC2D4767-AAC7-445B-984E-267FC8ED1418}"/>
                </a:ext>
              </a:extLst>
            </p:cNvPr>
            <p:cNvGrpSpPr/>
            <p:nvPr userDrawn="1"/>
          </p:nvGrpSpPr>
          <p:grpSpPr>
            <a:xfrm>
              <a:off x="9838377" y="1651380"/>
              <a:ext cx="2359970" cy="1486365"/>
              <a:chOff x="9095341" y="0"/>
              <a:chExt cx="3103008" cy="1954349"/>
            </a:xfrm>
            <a:solidFill>
              <a:srgbClr val="FFE600"/>
            </a:solidFill>
          </p:grpSpPr>
          <p:sp>
            <p:nvSpPr>
              <p:cNvPr id="97" name="Freeform: Shape 96">
                <a:extLst>
                  <a:ext uri="{FF2B5EF4-FFF2-40B4-BE49-F238E27FC236}">
                    <a16:creationId xmlns:a16="http://schemas.microsoft.com/office/drawing/2014/main" id="{0EBE8BDB-51FE-45A7-A512-3DEA3292D722}"/>
                  </a:ext>
                </a:extLst>
              </p:cNvPr>
              <p:cNvSpPr/>
              <p:nvPr/>
            </p:nvSpPr>
            <p:spPr>
              <a:xfrm flipV="1">
                <a:off x="11866698" y="1483085"/>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8 h 590550"/>
                  <a:gd name="connsiteX11" fmla="*/ 435483 w 428625"/>
                  <a:gd name="connsiteY11" fmla="*/ 593408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8"/>
                    </a:lnTo>
                    <a:lnTo>
                      <a:pt x="435483" y="593408"/>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98" name="Freeform: Shape 97">
                <a:extLst>
                  <a:ext uri="{FF2B5EF4-FFF2-40B4-BE49-F238E27FC236}">
                    <a16:creationId xmlns:a16="http://schemas.microsoft.com/office/drawing/2014/main" id="{0C88B2DE-5F7E-4977-87AE-116F9859B811}"/>
                  </a:ext>
                </a:extLst>
              </p:cNvPr>
              <p:cNvSpPr/>
              <p:nvPr/>
            </p:nvSpPr>
            <p:spPr>
              <a:xfrm flipV="1">
                <a:off x="11866698" y="1030150"/>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8 h 590550"/>
                  <a:gd name="connsiteX11" fmla="*/ 435483 w 428625"/>
                  <a:gd name="connsiteY11" fmla="*/ 593408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8"/>
                    </a:lnTo>
                    <a:lnTo>
                      <a:pt x="435483" y="593408"/>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99" name="Freeform: Shape 98">
                <a:extLst>
                  <a:ext uri="{FF2B5EF4-FFF2-40B4-BE49-F238E27FC236}">
                    <a16:creationId xmlns:a16="http://schemas.microsoft.com/office/drawing/2014/main" id="{94EBC12F-DDD2-4F6F-B552-8A04A9FDC155}"/>
                  </a:ext>
                </a:extLst>
              </p:cNvPr>
              <p:cNvSpPr/>
              <p:nvPr/>
            </p:nvSpPr>
            <p:spPr>
              <a:xfrm flipV="1">
                <a:off x="11866698" y="577214"/>
                <a:ext cx="328585" cy="452717"/>
              </a:xfrm>
              <a:custGeom>
                <a:avLst/>
                <a:gdLst>
                  <a:gd name="connsiteX0" fmla="*/ 435483 w 428625"/>
                  <a:gd name="connsiteY0" fmla="*/ 590836 h 590550"/>
                  <a:gd name="connsiteX1" fmla="*/ 172783 w 428625"/>
                  <a:gd name="connsiteY1" fmla="*/ 590836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407 h 590550"/>
                  <a:gd name="connsiteX11" fmla="*/ 435483 w 428625"/>
                  <a:gd name="connsiteY11" fmla="*/ 59340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836"/>
                    </a:moveTo>
                    <a:lnTo>
                      <a:pt x="172783" y="590836"/>
                    </a:lnTo>
                    <a:lnTo>
                      <a:pt x="2953" y="296704"/>
                    </a:lnTo>
                    <a:lnTo>
                      <a:pt x="172783" y="2572"/>
                    </a:lnTo>
                    <a:lnTo>
                      <a:pt x="435483" y="2572"/>
                    </a:lnTo>
                    <a:lnTo>
                      <a:pt x="435483" y="0"/>
                    </a:lnTo>
                    <a:lnTo>
                      <a:pt x="171259" y="0"/>
                    </a:lnTo>
                    <a:lnTo>
                      <a:pt x="381" y="296037"/>
                    </a:lnTo>
                    <a:lnTo>
                      <a:pt x="0" y="296704"/>
                    </a:lnTo>
                    <a:lnTo>
                      <a:pt x="170879" y="592741"/>
                    </a:lnTo>
                    <a:lnTo>
                      <a:pt x="171259" y="593407"/>
                    </a:lnTo>
                    <a:lnTo>
                      <a:pt x="435483" y="593407"/>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0" name="Freeform: Shape 99">
                <a:extLst>
                  <a:ext uri="{FF2B5EF4-FFF2-40B4-BE49-F238E27FC236}">
                    <a16:creationId xmlns:a16="http://schemas.microsoft.com/office/drawing/2014/main" id="{29824FC0-26D9-4F6F-BA11-0C48BC6B142D}"/>
                  </a:ext>
                </a:extLst>
              </p:cNvPr>
              <p:cNvSpPr/>
              <p:nvPr/>
            </p:nvSpPr>
            <p:spPr>
              <a:xfrm flipV="1">
                <a:off x="11866698" y="124278"/>
                <a:ext cx="328585" cy="452717"/>
              </a:xfrm>
              <a:custGeom>
                <a:avLst/>
                <a:gdLst>
                  <a:gd name="connsiteX0" fmla="*/ 435483 w 428625"/>
                  <a:gd name="connsiteY0" fmla="*/ 590740 h 590550"/>
                  <a:gd name="connsiteX1" fmla="*/ 172783 w 428625"/>
                  <a:gd name="connsiteY1" fmla="*/ 590740 h 590550"/>
                  <a:gd name="connsiteX2" fmla="*/ 2953 w 428625"/>
                  <a:gd name="connsiteY2" fmla="*/ 296704 h 590550"/>
                  <a:gd name="connsiteX3" fmla="*/ 172783 w 428625"/>
                  <a:gd name="connsiteY3" fmla="*/ 2572 h 590550"/>
                  <a:gd name="connsiteX4" fmla="*/ 435483 w 428625"/>
                  <a:gd name="connsiteY4" fmla="*/ 2572 h 590550"/>
                  <a:gd name="connsiteX5" fmla="*/ 435483 w 428625"/>
                  <a:gd name="connsiteY5" fmla="*/ 0 h 590550"/>
                  <a:gd name="connsiteX6" fmla="*/ 171259 w 428625"/>
                  <a:gd name="connsiteY6" fmla="*/ 0 h 590550"/>
                  <a:gd name="connsiteX7" fmla="*/ 381 w 428625"/>
                  <a:gd name="connsiteY7" fmla="*/ 296037 h 590550"/>
                  <a:gd name="connsiteX8" fmla="*/ 0 w 428625"/>
                  <a:gd name="connsiteY8" fmla="*/ 296704 h 590550"/>
                  <a:gd name="connsiteX9" fmla="*/ 170879 w 428625"/>
                  <a:gd name="connsiteY9" fmla="*/ 592741 h 590550"/>
                  <a:gd name="connsiteX10" fmla="*/ 171259 w 428625"/>
                  <a:gd name="connsiteY10" fmla="*/ 593312 h 590550"/>
                  <a:gd name="connsiteX11" fmla="*/ 435483 w 428625"/>
                  <a:gd name="connsiteY11" fmla="*/ 5933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8625" h="590550">
                    <a:moveTo>
                      <a:pt x="435483" y="590740"/>
                    </a:moveTo>
                    <a:lnTo>
                      <a:pt x="172783" y="590740"/>
                    </a:lnTo>
                    <a:lnTo>
                      <a:pt x="2953" y="296704"/>
                    </a:lnTo>
                    <a:lnTo>
                      <a:pt x="172783" y="2572"/>
                    </a:lnTo>
                    <a:lnTo>
                      <a:pt x="435483" y="2572"/>
                    </a:lnTo>
                    <a:lnTo>
                      <a:pt x="435483" y="0"/>
                    </a:lnTo>
                    <a:lnTo>
                      <a:pt x="171259" y="0"/>
                    </a:lnTo>
                    <a:lnTo>
                      <a:pt x="381" y="296037"/>
                    </a:lnTo>
                    <a:lnTo>
                      <a:pt x="0" y="296704"/>
                    </a:lnTo>
                    <a:lnTo>
                      <a:pt x="170879" y="592741"/>
                    </a:lnTo>
                    <a:lnTo>
                      <a:pt x="171259" y="593312"/>
                    </a:lnTo>
                    <a:lnTo>
                      <a:pt x="435483" y="59331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1" name="Freeform: Shape 100">
                <a:extLst>
                  <a:ext uri="{FF2B5EF4-FFF2-40B4-BE49-F238E27FC236}">
                    <a16:creationId xmlns:a16="http://schemas.microsoft.com/office/drawing/2014/main" id="{A5473DF0-C6A3-420E-8CAF-2B1078D5CE44}"/>
                  </a:ext>
                </a:extLst>
              </p:cNvPr>
              <p:cNvSpPr/>
              <p:nvPr/>
            </p:nvSpPr>
            <p:spPr>
              <a:xfrm flipV="1">
                <a:off x="11926354" y="0"/>
                <a:ext cx="270170" cy="124132"/>
              </a:xfrm>
              <a:custGeom>
                <a:avLst/>
                <a:gdLst>
                  <a:gd name="connsiteX0" fmla="*/ 357664 w 352425"/>
                  <a:gd name="connsiteY0" fmla="*/ 0 h 161925"/>
                  <a:gd name="connsiteX1" fmla="*/ 93440 w 352425"/>
                  <a:gd name="connsiteY1" fmla="*/ 0 h 161925"/>
                  <a:gd name="connsiteX2" fmla="*/ 0 w 352425"/>
                  <a:gd name="connsiteY2" fmla="*/ 161925 h 161925"/>
                  <a:gd name="connsiteX3" fmla="*/ 2953 w 352425"/>
                  <a:gd name="connsiteY3" fmla="*/ 161925 h 161925"/>
                  <a:gd name="connsiteX4" fmla="*/ 94964 w 352425"/>
                  <a:gd name="connsiteY4" fmla="*/ 2572 h 161925"/>
                  <a:gd name="connsiteX5" fmla="*/ 357664 w 352425"/>
                  <a:gd name="connsiteY5" fmla="*/ 257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25" h="161925">
                    <a:moveTo>
                      <a:pt x="357664" y="0"/>
                    </a:moveTo>
                    <a:lnTo>
                      <a:pt x="93440" y="0"/>
                    </a:lnTo>
                    <a:lnTo>
                      <a:pt x="0" y="161925"/>
                    </a:lnTo>
                    <a:lnTo>
                      <a:pt x="2953" y="161925"/>
                    </a:lnTo>
                    <a:lnTo>
                      <a:pt x="94964" y="2572"/>
                    </a:lnTo>
                    <a:lnTo>
                      <a:pt x="35766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2" name="Freeform: Shape 101">
                <a:extLst>
                  <a:ext uri="{FF2B5EF4-FFF2-40B4-BE49-F238E27FC236}">
                    <a16:creationId xmlns:a16="http://schemas.microsoft.com/office/drawing/2014/main" id="{B96D926C-417C-4174-AF1B-8423DE85E483}"/>
                  </a:ext>
                </a:extLst>
              </p:cNvPr>
              <p:cNvSpPr/>
              <p:nvPr/>
            </p:nvSpPr>
            <p:spPr>
              <a:xfrm flipV="1">
                <a:off x="11474441" y="1256581"/>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0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0"/>
                    </a:lnTo>
                    <a:lnTo>
                      <a:pt x="513874" y="593407"/>
                    </a:lnTo>
                    <a:lnTo>
                      <a:pt x="171259" y="593407"/>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3" name="Freeform: Shape 102">
                <a:extLst>
                  <a:ext uri="{FF2B5EF4-FFF2-40B4-BE49-F238E27FC236}">
                    <a16:creationId xmlns:a16="http://schemas.microsoft.com/office/drawing/2014/main" id="{277F7788-BAF4-450D-A289-3ED67FF87D5E}"/>
                  </a:ext>
                </a:extLst>
              </p:cNvPr>
              <p:cNvSpPr/>
              <p:nvPr/>
            </p:nvSpPr>
            <p:spPr>
              <a:xfrm flipV="1">
                <a:off x="11474441" y="350782"/>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4" name="Freeform: Shape 103">
                <a:extLst>
                  <a:ext uri="{FF2B5EF4-FFF2-40B4-BE49-F238E27FC236}">
                    <a16:creationId xmlns:a16="http://schemas.microsoft.com/office/drawing/2014/main" id="{FEFCA6E3-E2AE-45D6-973E-B4B225913C05}"/>
                  </a:ext>
                </a:extLst>
              </p:cNvPr>
              <p:cNvSpPr/>
              <p:nvPr/>
            </p:nvSpPr>
            <p:spPr>
              <a:xfrm flipV="1">
                <a:off x="11474441" y="73"/>
                <a:ext cx="518434" cy="350490"/>
              </a:xfrm>
              <a:custGeom>
                <a:avLst/>
                <a:gdLst>
                  <a:gd name="connsiteX0" fmla="*/ 95726 w 676275"/>
                  <a:gd name="connsiteY0" fmla="*/ 457295 h 457200"/>
                  <a:gd name="connsiteX1" fmla="*/ 2953 w 676275"/>
                  <a:gd name="connsiteY1" fmla="*/ 296704 h 457200"/>
                  <a:gd name="connsiteX2" fmla="*/ 172783 w 676275"/>
                  <a:gd name="connsiteY2" fmla="*/ 2572 h 457200"/>
                  <a:gd name="connsiteX3" fmla="*/ 512445 w 676275"/>
                  <a:gd name="connsiteY3" fmla="*/ 2572 h 457200"/>
                  <a:gd name="connsiteX4" fmla="*/ 682180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133 w 676275"/>
                  <a:gd name="connsiteY8" fmla="*/ 296704 h 457200"/>
                  <a:gd name="connsiteX9" fmla="*/ 514255 w 676275"/>
                  <a:gd name="connsiteY9" fmla="*/ 667 h 457200"/>
                  <a:gd name="connsiteX10" fmla="*/ 513874 w 676275"/>
                  <a:gd name="connsiteY10" fmla="*/ 0 h 457200"/>
                  <a:gd name="connsiteX11" fmla="*/ 171259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2953" y="296704"/>
                    </a:lnTo>
                    <a:lnTo>
                      <a:pt x="172783" y="2572"/>
                    </a:lnTo>
                    <a:lnTo>
                      <a:pt x="512445" y="2572"/>
                    </a:lnTo>
                    <a:lnTo>
                      <a:pt x="682180" y="296704"/>
                    </a:lnTo>
                    <a:lnTo>
                      <a:pt x="589502" y="457295"/>
                    </a:lnTo>
                    <a:lnTo>
                      <a:pt x="592455" y="457295"/>
                    </a:lnTo>
                    <a:lnTo>
                      <a:pt x="684847" y="297371"/>
                    </a:lnTo>
                    <a:lnTo>
                      <a:pt x="685133" y="296704"/>
                    </a:lnTo>
                    <a:lnTo>
                      <a:pt x="514255" y="667"/>
                    </a:lnTo>
                    <a:lnTo>
                      <a:pt x="513874" y="0"/>
                    </a:lnTo>
                    <a:lnTo>
                      <a:pt x="171259"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5" name="Freeform: Shape 104">
                <a:extLst>
                  <a:ext uri="{FF2B5EF4-FFF2-40B4-BE49-F238E27FC236}">
                    <a16:creationId xmlns:a16="http://schemas.microsoft.com/office/drawing/2014/main" id="{BC898750-862A-4B2B-BF6D-22D0D781716F}"/>
                  </a:ext>
                </a:extLst>
              </p:cNvPr>
              <p:cNvSpPr/>
              <p:nvPr/>
            </p:nvSpPr>
            <p:spPr>
              <a:xfrm flipV="1">
                <a:off x="11082184" y="577214"/>
                <a:ext cx="518434" cy="452717"/>
              </a:xfrm>
              <a:custGeom>
                <a:avLst/>
                <a:gdLst>
                  <a:gd name="connsiteX0" fmla="*/ 0 w 676275"/>
                  <a:gd name="connsiteY0" fmla="*/ 296704 h 590550"/>
                  <a:gd name="connsiteX1" fmla="*/ 381 w 676275"/>
                  <a:gd name="connsiteY1" fmla="*/ 296037 h 590550"/>
                  <a:gd name="connsiteX2" fmla="*/ 171355 w 676275"/>
                  <a:gd name="connsiteY2" fmla="*/ 0 h 590550"/>
                  <a:gd name="connsiteX3" fmla="*/ 513969 w 676275"/>
                  <a:gd name="connsiteY3" fmla="*/ 0 h 590550"/>
                  <a:gd name="connsiteX4" fmla="*/ 514350 w 676275"/>
                  <a:gd name="connsiteY4" fmla="*/ 667 h 590550"/>
                  <a:gd name="connsiteX5" fmla="*/ 685229 w 676275"/>
                  <a:gd name="connsiteY5" fmla="*/ 296704 h 590550"/>
                  <a:gd name="connsiteX6" fmla="*/ 684847 w 676275"/>
                  <a:gd name="connsiteY6" fmla="*/ 297371 h 590550"/>
                  <a:gd name="connsiteX7" fmla="*/ 513969 w 676275"/>
                  <a:gd name="connsiteY7" fmla="*/ 593407 h 590550"/>
                  <a:gd name="connsiteX8" fmla="*/ 171355 w 676275"/>
                  <a:gd name="connsiteY8" fmla="*/ 593407 h 590550"/>
                  <a:gd name="connsiteX9" fmla="*/ 170974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355" y="0"/>
                    </a:lnTo>
                    <a:lnTo>
                      <a:pt x="513969" y="0"/>
                    </a:lnTo>
                    <a:lnTo>
                      <a:pt x="514350" y="667"/>
                    </a:lnTo>
                    <a:lnTo>
                      <a:pt x="685229" y="296704"/>
                    </a:lnTo>
                    <a:lnTo>
                      <a:pt x="684847" y="297371"/>
                    </a:lnTo>
                    <a:lnTo>
                      <a:pt x="513969" y="593407"/>
                    </a:lnTo>
                    <a:lnTo>
                      <a:pt x="171355" y="593407"/>
                    </a:lnTo>
                    <a:lnTo>
                      <a:pt x="170974"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6" name="Freeform: Shape 105">
                <a:extLst>
                  <a:ext uri="{FF2B5EF4-FFF2-40B4-BE49-F238E27FC236}">
                    <a16:creationId xmlns:a16="http://schemas.microsoft.com/office/drawing/2014/main" id="{969B2B39-FB7A-47E6-B9E9-61B376A67B82}"/>
                  </a:ext>
                </a:extLst>
              </p:cNvPr>
              <p:cNvSpPr/>
              <p:nvPr/>
            </p:nvSpPr>
            <p:spPr>
              <a:xfrm flipV="1">
                <a:off x="11082184" y="124278"/>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7" name="Freeform: Shape 106">
                <a:extLst>
                  <a:ext uri="{FF2B5EF4-FFF2-40B4-BE49-F238E27FC236}">
                    <a16:creationId xmlns:a16="http://schemas.microsoft.com/office/drawing/2014/main" id="{5C8586A0-C4C0-4338-AEEE-7C623892D1A2}"/>
                  </a:ext>
                </a:extLst>
              </p:cNvPr>
              <p:cNvSpPr/>
              <p:nvPr/>
            </p:nvSpPr>
            <p:spPr>
              <a:xfrm flipV="1">
                <a:off x="11141840" y="0"/>
                <a:ext cx="401604" cy="124132"/>
              </a:xfrm>
              <a:custGeom>
                <a:avLst/>
                <a:gdLst>
                  <a:gd name="connsiteX0" fmla="*/ 2953 w 523875"/>
                  <a:gd name="connsiteY0" fmla="*/ 161925 h 161925"/>
                  <a:gd name="connsiteX1" fmla="*/ 94964 w 523875"/>
                  <a:gd name="connsiteY1" fmla="*/ 2572 h 161925"/>
                  <a:gd name="connsiteX2" fmla="*/ 434626 w 523875"/>
                  <a:gd name="connsiteY2" fmla="*/ 2572 h 161925"/>
                  <a:gd name="connsiteX3" fmla="*/ 526637 w 523875"/>
                  <a:gd name="connsiteY3" fmla="*/ 161925 h 161925"/>
                  <a:gd name="connsiteX4" fmla="*/ 529590 w 523875"/>
                  <a:gd name="connsiteY4" fmla="*/ 161925 h 161925"/>
                  <a:gd name="connsiteX5" fmla="*/ 436436 w 523875"/>
                  <a:gd name="connsiteY5" fmla="*/ 667 h 161925"/>
                  <a:gd name="connsiteX6" fmla="*/ 436055 w 523875"/>
                  <a:gd name="connsiteY6" fmla="*/ 0 h 161925"/>
                  <a:gd name="connsiteX7" fmla="*/ 93536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626" y="2572"/>
                    </a:lnTo>
                    <a:lnTo>
                      <a:pt x="526637" y="161925"/>
                    </a:lnTo>
                    <a:lnTo>
                      <a:pt x="529590" y="161925"/>
                    </a:lnTo>
                    <a:lnTo>
                      <a:pt x="436436" y="667"/>
                    </a:lnTo>
                    <a:lnTo>
                      <a:pt x="436055" y="0"/>
                    </a:lnTo>
                    <a:lnTo>
                      <a:pt x="93536"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8" name="Freeform: Shape 107">
                <a:extLst>
                  <a:ext uri="{FF2B5EF4-FFF2-40B4-BE49-F238E27FC236}">
                    <a16:creationId xmlns:a16="http://schemas.microsoft.com/office/drawing/2014/main" id="{2DEC8FC0-F9C8-4742-A191-C03FD5956D5F}"/>
                  </a:ext>
                </a:extLst>
              </p:cNvPr>
              <p:cNvSpPr/>
              <p:nvPr/>
            </p:nvSpPr>
            <p:spPr>
              <a:xfrm flipV="1">
                <a:off x="10689926" y="350782"/>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259 w 676275"/>
                  <a:gd name="connsiteY8" fmla="*/ 593408 h 590550"/>
                  <a:gd name="connsiteX9" fmla="*/ 170879 w 676275"/>
                  <a:gd name="connsiteY9" fmla="*/ 592741 h 590550"/>
                  <a:gd name="connsiteX10" fmla="*/ 0 w 676275"/>
                  <a:gd name="connsiteY10" fmla="*/ 296704 h 590550"/>
                  <a:gd name="connsiteX11" fmla="*/ 172783 w 676275"/>
                  <a:gd name="connsiteY11" fmla="*/ 2572 h 590550"/>
                  <a:gd name="connsiteX12" fmla="*/ 2953 w 676275"/>
                  <a:gd name="connsiteY12" fmla="*/ 296704 h 590550"/>
                  <a:gd name="connsiteX13" fmla="*/ 172783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3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8"/>
                    </a:lnTo>
                    <a:lnTo>
                      <a:pt x="171259" y="593408"/>
                    </a:lnTo>
                    <a:lnTo>
                      <a:pt x="170879" y="592741"/>
                    </a:lnTo>
                    <a:lnTo>
                      <a:pt x="0" y="296704"/>
                    </a:lnTo>
                    <a:close/>
                    <a:moveTo>
                      <a:pt x="172783" y="2572"/>
                    </a:moveTo>
                    <a:lnTo>
                      <a:pt x="2953" y="296704"/>
                    </a:lnTo>
                    <a:lnTo>
                      <a:pt x="172783" y="590836"/>
                    </a:lnTo>
                    <a:lnTo>
                      <a:pt x="512445" y="590836"/>
                    </a:lnTo>
                    <a:lnTo>
                      <a:pt x="682276" y="296704"/>
                    </a:lnTo>
                    <a:lnTo>
                      <a:pt x="512445" y="2572"/>
                    </a:lnTo>
                    <a:lnTo>
                      <a:pt x="172783"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09" name="Freeform: Shape 108">
                <a:extLst>
                  <a:ext uri="{FF2B5EF4-FFF2-40B4-BE49-F238E27FC236}">
                    <a16:creationId xmlns:a16="http://schemas.microsoft.com/office/drawing/2014/main" id="{36DB3617-88EC-45D6-8BF0-53DF82CA0A31}"/>
                  </a:ext>
                </a:extLst>
              </p:cNvPr>
              <p:cNvSpPr/>
              <p:nvPr/>
            </p:nvSpPr>
            <p:spPr>
              <a:xfrm flipV="1">
                <a:off x="10689926" y="73"/>
                <a:ext cx="518434" cy="350490"/>
              </a:xfrm>
              <a:custGeom>
                <a:avLst/>
                <a:gdLst>
                  <a:gd name="connsiteX0" fmla="*/ 95726 w 676275"/>
                  <a:gd name="connsiteY0" fmla="*/ 457295 h 457200"/>
                  <a:gd name="connsiteX1" fmla="*/ 3048 w 676275"/>
                  <a:gd name="connsiteY1" fmla="*/ 296704 h 457200"/>
                  <a:gd name="connsiteX2" fmla="*/ 172783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7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3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3" y="2572"/>
                    </a:lnTo>
                    <a:lnTo>
                      <a:pt x="512445" y="2572"/>
                    </a:lnTo>
                    <a:lnTo>
                      <a:pt x="682276" y="296704"/>
                    </a:lnTo>
                    <a:lnTo>
                      <a:pt x="589502" y="457295"/>
                    </a:lnTo>
                    <a:lnTo>
                      <a:pt x="592455" y="457295"/>
                    </a:lnTo>
                    <a:lnTo>
                      <a:pt x="684847" y="297371"/>
                    </a:lnTo>
                    <a:lnTo>
                      <a:pt x="685229" y="296704"/>
                    </a:lnTo>
                    <a:lnTo>
                      <a:pt x="514255" y="667"/>
                    </a:lnTo>
                    <a:lnTo>
                      <a:pt x="513969" y="0"/>
                    </a:lnTo>
                    <a:lnTo>
                      <a:pt x="171355" y="0"/>
                    </a:lnTo>
                    <a:lnTo>
                      <a:pt x="381" y="296037"/>
                    </a:lnTo>
                    <a:lnTo>
                      <a:pt x="0" y="296704"/>
                    </a:lnTo>
                    <a:lnTo>
                      <a:pt x="92773"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0" name="Freeform: Shape 109">
                <a:extLst>
                  <a:ext uri="{FF2B5EF4-FFF2-40B4-BE49-F238E27FC236}">
                    <a16:creationId xmlns:a16="http://schemas.microsoft.com/office/drawing/2014/main" id="{E33B112D-6544-4DF5-8166-690F3E06ABCC}"/>
                  </a:ext>
                </a:extLst>
              </p:cNvPr>
              <p:cNvSpPr/>
              <p:nvPr/>
            </p:nvSpPr>
            <p:spPr>
              <a:xfrm flipV="1">
                <a:off x="10297742" y="124278"/>
                <a:ext cx="518434" cy="452717"/>
              </a:xfrm>
              <a:custGeom>
                <a:avLst/>
                <a:gdLst>
                  <a:gd name="connsiteX0" fmla="*/ 0 w 676275"/>
                  <a:gd name="connsiteY0" fmla="*/ 296704 h 590550"/>
                  <a:gd name="connsiteX1" fmla="*/ 381 w 676275"/>
                  <a:gd name="connsiteY1" fmla="*/ 296037 h 590550"/>
                  <a:gd name="connsiteX2" fmla="*/ 171259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7 h 590550"/>
                  <a:gd name="connsiteX8" fmla="*/ 171259 w 676275"/>
                  <a:gd name="connsiteY8" fmla="*/ 593407 h 590550"/>
                  <a:gd name="connsiteX9" fmla="*/ 170879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59" y="0"/>
                    </a:lnTo>
                    <a:lnTo>
                      <a:pt x="513874" y="0"/>
                    </a:lnTo>
                    <a:lnTo>
                      <a:pt x="514255" y="667"/>
                    </a:lnTo>
                    <a:lnTo>
                      <a:pt x="685133" y="296704"/>
                    </a:lnTo>
                    <a:lnTo>
                      <a:pt x="684752" y="297371"/>
                    </a:lnTo>
                    <a:lnTo>
                      <a:pt x="513874" y="593407"/>
                    </a:lnTo>
                    <a:lnTo>
                      <a:pt x="171259" y="593407"/>
                    </a:lnTo>
                    <a:lnTo>
                      <a:pt x="170879"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1" name="Freeform: Shape 110">
                <a:extLst>
                  <a:ext uri="{FF2B5EF4-FFF2-40B4-BE49-F238E27FC236}">
                    <a16:creationId xmlns:a16="http://schemas.microsoft.com/office/drawing/2014/main" id="{4F875B97-BAA2-405C-A596-920CC9501821}"/>
                  </a:ext>
                </a:extLst>
              </p:cNvPr>
              <p:cNvSpPr/>
              <p:nvPr/>
            </p:nvSpPr>
            <p:spPr>
              <a:xfrm flipV="1">
                <a:off x="10357398" y="0"/>
                <a:ext cx="401604" cy="124132"/>
              </a:xfrm>
              <a:custGeom>
                <a:avLst/>
                <a:gdLst>
                  <a:gd name="connsiteX0" fmla="*/ 2953 w 523875"/>
                  <a:gd name="connsiteY0" fmla="*/ 161925 h 161925"/>
                  <a:gd name="connsiteX1" fmla="*/ 94964 w 523875"/>
                  <a:gd name="connsiteY1" fmla="*/ 2572 h 161925"/>
                  <a:gd name="connsiteX2" fmla="*/ 434531 w 523875"/>
                  <a:gd name="connsiteY2" fmla="*/ 2572 h 161925"/>
                  <a:gd name="connsiteX3" fmla="*/ 526542 w 523875"/>
                  <a:gd name="connsiteY3" fmla="*/ 161925 h 161925"/>
                  <a:gd name="connsiteX4" fmla="*/ 529495 w 523875"/>
                  <a:gd name="connsiteY4" fmla="*/ 161925 h 161925"/>
                  <a:gd name="connsiteX5" fmla="*/ 436436 w 523875"/>
                  <a:gd name="connsiteY5" fmla="*/ 667 h 161925"/>
                  <a:gd name="connsiteX6" fmla="*/ 436055 w 523875"/>
                  <a:gd name="connsiteY6" fmla="*/ 0 h 161925"/>
                  <a:gd name="connsiteX7" fmla="*/ 93440 w 523875"/>
                  <a:gd name="connsiteY7" fmla="*/ 0 h 161925"/>
                  <a:gd name="connsiteX8" fmla="*/ 0 w 523875"/>
                  <a:gd name="connsiteY8"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875" h="161925">
                    <a:moveTo>
                      <a:pt x="2953" y="161925"/>
                    </a:moveTo>
                    <a:lnTo>
                      <a:pt x="94964" y="2572"/>
                    </a:lnTo>
                    <a:lnTo>
                      <a:pt x="434531" y="2572"/>
                    </a:lnTo>
                    <a:lnTo>
                      <a:pt x="526542" y="161925"/>
                    </a:lnTo>
                    <a:lnTo>
                      <a:pt x="529495" y="161925"/>
                    </a:lnTo>
                    <a:lnTo>
                      <a:pt x="436436" y="667"/>
                    </a:lnTo>
                    <a:lnTo>
                      <a:pt x="436055" y="0"/>
                    </a:lnTo>
                    <a:lnTo>
                      <a:pt x="93440" y="0"/>
                    </a:lnTo>
                    <a:lnTo>
                      <a:pt x="0" y="16192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2" name="Freeform: Shape 111">
                <a:extLst>
                  <a:ext uri="{FF2B5EF4-FFF2-40B4-BE49-F238E27FC236}">
                    <a16:creationId xmlns:a16="http://schemas.microsoft.com/office/drawing/2014/main" id="{59DC29A0-A58E-448D-9CDF-DF70AEC02DCE}"/>
                  </a:ext>
                </a:extLst>
              </p:cNvPr>
              <p:cNvSpPr/>
              <p:nvPr/>
            </p:nvSpPr>
            <p:spPr>
              <a:xfrm flipV="1">
                <a:off x="9120971" y="350782"/>
                <a:ext cx="518434" cy="452717"/>
              </a:xfrm>
              <a:custGeom>
                <a:avLst/>
                <a:gdLst>
                  <a:gd name="connsiteX0" fmla="*/ 0 w 676275"/>
                  <a:gd name="connsiteY0" fmla="*/ 296704 h 590550"/>
                  <a:gd name="connsiteX1" fmla="*/ 381 w 676275"/>
                  <a:gd name="connsiteY1" fmla="*/ 296037 h 590550"/>
                  <a:gd name="connsiteX2" fmla="*/ 171260 w 676275"/>
                  <a:gd name="connsiteY2" fmla="*/ 0 h 590550"/>
                  <a:gd name="connsiteX3" fmla="*/ 513874 w 676275"/>
                  <a:gd name="connsiteY3" fmla="*/ 0 h 590550"/>
                  <a:gd name="connsiteX4" fmla="*/ 514255 w 676275"/>
                  <a:gd name="connsiteY4" fmla="*/ 667 h 590550"/>
                  <a:gd name="connsiteX5" fmla="*/ 685133 w 676275"/>
                  <a:gd name="connsiteY5" fmla="*/ 296704 h 590550"/>
                  <a:gd name="connsiteX6" fmla="*/ 684752 w 676275"/>
                  <a:gd name="connsiteY6" fmla="*/ 297371 h 590550"/>
                  <a:gd name="connsiteX7" fmla="*/ 513874 w 676275"/>
                  <a:gd name="connsiteY7" fmla="*/ 593408 h 590550"/>
                  <a:gd name="connsiteX8" fmla="*/ 171355 w 676275"/>
                  <a:gd name="connsiteY8" fmla="*/ 593408 h 590550"/>
                  <a:gd name="connsiteX9" fmla="*/ 170974 w 676275"/>
                  <a:gd name="connsiteY9" fmla="*/ 592741 h 590550"/>
                  <a:gd name="connsiteX10" fmla="*/ 0 w 676275"/>
                  <a:gd name="connsiteY10" fmla="*/ 296704 h 590550"/>
                  <a:gd name="connsiteX11" fmla="*/ 172784 w 676275"/>
                  <a:gd name="connsiteY11" fmla="*/ 2572 h 590550"/>
                  <a:gd name="connsiteX12" fmla="*/ 2953 w 676275"/>
                  <a:gd name="connsiteY12" fmla="*/ 296704 h 590550"/>
                  <a:gd name="connsiteX13" fmla="*/ 172784 w 676275"/>
                  <a:gd name="connsiteY13" fmla="*/ 590836 h 590550"/>
                  <a:gd name="connsiteX14" fmla="*/ 512445 w 676275"/>
                  <a:gd name="connsiteY14" fmla="*/ 590836 h 590550"/>
                  <a:gd name="connsiteX15" fmla="*/ 682276 w 676275"/>
                  <a:gd name="connsiteY15" fmla="*/ 296704 h 590550"/>
                  <a:gd name="connsiteX16" fmla="*/ 512445 w 676275"/>
                  <a:gd name="connsiteY16" fmla="*/ 2572 h 590550"/>
                  <a:gd name="connsiteX17" fmla="*/ 172784 w 676275"/>
                  <a:gd name="connsiteY17" fmla="*/ 257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275" h="590550">
                    <a:moveTo>
                      <a:pt x="0" y="296704"/>
                    </a:moveTo>
                    <a:lnTo>
                      <a:pt x="381" y="296037"/>
                    </a:lnTo>
                    <a:lnTo>
                      <a:pt x="171260" y="0"/>
                    </a:lnTo>
                    <a:lnTo>
                      <a:pt x="513874" y="0"/>
                    </a:lnTo>
                    <a:lnTo>
                      <a:pt x="514255" y="667"/>
                    </a:lnTo>
                    <a:lnTo>
                      <a:pt x="685133" y="296704"/>
                    </a:lnTo>
                    <a:lnTo>
                      <a:pt x="684752" y="297371"/>
                    </a:lnTo>
                    <a:lnTo>
                      <a:pt x="513874" y="593408"/>
                    </a:lnTo>
                    <a:lnTo>
                      <a:pt x="171355" y="593408"/>
                    </a:lnTo>
                    <a:lnTo>
                      <a:pt x="170974" y="592741"/>
                    </a:lnTo>
                    <a:lnTo>
                      <a:pt x="0" y="296704"/>
                    </a:lnTo>
                    <a:close/>
                    <a:moveTo>
                      <a:pt x="172784" y="2572"/>
                    </a:moveTo>
                    <a:lnTo>
                      <a:pt x="2953" y="296704"/>
                    </a:lnTo>
                    <a:lnTo>
                      <a:pt x="172784" y="590836"/>
                    </a:lnTo>
                    <a:lnTo>
                      <a:pt x="512445" y="590836"/>
                    </a:lnTo>
                    <a:lnTo>
                      <a:pt x="682276" y="296704"/>
                    </a:lnTo>
                    <a:lnTo>
                      <a:pt x="512445" y="2572"/>
                    </a:lnTo>
                    <a:lnTo>
                      <a:pt x="172784" y="2572"/>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3" name="Freeform: Shape 112">
                <a:extLst>
                  <a:ext uri="{FF2B5EF4-FFF2-40B4-BE49-F238E27FC236}">
                    <a16:creationId xmlns:a16="http://schemas.microsoft.com/office/drawing/2014/main" id="{54237A42-8797-40D6-A2E0-E62C6C32E06C}"/>
                  </a:ext>
                </a:extLst>
              </p:cNvPr>
              <p:cNvSpPr/>
              <p:nvPr/>
            </p:nvSpPr>
            <p:spPr>
              <a:xfrm flipV="1">
                <a:off x="9120971" y="73"/>
                <a:ext cx="518434" cy="350490"/>
              </a:xfrm>
              <a:custGeom>
                <a:avLst/>
                <a:gdLst>
                  <a:gd name="connsiteX0" fmla="*/ 95726 w 676275"/>
                  <a:gd name="connsiteY0" fmla="*/ 457295 h 457200"/>
                  <a:gd name="connsiteX1" fmla="*/ 3048 w 676275"/>
                  <a:gd name="connsiteY1" fmla="*/ 296704 h 457200"/>
                  <a:gd name="connsiteX2" fmla="*/ 172784 w 676275"/>
                  <a:gd name="connsiteY2" fmla="*/ 2572 h 457200"/>
                  <a:gd name="connsiteX3" fmla="*/ 512445 w 676275"/>
                  <a:gd name="connsiteY3" fmla="*/ 2572 h 457200"/>
                  <a:gd name="connsiteX4" fmla="*/ 682276 w 676275"/>
                  <a:gd name="connsiteY4" fmla="*/ 296704 h 457200"/>
                  <a:gd name="connsiteX5" fmla="*/ 589502 w 676275"/>
                  <a:gd name="connsiteY5" fmla="*/ 457295 h 457200"/>
                  <a:gd name="connsiteX6" fmla="*/ 592455 w 676275"/>
                  <a:gd name="connsiteY6" fmla="*/ 457295 h 457200"/>
                  <a:gd name="connsiteX7" fmla="*/ 684848 w 676275"/>
                  <a:gd name="connsiteY7" fmla="*/ 297371 h 457200"/>
                  <a:gd name="connsiteX8" fmla="*/ 685229 w 676275"/>
                  <a:gd name="connsiteY8" fmla="*/ 296704 h 457200"/>
                  <a:gd name="connsiteX9" fmla="*/ 514255 w 676275"/>
                  <a:gd name="connsiteY9" fmla="*/ 667 h 457200"/>
                  <a:gd name="connsiteX10" fmla="*/ 513969 w 676275"/>
                  <a:gd name="connsiteY10" fmla="*/ 0 h 457200"/>
                  <a:gd name="connsiteX11" fmla="*/ 171355 w 676275"/>
                  <a:gd name="connsiteY11" fmla="*/ 0 h 457200"/>
                  <a:gd name="connsiteX12" fmla="*/ 381 w 676275"/>
                  <a:gd name="connsiteY12" fmla="*/ 296037 h 457200"/>
                  <a:gd name="connsiteX13" fmla="*/ 0 w 676275"/>
                  <a:gd name="connsiteY13" fmla="*/ 296704 h 457200"/>
                  <a:gd name="connsiteX14" fmla="*/ 92774 w 676275"/>
                  <a:gd name="connsiteY14" fmla="*/ 4572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5" h="457200">
                    <a:moveTo>
                      <a:pt x="95726" y="457295"/>
                    </a:moveTo>
                    <a:lnTo>
                      <a:pt x="3048" y="296704"/>
                    </a:lnTo>
                    <a:lnTo>
                      <a:pt x="172784" y="2572"/>
                    </a:lnTo>
                    <a:lnTo>
                      <a:pt x="512445" y="2572"/>
                    </a:lnTo>
                    <a:lnTo>
                      <a:pt x="682276" y="296704"/>
                    </a:lnTo>
                    <a:lnTo>
                      <a:pt x="589502" y="457295"/>
                    </a:lnTo>
                    <a:lnTo>
                      <a:pt x="592455" y="457295"/>
                    </a:lnTo>
                    <a:lnTo>
                      <a:pt x="684848" y="297371"/>
                    </a:lnTo>
                    <a:lnTo>
                      <a:pt x="685229" y="296704"/>
                    </a:lnTo>
                    <a:lnTo>
                      <a:pt x="514255" y="667"/>
                    </a:lnTo>
                    <a:lnTo>
                      <a:pt x="513969" y="0"/>
                    </a:lnTo>
                    <a:lnTo>
                      <a:pt x="171355" y="0"/>
                    </a:lnTo>
                    <a:lnTo>
                      <a:pt x="381" y="296037"/>
                    </a:lnTo>
                    <a:lnTo>
                      <a:pt x="0" y="296704"/>
                    </a:lnTo>
                    <a:lnTo>
                      <a:pt x="92774" y="457295"/>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4" name="Freeform: Shape 113">
                <a:extLst>
                  <a:ext uri="{FF2B5EF4-FFF2-40B4-BE49-F238E27FC236}">
                    <a16:creationId xmlns:a16="http://schemas.microsoft.com/office/drawing/2014/main" id="{6D9DEC26-5B18-40AD-8F0C-9AD033575671}"/>
                  </a:ext>
                </a:extLst>
              </p:cNvPr>
              <p:cNvSpPr/>
              <p:nvPr/>
            </p:nvSpPr>
            <p:spPr>
              <a:xfrm flipV="1">
                <a:off x="11898972" y="568232"/>
                <a:ext cx="299377" cy="598754"/>
              </a:xfrm>
              <a:custGeom>
                <a:avLst/>
                <a:gdLst>
                  <a:gd name="connsiteX0" fmla="*/ 393383 w 390525"/>
                  <a:gd name="connsiteY0" fmla="*/ 770001 h 781050"/>
                  <a:gd name="connsiteX1" fmla="*/ 233934 w 390525"/>
                  <a:gd name="connsiteY1" fmla="*/ 770001 h 781050"/>
                  <a:gd name="connsiteX2" fmla="*/ 15430 w 390525"/>
                  <a:gd name="connsiteY2" fmla="*/ 391763 h 781050"/>
                  <a:gd name="connsiteX3" fmla="*/ 233934 w 390525"/>
                  <a:gd name="connsiteY3" fmla="*/ 13430 h 781050"/>
                  <a:gd name="connsiteX4" fmla="*/ 393383 w 390525"/>
                  <a:gd name="connsiteY4" fmla="*/ 13430 h 781050"/>
                  <a:gd name="connsiteX5" fmla="*/ 393383 w 390525"/>
                  <a:gd name="connsiteY5" fmla="*/ 0 h 781050"/>
                  <a:gd name="connsiteX6" fmla="*/ 226124 w 390525"/>
                  <a:gd name="connsiteY6" fmla="*/ 0 h 781050"/>
                  <a:gd name="connsiteX7" fmla="*/ 0 w 390525"/>
                  <a:gd name="connsiteY7" fmla="*/ 391763 h 781050"/>
                  <a:gd name="connsiteX8" fmla="*/ 226124 w 390525"/>
                  <a:gd name="connsiteY8" fmla="*/ 783431 h 781050"/>
                  <a:gd name="connsiteX9" fmla="*/ 393383 w 390525"/>
                  <a:gd name="connsiteY9" fmla="*/ 783431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781050">
                    <a:moveTo>
                      <a:pt x="393383" y="770001"/>
                    </a:moveTo>
                    <a:lnTo>
                      <a:pt x="233934" y="770001"/>
                    </a:lnTo>
                    <a:lnTo>
                      <a:pt x="15430" y="391763"/>
                    </a:lnTo>
                    <a:lnTo>
                      <a:pt x="233934" y="13430"/>
                    </a:lnTo>
                    <a:lnTo>
                      <a:pt x="393383" y="13430"/>
                    </a:lnTo>
                    <a:lnTo>
                      <a:pt x="393383" y="0"/>
                    </a:lnTo>
                    <a:lnTo>
                      <a:pt x="226124" y="0"/>
                    </a:lnTo>
                    <a:lnTo>
                      <a:pt x="0" y="391763"/>
                    </a:lnTo>
                    <a:lnTo>
                      <a:pt x="226124" y="783431"/>
                    </a:lnTo>
                    <a:lnTo>
                      <a:pt x="393383" y="783431"/>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5" name="Freeform: Shape 114">
                <a:extLst>
                  <a:ext uri="{FF2B5EF4-FFF2-40B4-BE49-F238E27FC236}">
                    <a16:creationId xmlns:a16="http://schemas.microsoft.com/office/drawing/2014/main" id="{BD0589D9-2953-469A-AB43-42A37375E347}"/>
                  </a:ext>
                </a:extLst>
              </p:cNvPr>
              <p:cNvSpPr/>
              <p:nvPr/>
            </p:nvSpPr>
            <p:spPr>
              <a:xfrm flipV="1">
                <a:off x="11898972" y="7155"/>
                <a:ext cx="299377" cy="569547"/>
              </a:xfrm>
              <a:custGeom>
                <a:avLst/>
                <a:gdLst>
                  <a:gd name="connsiteX0" fmla="*/ 393383 w 390525"/>
                  <a:gd name="connsiteY0" fmla="*/ 13430 h 742950"/>
                  <a:gd name="connsiteX1" fmla="*/ 393383 w 390525"/>
                  <a:gd name="connsiteY1" fmla="*/ 0 h 742950"/>
                  <a:gd name="connsiteX2" fmla="*/ 226124 w 390525"/>
                  <a:gd name="connsiteY2" fmla="*/ 0 h 742950"/>
                  <a:gd name="connsiteX3" fmla="*/ 0 w 390525"/>
                  <a:gd name="connsiteY3" fmla="*/ 391668 h 742950"/>
                  <a:gd name="connsiteX4" fmla="*/ 208217 w 390525"/>
                  <a:gd name="connsiteY4" fmla="*/ 752284 h 742950"/>
                  <a:gd name="connsiteX5" fmla="*/ 223647 w 390525"/>
                  <a:gd name="connsiteY5" fmla="*/ 752284 h 742950"/>
                  <a:gd name="connsiteX6" fmla="*/ 15430 w 390525"/>
                  <a:gd name="connsiteY6" fmla="*/ 391668 h 742950"/>
                  <a:gd name="connsiteX7" fmla="*/ 233934 w 390525"/>
                  <a:gd name="connsiteY7" fmla="*/ 1343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742950">
                    <a:moveTo>
                      <a:pt x="393383" y="13430"/>
                    </a:moveTo>
                    <a:lnTo>
                      <a:pt x="393383" y="0"/>
                    </a:lnTo>
                    <a:lnTo>
                      <a:pt x="226124" y="0"/>
                    </a:lnTo>
                    <a:lnTo>
                      <a:pt x="0" y="391668"/>
                    </a:lnTo>
                    <a:lnTo>
                      <a:pt x="208217" y="752284"/>
                    </a:lnTo>
                    <a:lnTo>
                      <a:pt x="223647" y="752284"/>
                    </a:lnTo>
                    <a:lnTo>
                      <a:pt x="15430" y="391668"/>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6" name="Freeform: Shape 115">
                <a:extLst>
                  <a:ext uri="{FF2B5EF4-FFF2-40B4-BE49-F238E27FC236}">
                    <a16:creationId xmlns:a16="http://schemas.microsoft.com/office/drawing/2014/main" id="{AAB366D8-D210-46F4-AB69-845F107F0F7D}"/>
                  </a:ext>
                </a:extLst>
              </p:cNvPr>
              <p:cNvSpPr/>
              <p:nvPr/>
            </p:nvSpPr>
            <p:spPr>
              <a:xfrm flipV="1">
                <a:off x="11387767" y="273090"/>
                <a:ext cx="686377" cy="598754"/>
              </a:xfrm>
              <a:custGeom>
                <a:avLst/>
                <a:gdLst>
                  <a:gd name="connsiteX0" fmla="*/ 0 w 895350"/>
                  <a:gd name="connsiteY0" fmla="*/ 391668 h 781050"/>
                  <a:gd name="connsiteX1" fmla="*/ 226123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219 w 895350"/>
                  <a:gd name="connsiteY5" fmla="*/ 783336 h 781050"/>
                  <a:gd name="connsiteX6" fmla="*/ 0 w 895350"/>
                  <a:gd name="connsiteY6" fmla="*/ 391668 h 781050"/>
                  <a:gd name="connsiteX7" fmla="*/ 233934 w 895350"/>
                  <a:gd name="connsiteY7" fmla="*/ 13430 h 781050"/>
                  <a:gd name="connsiteX8" fmla="*/ 15526 w 895350"/>
                  <a:gd name="connsiteY8" fmla="*/ 391763 h 781050"/>
                  <a:gd name="connsiteX9" fmla="*/ 233934 w 895350"/>
                  <a:gd name="connsiteY9" fmla="*/ 770096 h 781050"/>
                  <a:gd name="connsiteX10" fmla="*/ 670750 w 895350"/>
                  <a:gd name="connsiteY10" fmla="*/ 770096 h 781050"/>
                  <a:gd name="connsiteX11" fmla="*/ 889159 w 895350"/>
                  <a:gd name="connsiteY11" fmla="*/ 391763 h 781050"/>
                  <a:gd name="connsiteX12" fmla="*/ 670750 w 895350"/>
                  <a:gd name="connsiteY12" fmla="*/ 13430 h 781050"/>
                  <a:gd name="connsiteX13" fmla="*/ 233934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3" y="0"/>
                    </a:lnTo>
                    <a:lnTo>
                      <a:pt x="678371" y="0"/>
                    </a:lnTo>
                    <a:lnTo>
                      <a:pt x="904494" y="391668"/>
                    </a:lnTo>
                    <a:lnTo>
                      <a:pt x="678371" y="783336"/>
                    </a:lnTo>
                    <a:lnTo>
                      <a:pt x="226219" y="783336"/>
                    </a:lnTo>
                    <a:lnTo>
                      <a:pt x="0" y="391668"/>
                    </a:lnTo>
                    <a:close/>
                    <a:moveTo>
                      <a:pt x="233934" y="13430"/>
                    </a:moveTo>
                    <a:lnTo>
                      <a:pt x="15526" y="391763"/>
                    </a:lnTo>
                    <a:lnTo>
                      <a:pt x="233934" y="770096"/>
                    </a:lnTo>
                    <a:lnTo>
                      <a:pt x="670750" y="770096"/>
                    </a:lnTo>
                    <a:lnTo>
                      <a:pt x="889159" y="391763"/>
                    </a:lnTo>
                    <a:lnTo>
                      <a:pt x="670750" y="13430"/>
                    </a:lnTo>
                    <a:lnTo>
                      <a:pt x="233934"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7" name="Freeform: Shape 116">
                <a:extLst>
                  <a:ext uri="{FF2B5EF4-FFF2-40B4-BE49-F238E27FC236}">
                    <a16:creationId xmlns:a16="http://schemas.microsoft.com/office/drawing/2014/main" id="{5218F64D-D9EF-48F4-A168-5FD6D77FCB5A}"/>
                  </a:ext>
                </a:extLst>
              </p:cNvPr>
              <p:cNvSpPr/>
              <p:nvPr/>
            </p:nvSpPr>
            <p:spPr>
              <a:xfrm flipV="1">
                <a:off x="11398574" y="4089"/>
                <a:ext cx="671773" cy="277472"/>
              </a:xfrm>
              <a:custGeom>
                <a:avLst/>
                <a:gdLst>
                  <a:gd name="connsiteX0" fmla="*/ 15430 w 876300"/>
                  <a:gd name="connsiteY0" fmla="*/ 367284 h 361950"/>
                  <a:gd name="connsiteX1" fmla="*/ 219837 w 876300"/>
                  <a:gd name="connsiteY1" fmla="*/ 13430 h 361950"/>
                  <a:gd name="connsiteX2" fmla="*/ 656654 w 876300"/>
                  <a:gd name="connsiteY2" fmla="*/ 13430 h 361950"/>
                  <a:gd name="connsiteX3" fmla="*/ 860965 w 876300"/>
                  <a:gd name="connsiteY3" fmla="*/ 367284 h 361950"/>
                  <a:gd name="connsiteX4" fmla="*/ 876395 w 876300"/>
                  <a:gd name="connsiteY4" fmla="*/ 367284 h 361950"/>
                  <a:gd name="connsiteX5" fmla="*/ 664369 w 876300"/>
                  <a:gd name="connsiteY5" fmla="*/ 0 h 361950"/>
                  <a:gd name="connsiteX6" fmla="*/ 212122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837" y="13430"/>
                    </a:lnTo>
                    <a:lnTo>
                      <a:pt x="656654" y="13430"/>
                    </a:lnTo>
                    <a:lnTo>
                      <a:pt x="860965" y="367284"/>
                    </a:lnTo>
                    <a:lnTo>
                      <a:pt x="876395" y="367284"/>
                    </a:lnTo>
                    <a:lnTo>
                      <a:pt x="664369" y="0"/>
                    </a:lnTo>
                    <a:lnTo>
                      <a:pt x="212122"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8" name="Freeform: Shape 117">
                <a:extLst>
                  <a:ext uri="{FF2B5EF4-FFF2-40B4-BE49-F238E27FC236}">
                    <a16:creationId xmlns:a16="http://schemas.microsoft.com/office/drawing/2014/main" id="{D0F79971-1351-4C74-B183-65AB469CCBF3}"/>
                  </a:ext>
                </a:extLst>
              </p:cNvPr>
              <p:cNvSpPr/>
              <p:nvPr/>
            </p:nvSpPr>
            <p:spPr>
              <a:xfrm flipV="1">
                <a:off x="9854225" y="7155"/>
                <a:ext cx="686377" cy="569547"/>
              </a:xfrm>
              <a:custGeom>
                <a:avLst/>
                <a:gdLst>
                  <a:gd name="connsiteX0" fmla="*/ 223647 w 895350"/>
                  <a:gd name="connsiteY0" fmla="*/ 752284 h 742950"/>
                  <a:gd name="connsiteX1" fmla="*/ 15431 w 895350"/>
                  <a:gd name="connsiteY1" fmla="*/ 391668 h 742950"/>
                  <a:gd name="connsiteX2" fmla="*/ 233839 w 895350"/>
                  <a:gd name="connsiteY2" fmla="*/ 13430 h 742950"/>
                  <a:gd name="connsiteX3" fmla="*/ 670655 w 895350"/>
                  <a:gd name="connsiteY3" fmla="*/ 13430 h 742950"/>
                  <a:gd name="connsiteX4" fmla="*/ 889064 w 895350"/>
                  <a:gd name="connsiteY4" fmla="*/ 391668 h 742950"/>
                  <a:gd name="connsiteX5" fmla="*/ 680942 w 895350"/>
                  <a:gd name="connsiteY5" fmla="*/ 752284 h 742950"/>
                  <a:gd name="connsiteX6" fmla="*/ 696373 w 895350"/>
                  <a:gd name="connsiteY6" fmla="*/ 752284 h 742950"/>
                  <a:gd name="connsiteX7" fmla="*/ 904494 w 895350"/>
                  <a:gd name="connsiteY7" fmla="*/ 391668 h 742950"/>
                  <a:gd name="connsiteX8" fmla="*/ 678371 w 895350"/>
                  <a:gd name="connsiteY8" fmla="*/ 0 h 742950"/>
                  <a:gd name="connsiteX9" fmla="*/ 226124 w 895350"/>
                  <a:gd name="connsiteY9" fmla="*/ 0 h 742950"/>
                  <a:gd name="connsiteX10" fmla="*/ 0 w 895350"/>
                  <a:gd name="connsiteY10" fmla="*/ 391668 h 742950"/>
                  <a:gd name="connsiteX11" fmla="*/ 208217 w 895350"/>
                  <a:gd name="connsiteY11" fmla="*/ 752284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350" h="742950">
                    <a:moveTo>
                      <a:pt x="223647" y="752284"/>
                    </a:moveTo>
                    <a:lnTo>
                      <a:pt x="15431" y="391668"/>
                    </a:lnTo>
                    <a:lnTo>
                      <a:pt x="233839" y="13430"/>
                    </a:lnTo>
                    <a:lnTo>
                      <a:pt x="670655" y="13430"/>
                    </a:lnTo>
                    <a:lnTo>
                      <a:pt x="889064" y="391668"/>
                    </a:lnTo>
                    <a:lnTo>
                      <a:pt x="680942" y="752284"/>
                    </a:lnTo>
                    <a:lnTo>
                      <a:pt x="696373" y="752284"/>
                    </a:lnTo>
                    <a:lnTo>
                      <a:pt x="904494" y="391668"/>
                    </a:lnTo>
                    <a:lnTo>
                      <a:pt x="678371" y="0"/>
                    </a:lnTo>
                    <a:lnTo>
                      <a:pt x="226124" y="0"/>
                    </a:lnTo>
                    <a:lnTo>
                      <a:pt x="0" y="391668"/>
                    </a:lnTo>
                    <a:lnTo>
                      <a:pt x="208217" y="752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19" name="Freeform: Shape 118">
                <a:extLst>
                  <a:ext uri="{FF2B5EF4-FFF2-40B4-BE49-F238E27FC236}">
                    <a16:creationId xmlns:a16="http://schemas.microsoft.com/office/drawing/2014/main" id="{49E1B77B-4B5E-4661-AFEC-C76B38F56ED6}"/>
                  </a:ext>
                </a:extLst>
              </p:cNvPr>
              <p:cNvSpPr/>
              <p:nvPr/>
            </p:nvSpPr>
            <p:spPr>
              <a:xfrm flipV="1">
                <a:off x="9343021" y="273090"/>
                <a:ext cx="686377" cy="598754"/>
              </a:xfrm>
              <a:custGeom>
                <a:avLst/>
                <a:gdLst>
                  <a:gd name="connsiteX0" fmla="*/ 0 w 895350"/>
                  <a:gd name="connsiteY0" fmla="*/ 391668 h 781050"/>
                  <a:gd name="connsiteX1" fmla="*/ 226124 w 895350"/>
                  <a:gd name="connsiteY1" fmla="*/ 0 h 781050"/>
                  <a:gd name="connsiteX2" fmla="*/ 678371 w 895350"/>
                  <a:gd name="connsiteY2" fmla="*/ 0 h 781050"/>
                  <a:gd name="connsiteX3" fmla="*/ 904494 w 895350"/>
                  <a:gd name="connsiteY3" fmla="*/ 391668 h 781050"/>
                  <a:gd name="connsiteX4" fmla="*/ 678371 w 895350"/>
                  <a:gd name="connsiteY4" fmla="*/ 783336 h 781050"/>
                  <a:gd name="connsiteX5" fmla="*/ 226124 w 895350"/>
                  <a:gd name="connsiteY5" fmla="*/ 783336 h 781050"/>
                  <a:gd name="connsiteX6" fmla="*/ 0 w 895350"/>
                  <a:gd name="connsiteY6" fmla="*/ 391668 h 781050"/>
                  <a:gd name="connsiteX7" fmla="*/ 233839 w 895350"/>
                  <a:gd name="connsiteY7" fmla="*/ 13430 h 781050"/>
                  <a:gd name="connsiteX8" fmla="*/ 15431 w 895350"/>
                  <a:gd name="connsiteY8" fmla="*/ 391763 h 781050"/>
                  <a:gd name="connsiteX9" fmla="*/ 233839 w 895350"/>
                  <a:gd name="connsiteY9" fmla="*/ 770096 h 781050"/>
                  <a:gd name="connsiteX10" fmla="*/ 670655 w 895350"/>
                  <a:gd name="connsiteY10" fmla="*/ 770096 h 781050"/>
                  <a:gd name="connsiteX11" fmla="*/ 889063 w 895350"/>
                  <a:gd name="connsiteY11" fmla="*/ 391763 h 781050"/>
                  <a:gd name="connsiteX12" fmla="*/ 670655 w 895350"/>
                  <a:gd name="connsiteY12" fmla="*/ 13430 h 781050"/>
                  <a:gd name="connsiteX13" fmla="*/ 233839 w 895350"/>
                  <a:gd name="connsiteY13" fmla="*/ 1343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50" h="781050">
                    <a:moveTo>
                      <a:pt x="0" y="391668"/>
                    </a:moveTo>
                    <a:lnTo>
                      <a:pt x="226124" y="0"/>
                    </a:lnTo>
                    <a:lnTo>
                      <a:pt x="678371" y="0"/>
                    </a:lnTo>
                    <a:lnTo>
                      <a:pt x="904494" y="391668"/>
                    </a:lnTo>
                    <a:lnTo>
                      <a:pt x="678371" y="783336"/>
                    </a:lnTo>
                    <a:lnTo>
                      <a:pt x="226124" y="783336"/>
                    </a:lnTo>
                    <a:lnTo>
                      <a:pt x="0" y="391668"/>
                    </a:lnTo>
                    <a:close/>
                    <a:moveTo>
                      <a:pt x="233839" y="13430"/>
                    </a:moveTo>
                    <a:lnTo>
                      <a:pt x="15431" y="391763"/>
                    </a:lnTo>
                    <a:lnTo>
                      <a:pt x="233839" y="770096"/>
                    </a:lnTo>
                    <a:lnTo>
                      <a:pt x="670655" y="770096"/>
                    </a:lnTo>
                    <a:lnTo>
                      <a:pt x="889063" y="391763"/>
                    </a:lnTo>
                    <a:lnTo>
                      <a:pt x="670655" y="13430"/>
                    </a:lnTo>
                    <a:lnTo>
                      <a:pt x="233839" y="13430"/>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0" name="Freeform: Shape 119">
                <a:extLst>
                  <a:ext uri="{FF2B5EF4-FFF2-40B4-BE49-F238E27FC236}">
                    <a16:creationId xmlns:a16="http://schemas.microsoft.com/office/drawing/2014/main" id="{04C924DD-D56D-47D2-9BD1-DFC8D6952402}"/>
                  </a:ext>
                </a:extLst>
              </p:cNvPr>
              <p:cNvSpPr/>
              <p:nvPr/>
            </p:nvSpPr>
            <p:spPr>
              <a:xfrm flipV="1">
                <a:off x="9353827" y="4089"/>
                <a:ext cx="671773" cy="277472"/>
              </a:xfrm>
              <a:custGeom>
                <a:avLst/>
                <a:gdLst>
                  <a:gd name="connsiteX0" fmla="*/ 15430 w 876300"/>
                  <a:gd name="connsiteY0" fmla="*/ 367284 h 361950"/>
                  <a:gd name="connsiteX1" fmla="*/ 219742 w 876300"/>
                  <a:gd name="connsiteY1" fmla="*/ 13430 h 361950"/>
                  <a:gd name="connsiteX2" fmla="*/ 656558 w 876300"/>
                  <a:gd name="connsiteY2" fmla="*/ 13430 h 361950"/>
                  <a:gd name="connsiteX3" fmla="*/ 860965 w 876300"/>
                  <a:gd name="connsiteY3" fmla="*/ 367284 h 361950"/>
                  <a:gd name="connsiteX4" fmla="*/ 876395 w 876300"/>
                  <a:gd name="connsiteY4" fmla="*/ 367284 h 361950"/>
                  <a:gd name="connsiteX5" fmla="*/ 664274 w 876300"/>
                  <a:gd name="connsiteY5" fmla="*/ 0 h 361950"/>
                  <a:gd name="connsiteX6" fmla="*/ 212027 w 876300"/>
                  <a:gd name="connsiteY6" fmla="*/ 0 h 361950"/>
                  <a:gd name="connsiteX7" fmla="*/ 0 w 876300"/>
                  <a:gd name="connsiteY7" fmla="*/ 36728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0" h="361950">
                    <a:moveTo>
                      <a:pt x="15430" y="367284"/>
                    </a:moveTo>
                    <a:lnTo>
                      <a:pt x="219742" y="13430"/>
                    </a:lnTo>
                    <a:lnTo>
                      <a:pt x="656558" y="13430"/>
                    </a:lnTo>
                    <a:lnTo>
                      <a:pt x="860965" y="367284"/>
                    </a:lnTo>
                    <a:lnTo>
                      <a:pt x="876395" y="367284"/>
                    </a:lnTo>
                    <a:lnTo>
                      <a:pt x="664274" y="0"/>
                    </a:lnTo>
                    <a:lnTo>
                      <a:pt x="212027" y="0"/>
                    </a:lnTo>
                    <a:lnTo>
                      <a:pt x="0" y="367284"/>
                    </a:ln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1" name="Freeform: Shape 120">
                <a:extLst>
                  <a:ext uri="{FF2B5EF4-FFF2-40B4-BE49-F238E27FC236}">
                    <a16:creationId xmlns:a16="http://schemas.microsoft.com/office/drawing/2014/main" id="{B453BDE3-0E66-4D82-87E4-23288F7B4E0A}"/>
                  </a:ext>
                </a:extLst>
              </p:cNvPr>
              <p:cNvSpPr/>
              <p:nvPr/>
            </p:nvSpPr>
            <p:spPr>
              <a:xfrm flipV="1">
                <a:off x="11979000" y="1917840"/>
                <a:ext cx="36509" cy="36509"/>
              </a:xfrm>
              <a:custGeom>
                <a:avLst/>
                <a:gdLst>
                  <a:gd name="connsiteX0" fmla="*/ 0 w 47625"/>
                  <a:gd name="connsiteY0" fmla="*/ 25527 h 47625"/>
                  <a:gd name="connsiteX1" fmla="*/ 25527 w 47625"/>
                  <a:gd name="connsiteY1" fmla="*/ 51054 h 47625"/>
                  <a:gd name="connsiteX2" fmla="*/ 51054 w 47625"/>
                  <a:gd name="connsiteY2" fmla="*/ 25527 h 47625"/>
                  <a:gd name="connsiteX3" fmla="*/ 25527 w 47625"/>
                  <a:gd name="connsiteY3" fmla="*/ 0 h 47625"/>
                  <a:gd name="connsiteX4" fmla="*/ 0 w 47625"/>
                  <a:gd name="connsiteY4" fmla="*/ 25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5527"/>
                    </a:moveTo>
                    <a:cubicBezTo>
                      <a:pt x="0" y="39624"/>
                      <a:pt x="11430" y="51054"/>
                      <a:pt x="25527" y="51054"/>
                    </a:cubicBezTo>
                    <a:cubicBezTo>
                      <a:pt x="39624" y="51054"/>
                      <a:pt x="51054" y="39624"/>
                      <a:pt x="51054" y="25527"/>
                    </a:cubicBezTo>
                    <a:cubicBezTo>
                      <a:pt x="51054" y="11430"/>
                      <a:pt x="39624" y="0"/>
                      <a:pt x="25527" y="0"/>
                    </a:cubicBezTo>
                    <a:cubicBezTo>
                      <a:pt x="11430" y="0"/>
                      <a:pt x="0" y="11430"/>
                      <a:pt x="0" y="25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2" name="Freeform: Shape 121">
                <a:extLst>
                  <a:ext uri="{FF2B5EF4-FFF2-40B4-BE49-F238E27FC236}">
                    <a16:creationId xmlns:a16="http://schemas.microsoft.com/office/drawing/2014/main" id="{C0D7E712-968B-4218-B3E2-EF042414F045}"/>
                  </a:ext>
                </a:extLst>
              </p:cNvPr>
              <p:cNvSpPr/>
              <p:nvPr/>
            </p:nvSpPr>
            <p:spPr>
              <a:xfrm flipV="1">
                <a:off x="11850268" y="1696739"/>
                <a:ext cx="29208" cy="29208"/>
              </a:xfrm>
              <a:custGeom>
                <a:avLst/>
                <a:gdLst>
                  <a:gd name="connsiteX0" fmla="*/ 0 w 38100"/>
                  <a:gd name="connsiteY0" fmla="*/ 22955 h 38100"/>
                  <a:gd name="connsiteX1" fmla="*/ 22955 w 38100"/>
                  <a:gd name="connsiteY1" fmla="*/ 45910 h 38100"/>
                  <a:gd name="connsiteX2" fmla="*/ 45910 w 38100"/>
                  <a:gd name="connsiteY2" fmla="*/ 22955 h 38100"/>
                  <a:gd name="connsiteX3" fmla="*/ 22955 w 38100"/>
                  <a:gd name="connsiteY3" fmla="*/ 0 h 38100"/>
                  <a:gd name="connsiteX4" fmla="*/ 0 w 38100"/>
                  <a:gd name="connsiteY4" fmla="*/ 2295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955"/>
                    </a:moveTo>
                    <a:cubicBezTo>
                      <a:pt x="0" y="35623"/>
                      <a:pt x="10287" y="45910"/>
                      <a:pt x="22955" y="45910"/>
                    </a:cubicBezTo>
                    <a:cubicBezTo>
                      <a:pt x="35623" y="45910"/>
                      <a:pt x="45910" y="35623"/>
                      <a:pt x="45910" y="22955"/>
                    </a:cubicBezTo>
                    <a:cubicBezTo>
                      <a:pt x="45910" y="10287"/>
                      <a:pt x="35623" y="0"/>
                      <a:pt x="22955" y="0"/>
                    </a:cubicBezTo>
                    <a:cubicBezTo>
                      <a:pt x="10192" y="0"/>
                      <a:pt x="0" y="10287"/>
                      <a:pt x="0" y="2295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3" name="Freeform: Shape 122">
                <a:extLst>
                  <a:ext uri="{FF2B5EF4-FFF2-40B4-BE49-F238E27FC236}">
                    <a16:creationId xmlns:a16="http://schemas.microsoft.com/office/drawing/2014/main" id="{A9D43CD3-4CD4-49A7-9B54-5DCC9F17A161}"/>
                  </a:ext>
                </a:extLst>
              </p:cNvPr>
              <p:cNvSpPr/>
              <p:nvPr/>
            </p:nvSpPr>
            <p:spPr>
              <a:xfrm flipV="1">
                <a:off x="11967098" y="1454900"/>
                <a:ext cx="58415" cy="58415"/>
              </a:xfrm>
              <a:custGeom>
                <a:avLst/>
                <a:gdLst>
                  <a:gd name="connsiteX0" fmla="*/ 82105 w 76200"/>
                  <a:gd name="connsiteY0" fmla="*/ 41053 h 76200"/>
                  <a:gd name="connsiteX1" fmla="*/ 41053 w 76200"/>
                  <a:gd name="connsiteY1" fmla="*/ 0 h 76200"/>
                  <a:gd name="connsiteX2" fmla="*/ 0 w 76200"/>
                  <a:gd name="connsiteY2" fmla="*/ 41053 h 76200"/>
                  <a:gd name="connsiteX3" fmla="*/ 41053 w 76200"/>
                  <a:gd name="connsiteY3" fmla="*/ 82105 h 76200"/>
                  <a:gd name="connsiteX4" fmla="*/ 82105 w 76200"/>
                  <a:gd name="connsiteY4" fmla="*/ 4105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82105" y="41053"/>
                    </a:moveTo>
                    <a:cubicBezTo>
                      <a:pt x="82105" y="18383"/>
                      <a:pt x="63722" y="0"/>
                      <a:pt x="41053" y="0"/>
                    </a:cubicBezTo>
                    <a:cubicBezTo>
                      <a:pt x="18383" y="0"/>
                      <a:pt x="0" y="18383"/>
                      <a:pt x="0" y="41053"/>
                    </a:cubicBezTo>
                    <a:cubicBezTo>
                      <a:pt x="0" y="63722"/>
                      <a:pt x="18383" y="82105"/>
                      <a:pt x="41053" y="82105"/>
                    </a:cubicBezTo>
                    <a:cubicBezTo>
                      <a:pt x="63722" y="82010"/>
                      <a:pt x="82105" y="63627"/>
                      <a:pt x="82105" y="4105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4" name="Freeform: Shape 123">
                <a:extLst>
                  <a:ext uri="{FF2B5EF4-FFF2-40B4-BE49-F238E27FC236}">
                    <a16:creationId xmlns:a16="http://schemas.microsoft.com/office/drawing/2014/main" id="{8935541C-DBA9-4071-9512-CCF11497C476}"/>
                  </a:ext>
                </a:extLst>
              </p:cNvPr>
              <p:cNvSpPr/>
              <p:nvPr/>
            </p:nvSpPr>
            <p:spPr>
              <a:xfrm flipV="1">
                <a:off x="11969362" y="1007003"/>
                <a:ext cx="51113" cy="51113"/>
              </a:xfrm>
              <a:custGeom>
                <a:avLst/>
                <a:gdLst>
                  <a:gd name="connsiteX0" fmla="*/ 0 w 66675"/>
                  <a:gd name="connsiteY0" fmla="*/ 38005 h 66675"/>
                  <a:gd name="connsiteX1" fmla="*/ 38005 w 66675"/>
                  <a:gd name="connsiteY1" fmla="*/ 76009 h 66675"/>
                  <a:gd name="connsiteX2" fmla="*/ 76009 w 66675"/>
                  <a:gd name="connsiteY2" fmla="*/ 38005 h 66675"/>
                  <a:gd name="connsiteX3" fmla="*/ 38005 w 66675"/>
                  <a:gd name="connsiteY3" fmla="*/ 0 h 66675"/>
                  <a:gd name="connsiteX4" fmla="*/ 0 w 66675"/>
                  <a:gd name="connsiteY4" fmla="*/ 3800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0" y="38005"/>
                    </a:moveTo>
                    <a:cubicBezTo>
                      <a:pt x="0" y="59055"/>
                      <a:pt x="17050" y="76009"/>
                      <a:pt x="38005" y="76009"/>
                    </a:cubicBezTo>
                    <a:cubicBezTo>
                      <a:pt x="59055" y="76009"/>
                      <a:pt x="76009" y="58960"/>
                      <a:pt x="76009" y="38005"/>
                    </a:cubicBezTo>
                    <a:cubicBezTo>
                      <a:pt x="76009" y="17050"/>
                      <a:pt x="58960" y="0"/>
                      <a:pt x="38005" y="0"/>
                    </a:cubicBezTo>
                    <a:cubicBezTo>
                      <a:pt x="17050" y="0"/>
                      <a:pt x="0" y="17050"/>
                      <a:pt x="0" y="38005"/>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5" name="Freeform: Shape 124">
                <a:extLst>
                  <a:ext uri="{FF2B5EF4-FFF2-40B4-BE49-F238E27FC236}">
                    <a16:creationId xmlns:a16="http://schemas.microsoft.com/office/drawing/2014/main" id="{6A2470D1-5C86-4467-B227-6745D11EDEC4}"/>
                  </a:ext>
                </a:extLst>
              </p:cNvPr>
              <p:cNvSpPr/>
              <p:nvPr/>
            </p:nvSpPr>
            <p:spPr>
              <a:xfrm flipV="1">
                <a:off x="11986083" y="566626"/>
                <a:ext cx="21906" cy="21906"/>
              </a:xfrm>
              <a:custGeom>
                <a:avLst/>
                <a:gdLst>
                  <a:gd name="connsiteX0" fmla="*/ 0 w 28575"/>
                  <a:gd name="connsiteY0" fmla="*/ 16288 h 28575"/>
                  <a:gd name="connsiteX1" fmla="*/ 16288 w 28575"/>
                  <a:gd name="connsiteY1" fmla="*/ 32575 h 28575"/>
                  <a:gd name="connsiteX2" fmla="*/ 32575 w 28575"/>
                  <a:gd name="connsiteY2" fmla="*/ 16288 h 28575"/>
                  <a:gd name="connsiteX3" fmla="*/ 16288 w 28575"/>
                  <a:gd name="connsiteY3" fmla="*/ 0 h 28575"/>
                  <a:gd name="connsiteX4" fmla="*/ 0 w 28575"/>
                  <a:gd name="connsiteY4" fmla="*/ 1628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0" y="16288"/>
                    </a:moveTo>
                    <a:cubicBezTo>
                      <a:pt x="0" y="25336"/>
                      <a:pt x="7334" y="32575"/>
                      <a:pt x="16288" y="32575"/>
                    </a:cubicBezTo>
                    <a:cubicBezTo>
                      <a:pt x="25336" y="32575"/>
                      <a:pt x="32575" y="25241"/>
                      <a:pt x="32575" y="16288"/>
                    </a:cubicBezTo>
                    <a:cubicBezTo>
                      <a:pt x="32575" y="7239"/>
                      <a:pt x="25241" y="0"/>
                      <a:pt x="16288" y="0"/>
                    </a:cubicBezTo>
                    <a:cubicBezTo>
                      <a:pt x="7239" y="0"/>
                      <a:pt x="0" y="7334"/>
                      <a:pt x="0" y="1628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6" name="Freeform: Shape 125">
                <a:extLst>
                  <a:ext uri="{FF2B5EF4-FFF2-40B4-BE49-F238E27FC236}">
                    <a16:creationId xmlns:a16="http://schemas.microsoft.com/office/drawing/2014/main" id="{68BB85BD-5575-4EAF-AABB-F1D21D3CF03D}"/>
                  </a:ext>
                </a:extLst>
              </p:cNvPr>
              <p:cNvSpPr/>
              <p:nvPr/>
            </p:nvSpPr>
            <p:spPr>
              <a:xfrm flipV="1">
                <a:off x="11977467" y="107703"/>
                <a:ext cx="36509" cy="36509"/>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672"/>
                      <a:pt x="12287" y="55054"/>
                      <a:pt x="27527" y="55054"/>
                    </a:cubicBezTo>
                    <a:cubicBezTo>
                      <a:pt x="42767" y="55054"/>
                      <a:pt x="55054" y="42767"/>
                      <a:pt x="55054" y="27527"/>
                    </a:cubicBezTo>
                    <a:cubicBezTo>
                      <a:pt x="55054" y="12383"/>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7" name="Freeform: Shape 126">
                <a:extLst>
                  <a:ext uri="{FF2B5EF4-FFF2-40B4-BE49-F238E27FC236}">
                    <a16:creationId xmlns:a16="http://schemas.microsoft.com/office/drawing/2014/main" id="{43900ED6-3145-4D8C-AE00-DB9D22AF474F}"/>
                  </a:ext>
                </a:extLst>
              </p:cNvPr>
              <p:cNvSpPr/>
              <p:nvPr/>
            </p:nvSpPr>
            <p:spPr>
              <a:xfrm flipV="1">
                <a:off x="11582727" y="1688122"/>
                <a:ext cx="43811" cy="43811"/>
              </a:xfrm>
              <a:custGeom>
                <a:avLst/>
                <a:gdLst>
                  <a:gd name="connsiteX0" fmla="*/ 0 w 57150"/>
                  <a:gd name="connsiteY0" fmla="*/ 30766 h 57150"/>
                  <a:gd name="connsiteX1" fmla="*/ 30766 w 57150"/>
                  <a:gd name="connsiteY1" fmla="*/ 61532 h 57150"/>
                  <a:gd name="connsiteX2" fmla="*/ 61531 w 57150"/>
                  <a:gd name="connsiteY2" fmla="*/ 30766 h 57150"/>
                  <a:gd name="connsiteX3" fmla="*/ 30766 w 57150"/>
                  <a:gd name="connsiteY3" fmla="*/ 0 h 57150"/>
                  <a:gd name="connsiteX4" fmla="*/ 0 w 57150"/>
                  <a:gd name="connsiteY4" fmla="*/ 3076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0766"/>
                    </a:moveTo>
                    <a:cubicBezTo>
                      <a:pt x="0" y="47816"/>
                      <a:pt x="13811" y="61532"/>
                      <a:pt x="30766" y="61532"/>
                    </a:cubicBezTo>
                    <a:cubicBezTo>
                      <a:pt x="47816" y="61532"/>
                      <a:pt x="61531" y="47720"/>
                      <a:pt x="61531" y="30766"/>
                    </a:cubicBezTo>
                    <a:cubicBezTo>
                      <a:pt x="61531" y="13716"/>
                      <a:pt x="47720" y="0"/>
                      <a:pt x="30766" y="0"/>
                    </a:cubicBezTo>
                    <a:cubicBezTo>
                      <a:pt x="13811" y="0"/>
                      <a:pt x="0" y="13811"/>
                      <a:pt x="0" y="3076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8" name="Freeform: Shape 127">
                <a:extLst>
                  <a:ext uri="{FF2B5EF4-FFF2-40B4-BE49-F238E27FC236}">
                    <a16:creationId xmlns:a16="http://schemas.microsoft.com/office/drawing/2014/main" id="{AFD31204-0629-417B-978D-215049EB4546}"/>
                  </a:ext>
                </a:extLst>
              </p:cNvPr>
              <p:cNvSpPr/>
              <p:nvPr/>
            </p:nvSpPr>
            <p:spPr>
              <a:xfrm flipV="1">
                <a:off x="11855817" y="1245555"/>
                <a:ext cx="21906" cy="21906"/>
              </a:xfrm>
              <a:custGeom>
                <a:avLst/>
                <a:gdLst>
                  <a:gd name="connsiteX0" fmla="*/ 31433 w 28575"/>
                  <a:gd name="connsiteY0" fmla="*/ 15716 h 28575"/>
                  <a:gd name="connsiteX1" fmla="*/ 15716 w 28575"/>
                  <a:gd name="connsiteY1" fmla="*/ 0 h 28575"/>
                  <a:gd name="connsiteX2" fmla="*/ 0 w 28575"/>
                  <a:gd name="connsiteY2" fmla="*/ 15716 h 28575"/>
                  <a:gd name="connsiteX3" fmla="*/ 15716 w 28575"/>
                  <a:gd name="connsiteY3" fmla="*/ 31433 h 28575"/>
                  <a:gd name="connsiteX4" fmla="*/ 31433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1433" y="15716"/>
                    </a:moveTo>
                    <a:cubicBezTo>
                      <a:pt x="31433" y="7049"/>
                      <a:pt x="24384" y="0"/>
                      <a:pt x="15716" y="0"/>
                    </a:cubicBezTo>
                    <a:cubicBezTo>
                      <a:pt x="7049" y="0"/>
                      <a:pt x="0" y="7049"/>
                      <a:pt x="0" y="15716"/>
                    </a:cubicBezTo>
                    <a:cubicBezTo>
                      <a:pt x="0" y="24384"/>
                      <a:pt x="7049" y="31433"/>
                      <a:pt x="15716" y="31433"/>
                    </a:cubicBezTo>
                    <a:cubicBezTo>
                      <a:pt x="24384" y="31433"/>
                      <a:pt x="31433" y="24384"/>
                      <a:pt x="31433" y="1571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29" name="Freeform: Shape 128">
                <a:extLst>
                  <a:ext uri="{FF2B5EF4-FFF2-40B4-BE49-F238E27FC236}">
                    <a16:creationId xmlns:a16="http://schemas.microsoft.com/office/drawing/2014/main" id="{9D5BE3D5-A6B9-4810-BD2B-CE8601CD0BB9}"/>
                  </a:ext>
                </a:extLst>
              </p:cNvPr>
              <p:cNvSpPr/>
              <p:nvPr/>
            </p:nvSpPr>
            <p:spPr>
              <a:xfrm flipV="1">
                <a:off x="11583895" y="1234018"/>
                <a:ext cx="43811" cy="43811"/>
              </a:xfrm>
              <a:custGeom>
                <a:avLst/>
                <a:gdLst>
                  <a:gd name="connsiteX0" fmla="*/ 0 w 57150"/>
                  <a:gd name="connsiteY0" fmla="*/ 29242 h 57150"/>
                  <a:gd name="connsiteX1" fmla="*/ 29242 w 57150"/>
                  <a:gd name="connsiteY1" fmla="*/ 58483 h 57150"/>
                  <a:gd name="connsiteX2" fmla="*/ 58484 w 57150"/>
                  <a:gd name="connsiteY2" fmla="*/ 29242 h 57150"/>
                  <a:gd name="connsiteX3" fmla="*/ 29242 w 57150"/>
                  <a:gd name="connsiteY3" fmla="*/ 0 h 57150"/>
                  <a:gd name="connsiteX4" fmla="*/ 0 w 57150"/>
                  <a:gd name="connsiteY4" fmla="*/ 2924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29242"/>
                    </a:moveTo>
                    <a:cubicBezTo>
                      <a:pt x="0" y="45339"/>
                      <a:pt x="13049" y="58483"/>
                      <a:pt x="29242" y="58483"/>
                    </a:cubicBezTo>
                    <a:cubicBezTo>
                      <a:pt x="45339" y="58483"/>
                      <a:pt x="58484" y="45434"/>
                      <a:pt x="58484" y="29242"/>
                    </a:cubicBezTo>
                    <a:cubicBezTo>
                      <a:pt x="58484" y="13144"/>
                      <a:pt x="45434" y="0"/>
                      <a:pt x="29242" y="0"/>
                    </a:cubicBezTo>
                    <a:cubicBezTo>
                      <a:pt x="13145" y="0"/>
                      <a:pt x="0" y="13144"/>
                      <a:pt x="0" y="2924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0" name="Freeform: Shape 129">
                <a:extLst>
                  <a:ext uri="{FF2B5EF4-FFF2-40B4-BE49-F238E27FC236}">
                    <a16:creationId xmlns:a16="http://schemas.microsoft.com/office/drawing/2014/main" id="{498CC6FD-6420-4318-A72A-4B58DF4F1EE9}"/>
                  </a:ext>
                </a:extLst>
              </p:cNvPr>
              <p:cNvSpPr/>
              <p:nvPr/>
            </p:nvSpPr>
            <p:spPr>
              <a:xfrm flipV="1">
                <a:off x="11461443" y="1021241"/>
                <a:ext cx="21906" cy="21906"/>
              </a:xfrm>
              <a:custGeom>
                <a:avLst/>
                <a:gdLst>
                  <a:gd name="connsiteX0" fmla="*/ 36957 w 28575"/>
                  <a:gd name="connsiteY0" fmla="*/ 18479 h 28575"/>
                  <a:gd name="connsiteX1" fmla="*/ 18479 w 28575"/>
                  <a:gd name="connsiteY1" fmla="*/ 36957 h 28575"/>
                  <a:gd name="connsiteX2" fmla="*/ 0 w 28575"/>
                  <a:gd name="connsiteY2" fmla="*/ 18479 h 28575"/>
                  <a:gd name="connsiteX3" fmla="*/ 18479 w 28575"/>
                  <a:gd name="connsiteY3" fmla="*/ 0 h 28575"/>
                  <a:gd name="connsiteX4" fmla="*/ 36957 w 28575"/>
                  <a:gd name="connsiteY4" fmla="*/ 1847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957" y="18479"/>
                    </a:moveTo>
                    <a:cubicBezTo>
                      <a:pt x="36957" y="28684"/>
                      <a:pt x="28684" y="36957"/>
                      <a:pt x="18479" y="36957"/>
                    </a:cubicBezTo>
                    <a:cubicBezTo>
                      <a:pt x="8273" y="36957"/>
                      <a:pt x="0" y="28684"/>
                      <a:pt x="0" y="18479"/>
                    </a:cubicBezTo>
                    <a:cubicBezTo>
                      <a:pt x="0" y="8273"/>
                      <a:pt x="8273" y="0"/>
                      <a:pt x="18479" y="0"/>
                    </a:cubicBezTo>
                    <a:cubicBezTo>
                      <a:pt x="28684" y="0"/>
                      <a:pt x="36957" y="8273"/>
                      <a:pt x="36957" y="1847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1" name="Freeform: Shape 130">
                <a:extLst>
                  <a:ext uri="{FF2B5EF4-FFF2-40B4-BE49-F238E27FC236}">
                    <a16:creationId xmlns:a16="http://schemas.microsoft.com/office/drawing/2014/main" id="{4B0C46C8-6DC9-4CA3-82CB-66945F5E9864}"/>
                  </a:ext>
                </a:extLst>
              </p:cNvPr>
              <p:cNvSpPr/>
              <p:nvPr/>
            </p:nvSpPr>
            <p:spPr>
              <a:xfrm flipV="1">
                <a:off x="11834788" y="769838"/>
                <a:ext cx="65717" cy="65717"/>
              </a:xfrm>
              <a:custGeom>
                <a:avLst/>
                <a:gdLst>
                  <a:gd name="connsiteX0" fmla="*/ 86296 w 85725"/>
                  <a:gd name="connsiteY0" fmla="*/ 43148 h 85725"/>
                  <a:gd name="connsiteX1" fmla="*/ 43148 w 85725"/>
                  <a:gd name="connsiteY1" fmla="*/ 0 h 85725"/>
                  <a:gd name="connsiteX2" fmla="*/ 0 w 85725"/>
                  <a:gd name="connsiteY2" fmla="*/ 43148 h 85725"/>
                  <a:gd name="connsiteX3" fmla="*/ 43148 w 85725"/>
                  <a:gd name="connsiteY3" fmla="*/ 86296 h 85725"/>
                  <a:gd name="connsiteX4" fmla="*/ 86296 w 85725"/>
                  <a:gd name="connsiteY4" fmla="*/ 4314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6296" y="43148"/>
                    </a:moveTo>
                    <a:cubicBezTo>
                      <a:pt x="86296" y="19336"/>
                      <a:pt x="66961" y="0"/>
                      <a:pt x="43148" y="0"/>
                    </a:cubicBezTo>
                    <a:cubicBezTo>
                      <a:pt x="19336" y="0"/>
                      <a:pt x="0" y="19336"/>
                      <a:pt x="0" y="43148"/>
                    </a:cubicBezTo>
                    <a:cubicBezTo>
                      <a:pt x="0" y="66961"/>
                      <a:pt x="19336" y="86296"/>
                      <a:pt x="43148" y="86296"/>
                    </a:cubicBezTo>
                    <a:cubicBezTo>
                      <a:pt x="66961" y="86296"/>
                      <a:pt x="86296" y="66961"/>
                      <a:pt x="86296" y="43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2" name="Freeform: Shape 131">
                <a:extLst>
                  <a:ext uri="{FF2B5EF4-FFF2-40B4-BE49-F238E27FC236}">
                    <a16:creationId xmlns:a16="http://schemas.microsoft.com/office/drawing/2014/main" id="{1AAA64C0-90A4-4D75-B945-017B6814EC10}"/>
                  </a:ext>
                </a:extLst>
              </p:cNvPr>
              <p:cNvSpPr/>
              <p:nvPr/>
            </p:nvSpPr>
            <p:spPr>
              <a:xfrm flipV="1">
                <a:off x="11843258" y="330264"/>
                <a:ext cx="43811" cy="43811"/>
              </a:xfrm>
              <a:custGeom>
                <a:avLst/>
                <a:gdLst>
                  <a:gd name="connsiteX0" fmla="*/ 0 w 57150"/>
                  <a:gd name="connsiteY0" fmla="*/ 32004 h 57150"/>
                  <a:gd name="connsiteX1" fmla="*/ 32004 w 57150"/>
                  <a:gd name="connsiteY1" fmla="*/ 64008 h 57150"/>
                  <a:gd name="connsiteX2" fmla="*/ 64008 w 57150"/>
                  <a:gd name="connsiteY2" fmla="*/ 32004 h 57150"/>
                  <a:gd name="connsiteX3" fmla="*/ 32004 w 57150"/>
                  <a:gd name="connsiteY3" fmla="*/ 0 h 57150"/>
                  <a:gd name="connsiteX4" fmla="*/ 0 w 57150"/>
                  <a:gd name="connsiteY4" fmla="*/ 3200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2004"/>
                    </a:moveTo>
                    <a:cubicBezTo>
                      <a:pt x="0" y="49721"/>
                      <a:pt x="14383" y="64008"/>
                      <a:pt x="32004" y="64008"/>
                    </a:cubicBezTo>
                    <a:cubicBezTo>
                      <a:pt x="49721" y="64008"/>
                      <a:pt x="64008" y="49626"/>
                      <a:pt x="64008" y="32004"/>
                    </a:cubicBezTo>
                    <a:cubicBezTo>
                      <a:pt x="64008" y="14288"/>
                      <a:pt x="49625" y="0"/>
                      <a:pt x="32004" y="0"/>
                    </a:cubicBezTo>
                    <a:cubicBezTo>
                      <a:pt x="14383" y="-95"/>
                      <a:pt x="0" y="14288"/>
                      <a:pt x="0" y="3200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3" name="Freeform: Shape 132">
                <a:extLst>
                  <a:ext uri="{FF2B5EF4-FFF2-40B4-BE49-F238E27FC236}">
                    <a16:creationId xmlns:a16="http://schemas.microsoft.com/office/drawing/2014/main" id="{F3A95073-5C3E-44F2-8C47-97E9C4EEB9AD}"/>
                  </a:ext>
                </a:extLst>
              </p:cNvPr>
              <p:cNvSpPr/>
              <p:nvPr/>
            </p:nvSpPr>
            <p:spPr>
              <a:xfrm flipV="1">
                <a:off x="11451147" y="103760"/>
                <a:ext cx="43811" cy="43811"/>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4" name="Freeform: Shape 133">
                <a:extLst>
                  <a:ext uri="{FF2B5EF4-FFF2-40B4-BE49-F238E27FC236}">
                    <a16:creationId xmlns:a16="http://schemas.microsoft.com/office/drawing/2014/main" id="{1C4E2550-89A3-48A3-A61F-3FC2E4D00966}"/>
                  </a:ext>
                </a:extLst>
              </p:cNvPr>
              <p:cNvSpPr/>
              <p:nvPr/>
            </p:nvSpPr>
            <p:spPr>
              <a:xfrm flipV="1">
                <a:off x="11577470" y="327270"/>
                <a:ext cx="51113" cy="51113"/>
              </a:xfrm>
              <a:custGeom>
                <a:avLst/>
                <a:gdLst>
                  <a:gd name="connsiteX0" fmla="*/ 75247 w 66675"/>
                  <a:gd name="connsiteY0" fmla="*/ 37624 h 66675"/>
                  <a:gd name="connsiteX1" fmla="*/ 37624 w 66675"/>
                  <a:gd name="connsiteY1" fmla="*/ 75248 h 66675"/>
                  <a:gd name="connsiteX2" fmla="*/ 0 w 66675"/>
                  <a:gd name="connsiteY2" fmla="*/ 37624 h 66675"/>
                  <a:gd name="connsiteX3" fmla="*/ 37624 w 66675"/>
                  <a:gd name="connsiteY3" fmla="*/ 0 h 66675"/>
                  <a:gd name="connsiteX4" fmla="*/ 75247 w 66675"/>
                  <a:gd name="connsiteY4" fmla="*/ 3762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5247" y="37624"/>
                    </a:moveTo>
                    <a:cubicBezTo>
                      <a:pt x="75247" y="58403"/>
                      <a:pt x="58403" y="75248"/>
                      <a:pt x="37624" y="75248"/>
                    </a:cubicBezTo>
                    <a:cubicBezTo>
                      <a:pt x="16845" y="75248"/>
                      <a:pt x="0" y="58403"/>
                      <a:pt x="0" y="37624"/>
                    </a:cubicBezTo>
                    <a:cubicBezTo>
                      <a:pt x="0" y="16845"/>
                      <a:pt x="16844" y="0"/>
                      <a:pt x="37624" y="0"/>
                    </a:cubicBezTo>
                    <a:cubicBezTo>
                      <a:pt x="58402" y="0"/>
                      <a:pt x="75247" y="16844"/>
                      <a:pt x="75247" y="3762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5" name="Freeform: Shape 134">
                <a:extLst>
                  <a:ext uri="{FF2B5EF4-FFF2-40B4-BE49-F238E27FC236}">
                    <a16:creationId xmlns:a16="http://schemas.microsoft.com/office/drawing/2014/main" id="{85DC4268-8234-4B93-B1FE-C78C3A97F8FF}"/>
                  </a:ext>
                </a:extLst>
              </p:cNvPr>
              <p:cNvSpPr/>
              <p:nvPr/>
            </p:nvSpPr>
            <p:spPr>
              <a:xfrm flipV="1">
                <a:off x="11456770" y="1464247"/>
                <a:ext cx="36509" cy="36509"/>
              </a:xfrm>
              <a:custGeom>
                <a:avLst/>
                <a:gdLst>
                  <a:gd name="connsiteX0" fmla="*/ 24575 w 47625"/>
                  <a:gd name="connsiteY0" fmla="*/ 49149 h 47625"/>
                  <a:gd name="connsiteX1" fmla="*/ 49149 w 47625"/>
                  <a:gd name="connsiteY1" fmla="*/ 24575 h 47625"/>
                  <a:gd name="connsiteX2" fmla="*/ 24575 w 47625"/>
                  <a:gd name="connsiteY2" fmla="*/ 0 h 47625"/>
                  <a:gd name="connsiteX3" fmla="*/ 0 w 47625"/>
                  <a:gd name="connsiteY3" fmla="*/ 24575 h 47625"/>
                  <a:gd name="connsiteX4" fmla="*/ 24575 w 47625"/>
                  <a:gd name="connsiteY4" fmla="*/ 4914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4575" y="49149"/>
                    </a:moveTo>
                    <a:cubicBezTo>
                      <a:pt x="38100" y="49149"/>
                      <a:pt x="49149" y="38195"/>
                      <a:pt x="49149" y="24575"/>
                    </a:cubicBezTo>
                    <a:cubicBezTo>
                      <a:pt x="49149" y="11049"/>
                      <a:pt x="38195" y="0"/>
                      <a:pt x="24575" y="0"/>
                    </a:cubicBezTo>
                    <a:cubicBezTo>
                      <a:pt x="11049" y="0"/>
                      <a:pt x="0" y="10954"/>
                      <a:pt x="0" y="24575"/>
                    </a:cubicBezTo>
                    <a:cubicBezTo>
                      <a:pt x="0" y="38195"/>
                      <a:pt x="10954" y="49149"/>
                      <a:pt x="24575" y="4914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6" name="Freeform: Shape 135">
                <a:extLst>
                  <a:ext uri="{FF2B5EF4-FFF2-40B4-BE49-F238E27FC236}">
                    <a16:creationId xmlns:a16="http://schemas.microsoft.com/office/drawing/2014/main" id="{8E346F23-A321-44AF-9FA6-2AED1BEAB95B}"/>
                  </a:ext>
                </a:extLst>
              </p:cNvPr>
              <p:cNvSpPr/>
              <p:nvPr/>
            </p:nvSpPr>
            <p:spPr>
              <a:xfrm flipV="1">
                <a:off x="11591124" y="788457"/>
                <a:ext cx="29208" cy="29208"/>
              </a:xfrm>
              <a:custGeom>
                <a:avLst/>
                <a:gdLst>
                  <a:gd name="connsiteX0" fmla="*/ 39624 w 38100"/>
                  <a:gd name="connsiteY0" fmla="*/ 19812 h 38100"/>
                  <a:gd name="connsiteX1" fmla="*/ 19812 w 38100"/>
                  <a:gd name="connsiteY1" fmla="*/ 39624 h 38100"/>
                  <a:gd name="connsiteX2" fmla="*/ 0 w 38100"/>
                  <a:gd name="connsiteY2" fmla="*/ 19812 h 38100"/>
                  <a:gd name="connsiteX3" fmla="*/ 19812 w 38100"/>
                  <a:gd name="connsiteY3" fmla="*/ 0 h 38100"/>
                  <a:gd name="connsiteX4" fmla="*/ 39624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624" y="19812"/>
                    </a:moveTo>
                    <a:cubicBezTo>
                      <a:pt x="39624" y="30754"/>
                      <a:pt x="30754" y="39624"/>
                      <a:pt x="19812" y="39624"/>
                    </a:cubicBezTo>
                    <a:cubicBezTo>
                      <a:pt x="8870" y="39624"/>
                      <a:pt x="0" y="30754"/>
                      <a:pt x="0" y="19812"/>
                    </a:cubicBezTo>
                    <a:cubicBezTo>
                      <a:pt x="0" y="8870"/>
                      <a:pt x="8870" y="0"/>
                      <a:pt x="19812" y="0"/>
                    </a:cubicBezTo>
                    <a:cubicBezTo>
                      <a:pt x="30754" y="0"/>
                      <a:pt x="39624" y="8870"/>
                      <a:pt x="39624"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7" name="Freeform: Shape 136">
                <a:extLst>
                  <a:ext uri="{FF2B5EF4-FFF2-40B4-BE49-F238E27FC236}">
                    <a16:creationId xmlns:a16="http://schemas.microsoft.com/office/drawing/2014/main" id="{B9ACD389-504E-4448-A026-21F7DFE0794F}"/>
                  </a:ext>
                </a:extLst>
              </p:cNvPr>
              <p:cNvSpPr/>
              <p:nvPr/>
            </p:nvSpPr>
            <p:spPr>
              <a:xfrm flipV="1">
                <a:off x="11459326" y="563121"/>
                <a:ext cx="29208" cy="29208"/>
              </a:xfrm>
              <a:custGeom>
                <a:avLst/>
                <a:gdLst>
                  <a:gd name="connsiteX0" fmla="*/ 0 w 38100"/>
                  <a:gd name="connsiteY0" fmla="*/ 21241 h 38100"/>
                  <a:gd name="connsiteX1" fmla="*/ 21241 w 38100"/>
                  <a:gd name="connsiteY1" fmla="*/ 42482 h 38100"/>
                  <a:gd name="connsiteX2" fmla="*/ 42481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6" y="42482"/>
                      <a:pt x="42481" y="32957"/>
                      <a:pt x="42481" y="21241"/>
                    </a:cubicBezTo>
                    <a:cubicBezTo>
                      <a:pt x="42481" y="9525"/>
                      <a:pt x="32956" y="0"/>
                      <a:pt x="21241" y="0"/>
                    </a:cubicBezTo>
                    <a:cubicBezTo>
                      <a:pt x="9525" y="95"/>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8" name="Freeform: Shape 137">
                <a:extLst>
                  <a:ext uri="{FF2B5EF4-FFF2-40B4-BE49-F238E27FC236}">
                    <a16:creationId xmlns:a16="http://schemas.microsoft.com/office/drawing/2014/main" id="{52A56943-4FCE-41D5-AFFC-40638E613B5E}"/>
                  </a:ext>
                </a:extLst>
              </p:cNvPr>
              <p:cNvSpPr/>
              <p:nvPr/>
            </p:nvSpPr>
            <p:spPr>
              <a:xfrm flipV="1">
                <a:off x="11193099" y="107557"/>
                <a:ext cx="36509" cy="36509"/>
              </a:xfrm>
              <a:custGeom>
                <a:avLst/>
                <a:gdLst>
                  <a:gd name="connsiteX0" fmla="*/ 54673 w 47625"/>
                  <a:gd name="connsiteY0" fmla="*/ 27337 h 47625"/>
                  <a:gd name="connsiteX1" fmla="*/ 27337 w 47625"/>
                  <a:gd name="connsiteY1" fmla="*/ 0 h 47625"/>
                  <a:gd name="connsiteX2" fmla="*/ 0 w 47625"/>
                  <a:gd name="connsiteY2" fmla="*/ 27337 h 47625"/>
                  <a:gd name="connsiteX3" fmla="*/ 27337 w 47625"/>
                  <a:gd name="connsiteY3" fmla="*/ 54673 h 47625"/>
                  <a:gd name="connsiteX4" fmla="*/ 54673 w 47625"/>
                  <a:gd name="connsiteY4" fmla="*/ 2733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4673" y="27337"/>
                    </a:moveTo>
                    <a:cubicBezTo>
                      <a:pt x="54673" y="12192"/>
                      <a:pt x="42481" y="0"/>
                      <a:pt x="27337" y="0"/>
                    </a:cubicBezTo>
                    <a:cubicBezTo>
                      <a:pt x="12192" y="0"/>
                      <a:pt x="0" y="12287"/>
                      <a:pt x="0" y="27337"/>
                    </a:cubicBezTo>
                    <a:cubicBezTo>
                      <a:pt x="0" y="42481"/>
                      <a:pt x="12287" y="54673"/>
                      <a:pt x="27337" y="54673"/>
                    </a:cubicBezTo>
                    <a:cubicBezTo>
                      <a:pt x="42481" y="54673"/>
                      <a:pt x="54673" y="42386"/>
                      <a:pt x="54673" y="2733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39" name="Freeform: Shape 138">
                <a:extLst>
                  <a:ext uri="{FF2B5EF4-FFF2-40B4-BE49-F238E27FC236}">
                    <a16:creationId xmlns:a16="http://schemas.microsoft.com/office/drawing/2014/main" id="{49B097FD-41FD-42EA-951C-5C70371C65D8}"/>
                  </a:ext>
                </a:extLst>
              </p:cNvPr>
              <p:cNvSpPr/>
              <p:nvPr/>
            </p:nvSpPr>
            <p:spPr>
              <a:xfrm flipV="1">
                <a:off x="11189813" y="1009412"/>
                <a:ext cx="43811" cy="43811"/>
              </a:xfrm>
              <a:custGeom>
                <a:avLst/>
                <a:gdLst>
                  <a:gd name="connsiteX0" fmla="*/ 63246 w 57150"/>
                  <a:gd name="connsiteY0" fmla="*/ 31623 h 57150"/>
                  <a:gd name="connsiteX1" fmla="*/ 31623 w 57150"/>
                  <a:gd name="connsiteY1" fmla="*/ 63246 h 57150"/>
                  <a:gd name="connsiteX2" fmla="*/ 0 w 57150"/>
                  <a:gd name="connsiteY2" fmla="*/ 31623 h 57150"/>
                  <a:gd name="connsiteX3" fmla="*/ 31623 w 57150"/>
                  <a:gd name="connsiteY3" fmla="*/ 0 h 57150"/>
                  <a:gd name="connsiteX4" fmla="*/ 63246 w 57150"/>
                  <a:gd name="connsiteY4" fmla="*/ 3162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246" y="31623"/>
                    </a:moveTo>
                    <a:cubicBezTo>
                      <a:pt x="63246" y="49088"/>
                      <a:pt x="49088" y="63246"/>
                      <a:pt x="31623" y="63246"/>
                    </a:cubicBezTo>
                    <a:cubicBezTo>
                      <a:pt x="14158" y="63246"/>
                      <a:pt x="0" y="49088"/>
                      <a:pt x="0" y="31623"/>
                    </a:cubicBezTo>
                    <a:cubicBezTo>
                      <a:pt x="0" y="14158"/>
                      <a:pt x="14158" y="0"/>
                      <a:pt x="31623" y="0"/>
                    </a:cubicBezTo>
                    <a:cubicBezTo>
                      <a:pt x="49088" y="0"/>
                      <a:pt x="63246" y="14158"/>
                      <a:pt x="63246" y="3162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0" name="Freeform: Shape 139">
                <a:extLst>
                  <a:ext uri="{FF2B5EF4-FFF2-40B4-BE49-F238E27FC236}">
                    <a16:creationId xmlns:a16="http://schemas.microsoft.com/office/drawing/2014/main" id="{99A5E26A-E9A0-4A82-9F23-BA8B888A8B1C}"/>
                  </a:ext>
                </a:extLst>
              </p:cNvPr>
              <p:cNvSpPr/>
              <p:nvPr/>
            </p:nvSpPr>
            <p:spPr>
              <a:xfrm flipV="1">
                <a:off x="11058233" y="783784"/>
                <a:ext cx="43811" cy="43811"/>
              </a:xfrm>
              <a:custGeom>
                <a:avLst/>
                <a:gdLst>
                  <a:gd name="connsiteX0" fmla="*/ 65532 w 57150"/>
                  <a:gd name="connsiteY0" fmla="*/ 32766 h 57150"/>
                  <a:gd name="connsiteX1" fmla="*/ 32766 w 57150"/>
                  <a:gd name="connsiteY1" fmla="*/ 65532 h 57150"/>
                  <a:gd name="connsiteX2" fmla="*/ 0 w 57150"/>
                  <a:gd name="connsiteY2" fmla="*/ 32766 h 57150"/>
                  <a:gd name="connsiteX3" fmla="*/ 32766 w 57150"/>
                  <a:gd name="connsiteY3" fmla="*/ 0 h 57150"/>
                  <a:gd name="connsiteX4" fmla="*/ 65532 w 57150"/>
                  <a:gd name="connsiteY4" fmla="*/ 3276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5532" y="32766"/>
                    </a:moveTo>
                    <a:cubicBezTo>
                      <a:pt x="65532" y="50862"/>
                      <a:pt x="50862" y="65532"/>
                      <a:pt x="32766" y="65532"/>
                    </a:cubicBezTo>
                    <a:cubicBezTo>
                      <a:pt x="14670" y="65532"/>
                      <a:pt x="0" y="50862"/>
                      <a:pt x="0" y="32766"/>
                    </a:cubicBezTo>
                    <a:cubicBezTo>
                      <a:pt x="0" y="14670"/>
                      <a:pt x="14670" y="0"/>
                      <a:pt x="32766" y="0"/>
                    </a:cubicBezTo>
                    <a:cubicBezTo>
                      <a:pt x="50862" y="0"/>
                      <a:pt x="65532" y="14670"/>
                      <a:pt x="65532" y="3276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1" name="Freeform: Shape 140">
                <a:extLst>
                  <a:ext uri="{FF2B5EF4-FFF2-40B4-BE49-F238E27FC236}">
                    <a16:creationId xmlns:a16="http://schemas.microsoft.com/office/drawing/2014/main" id="{C4AFD2B2-8D16-41B2-94DE-1511F77646E6}"/>
                  </a:ext>
                </a:extLst>
              </p:cNvPr>
              <p:cNvSpPr/>
              <p:nvPr/>
            </p:nvSpPr>
            <p:spPr>
              <a:xfrm flipV="1">
                <a:off x="10675907" y="562026"/>
                <a:ext cx="29208" cy="29208"/>
              </a:xfrm>
              <a:custGeom>
                <a:avLst/>
                <a:gdLst>
                  <a:gd name="connsiteX0" fmla="*/ 0 w 38100"/>
                  <a:gd name="connsiteY0" fmla="*/ 19812 h 38100"/>
                  <a:gd name="connsiteX1" fmla="*/ 19812 w 38100"/>
                  <a:gd name="connsiteY1" fmla="*/ 39624 h 38100"/>
                  <a:gd name="connsiteX2" fmla="*/ 39624 w 38100"/>
                  <a:gd name="connsiteY2" fmla="*/ 19812 h 38100"/>
                  <a:gd name="connsiteX3" fmla="*/ 19812 w 38100"/>
                  <a:gd name="connsiteY3" fmla="*/ 0 h 38100"/>
                  <a:gd name="connsiteX4" fmla="*/ 0 w 38100"/>
                  <a:gd name="connsiteY4" fmla="*/ 19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19812"/>
                    </a:moveTo>
                    <a:cubicBezTo>
                      <a:pt x="0" y="30766"/>
                      <a:pt x="8858" y="39624"/>
                      <a:pt x="19812" y="39624"/>
                    </a:cubicBezTo>
                    <a:cubicBezTo>
                      <a:pt x="30766" y="39624"/>
                      <a:pt x="39624" y="30766"/>
                      <a:pt x="39624" y="19812"/>
                    </a:cubicBezTo>
                    <a:cubicBezTo>
                      <a:pt x="39624" y="8858"/>
                      <a:pt x="30766" y="0"/>
                      <a:pt x="19812" y="0"/>
                    </a:cubicBezTo>
                    <a:cubicBezTo>
                      <a:pt x="8858" y="0"/>
                      <a:pt x="0" y="8858"/>
                      <a:pt x="0" y="19812"/>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2" name="Freeform: Shape 141">
                <a:extLst>
                  <a:ext uri="{FF2B5EF4-FFF2-40B4-BE49-F238E27FC236}">
                    <a16:creationId xmlns:a16="http://schemas.microsoft.com/office/drawing/2014/main" id="{9AAF68E6-C98D-4438-A2C4-FC9EE75806B6}"/>
                  </a:ext>
                </a:extLst>
              </p:cNvPr>
              <p:cNvSpPr/>
              <p:nvPr/>
            </p:nvSpPr>
            <p:spPr>
              <a:xfrm flipV="1">
                <a:off x="10802010" y="785756"/>
                <a:ext cx="36509" cy="36509"/>
              </a:xfrm>
              <a:custGeom>
                <a:avLst/>
                <a:gdLst>
                  <a:gd name="connsiteX0" fmla="*/ 51625 w 47625"/>
                  <a:gd name="connsiteY0" fmla="*/ 25813 h 47625"/>
                  <a:gd name="connsiteX1" fmla="*/ 25813 w 47625"/>
                  <a:gd name="connsiteY1" fmla="*/ 0 h 47625"/>
                  <a:gd name="connsiteX2" fmla="*/ 0 w 47625"/>
                  <a:gd name="connsiteY2" fmla="*/ 25813 h 47625"/>
                  <a:gd name="connsiteX3" fmla="*/ 25813 w 47625"/>
                  <a:gd name="connsiteY3" fmla="*/ 51625 h 47625"/>
                  <a:gd name="connsiteX4" fmla="*/ 51625 w 47625"/>
                  <a:gd name="connsiteY4" fmla="*/ 25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1625" y="25813"/>
                    </a:moveTo>
                    <a:cubicBezTo>
                      <a:pt x="51625" y="11525"/>
                      <a:pt x="40100" y="0"/>
                      <a:pt x="25813" y="0"/>
                    </a:cubicBezTo>
                    <a:cubicBezTo>
                      <a:pt x="11525" y="0"/>
                      <a:pt x="0" y="11525"/>
                      <a:pt x="0" y="25813"/>
                    </a:cubicBezTo>
                    <a:cubicBezTo>
                      <a:pt x="0" y="40100"/>
                      <a:pt x="11525" y="51625"/>
                      <a:pt x="25813" y="51625"/>
                    </a:cubicBezTo>
                    <a:cubicBezTo>
                      <a:pt x="40100" y="51625"/>
                      <a:pt x="51625" y="40005"/>
                      <a:pt x="51625" y="2581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3" name="Freeform: Shape 142">
                <a:extLst>
                  <a:ext uri="{FF2B5EF4-FFF2-40B4-BE49-F238E27FC236}">
                    <a16:creationId xmlns:a16="http://schemas.microsoft.com/office/drawing/2014/main" id="{75097EDE-810C-4FF7-9422-620EF08AB474}"/>
                  </a:ext>
                </a:extLst>
              </p:cNvPr>
              <p:cNvSpPr/>
              <p:nvPr/>
            </p:nvSpPr>
            <p:spPr>
              <a:xfrm flipV="1">
                <a:off x="11192953" y="560638"/>
                <a:ext cx="36509" cy="36509"/>
              </a:xfrm>
              <a:custGeom>
                <a:avLst/>
                <a:gdLst>
                  <a:gd name="connsiteX0" fmla="*/ 0 w 47625"/>
                  <a:gd name="connsiteY0" fmla="*/ 27527 h 47625"/>
                  <a:gd name="connsiteX1" fmla="*/ 27527 w 47625"/>
                  <a:gd name="connsiteY1" fmla="*/ 55054 h 47625"/>
                  <a:gd name="connsiteX2" fmla="*/ 55054 w 47625"/>
                  <a:gd name="connsiteY2" fmla="*/ 27527 h 47625"/>
                  <a:gd name="connsiteX3" fmla="*/ 27527 w 47625"/>
                  <a:gd name="connsiteY3" fmla="*/ 0 h 47625"/>
                  <a:gd name="connsiteX4" fmla="*/ 0 w 47625"/>
                  <a:gd name="connsiteY4" fmla="*/ 2752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7527"/>
                    </a:moveTo>
                    <a:cubicBezTo>
                      <a:pt x="0" y="42767"/>
                      <a:pt x="12287" y="55054"/>
                      <a:pt x="27527" y="55054"/>
                    </a:cubicBezTo>
                    <a:cubicBezTo>
                      <a:pt x="42767" y="55054"/>
                      <a:pt x="55054" y="42767"/>
                      <a:pt x="55054" y="27527"/>
                    </a:cubicBezTo>
                    <a:cubicBezTo>
                      <a:pt x="55054" y="12287"/>
                      <a:pt x="42767" y="0"/>
                      <a:pt x="27527" y="0"/>
                    </a:cubicBezTo>
                    <a:cubicBezTo>
                      <a:pt x="12287" y="0"/>
                      <a:pt x="0" y="12383"/>
                      <a:pt x="0" y="27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4" name="Freeform: Shape 143">
                <a:extLst>
                  <a:ext uri="{FF2B5EF4-FFF2-40B4-BE49-F238E27FC236}">
                    <a16:creationId xmlns:a16="http://schemas.microsoft.com/office/drawing/2014/main" id="{464605B4-90A4-47C8-A453-62F03807B2C4}"/>
                  </a:ext>
                </a:extLst>
              </p:cNvPr>
              <p:cNvSpPr/>
              <p:nvPr/>
            </p:nvSpPr>
            <p:spPr>
              <a:xfrm flipV="1">
                <a:off x="10791861" y="321136"/>
                <a:ext cx="58415" cy="58415"/>
              </a:xfrm>
              <a:custGeom>
                <a:avLst/>
                <a:gdLst>
                  <a:gd name="connsiteX0" fmla="*/ 78295 w 76200"/>
                  <a:gd name="connsiteY0" fmla="*/ 39148 h 76200"/>
                  <a:gd name="connsiteX1" fmla="*/ 39148 w 76200"/>
                  <a:gd name="connsiteY1" fmla="*/ 78295 h 76200"/>
                  <a:gd name="connsiteX2" fmla="*/ 0 w 76200"/>
                  <a:gd name="connsiteY2" fmla="*/ 39148 h 76200"/>
                  <a:gd name="connsiteX3" fmla="*/ 39148 w 76200"/>
                  <a:gd name="connsiteY3" fmla="*/ 0 h 76200"/>
                  <a:gd name="connsiteX4" fmla="*/ 78295 w 76200"/>
                  <a:gd name="connsiteY4" fmla="*/ 3914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8295" y="39148"/>
                    </a:moveTo>
                    <a:cubicBezTo>
                      <a:pt x="78295" y="60768"/>
                      <a:pt x="60768" y="78295"/>
                      <a:pt x="39148" y="78295"/>
                    </a:cubicBezTo>
                    <a:cubicBezTo>
                      <a:pt x="17527" y="78295"/>
                      <a:pt x="0" y="60768"/>
                      <a:pt x="0" y="39148"/>
                    </a:cubicBezTo>
                    <a:cubicBezTo>
                      <a:pt x="0" y="17527"/>
                      <a:pt x="17527" y="0"/>
                      <a:pt x="39148" y="0"/>
                    </a:cubicBezTo>
                    <a:cubicBezTo>
                      <a:pt x="60769" y="0"/>
                      <a:pt x="78295" y="17527"/>
                      <a:pt x="78295" y="3914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5" name="Freeform: Shape 144">
                <a:extLst>
                  <a:ext uri="{FF2B5EF4-FFF2-40B4-BE49-F238E27FC236}">
                    <a16:creationId xmlns:a16="http://schemas.microsoft.com/office/drawing/2014/main" id="{BE48B7ED-6594-458D-BE85-E9B8AD9473C2}"/>
                  </a:ext>
                </a:extLst>
              </p:cNvPr>
              <p:cNvSpPr/>
              <p:nvPr/>
            </p:nvSpPr>
            <p:spPr>
              <a:xfrm flipV="1">
                <a:off x="10674154" y="110842"/>
                <a:ext cx="29208" cy="29208"/>
              </a:xfrm>
              <a:custGeom>
                <a:avLst/>
                <a:gdLst>
                  <a:gd name="connsiteX0" fmla="*/ 0 w 38100"/>
                  <a:gd name="connsiteY0" fmla="*/ 22098 h 38100"/>
                  <a:gd name="connsiteX1" fmla="*/ 22098 w 38100"/>
                  <a:gd name="connsiteY1" fmla="*/ 44196 h 38100"/>
                  <a:gd name="connsiteX2" fmla="*/ 44196 w 38100"/>
                  <a:gd name="connsiteY2" fmla="*/ 22098 h 38100"/>
                  <a:gd name="connsiteX3" fmla="*/ 22098 w 38100"/>
                  <a:gd name="connsiteY3" fmla="*/ 0 h 38100"/>
                  <a:gd name="connsiteX4" fmla="*/ 0 w 38100"/>
                  <a:gd name="connsiteY4" fmla="*/ 22098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098"/>
                    </a:moveTo>
                    <a:cubicBezTo>
                      <a:pt x="0" y="34290"/>
                      <a:pt x="9906" y="44196"/>
                      <a:pt x="22098" y="44196"/>
                    </a:cubicBezTo>
                    <a:cubicBezTo>
                      <a:pt x="34290" y="44196"/>
                      <a:pt x="44196" y="34290"/>
                      <a:pt x="44196" y="22098"/>
                    </a:cubicBezTo>
                    <a:cubicBezTo>
                      <a:pt x="44196" y="9906"/>
                      <a:pt x="34290" y="0"/>
                      <a:pt x="22098" y="0"/>
                    </a:cubicBezTo>
                    <a:cubicBezTo>
                      <a:pt x="9906" y="0"/>
                      <a:pt x="0" y="9906"/>
                      <a:pt x="0" y="2209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6" name="Freeform: Shape 145">
                <a:extLst>
                  <a:ext uri="{FF2B5EF4-FFF2-40B4-BE49-F238E27FC236}">
                    <a16:creationId xmlns:a16="http://schemas.microsoft.com/office/drawing/2014/main" id="{0900A018-A5B5-4BB7-BAE5-4DBD744F8DFA}"/>
                  </a:ext>
                </a:extLst>
              </p:cNvPr>
              <p:cNvSpPr/>
              <p:nvPr/>
            </p:nvSpPr>
            <p:spPr>
              <a:xfrm flipV="1">
                <a:off x="11044711" y="315257"/>
                <a:ext cx="73019" cy="73019"/>
              </a:xfrm>
              <a:custGeom>
                <a:avLst/>
                <a:gdLst>
                  <a:gd name="connsiteX0" fmla="*/ 86257 w 95250"/>
                  <a:gd name="connsiteY0" fmla="*/ 35729 h 95250"/>
                  <a:gd name="connsiteX1" fmla="*/ 65328 w 95250"/>
                  <a:gd name="connsiteY1" fmla="*/ 86257 h 95250"/>
                  <a:gd name="connsiteX2" fmla="*/ 14800 w 95250"/>
                  <a:gd name="connsiteY2" fmla="*/ 65328 h 95250"/>
                  <a:gd name="connsiteX3" fmla="*/ 35729 w 95250"/>
                  <a:gd name="connsiteY3" fmla="*/ 14800 h 95250"/>
                  <a:gd name="connsiteX4" fmla="*/ 86257 w 95250"/>
                  <a:gd name="connsiteY4" fmla="*/ 3572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257" y="35729"/>
                    </a:moveTo>
                    <a:cubicBezTo>
                      <a:pt x="94430" y="55461"/>
                      <a:pt x="85060" y="78083"/>
                      <a:pt x="65328" y="86257"/>
                    </a:cubicBezTo>
                    <a:cubicBezTo>
                      <a:pt x="45595" y="94430"/>
                      <a:pt x="22973" y="85060"/>
                      <a:pt x="14800" y="65328"/>
                    </a:cubicBezTo>
                    <a:cubicBezTo>
                      <a:pt x="6626" y="45595"/>
                      <a:pt x="15996" y="22973"/>
                      <a:pt x="35729" y="14800"/>
                    </a:cubicBezTo>
                    <a:cubicBezTo>
                      <a:pt x="55461" y="6626"/>
                      <a:pt x="78083" y="15996"/>
                      <a:pt x="86257" y="357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7" name="Freeform: Shape 146">
                <a:extLst>
                  <a:ext uri="{FF2B5EF4-FFF2-40B4-BE49-F238E27FC236}">
                    <a16:creationId xmlns:a16="http://schemas.microsoft.com/office/drawing/2014/main" id="{EF35BC87-A705-4A3A-B6E9-5729773C9E9A}"/>
                  </a:ext>
                </a:extLst>
              </p:cNvPr>
              <p:cNvSpPr/>
              <p:nvPr/>
            </p:nvSpPr>
            <p:spPr>
              <a:xfrm flipV="1">
                <a:off x="9892634" y="568087"/>
                <a:ext cx="21906" cy="21906"/>
              </a:xfrm>
              <a:custGeom>
                <a:avLst/>
                <a:gdLst>
                  <a:gd name="connsiteX0" fmla="*/ 36385 w 28575"/>
                  <a:gd name="connsiteY0" fmla="*/ 18193 h 28575"/>
                  <a:gd name="connsiteX1" fmla="*/ 18193 w 28575"/>
                  <a:gd name="connsiteY1" fmla="*/ 36386 h 28575"/>
                  <a:gd name="connsiteX2" fmla="*/ 0 w 28575"/>
                  <a:gd name="connsiteY2" fmla="*/ 18193 h 28575"/>
                  <a:gd name="connsiteX3" fmla="*/ 18193 w 28575"/>
                  <a:gd name="connsiteY3" fmla="*/ 0 h 28575"/>
                  <a:gd name="connsiteX4" fmla="*/ 36385 w 28575"/>
                  <a:gd name="connsiteY4" fmla="*/ 18193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6385" y="18193"/>
                    </a:moveTo>
                    <a:cubicBezTo>
                      <a:pt x="36385" y="28240"/>
                      <a:pt x="28240" y="36386"/>
                      <a:pt x="18193" y="36386"/>
                    </a:cubicBezTo>
                    <a:cubicBezTo>
                      <a:pt x="8145" y="36386"/>
                      <a:pt x="0" y="28240"/>
                      <a:pt x="0" y="18193"/>
                    </a:cubicBezTo>
                    <a:cubicBezTo>
                      <a:pt x="0" y="8145"/>
                      <a:pt x="8145" y="0"/>
                      <a:pt x="18193" y="0"/>
                    </a:cubicBezTo>
                    <a:cubicBezTo>
                      <a:pt x="28240" y="0"/>
                      <a:pt x="36385" y="8145"/>
                      <a:pt x="36385" y="18193"/>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8" name="Freeform: Shape 147">
                <a:extLst>
                  <a:ext uri="{FF2B5EF4-FFF2-40B4-BE49-F238E27FC236}">
                    <a16:creationId xmlns:a16="http://schemas.microsoft.com/office/drawing/2014/main" id="{EA9C8A58-A6D8-4DAA-8480-63051F0E2AF4}"/>
                  </a:ext>
                </a:extLst>
              </p:cNvPr>
              <p:cNvSpPr/>
              <p:nvPr/>
            </p:nvSpPr>
            <p:spPr>
              <a:xfrm flipV="1">
                <a:off x="10413331" y="563121"/>
                <a:ext cx="29208" cy="29208"/>
              </a:xfrm>
              <a:custGeom>
                <a:avLst/>
                <a:gdLst>
                  <a:gd name="connsiteX0" fmla="*/ 0 w 38100"/>
                  <a:gd name="connsiteY0" fmla="*/ 21241 h 38100"/>
                  <a:gd name="connsiteX1" fmla="*/ 21241 w 38100"/>
                  <a:gd name="connsiteY1" fmla="*/ 42482 h 38100"/>
                  <a:gd name="connsiteX2" fmla="*/ 42482 w 38100"/>
                  <a:gd name="connsiteY2" fmla="*/ 21241 h 38100"/>
                  <a:gd name="connsiteX3" fmla="*/ 21241 w 38100"/>
                  <a:gd name="connsiteY3" fmla="*/ 0 h 38100"/>
                  <a:gd name="connsiteX4" fmla="*/ 0 w 38100"/>
                  <a:gd name="connsiteY4" fmla="*/ 212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1241"/>
                    </a:moveTo>
                    <a:cubicBezTo>
                      <a:pt x="0" y="32957"/>
                      <a:pt x="9525" y="42482"/>
                      <a:pt x="21241" y="42482"/>
                    </a:cubicBezTo>
                    <a:cubicBezTo>
                      <a:pt x="32957" y="42482"/>
                      <a:pt x="42482" y="32957"/>
                      <a:pt x="42482" y="21241"/>
                    </a:cubicBezTo>
                    <a:cubicBezTo>
                      <a:pt x="42482" y="9525"/>
                      <a:pt x="32957" y="0"/>
                      <a:pt x="21241" y="0"/>
                    </a:cubicBezTo>
                    <a:cubicBezTo>
                      <a:pt x="9430" y="0"/>
                      <a:pt x="0" y="9525"/>
                      <a:pt x="0" y="21241"/>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49" name="Freeform: Shape 148">
                <a:extLst>
                  <a:ext uri="{FF2B5EF4-FFF2-40B4-BE49-F238E27FC236}">
                    <a16:creationId xmlns:a16="http://schemas.microsoft.com/office/drawing/2014/main" id="{10B16D4A-EECF-486A-841F-465055E26B8E}"/>
                  </a:ext>
                </a:extLst>
              </p:cNvPr>
              <p:cNvSpPr/>
              <p:nvPr/>
            </p:nvSpPr>
            <p:spPr>
              <a:xfrm flipV="1">
                <a:off x="10267001" y="322962"/>
                <a:ext cx="58415" cy="58415"/>
              </a:xfrm>
              <a:custGeom>
                <a:avLst/>
                <a:gdLst>
                  <a:gd name="connsiteX0" fmla="*/ 83058 w 76200"/>
                  <a:gd name="connsiteY0" fmla="*/ 41529 h 76200"/>
                  <a:gd name="connsiteX1" fmla="*/ 41529 w 76200"/>
                  <a:gd name="connsiteY1" fmla="*/ 0 h 76200"/>
                  <a:gd name="connsiteX2" fmla="*/ 0 w 76200"/>
                  <a:gd name="connsiteY2" fmla="*/ 41529 h 76200"/>
                  <a:gd name="connsiteX3" fmla="*/ 41529 w 76200"/>
                  <a:gd name="connsiteY3" fmla="*/ 83058 h 76200"/>
                  <a:gd name="connsiteX4" fmla="*/ 83058 w 76200"/>
                  <a:gd name="connsiteY4" fmla="*/ 41529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83058" y="41529"/>
                    </a:moveTo>
                    <a:cubicBezTo>
                      <a:pt x="83058" y="18574"/>
                      <a:pt x="64484" y="0"/>
                      <a:pt x="41529" y="0"/>
                    </a:cubicBezTo>
                    <a:cubicBezTo>
                      <a:pt x="18574" y="0"/>
                      <a:pt x="0" y="18574"/>
                      <a:pt x="0" y="41529"/>
                    </a:cubicBezTo>
                    <a:cubicBezTo>
                      <a:pt x="0" y="64484"/>
                      <a:pt x="18574" y="83058"/>
                      <a:pt x="41529" y="83058"/>
                    </a:cubicBezTo>
                    <a:cubicBezTo>
                      <a:pt x="64484" y="83058"/>
                      <a:pt x="83058" y="64389"/>
                      <a:pt x="83058" y="4152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0" name="Freeform: Shape 149">
                <a:extLst>
                  <a:ext uri="{FF2B5EF4-FFF2-40B4-BE49-F238E27FC236}">
                    <a16:creationId xmlns:a16="http://schemas.microsoft.com/office/drawing/2014/main" id="{8CE000AB-E946-4603-AF6F-EDC6406BA12F}"/>
                  </a:ext>
                </a:extLst>
              </p:cNvPr>
              <p:cNvSpPr/>
              <p:nvPr/>
            </p:nvSpPr>
            <p:spPr>
              <a:xfrm flipV="1">
                <a:off x="10412308" y="111207"/>
                <a:ext cx="29208" cy="29208"/>
              </a:xfrm>
              <a:custGeom>
                <a:avLst/>
                <a:gdLst>
                  <a:gd name="connsiteX0" fmla="*/ 0 w 38100"/>
                  <a:gd name="connsiteY0" fmla="*/ 22574 h 38100"/>
                  <a:gd name="connsiteX1" fmla="*/ 22574 w 38100"/>
                  <a:gd name="connsiteY1" fmla="*/ 45148 h 38100"/>
                  <a:gd name="connsiteX2" fmla="*/ 45149 w 38100"/>
                  <a:gd name="connsiteY2" fmla="*/ 22574 h 38100"/>
                  <a:gd name="connsiteX3" fmla="*/ 22574 w 38100"/>
                  <a:gd name="connsiteY3" fmla="*/ 0 h 38100"/>
                  <a:gd name="connsiteX4" fmla="*/ 0 w 38100"/>
                  <a:gd name="connsiteY4" fmla="*/ 2257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22574"/>
                    </a:moveTo>
                    <a:cubicBezTo>
                      <a:pt x="0" y="35052"/>
                      <a:pt x="10096" y="45148"/>
                      <a:pt x="22574" y="45148"/>
                    </a:cubicBezTo>
                    <a:cubicBezTo>
                      <a:pt x="35052" y="45148"/>
                      <a:pt x="45149" y="35052"/>
                      <a:pt x="45149" y="22574"/>
                    </a:cubicBezTo>
                    <a:cubicBezTo>
                      <a:pt x="45149" y="10096"/>
                      <a:pt x="35052" y="0"/>
                      <a:pt x="22574" y="0"/>
                    </a:cubicBezTo>
                    <a:cubicBezTo>
                      <a:pt x="10096" y="0"/>
                      <a:pt x="0" y="10096"/>
                      <a:pt x="0" y="2257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1" name="Freeform: Shape 150">
                <a:extLst>
                  <a:ext uri="{FF2B5EF4-FFF2-40B4-BE49-F238E27FC236}">
                    <a16:creationId xmlns:a16="http://schemas.microsoft.com/office/drawing/2014/main" id="{13A4D7A0-5C16-4DE9-BBDE-56086FB7A943}"/>
                  </a:ext>
                </a:extLst>
              </p:cNvPr>
              <p:cNvSpPr/>
              <p:nvPr/>
            </p:nvSpPr>
            <p:spPr>
              <a:xfrm flipV="1">
                <a:off x="9626334" y="558229"/>
                <a:ext cx="36509" cy="36509"/>
              </a:xfrm>
              <a:custGeom>
                <a:avLst/>
                <a:gdLst>
                  <a:gd name="connsiteX0" fmla="*/ 24479 w 47625"/>
                  <a:gd name="connsiteY0" fmla="*/ 48958 h 47625"/>
                  <a:gd name="connsiteX1" fmla="*/ 48958 w 47625"/>
                  <a:gd name="connsiteY1" fmla="*/ 24479 h 47625"/>
                  <a:gd name="connsiteX2" fmla="*/ 24479 w 47625"/>
                  <a:gd name="connsiteY2" fmla="*/ 0 h 47625"/>
                  <a:gd name="connsiteX3" fmla="*/ 0 w 47625"/>
                  <a:gd name="connsiteY3" fmla="*/ 24479 h 47625"/>
                  <a:gd name="connsiteX4" fmla="*/ 24479 w 47625"/>
                  <a:gd name="connsiteY4" fmla="*/ 48958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4479" y="48958"/>
                    </a:moveTo>
                    <a:cubicBezTo>
                      <a:pt x="38005" y="48958"/>
                      <a:pt x="48958" y="38005"/>
                      <a:pt x="48958" y="24479"/>
                    </a:cubicBezTo>
                    <a:cubicBezTo>
                      <a:pt x="48958" y="10954"/>
                      <a:pt x="38005" y="0"/>
                      <a:pt x="24479" y="0"/>
                    </a:cubicBezTo>
                    <a:cubicBezTo>
                      <a:pt x="10954" y="0"/>
                      <a:pt x="0" y="10954"/>
                      <a:pt x="0" y="24479"/>
                    </a:cubicBezTo>
                    <a:cubicBezTo>
                      <a:pt x="0" y="37909"/>
                      <a:pt x="10954" y="48958"/>
                      <a:pt x="24479" y="48958"/>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2" name="Freeform: Shape 151">
                <a:extLst>
                  <a:ext uri="{FF2B5EF4-FFF2-40B4-BE49-F238E27FC236}">
                    <a16:creationId xmlns:a16="http://schemas.microsoft.com/office/drawing/2014/main" id="{2D78E3D7-360E-4BFE-BC60-4A5241AE3DAC}"/>
                  </a:ext>
                </a:extLst>
              </p:cNvPr>
              <p:cNvSpPr/>
              <p:nvPr/>
            </p:nvSpPr>
            <p:spPr>
              <a:xfrm flipV="1">
                <a:off x="9882119" y="103760"/>
                <a:ext cx="43811" cy="43811"/>
              </a:xfrm>
              <a:custGeom>
                <a:avLst/>
                <a:gdLst>
                  <a:gd name="connsiteX0" fmla="*/ 0 w 57150"/>
                  <a:gd name="connsiteY0" fmla="*/ 31909 h 57150"/>
                  <a:gd name="connsiteX1" fmla="*/ 31909 w 57150"/>
                  <a:gd name="connsiteY1" fmla="*/ 63818 h 57150"/>
                  <a:gd name="connsiteX2" fmla="*/ 63817 w 57150"/>
                  <a:gd name="connsiteY2" fmla="*/ 31909 h 57150"/>
                  <a:gd name="connsiteX3" fmla="*/ 31909 w 57150"/>
                  <a:gd name="connsiteY3" fmla="*/ 0 h 57150"/>
                  <a:gd name="connsiteX4" fmla="*/ 0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0" y="31909"/>
                    </a:moveTo>
                    <a:cubicBezTo>
                      <a:pt x="0" y="49530"/>
                      <a:pt x="14288" y="63818"/>
                      <a:pt x="31909" y="63818"/>
                    </a:cubicBezTo>
                    <a:cubicBezTo>
                      <a:pt x="49530" y="63818"/>
                      <a:pt x="63817" y="49530"/>
                      <a:pt x="63817" y="31909"/>
                    </a:cubicBezTo>
                    <a:cubicBezTo>
                      <a:pt x="63817" y="14288"/>
                      <a:pt x="49530" y="0"/>
                      <a:pt x="31909" y="0"/>
                    </a:cubicBezTo>
                    <a:cubicBezTo>
                      <a:pt x="14288" y="0"/>
                      <a:pt x="0" y="14288"/>
                      <a:pt x="0"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3" name="Freeform: Shape 152">
                <a:extLst>
                  <a:ext uri="{FF2B5EF4-FFF2-40B4-BE49-F238E27FC236}">
                    <a16:creationId xmlns:a16="http://schemas.microsoft.com/office/drawing/2014/main" id="{08B74B77-1D5F-4E21-BA86-10E0D4EE0659}"/>
                  </a:ext>
                </a:extLst>
              </p:cNvPr>
              <p:cNvSpPr/>
              <p:nvPr/>
            </p:nvSpPr>
            <p:spPr>
              <a:xfrm flipV="1">
                <a:off x="9620639" y="103760"/>
                <a:ext cx="43811" cy="43811"/>
              </a:xfrm>
              <a:custGeom>
                <a:avLst/>
                <a:gdLst>
                  <a:gd name="connsiteX0" fmla="*/ 63817 w 57150"/>
                  <a:gd name="connsiteY0" fmla="*/ 31909 h 57150"/>
                  <a:gd name="connsiteX1" fmla="*/ 31909 w 57150"/>
                  <a:gd name="connsiteY1" fmla="*/ 0 h 57150"/>
                  <a:gd name="connsiteX2" fmla="*/ 0 w 57150"/>
                  <a:gd name="connsiteY2" fmla="*/ 31909 h 57150"/>
                  <a:gd name="connsiteX3" fmla="*/ 31909 w 57150"/>
                  <a:gd name="connsiteY3" fmla="*/ 63818 h 57150"/>
                  <a:gd name="connsiteX4" fmla="*/ 63817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63817" y="31909"/>
                    </a:moveTo>
                    <a:cubicBezTo>
                      <a:pt x="63817" y="14288"/>
                      <a:pt x="49530" y="0"/>
                      <a:pt x="31909" y="0"/>
                    </a:cubicBezTo>
                    <a:cubicBezTo>
                      <a:pt x="14288" y="0"/>
                      <a:pt x="0" y="14288"/>
                      <a:pt x="0" y="31909"/>
                    </a:cubicBezTo>
                    <a:cubicBezTo>
                      <a:pt x="0" y="49530"/>
                      <a:pt x="14288" y="63818"/>
                      <a:pt x="31909" y="63818"/>
                    </a:cubicBezTo>
                    <a:cubicBezTo>
                      <a:pt x="49530" y="63818"/>
                      <a:pt x="63817" y="49530"/>
                      <a:pt x="63817" y="3190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4" name="Freeform: Shape 153">
                <a:extLst>
                  <a:ext uri="{FF2B5EF4-FFF2-40B4-BE49-F238E27FC236}">
                    <a16:creationId xmlns:a16="http://schemas.microsoft.com/office/drawing/2014/main" id="{B43ADA49-AEF4-4395-93E9-62C36828A76D}"/>
                  </a:ext>
                </a:extLst>
              </p:cNvPr>
              <p:cNvSpPr/>
              <p:nvPr/>
            </p:nvSpPr>
            <p:spPr>
              <a:xfrm flipV="1">
                <a:off x="9494973" y="785391"/>
                <a:ext cx="36509" cy="36509"/>
              </a:xfrm>
              <a:custGeom>
                <a:avLst/>
                <a:gdLst>
                  <a:gd name="connsiteX0" fmla="*/ 50673 w 47625"/>
                  <a:gd name="connsiteY0" fmla="*/ 25336 h 47625"/>
                  <a:gd name="connsiteX1" fmla="*/ 25336 w 47625"/>
                  <a:gd name="connsiteY1" fmla="*/ 50673 h 47625"/>
                  <a:gd name="connsiteX2" fmla="*/ 0 w 47625"/>
                  <a:gd name="connsiteY2" fmla="*/ 25336 h 47625"/>
                  <a:gd name="connsiteX3" fmla="*/ 25336 w 47625"/>
                  <a:gd name="connsiteY3" fmla="*/ 0 h 47625"/>
                  <a:gd name="connsiteX4" fmla="*/ 50673 w 47625"/>
                  <a:gd name="connsiteY4" fmla="*/ 2533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0673" y="25336"/>
                    </a:moveTo>
                    <a:cubicBezTo>
                      <a:pt x="50673" y="39329"/>
                      <a:pt x="39329" y="50673"/>
                      <a:pt x="25336" y="50673"/>
                    </a:cubicBezTo>
                    <a:cubicBezTo>
                      <a:pt x="11344" y="50673"/>
                      <a:pt x="0" y="39329"/>
                      <a:pt x="0" y="25336"/>
                    </a:cubicBezTo>
                    <a:cubicBezTo>
                      <a:pt x="0" y="11344"/>
                      <a:pt x="11344" y="0"/>
                      <a:pt x="25336" y="0"/>
                    </a:cubicBezTo>
                    <a:cubicBezTo>
                      <a:pt x="39329" y="0"/>
                      <a:pt x="50673" y="11343"/>
                      <a:pt x="50673" y="25336"/>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5" name="Freeform: Shape 154">
                <a:extLst>
                  <a:ext uri="{FF2B5EF4-FFF2-40B4-BE49-F238E27FC236}">
                    <a16:creationId xmlns:a16="http://schemas.microsoft.com/office/drawing/2014/main" id="{9D5441BA-CE25-41FF-820A-C5C36263BFF7}"/>
                  </a:ext>
                </a:extLst>
              </p:cNvPr>
              <p:cNvSpPr/>
              <p:nvPr/>
            </p:nvSpPr>
            <p:spPr>
              <a:xfrm flipV="1">
                <a:off x="9492855" y="334572"/>
                <a:ext cx="36509" cy="36509"/>
              </a:xfrm>
              <a:custGeom>
                <a:avLst/>
                <a:gdLst>
                  <a:gd name="connsiteX0" fmla="*/ 0 w 47625"/>
                  <a:gd name="connsiteY0" fmla="*/ 28099 h 47625"/>
                  <a:gd name="connsiteX1" fmla="*/ 28099 w 47625"/>
                  <a:gd name="connsiteY1" fmla="*/ 56197 h 47625"/>
                  <a:gd name="connsiteX2" fmla="*/ 56197 w 47625"/>
                  <a:gd name="connsiteY2" fmla="*/ 28099 h 47625"/>
                  <a:gd name="connsiteX3" fmla="*/ 28099 w 47625"/>
                  <a:gd name="connsiteY3" fmla="*/ 0 h 47625"/>
                  <a:gd name="connsiteX4" fmla="*/ 0 w 47625"/>
                  <a:gd name="connsiteY4" fmla="*/ 2809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0" y="28099"/>
                    </a:moveTo>
                    <a:cubicBezTo>
                      <a:pt x="0" y="43624"/>
                      <a:pt x="12573" y="56197"/>
                      <a:pt x="28099" y="56197"/>
                    </a:cubicBezTo>
                    <a:cubicBezTo>
                      <a:pt x="43624" y="56197"/>
                      <a:pt x="56197" y="43624"/>
                      <a:pt x="56197" y="28099"/>
                    </a:cubicBezTo>
                    <a:cubicBezTo>
                      <a:pt x="56197" y="12573"/>
                      <a:pt x="43624" y="0"/>
                      <a:pt x="28099" y="0"/>
                    </a:cubicBezTo>
                    <a:cubicBezTo>
                      <a:pt x="12573" y="0"/>
                      <a:pt x="0" y="12573"/>
                      <a:pt x="0" y="28099"/>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6" name="Freeform: Shape 155">
                <a:extLst>
                  <a:ext uri="{FF2B5EF4-FFF2-40B4-BE49-F238E27FC236}">
                    <a16:creationId xmlns:a16="http://schemas.microsoft.com/office/drawing/2014/main" id="{3B6F8DEE-9505-4A3D-B4D7-6061B6D280BF}"/>
                  </a:ext>
                </a:extLst>
              </p:cNvPr>
              <p:cNvSpPr/>
              <p:nvPr/>
            </p:nvSpPr>
            <p:spPr>
              <a:xfrm flipV="1">
                <a:off x="9231156" y="787727"/>
                <a:ext cx="36509" cy="36509"/>
              </a:xfrm>
              <a:custGeom>
                <a:avLst/>
                <a:gdLst>
                  <a:gd name="connsiteX0" fmla="*/ 56769 w 47625"/>
                  <a:gd name="connsiteY0" fmla="*/ 28384 h 47625"/>
                  <a:gd name="connsiteX1" fmla="*/ 28385 w 47625"/>
                  <a:gd name="connsiteY1" fmla="*/ 56769 h 47625"/>
                  <a:gd name="connsiteX2" fmla="*/ 0 w 47625"/>
                  <a:gd name="connsiteY2" fmla="*/ 28384 h 47625"/>
                  <a:gd name="connsiteX3" fmla="*/ 28385 w 47625"/>
                  <a:gd name="connsiteY3" fmla="*/ 0 h 47625"/>
                  <a:gd name="connsiteX4" fmla="*/ 56769 w 47625"/>
                  <a:gd name="connsiteY4" fmla="*/ 2838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6769" y="28384"/>
                    </a:moveTo>
                    <a:cubicBezTo>
                      <a:pt x="56769" y="44061"/>
                      <a:pt x="44061" y="56769"/>
                      <a:pt x="28385" y="56769"/>
                    </a:cubicBezTo>
                    <a:cubicBezTo>
                      <a:pt x="12708" y="56769"/>
                      <a:pt x="0" y="44061"/>
                      <a:pt x="0" y="28384"/>
                    </a:cubicBezTo>
                    <a:cubicBezTo>
                      <a:pt x="0" y="12708"/>
                      <a:pt x="12708" y="0"/>
                      <a:pt x="28385" y="0"/>
                    </a:cubicBezTo>
                    <a:cubicBezTo>
                      <a:pt x="44061" y="0"/>
                      <a:pt x="56769" y="12708"/>
                      <a:pt x="56769" y="28384"/>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7" name="Freeform: Shape 156">
                <a:extLst>
                  <a:ext uri="{FF2B5EF4-FFF2-40B4-BE49-F238E27FC236}">
                    <a16:creationId xmlns:a16="http://schemas.microsoft.com/office/drawing/2014/main" id="{E6365C49-14EE-41F6-88E6-12A6947FAA85}"/>
                  </a:ext>
                </a:extLst>
              </p:cNvPr>
              <p:cNvSpPr/>
              <p:nvPr/>
            </p:nvSpPr>
            <p:spPr>
              <a:xfrm flipV="1">
                <a:off x="9110017" y="566261"/>
                <a:ext cx="21906" cy="21906"/>
              </a:xfrm>
              <a:custGeom>
                <a:avLst/>
                <a:gdLst>
                  <a:gd name="connsiteX0" fmla="*/ 15811 w 28575"/>
                  <a:gd name="connsiteY0" fmla="*/ 0 h 28575"/>
                  <a:gd name="connsiteX1" fmla="*/ 0 w 28575"/>
                  <a:gd name="connsiteY1" fmla="*/ 15812 h 28575"/>
                  <a:gd name="connsiteX2" fmla="*/ 15811 w 28575"/>
                  <a:gd name="connsiteY2" fmla="*/ 31623 h 28575"/>
                  <a:gd name="connsiteX3" fmla="*/ 31623 w 28575"/>
                  <a:gd name="connsiteY3" fmla="*/ 15812 h 28575"/>
                  <a:gd name="connsiteX4" fmla="*/ 15811 w 2857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811" y="0"/>
                    </a:moveTo>
                    <a:cubicBezTo>
                      <a:pt x="7048" y="0"/>
                      <a:pt x="0" y="7048"/>
                      <a:pt x="0" y="15812"/>
                    </a:cubicBezTo>
                    <a:cubicBezTo>
                      <a:pt x="0" y="24574"/>
                      <a:pt x="7048" y="31623"/>
                      <a:pt x="15811" y="31623"/>
                    </a:cubicBezTo>
                    <a:cubicBezTo>
                      <a:pt x="24575" y="31623"/>
                      <a:pt x="31623" y="24574"/>
                      <a:pt x="31623" y="15812"/>
                    </a:cubicBezTo>
                    <a:cubicBezTo>
                      <a:pt x="31623" y="7048"/>
                      <a:pt x="24575" y="0"/>
                      <a:pt x="15811" y="0"/>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8" name="Freeform: Shape 157">
                <a:extLst>
                  <a:ext uri="{FF2B5EF4-FFF2-40B4-BE49-F238E27FC236}">
                    <a16:creationId xmlns:a16="http://schemas.microsoft.com/office/drawing/2014/main" id="{AC277CEC-12E3-4E31-8B6C-BB09C97105AE}"/>
                  </a:ext>
                </a:extLst>
              </p:cNvPr>
              <p:cNvSpPr/>
              <p:nvPr/>
            </p:nvSpPr>
            <p:spPr>
              <a:xfrm flipV="1">
                <a:off x="9230280" y="328366"/>
                <a:ext cx="43811" cy="43811"/>
              </a:xfrm>
              <a:custGeom>
                <a:avLst/>
                <a:gdLst>
                  <a:gd name="connsiteX0" fmla="*/ 59055 w 57150"/>
                  <a:gd name="connsiteY0" fmla="*/ 29527 h 57150"/>
                  <a:gd name="connsiteX1" fmla="*/ 29528 w 57150"/>
                  <a:gd name="connsiteY1" fmla="*/ 59055 h 57150"/>
                  <a:gd name="connsiteX2" fmla="*/ 0 w 57150"/>
                  <a:gd name="connsiteY2" fmla="*/ 29527 h 57150"/>
                  <a:gd name="connsiteX3" fmla="*/ 29528 w 57150"/>
                  <a:gd name="connsiteY3" fmla="*/ 0 h 57150"/>
                  <a:gd name="connsiteX4" fmla="*/ 59055 w 57150"/>
                  <a:gd name="connsiteY4" fmla="*/ 29527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9055" y="29527"/>
                    </a:moveTo>
                    <a:cubicBezTo>
                      <a:pt x="59055" y="45835"/>
                      <a:pt x="45835" y="59055"/>
                      <a:pt x="29528" y="59055"/>
                    </a:cubicBezTo>
                    <a:cubicBezTo>
                      <a:pt x="13220" y="59055"/>
                      <a:pt x="0" y="45835"/>
                      <a:pt x="0" y="29527"/>
                    </a:cubicBezTo>
                    <a:cubicBezTo>
                      <a:pt x="0" y="13220"/>
                      <a:pt x="13220" y="0"/>
                      <a:pt x="29528" y="0"/>
                    </a:cubicBezTo>
                    <a:cubicBezTo>
                      <a:pt x="45835" y="0"/>
                      <a:pt x="59055" y="13220"/>
                      <a:pt x="59055" y="2952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sp>
            <p:nvSpPr>
              <p:cNvPr id="159" name="Freeform: Shape 158">
                <a:extLst>
                  <a:ext uri="{FF2B5EF4-FFF2-40B4-BE49-F238E27FC236}">
                    <a16:creationId xmlns:a16="http://schemas.microsoft.com/office/drawing/2014/main" id="{20720922-00D9-4738-9C82-30C7CC944E10}"/>
                  </a:ext>
                </a:extLst>
              </p:cNvPr>
              <p:cNvSpPr/>
              <p:nvPr/>
            </p:nvSpPr>
            <p:spPr>
              <a:xfrm flipV="1">
                <a:off x="9095341" y="98794"/>
                <a:ext cx="51113" cy="51113"/>
              </a:xfrm>
              <a:custGeom>
                <a:avLst/>
                <a:gdLst>
                  <a:gd name="connsiteX0" fmla="*/ 69914 w 66675"/>
                  <a:gd name="connsiteY0" fmla="*/ 34957 h 66675"/>
                  <a:gd name="connsiteX1" fmla="*/ 34957 w 66675"/>
                  <a:gd name="connsiteY1" fmla="*/ 0 h 66675"/>
                  <a:gd name="connsiteX2" fmla="*/ 0 w 66675"/>
                  <a:gd name="connsiteY2" fmla="*/ 34957 h 66675"/>
                  <a:gd name="connsiteX3" fmla="*/ 34957 w 66675"/>
                  <a:gd name="connsiteY3" fmla="*/ 69913 h 66675"/>
                  <a:gd name="connsiteX4" fmla="*/ 69914 w 66675"/>
                  <a:gd name="connsiteY4" fmla="*/ 34957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9914" y="34957"/>
                    </a:moveTo>
                    <a:cubicBezTo>
                      <a:pt x="69914" y="15621"/>
                      <a:pt x="54293" y="0"/>
                      <a:pt x="34957" y="0"/>
                    </a:cubicBezTo>
                    <a:cubicBezTo>
                      <a:pt x="15621" y="0"/>
                      <a:pt x="0" y="15621"/>
                      <a:pt x="0" y="34957"/>
                    </a:cubicBezTo>
                    <a:cubicBezTo>
                      <a:pt x="0" y="54293"/>
                      <a:pt x="15621" y="69913"/>
                      <a:pt x="34957" y="69913"/>
                    </a:cubicBezTo>
                    <a:cubicBezTo>
                      <a:pt x="54293" y="69913"/>
                      <a:pt x="69914" y="54293"/>
                      <a:pt x="69914" y="34957"/>
                    </a:cubicBezTo>
                    <a:close/>
                  </a:path>
                </a:pathLst>
              </a:custGeom>
              <a:grpFill/>
              <a:ln w="9525" cap="flat">
                <a:noFill/>
                <a:prstDash val="solid"/>
                <a:miter/>
              </a:ln>
            </p:spPr>
            <p:txBody>
              <a:bodyPr rtlCol="0"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FFFFFF"/>
                  </a:solidFill>
                  <a:effectLst/>
                  <a:uLnTx/>
                  <a:uFillTx/>
                </a:endParaRPr>
              </a:p>
            </p:txBody>
          </p:sp>
        </p:grpSp>
        <p:sp>
          <p:nvSpPr>
            <p:cNvPr id="93" name="Hexagon 92">
              <a:extLst>
                <a:ext uri="{FF2B5EF4-FFF2-40B4-BE49-F238E27FC236}">
                  <a16:creationId xmlns:a16="http://schemas.microsoft.com/office/drawing/2014/main" id="{60ABA353-CCC5-4283-855B-FBE2691EC0D2}"/>
                </a:ext>
              </a:extLst>
            </p:cNvPr>
            <p:cNvSpPr/>
            <p:nvPr userDrawn="1"/>
          </p:nvSpPr>
          <p:spPr>
            <a:xfrm>
              <a:off x="11800770" y="3015821"/>
              <a:ext cx="162475" cy="140064"/>
            </a:xfrm>
            <a:prstGeom prst="hexagon">
              <a:avLst/>
            </a:pr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94" name="Hexagon 93">
              <a:extLst>
                <a:ext uri="{FF2B5EF4-FFF2-40B4-BE49-F238E27FC236}">
                  <a16:creationId xmlns:a16="http://schemas.microsoft.com/office/drawing/2014/main" id="{57821A5E-4965-4018-BA65-5A9243E749D7}"/>
                </a:ext>
              </a:extLst>
            </p:cNvPr>
            <p:cNvSpPr/>
            <p:nvPr userDrawn="1"/>
          </p:nvSpPr>
          <p:spPr>
            <a:xfrm>
              <a:off x="11996369" y="3200178"/>
              <a:ext cx="162475" cy="140064"/>
            </a:xfrm>
            <a:prstGeom prst="hexagon">
              <a:avLst/>
            </a:pr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95" name="Hexagon 94">
              <a:extLst>
                <a:ext uri="{FF2B5EF4-FFF2-40B4-BE49-F238E27FC236}">
                  <a16:creationId xmlns:a16="http://schemas.microsoft.com/office/drawing/2014/main" id="{A19DB529-08D3-473C-9354-D7BA2CF4B9EE}"/>
                </a:ext>
              </a:extLst>
            </p:cNvPr>
            <p:cNvSpPr/>
            <p:nvPr userDrawn="1"/>
          </p:nvSpPr>
          <p:spPr>
            <a:xfrm>
              <a:off x="11933745" y="3201613"/>
              <a:ext cx="66312" cy="57165"/>
            </a:xfrm>
            <a:prstGeom prst="hexagon">
              <a:avLst/>
            </a:prstGeom>
            <a:noFill/>
            <a:ln w="6350" cap="flat" cmpd="sng" algn="ctr">
              <a:solidFill>
                <a:srgbClr val="D2D2D6"/>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96" name="Hexagon 95">
              <a:extLst>
                <a:ext uri="{FF2B5EF4-FFF2-40B4-BE49-F238E27FC236}">
                  <a16:creationId xmlns:a16="http://schemas.microsoft.com/office/drawing/2014/main" id="{27EC5444-0BB2-4BBD-8B9C-586174C9482F}"/>
                </a:ext>
              </a:extLst>
            </p:cNvPr>
            <p:cNvSpPr/>
            <p:nvPr userDrawn="1"/>
          </p:nvSpPr>
          <p:spPr>
            <a:xfrm>
              <a:off x="11377888" y="2492835"/>
              <a:ext cx="249186" cy="214815"/>
            </a:xfrm>
            <a:prstGeom prst="hexagon">
              <a:avLst/>
            </a:prstGeom>
            <a:noFill/>
            <a:ln w="9525" cap="flat" cmpd="sng" algn="ctr">
              <a:solidFill>
                <a:srgbClr val="747480"/>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273" name="Freeform: Shape 272">
            <a:extLst>
              <a:ext uri="{FF2B5EF4-FFF2-40B4-BE49-F238E27FC236}">
                <a16:creationId xmlns:a16="http://schemas.microsoft.com/office/drawing/2014/main" id="{56841585-35FC-42E7-918C-1DE57FADA099}"/>
              </a:ext>
            </a:extLst>
          </p:cNvPr>
          <p:cNvSpPr/>
          <p:nvPr userDrawn="1"/>
        </p:nvSpPr>
        <p:spPr>
          <a:xfrm flipV="1">
            <a:off x="-982" y="625373"/>
            <a:ext cx="11653175" cy="149290"/>
          </a:xfrm>
          <a:custGeom>
            <a:avLst/>
            <a:gdLst>
              <a:gd name="connsiteX0" fmla="*/ 11402008 w 11402008"/>
              <a:gd name="connsiteY0" fmla="*/ 149290 h 149290"/>
              <a:gd name="connsiteX1" fmla="*/ 643812 w 11402008"/>
              <a:gd name="connsiteY1" fmla="*/ 149290 h 149290"/>
              <a:gd name="connsiteX2" fmla="*/ 494522 w 11402008"/>
              <a:gd name="connsiteY2" fmla="*/ 0 h 149290"/>
              <a:gd name="connsiteX3" fmla="*/ 0 w 11402008"/>
              <a:gd name="connsiteY3" fmla="*/ 0 h 149290"/>
            </a:gdLst>
            <a:ahLst/>
            <a:cxnLst>
              <a:cxn ang="0">
                <a:pos x="connsiteX0" y="connsiteY0"/>
              </a:cxn>
              <a:cxn ang="0">
                <a:pos x="connsiteX1" y="connsiteY1"/>
              </a:cxn>
              <a:cxn ang="0">
                <a:pos x="connsiteX2" y="connsiteY2"/>
              </a:cxn>
              <a:cxn ang="0">
                <a:pos x="connsiteX3" y="connsiteY3"/>
              </a:cxn>
            </a:cxnLst>
            <a:rect l="l" t="t" r="r" b="b"/>
            <a:pathLst>
              <a:path w="11402008" h="149290">
                <a:moveTo>
                  <a:pt x="11402008" y="149290"/>
                </a:moveTo>
                <a:lnTo>
                  <a:pt x="643812" y="149290"/>
                </a:lnTo>
                <a:lnTo>
                  <a:pt x="494522" y="0"/>
                </a:lnTo>
                <a:lnTo>
                  <a:pt x="0" y="0"/>
                </a:lnTo>
              </a:path>
            </a:pathLst>
          </a:custGeom>
          <a:noFill/>
          <a:ln w="9525" cap="flat" cmpd="sng" algn="ctr">
            <a:solidFill>
              <a:srgbClr val="747480"/>
            </a:solidFill>
            <a:prstDash val="solid"/>
          </a:ln>
          <a:effectLst/>
        </p:spPr>
        <p:txBody>
          <a:bodyPr rtlCol="0" anchor="ctr"/>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a typeface="+mn-ea"/>
              <a:cs typeface="+mn-cs"/>
            </a:endParaRPr>
          </a:p>
        </p:txBody>
      </p:sp>
      <p:grpSp>
        <p:nvGrpSpPr>
          <p:cNvPr id="274" name="Group 4">
            <a:extLst>
              <a:ext uri="{FF2B5EF4-FFF2-40B4-BE49-F238E27FC236}">
                <a16:creationId xmlns:a16="http://schemas.microsoft.com/office/drawing/2014/main" id="{CD3AF2D9-FF4E-46A0-B5C3-F600047B34A7}"/>
              </a:ext>
            </a:extLst>
          </p:cNvPr>
          <p:cNvGrpSpPr>
            <a:grpSpLocks noChangeAspect="1"/>
          </p:cNvGrpSpPr>
          <p:nvPr userDrawn="1"/>
        </p:nvGrpSpPr>
        <p:grpSpPr bwMode="auto">
          <a:xfrm>
            <a:off x="11281250" y="6356350"/>
            <a:ext cx="303055" cy="311150"/>
            <a:chOff x="7110" y="4004"/>
            <a:chExt cx="191" cy="196"/>
          </a:xfrm>
        </p:grpSpPr>
        <p:sp>
          <p:nvSpPr>
            <p:cNvPr id="275" name="Freeform 5">
              <a:extLst>
                <a:ext uri="{FF2B5EF4-FFF2-40B4-BE49-F238E27FC236}">
                  <a16:creationId xmlns:a16="http://schemas.microsoft.com/office/drawing/2014/main" id="{14462781-7EBE-4695-9FB7-2FEE0B4BB9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A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76" name="Freeform 6">
              <a:extLst>
                <a:ext uri="{FF2B5EF4-FFF2-40B4-BE49-F238E27FC236}">
                  <a16:creationId xmlns:a16="http://schemas.microsoft.com/office/drawing/2014/main" id="{8E1462AE-C950-4CBC-97F2-5858117F738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sp>
          <p:nvSpPr>
            <p:cNvPr id="277" name="Freeform 7">
              <a:extLst>
                <a:ext uri="{FF2B5EF4-FFF2-40B4-BE49-F238E27FC236}">
                  <a16:creationId xmlns:a16="http://schemas.microsoft.com/office/drawing/2014/main" id="{463CE0B6-CCF5-4623-96CC-74331479E24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grpSp>
    </p:spTree>
    <p:extLst>
      <p:ext uri="{BB962C8B-B14F-4D97-AF65-F5344CB8AC3E}">
        <p14:creationId xmlns:p14="http://schemas.microsoft.com/office/powerpoint/2010/main" val="169809068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dt="0"/>
  <p:txStyles>
    <p:titleStyle>
      <a:lvl1pPr algn="l" defTabSz="856802" rtl="0" eaLnBrk="1" latinLnBrk="0" hangingPunct="1">
        <a:lnSpc>
          <a:spcPct val="85000"/>
        </a:lnSpc>
        <a:spcBef>
          <a:spcPct val="0"/>
        </a:spcBef>
        <a:buNone/>
        <a:defRPr sz="2199" b="0" kern="1200">
          <a:solidFill>
            <a:schemeClr val="tx2"/>
          </a:solidFill>
          <a:latin typeface="EYInterstate Light" panose="02000506000000020004" pitchFamily="2" charset="0"/>
          <a:ea typeface="+mj-ea"/>
          <a:cs typeface="Arial" pitchFamily="34" charset="0"/>
        </a:defRPr>
      </a:lvl1pPr>
    </p:titleStyle>
    <p:bodyStyle>
      <a:lvl1pPr marL="0" indent="0" algn="l" defTabSz="856802" rtl="0" eaLnBrk="1" latinLnBrk="0" hangingPunct="1">
        <a:spcBef>
          <a:spcPts val="240"/>
        </a:spcBef>
        <a:buClr>
          <a:schemeClr val="tx1"/>
        </a:buClr>
        <a:buSzPct val="100000"/>
        <a:buFontTx/>
        <a:buNone/>
        <a:defRPr sz="999" kern="1200">
          <a:solidFill>
            <a:schemeClr val="tx2"/>
          </a:solidFill>
          <a:latin typeface="EYInterstate Light" panose="02000506000000020004" pitchFamily="2" charset="0"/>
          <a:ea typeface="+mn-ea"/>
          <a:cs typeface="+mn-cs"/>
        </a:defRPr>
      </a:lvl1pPr>
      <a:lvl2pPr marL="0" indent="0" algn="l" defTabSz="856802" rtl="0" eaLnBrk="1" latinLnBrk="0" hangingPunct="1">
        <a:spcBef>
          <a:spcPct val="20000"/>
        </a:spcBef>
        <a:spcAft>
          <a:spcPts val="300"/>
        </a:spcAft>
        <a:buClr>
          <a:schemeClr val="tx1"/>
        </a:buClr>
        <a:buSzPct val="100000"/>
        <a:buFontTx/>
        <a:buNone/>
        <a:defRPr sz="1399" b="1" kern="1200">
          <a:solidFill>
            <a:schemeClr val="tx2"/>
          </a:solidFill>
          <a:latin typeface="EYInterstate Light" panose="02000506000000020004" pitchFamily="2" charset="0"/>
          <a:ea typeface="+mn-ea"/>
          <a:cs typeface="+mn-cs"/>
        </a:defRPr>
      </a:lvl2pPr>
      <a:lvl3pPr marL="0" indent="0" algn="l" defTabSz="856802" rtl="0" eaLnBrk="1" latinLnBrk="0" hangingPunct="1">
        <a:spcBef>
          <a:spcPct val="20000"/>
        </a:spcBef>
        <a:spcAft>
          <a:spcPts val="300"/>
        </a:spcAft>
        <a:buClr>
          <a:schemeClr val="tx1"/>
        </a:buClr>
        <a:buSzPct val="100000"/>
        <a:buFontTx/>
        <a:buNone/>
        <a:defRPr sz="1199" b="1" kern="1200">
          <a:solidFill>
            <a:schemeClr val="tx2"/>
          </a:solidFill>
          <a:latin typeface="EYInterstate Light" panose="02000506000000020004" pitchFamily="2" charset="0"/>
          <a:ea typeface="+mn-ea"/>
          <a:cs typeface="+mn-cs"/>
        </a:defRPr>
      </a:lvl3pPr>
      <a:lvl4pPr marL="190705" indent="-187106" algn="l" defTabSz="856802" rtl="0" eaLnBrk="1" latinLnBrk="0" hangingPunct="1">
        <a:spcBef>
          <a:spcPct val="20000"/>
        </a:spcBef>
        <a:spcAft>
          <a:spcPts val="240"/>
        </a:spcAft>
        <a:buClr>
          <a:schemeClr val="tx2"/>
        </a:buClr>
        <a:buSzPct val="100000"/>
        <a:buFont typeface="EYInterstate Light" panose="02000506000000020004" pitchFamily="2" charset="0"/>
        <a:buChar char="•"/>
        <a:defRPr sz="999" kern="1200">
          <a:solidFill>
            <a:schemeClr val="tx2"/>
          </a:solidFill>
          <a:latin typeface="EYInterstate Light" panose="02000506000000020004" pitchFamily="2" charset="0"/>
          <a:ea typeface="+mn-ea"/>
          <a:cs typeface="+mn-cs"/>
        </a:defRPr>
      </a:lvl4pPr>
      <a:lvl5pPr marL="381409" indent="-190705" algn="l" defTabSz="856802" rtl="0" eaLnBrk="1" latinLnBrk="0" hangingPunct="1">
        <a:spcBef>
          <a:spcPct val="20000"/>
        </a:spcBef>
        <a:spcAft>
          <a:spcPts val="240"/>
        </a:spcAft>
        <a:buClr>
          <a:schemeClr val="tx2"/>
        </a:buClr>
        <a:buSzPct val="100000"/>
        <a:buFont typeface="EYInterstate Light" panose="02000506000000020004" pitchFamily="2" charset="0"/>
        <a:buChar char="•"/>
        <a:defRPr sz="999" kern="1200">
          <a:solidFill>
            <a:schemeClr val="tx2"/>
          </a:solidFill>
          <a:latin typeface="EYInterstate Light" panose="02000506000000020004" pitchFamily="2" charset="0"/>
          <a:ea typeface="+mn-ea"/>
          <a:cs typeface="+mn-cs"/>
        </a:defRPr>
      </a:lvl5pPr>
      <a:lvl6pPr marL="2356203" indent="-214200" algn="l" defTabSz="856802"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784605" indent="-214200" algn="l" defTabSz="856802"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213004" indent="-214200" algn="l" defTabSz="856802"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641405" indent="-214200" algn="l" defTabSz="856802"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56802" rtl="0" eaLnBrk="1" latinLnBrk="0" hangingPunct="1">
        <a:defRPr sz="1687" kern="1200">
          <a:solidFill>
            <a:schemeClr val="tx1"/>
          </a:solidFill>
          <a:latin typeface="+mn-lt"/>
          <a:ea typeface="+mn-ea"/>
          <a:cs typeface="+mn-cs"/>
        </a:defRPr>
      </a:lvl1pPr>
      <a:lvl2pPr marL="428401" algn="l" defTabSz="856802" rtl="0" eaLnBrk="1" latinLnBrk="0" hangingPunct="1">
        <a:defRPr sz="1687" kern="1200">
          <a:solidFill>
            <a:schemeClr val="tx1"/>
          </a:solidFill>
          <a:latin typeface="+mn-lt"/>
          <a:ea typeface="+mn-ea"/>
          <a:cs typeface="+mn-cs"/>
        </a:defRPr>
      </a:lvl2pPr>
      <a:lvl3pPr marL="856802" algn="l" defTabSz="856802" rtl="0" eaLnBrk="1" latinLnBrk="0" hangingPunct="1">
        <a:defRPr sz="1687" kern="1200">
          <a:solidFill>
            <a:schemeClr val="tx1"/>
          </a:solidFill>
          <a:latin typeface="+mn-lt"/>
          <a:ea typeface="+mn-ea"/>
          <a:cs typeface="+mn-cs"/>
        </a:defRPr>
      </a:lvl3pPr>
      <a:lvl4pPr marL="1285200" algn="l" defTabSz="856802" rtl="0" eaLnBrk="1" latinLnBrk="0" hangingPunct="1">
        <a:defRPr sz="1687" kern="1200">
          <a:solidFill>
            <a:schemeClr val="tx1"/>
          </a:solidFill>
          <a:latin typeface="+mn-lt"/>
          <a:ea typeface="+mn-ea"/>
          <a:cs typeface="+mn-cs"/>
        </a:defRPr>
      </a:lvl4pPr>
      <a:lvl5pPr marL="1713603" algn="l" defTabSz="856802" rtl="0" eaLnBrk="1" latinLnBrk="0" hangingPunct="1">
        <a:defRPr sz="1687" kern="1200">
          <a:solidFill>
            <a:schemeClr val="tx1"/>
          </a:solidFill>
          <a:latin typeface="+mn-lt"/>
          <a:ea typeface="+mn-ea"/>
          <a:cs typeface="+mn-cs"/>
        </a:defRPr>
      </a:lvl5pPr>
      <a:lvl6pPr marL="2142002" algn="l" defTabSz="856802" rtl="0" eaLnBrk="1" latinLnBrk="0" hangingPunct="1">
        <a:defRPr sz="1687" kern="1200">
          <a:solidFill>
            <a:schemeClr val="tx1"/>
          </a:solidFill>
          <a:latin typeface="+mn-lt"/>
          <a:ea typeface="+mn-ea"/>
          <a:cs typeface="+mn-cs"/>
        </a:defRPr>
      </a:lvl6pPr>
      <a:lvl7pPr marL="2570404" algn="l" defTabSz="856802" rtl="0" eaLnBrk="1" latinLnBrk="0" hangingPunct="1">
        <a:defRPr sz="1687" kern="1200">
          <a:solidFill>
            <a:schemeClr val="tx1"/>
          </a:solidFill>
          <a:latin typeface="+mn-lt"/>
          <a:ea typeface="+mn-ea"/>
          <a:cs typeface="+mn-cs"/>
        </a:defRPr>
      </a:lvl7pPr>
      <a:lvl8pPr marL="2998804" algn="l" defTabSz="856802" rtl="0" eaLnBrk="1" latinLnBrk="0" hangingPunct="1">
        <a:defRPr sz="1687" kern="1200">
          <a:solidFill>
            <a:schemeClr val="tx1"/>
          </a:solidFill>
          <a:latin typeface="+mn-lt"/>
          <a:ea typeface="+mn-ea"/>
          <a:cs typeface="+mn-cs"/>
        </a:defRPr>
      </a:lvl8pPr>
      <a:lvl9pPr marL="3427204" algn="l" defTabSz="856802" rtl="0" eaLnBrk="1" latinLnBrk="0" hangingPunct="1">
        <a:defRPr sz="168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6">
          <p15:clr>
            <a:srgbClr val="F26B43"/>
          </p15:clr>
        </p15:guide>
        <p15:guide id="2" pos="378">
          <p15:clr>
            <a:srgbClr val="F26B43"/>
          </p15:clr>
        </p15:guide>
        <p15:guide id="3" pos="7309">
          <p15:clr>
            <a:srgbClr val="F26B43"/>
          </p15:clr>
        </p15:guide>
        <p15:guide id="4" orient="horz" pos="389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31377B-861C-3637-6A40-D12B3945EC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7CBEBFC-82E0-F43D-461F-0CC7B7650F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BBC9666-9E7C-809D-B49C-F625343B7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97826B1-DE12-1F48-84E9-336C43DADC2E}" type="datetimeFigureOut">
              <a:rPr lang="en-US" smtClean="0"/>
              <a:t>11/19/2025</a:t>
            </a:fld>
            <a:endParaRPr lang="en-US"/>
          </a:p>
        </p:txBody>
      </p:sp>
      <p:sp>
        <p:nvSpPr>
          <p:cNvPr id="5" name="Footer Placeholder 4">
            <a:extLst>
              <a:ext uri="{FF2B5EF4-FFF2-40B4-BE49-F238E27FC236}">
                <a16:creationId xmlns:a16="http://schemas.microsoft.com/office/drawing/2014/main" id="{7180791C-4FD4-BBCB-EA6F-B9D47F7F77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84F91F1-DA07-59AF-A148-F7F55B9739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E4FCD9D-0962-A643-98F3-957410C5F308}" type="slidenum">
              <a:rPr lang="en-US" smtClean="0"/>
              <a:t>‹#›</a:t>
            </a:fld>
            <a:endParaRPr lang="en-US"/>
          </a:p>
        </p:txBody>
      </p:sp>
    </p:spTree>
    <p:extLst>
      <p:ext uri="{BB962C8B-B14F-4D97-AF65-F5344CB8AC3E}">
        <p14:creationId xmlns:p14="http://schemas.microsoft.com/office/powerpoint/2010/main" val="184270142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701"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p15:clr>
            <a:srgbClr val="F26B43"/>
          </p15:clr>
        </p15:guide>
        <p15:guide id="2" pos="438">
          <p15:clr>
            <a:srgbClr val="F26B43"/>
          </p15:clr>
        </p15:guide>
        <p15:guide id="3" orient="horz" pos="640">
          <p15:clr>
            <a:srgbClr val="F26B43"/>
          </p15:clr>
        </p15:guide>
        <p15:guide id="4" pos="597">
          <p15:clr>
            <a:srgbClr val="F26B43"/>
          </p15:clr>
        </p15:guide>
        <p15:guide id="5" pos="2729">
          <p15:clr>
            <a:srgbClr val="F26B43"/>
          </p15:clr>
        </p15:guide>
        <p15:guide id="6" pos="2933">
          <p15:clr>
            <a:srgbClr val="F26B43"/>
          </p15:clr>
        </p15:guide>
        <p15:guide id="7" pos="5065">
          <p15:clr>
            <a:srgbClr val="F26B43"/>
          </p15:clr>
        </p15:guide>
        <p15:guide id="8" pos="5269">
          <p15:clr>
            <a:srgbClr val="F26B43"/>
          </p15:clr>
        </p15:guide>
        <p15:guide id="9" pos="740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284"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a:t>Page </a:t>
            </a:r>
            <a:fld id="{D5B76411-544C-4F9A-8EDE-9EEB2BD21F95}" type="slidenum">
              <a:rPr lang="en-IN" sz="800" smtClean="0"/>
              <a:t>‹#›</a:t>
            </a:fld>
            <a:endParaRPr sz="800"/>
          </a:p>
        </p:txBody>
      </p:sp>
    </p:spTree>
    <p:extLst>
      <p:ext uri="{BB962C8B-B14F-4D97-AF65-F5344CB8AC3E}">
        <p14:creationId xmlns:p14="http://schemas.microsoft.com/office/powerpoint/2010/main" val="67035297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8" r:id="rId15"/>
  </p:sldLayoutIdLst>
  <p:hf sldNum="0" hdr="0" ftr="0" dt="0"/>
  <p:txStyles>
    <p:titleStyle>
      <a:lvl1pPr algn="l" defTabSz="913486" rtl="0" eaLnBrk="1" latinLnBrk="0" hangingPunct="1">
        <a:lnSpc>
          <a:spcPct val="85000"/>
        </a:lnSpc>
        <a:spcBef>
          <a:spcPct val="0"/>
        </a:spcBef>
        <a:buNone/>
        <a:defRPr sz="21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3842">
          <p15:clr>
            <a:srgbClr val="F26B43"/>
          </p15:clr>
        </p15:guide>
        <p15:guide id="3" orient="horz" pos="528">
          <p15:clr>
            <a:srgbClr val="F26B43"/>
          </p15:clr>
        </p15:guide>
        <p15:guide id="4" orient="horz" pos="714">
          <p15:clr>
            <a:srgbClr val="F26B43"/>
          </p15:clr>
        </p15:guide>
        <p15:guide id="5" orient="horz" pos="3840">
          <p15:clr>
            <a:srgbClr val="F26B43"/>
          </p15:clr>
        </p15:guide>
        <p15:guide id="6" orient="horz" pos="3996">
          <p15:clr>
            <a:srgbClr val="F26B43"/>
          </p15:clr>
        </p15:guide>
        <p15:guide id="7" orient="horz" pos="4200">
          <p15:clr>
            <a:srgbClr val="F26B43"/>
          </p15:clr>
        </p15:guide>
        <p15:guide id="8" pos="386">
          <p15:clr>
            <a:srgbClr val="F26B43"/>
          </p15:clr>
        </p15:guide>
        <p15:guide id="9" pos="729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63482"/>
            <a:ext cx="10515600" cy="739056"/>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838200" y="1219200"/>
            <a:ext cx="10515600" cy="4957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6305911"/>
            <a:ext cx="12192000" cy="552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www.</a:t>
            </a:r>
            <a:r>
              <a:rPr kumimoji="0" lang="en-US" sz="3200" b="0" i="0" u="none" strike="noStrike" kern="1200" cap="none" spc="150" normalizeH="0" baseline="0" noProof="0" dirty="0">
                <a:ln>
                  <a:noFill/>
                </a:ln>
                <a:solidFill>
                  <a:prstClr val="black">
                    <a:lumMod val="85000"/>
                    <a:lumOff val="15000"/>
                  </a:prstClr>
                </a:solidFill>
                <a:effectLst/>
                <a:uLnTx/>
                <a:uFillTx/>
                <a:latin typeface="+mn-lt"/>
                <a:ea typeface="+mn-ea"/>
                <a:cs typeface="+mn-cs"/>
              </a:rPr>
              <a:t>presentationgo</a:t>
            </a: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com</a:t>
            </a:r>
          </a:p>
        </p:txBody>
      </p:sp>
      <p:sp>
        <p:nvSpPr>
          <p:cNvPr id="7" name="Rectangle 6"/>
          <p:cNvSpPr/>
          <p:nvPr userDrawn="1"/>
        </p:nvSpPr>
        <p:spPr>
          <a:xfrm>
            <a:off x="-12701" y="6959601"/>
            <a:ext cx="1661032" cy="261610"/>
          </a:xfrm>
          <a:prstGeom prst="rect">
            <a:avLst/>
          </a:prstGeom>
        </p:spPr>
        <p:txBody>
          <a:bodyPr wrap="none">
            <a:spAutoFit/>
          </a:bodyPr>
          <a:lstStyle/>
          <a:p>
            <a:r>
              <a:rPr lang="en-US" sz="1100" b="0" i="0" dirty="0">
                <a:solidFill>
                  <a:srgbClr val="555555"/>
                </a:solidFill>
                <a:effectLst/>
                <a:latin typeface="Open Sans" panose="020B0606030504020204" pitchFamily="34" charset="0"/>
              </a:rPr>
              <a:t>© </a:t>
            </a:r>
            <a:r>
              <a:rPr lang="en-US" sz="1100" b="0" i="0" u="none" strike="noStrike" dirty="0">
                <a:solidFill>
                  <a:srgbClr val="A5CD28"/>
                </a:solidFill>
                <a:effectLst/>
                <a:latin typeface="Open Sans" panose="020B0606030504020204" pitchFamily="34" charset="0"/>
                <a:hlinkClick r:id="rId3" tooltip="PresentationGo!"/>
              </a:rPr>
              <a:t>presentationgo.com</a:t>
            </a:r>
            <a:endParaRPr lang="en-US" sz="1100" dirty="0"/>
          </a:p>
        </p:txBody>
      </p:sp>
      <p:sp>
        <p:nvSpPr>
          <p:cNvPr id="13" name="Freeform 12"/>
          <p:cNvSpPr/>
          <p:nvPr userDrawn="1"/>
        </p:nvSpPr>
        <p:spPr>
          <a:xfrm rot="5400000">
            <a:off x="91178" y="173588"/>
            <a:ext cx="369496" cy="570902"/>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14" name="Group 13"/>
          <p:cNvGrpSpPr/>
          <p:nvPr userDrawn="1"/>
        </p:nvGrpSpPr>
        <p:grpSpPr>
          <a:xfrm>
            <a:off x="-1654908" y="-16654"/>
            <a:ext cx="1569183" cy="612144"/>
            <a:chOff x="-2096383" y="21447"/>
            <a:chExt cx="1569183" cy="612144"/>
          </a:xfrm>
        </p:grpSpPr>
        <p:sp>
          <p:nvSpPr>
            <p:cNvPr id="15" name="TextBox 14"/>
            <p:cNvSpPr txBox="1"/>
            <p:nvPr userDrawn="1"/>
          </p:nvSpPr>
          <p:spPr>
            <a:xfrm>
              <a:off x="-2096383" y="21447"/>
              <a:ext cx="365806"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4810"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3213853877"/>
      </p:ext>
    </p:extLst>
  </p:cSld>
  <p:clrMap bg1="lt1" tx1="dk1" bg2="lt2" tx2="dk2" accent1="accent1" accent2="accent2" accent3="accent3" accent4="accent4" accent5="accent5" accent6="accent6" hlink="hlink" folHlink="folHlink"/>
  <p:sldLayoutIdLst>
    <p:sldLayoutId id="2147483720" r:id="rId1"/>
  </p:sldLayoutIdLst>
  <p:txStyles>
    <p:title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4.png"/><Relationship Id="rId7" Type="http://schemas.openxmlformats.org/officeDocument/2006/relationships/image" Target="../media/image76.png"/><Relationship Id="rId12" Type="http://schemas.openxmlformats.org/officeDocument/2006/relationships/image" Target="../media/image7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84.svg"/><Relationship Id="rId11" Type="http://schemas.openxmlformats.org/officeDocument/2006/relationships/image" Target="../media/image26.png"/><Relationship Id="rId5" Type="http://schemas.openxmlformats.org/officeDocument/2006/relationships/image" Target="../media/image83.png"/><Relationship Id="rId10" Type="http://schemas.openxmlformats.org/officeDocument/2006/relationships/image" Target="../media/image81.svg"/><Relationship Id="rId4" Type="http://schemas.openxmlformats.org/officeDocument/2006/relationships/image" Target="../media/image75.svg"/><Relationship Id="rId9" Type="http://schemas.openxmlformats.org/officeDocument/2006/relationships/image" Target="../media/image8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sv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88.sv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s>
</file>

<file path=ppt/slides/_rels/slide14.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87.png"/><Relationship Id="rId18" Type="http://schemas.openxmlformats.org/officeDocument/2006/relationships/image" Target="../media/image106.svg"/><Relationship Id="rId3" Type="http://schemas.openxmlformats.org/officeDocument/2006/relationships/image" Target="../media/image91.png"/><Relationship Id="rId7" Type="http://schemas.openxmlformats.org/officeDocument/2006/relationships/image" Target="../media/image89.png"/><Relationship Id="rId12" Type="http://schemas.openxmlformats.org/officeDocument/2006/relationships/image" Target="../media/image101.svg"/><Relationship Id="rId17" Type="http://schemas.openxmlformats.org/officeDocument/2006/relationships/image" Target="../media/image105.png"/><Relationship Id="rId2" Type="http://schemas.openxmlformats.org/officeDocument/2006/relationships/notesSlide" Target="../notesSlides/notesSlide14.xml"/><Relationship Id="rId16" Type="http://schemas.openxmlformats.org/officeDocument/2006/relationships/image" Target="../media/image104.svg"/><Relationship Id="rId1" Type="http://schemas.openxmlformats.org/officeDocument/2006/relationships/slideLayout" Target="../slideLayouts/slideLayout59.xml"/><Relationship Id="rId6" Type="http://schemas.openxmlformats.org/officeDocument/2006/relationships/image" Target="../media/image96.svg"/><Relationship Id="rId11" Type="http://schemas.openxmlformats.org/officeDocument/2006/relationships/image" Target="../media/image100.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9.svg"/><Relationship Id="rId19" Type="http://schemas.openxmlformats.org/officeDocument/2006/relationships/image" Target="../media/image107.png"/><Relationship Id="rId4" Type="http://schemas.openxmlformats.org/officeDocument/2006/relationships/image" Target="../media/image95.svg"/><Relationship Id="rId9" Type="http://schemas.openxmlformats.org/officeDocument/2006/relationships/image" Target="../media/image98.png"/><Relationship Id="rId14" Type="http://schemas.openxmlformats.org/officeDocument/2006/relationships/image" Target="../media/image102.svg"/></Relationships>
</file>

<file path=ppt/slides/_rels/slide15.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93.png"/><Relationship Id="rId18" Type="http://schemas.openxmlformats.org/officeDocument/2006/relationships/image" Target="../media/image95.svg"/><Relationship Id="rId3" Type="http://schemas.openxmlformats.org/officeDocument/2006/relationships/image" Target="../media/image108.png"/><Relationship Id="rId21" Type="http://schemas.openxmlformats.org/officeDocument/2006/relationships/image" Target="../media/image116.png"/><Relationship Id="rId7" Type="http://schemas.openxmlformats.org/officeDocument/2006/relationships/image" Target="../media/image112.png"/><Relationship Id="rId12" Type="http://schemas.openxmlformats.org/officeDocument/2006/relationships/image" Target="../media/image115.svg"/><Relationship Id="rId17" Type="http://schemas.openxmlformats.org/officeDocument/2006/relationships/image" Target="../media/image91.png"/><Relationship Id="rId2" Type="http://schemas.openxmlformats.org/officeDocument/2006/relationships/notesSlide" Target="../notesSlides/notesSlide15.xml"/><Relationship Id="rId16" Type="http://schemas.openxmlformats.org/officeDocument/2006/relationships/image" Target="../media/image97.svg"/><Relationship Id="rId20" Type="http://schemas.openxmlformats.org/officeDocument/2006/relationships/image" Target="../media/image99.svg"/><Relationship Id="rId1" Type="http://schemas.openxmlformats.org/officeDocument/2006/relationships/slideLayout" Target="../slideLayouts/slideLayout13.xml"/><Relationship Id="rId6" Type="http://schemas.openxmlformats.org/officeDocument/2006/relationships/image" Target="../media/image111.svg"/><Relationship Id="rId11" Type="http://schemas.openxmlformats.org/officeDocument/2006/relationships/image" Target="../media/image114.png"/><Relationship Id="rId5" Type="http://schemas.openxmlformats.org/officeDocument/2006/relationships/image" Target="../media/image110.png"/><Relationship Id="rId15" Type="http://schemas.openxmlformats.org/officeDocument/2006/relationships/image" Target="../media/image89.png"/><Relationship Id="rId10" Type="http://schemas.openxmlformats.org/officeDocument/2006/relationships/image" Target="../media/image106.svg"/><Relationship Id="rId19" Type="http://schemas.openxmlformats.org/officeDocument/2006/relationships/image" Target="../media/image98.png"/><Relationship Id="rId4" Type="http://schemas.openxmlformats.org/officeDocument/2006/relationships/image" Target="../media/image109.svg"/><Relationship Id="rId9" Type="http://schemas.openxmlformats.org/officeDocument/2006/relationships/image" Target="../media/image105.png"/><Relationship Id="rId14" Type="http://schemas.openxmlformats.org/officeDocument/2006/relationships/image" Target="../media/image96.svg"/><Relationship Id="rId22" Type="http://schemas.openxmlformats.org/officeDocument/2006/relationships/image" Target="../media/image117.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svg"/><Relationship Id="rId9" Type="http://schemas.openxmlformats.org/officeDocument/2006/relationships/image" Target="../media/image107.png"/></Relationships>
</file>

<file path=ppt/slides/_rels/slide19.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image" Target="../media/image118.png"/><Relationship Id="rId7"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2.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s>
</file>

<file path=ppt/slides/_rels/slide20.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svg"/><Relationship Id="rId7" Type="http://schemas.openxmlformats.org/officeDocument/2006/relationships/image" Target="../media/image128.png"/><Relationship Id="rId2" Type="http://schemas.openxmlformats.org/officeDocument/2006/relationships/image" Target="../media/image123.png"/><Relationship Id="rId1" Type="http://schemas.openxmlformats.org/officeDocument/2006/relationships/slideLayout" Target="../slideLayouts/slideLayout16.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21.xml.rels><?xml version="1.0" encoding="UTF-8" standalone="yes"?>
<Relationships xmlns="http://schemas.openxmlformats.org/package/2006/relationships"><Relationship Id="rId8" Type="http://schemas.openxmlformats.org/officeDocument/2006/relationships/image" Target="../media/image135.emf"/><Relationship Id="rId13" Type="http://schemas.openxmlformats.org/officeDocument/2006/relationships/image" Target="../media/image140.svg"/><Relationship Id="rId3" Type="http://schemas.openxmlformats.org/officeDocument/2006/relationships/notesSlide" Target="../notesSlides/notesSlide20.xml"/><Relationship Id="rId7" Type="http://schemas.openxmlformats.org/officeDocument/2006/relationships/image" Target="../media/image134.emf"/><Relationship Id="rId12" Type="http://schemas.openxmlformats.org/officeDocument/2006/relationships/image" Target="../media/image139.png"/><Relationship Id="rId2" Type="http://schemas.openxmlformats.org/officeDocument/2006/relationships/slideLayout" Target="../slideLayouts/slideLayout28.xml"/><Relationship Id="rId1" Type="http://schemas.openxmlformats.org/officeDocument/2006/relationships/themeOverride" Target="../theme/themeOverride1.xml"/><Relationship Id="rId6" Type="http://schemas.openxmlformats.org/officeDocument/2006/relationships/image" Target="../media/image133.emf"/><Relationship Id="rId11" Type="http://schemas.openxmlformats.org/officeDocument/2006/relationships/image" Target="../media/image138.png"/><Relationship Id="rId5" Type="http://schemas.openxmlformats.org/officeDocument/2006/relationships/image" Target="../media/image132.emf"/><Relationship Id="rId10" Type="http://schemas.openxmlformats.org/officeDocument/2006/relationships/image" Target="../media/image137.png"/><Relationship Id="rId4" Type="http://schemas.openxmlformats.org/officeDocument/2006/relationships/image" Target="../media/image131.emf"/><Relationship Id="rId9" Type="http://schemas.openxmlformats.org/officeDocument/2006/relationships/image" Target="../media/image136.png"/></Relationships>
</file>

<file path=ppt/slides/_rels/slide22.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31.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30.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9.svg"/><Relationship Id="rId7" Type="http://schemas.openxmlformats.org/officeDocument/2006/relationships/image" Target="../media/image153.svg"/><Relationship Id="rId12" Type="http://schemas.openxmlformats.org/officeDocument/2006/relationships/image" Target="../media/image158.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152.png"/><Relationship Id="rId11" Type="http://schemas.openxmlformats.org/officeDocument/2006/relationships/image" Target="../media/image157.svg"/><Relationship Id="rId5" Type="http://schemas.openxmlformats.org/officeDocument/2006/relationships/image" Target="../media/image151.svg"/><Relationship Id="rId10" Type="http://schemas.openxmlformats.org/officeDocument/2006/relationships/image" Target="../media/image156.png"/><Relationship Id="rId4" Type="http://schemas.openxmlformats.org/officeDocument/2006/relationships/image" Target="../media/image150.png"/><Relationship Id="rId9" Type="http://schemas.openxmlformats.org/officeDocument/2006/relationships/image" Target="../media/image155.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79.png"/><Relationship Id="rId7" Type="http://schemas.openxmlformats.org/officeDocument/2006/relationships/image" Target="../media/image92.svg"/><Relationship Id="rId2" Type="http://schemas.openxmlformats.org/officeDocument/2006/relationships/notesSlide" Target="../notesSlides/notesSlide26.xml"/><Relationship Id="rId1" Type="http://schemas.openxmlformats.org/officeDocument/2006/relationships/slideLayout" Target="../slideLayouts/slideLayout59.xml"/><Relationship Id="rId6" Type="http://schemas.openxmlformats.org/officeDocument/2006/relationships/image" Target="../media/image91.png"/><Relationship Id="rId5" Type="http://schemas.openxmlformats.org/officeDocument/2006/relationships/image" Target="../media/image94.svg"/><Relationship Id="rId4" Type="http://schemas.openxmlformats.org/officeDocument/2006/relationships/image" Target="../media/image93.png"/><Relationship Id="rId9" Type="http://schemas.openxmlformats.org/officeDocument/2006/relationships/image" Target="../media/image90.svg"/></Relationships>
</file>

<file path=ppt/slides/_rels/slide34.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59.png"/><Relationship Id="rId7" Type="http://schemas.openxmlformats.org/officeDocument/2006/relationships/image" Target="../media/image123.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162.svg"/><Relationship Id="rId5" Type="http://schemas.openxmlformats.org/officeDocument/2006/relationships/image" Target="../media/image161.png"/><Relationship Id="rId4" Type="http://schemas.openxmlformats.org/officeDocument/2006/relationships/image" Target="../media/image160.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s/_rels/slide6.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6.xml"/><Relationship Id="rId16" Type="http://schemas.openxmlformats.org/officeDocument/2006/relationships/image" Target="../media/image63.svg"/><Relationship Id="rId1" Type="http://schemas.openxmlformats.org/officeDocument/2006/relationships/slideLayout" Target="../slideLayouts/slideLayout13.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s>
</file>

<file path=ppt/slides/_rels/slide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8.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4.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 Id="rId9" Type="http://schemas.openxmlformats.org/officeDocument/2006/relationships/image" Target="../media/image79.png"/></Relationships>
</file>

<file path=ppt/slides/_rels/slide9.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4.png"/><Relationship Id="rId7"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78.svg"/><Relationship Id="rId4" Type="http://schemas.openxmlformats.org/officeDocument/2006/relationships/image" Target="../media/image75.sv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A5718-3992-858B-6154-2EB6D4136E0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DEB3837-C170-9FC8-9E02-DC1A3276B75C}"/>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68" name="TextBox 33">
            <a:extLst>
              <a:ext uri="{FF2B5EF4-FFF2-40B4-BE49-F238E27FC236}">
                <a16:creationId xmlns:a16="http://schemas.microsoft.com/office/drawing/2014/main" id="{1AF52EEE-79A5-D474-5295-C4B2A08D328B}"/>
              </a:ext>
            </a:extLst>
          </p:cNvPr>
          <p:cNvSpPr txBox="1"/>
          <p:nvPr/>
        </p:nvSpPr>
        <p:spPr>
          <a:xfrm>
            <a:off x="305542" y="1705765"/>
            <a:ext cx="841459" cy="83024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4798" b="1">
                <a:solidFill>
                  <a:srgbClr val="747480"/>
                </a:solidFill>
              </a:rPr>
              <a:t>01</a:t>
            </a:r>
          </a:p>
        </p:txBody>
      </p:sp>
      <p:sp>
        <p:nvSpPr>
          <p:cNvPr id="69" name="TextBox 34">
            <a:extLst>
              <a:ext uri="{FF2B5EF4-FFF2-40B4-BE49-F238E27FC236}">
                <a16:creationId xmlns:a16="http://schemas.microsoft.com/office/drawing/2014/main" id="{F1E44633-16A5-F42F-6651-CD17333C3AC0}"/>
              </a:ext>
            </a:extLst>
          </p:cNvPr>
          <p:cNvSpPr txBox="1"/>
          <p:nvPr/>
        </p:nvSpPr>
        <p:spPr>
          <a:xfrm>
            <a:off x="305543" y="4681131"/>
            <a:ext cx="841459" cy="83024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4798" b="1">
                <a:solidFill>
                  <a:srgbClr val="747480"/>
                </a:solidFill>
              </a:rPr>
              <a:t>03</a:t>
            </a:r>
          </a:p>
        </p:txBody>
      </p:sp>
      <p:sp>
        <p:nvSpPr>
          <p:cNvPr id="70" name="Shape">
            <a:extLst>
              <a:ext uri="{FF2B5EF4-FFF2-40B4-BE49-F238E27FC236}">
                <a16:creationId xmlns:a16="http://schemas.microsoft.com/office/drawing/2014/main" id="{B0F14EAB-02AC-D282-7CA5-2B680487FE6C}"/>
              </a:ext>
            </a:extLst>
          </p:cNvPr>
          <p:cNvSpPr/>
          <p:nvPr/>
        </p:nvSpPr>
        <p:spPr>
          <a:xfrm>
            <a:off x="1195092" y="1357297"/>
            <a:ext cx="5108153" cy="4504301"/>
          </a:xfrm>
          <a:custGeom>
            <a:avLst/>
            <a:gdLst/>
            <a:ahLst/>
            <a:cxnLst>
              <a:cxn ang="0">
                <a:pos x="wd2" y="hd2"/>
              </a:cxn>
              <a:cxn ang="5400000">
                <a:pos x="wd2" y="hd2"/>
              </a:cxn>
              <a:cxn ang="10800000">
                <a:pos x="wd2" y="hd2"/>
              </a:cxn>
              <a:cxn ang="16200000">
                <a:pos x="wd2" y="hd2"/>
              </a:cxn>
            </a:cxnLst>
            <a:rect l="0" t="0" r="r" b="b"/>
            <a:pathLst>
              <a:path w="21600" h="21600" extrusionOk="0">
                <a:moveTo>
                  <a:pt x="21221" y="10526"/>
                </a:moveTo>
                <a:cubicBezTo>
                  <a:pt x="21051" y="10404"/>
                  <a:pt x="20928" y="10207"/>
                  <a:pt x="20884" y="9979"/>
                </a:cubicBezTo>
                <a:cubicBezTo>
                  <a:pt x="20553" y="8355"/>
                  <a:pt x="19269" y="7142"/>
                  <a:pt x="17740" y="7142"/>
                </a:cubicBezTo>
                <a:lnTo>
                  <a:pt x="3852" y="7130"/>
                </a:lnTo>
                <a:cubicBezTo>
                  <a:pt x="2164" y="7130"/>
                  <a:pt x="791" y="5573"/>
                  <a:pt x="791" y="3658"/>
                </a:cubicBezTo>
                <a:cubicBezTo>
                  <a:pt x="791" y="1742"/>
                  <a:pt x="2164" y="185"/>
                  <a:pt x="3852" y="185"/>
                </a:cubicBezTo>
                <a:lnTo>
                  <a:pt x="3852" y="0"/>
                </a:lnTo>
                <a:cubicBezTo>
                  <a:pt x="2323" y="0"/>
                  <a:pt x="1035" y="1216"/>
                  <a:pt x="709" y="2841"/>
                </a:cubicBezTo>
                <a:cubicBezTo>
                  <a:pt x="664" y="3068"/>
                  <a:pt x="542" y="3262"/>
                  <a:pt x="371" y="3388"/>
                </a:cubicBezTo>
                <a:lnTo>
                  <a:pt x="0" y="3658"/>
                </a:lnTo>
                <a:lnTo>
                  <a:pt x="371" y="3927"/>
                </a:lnTo>
                <a:cubicBezTo>
                  <a:pt x="542" y="4053"/>
                  <a:pt x="664" y="4247"/>
                  <a:pt x="709" y="4474"/>
                </a:cubicBezTo>
                <a:cubicBezTo>
                  <a:pt x="1035" y="6099"/>
                  <a:pt x="2320" y="7315"/>
                  <a:pt x="3852" y="7315"/>
                </a:cubicBezTo>
                <a:lnTo>
                  <a:pt x="17740" y="7328"/>
                </a:lnTo>
                <a:cubicBezTo>
                  <a:pt x="19429" y="7328"/>
                  <a:pt x="20802" y="8885"/>
                  <a:pt x="20802" y="10800"/>
                </a:cubicBezTo>
                <a:cubicBezTo>
                  <a:pt x="20802" y="12715"/>
                  <a:pt x="19429" y="14272"/>
                  <a:pt x="17740" y="14272"/>
                </a:cubicBezTo>
                <a:lnTo>
                  <a:pt x="3856" y="14285"/>
                </a:lnTo>
                <a:cubicBezTo>
                  <a:pt x="2327" y="14285"/>
                  <a:pt x="1039" y="15501"/>
                  <a:pt x="713" y="17126"/>
                </a:cubicBezTo>
                <a:cubicBezTo>
                  <a:pt x="668" y="17353"/>
                  <a:pt x="546" y="17547"/>
                  <a:pt x="375" y="17673"/>
                </a:cubicBezTo>
                <a:lnTo>
                  <a:pt x="4" y="17942"/>
                </a:lnTo>
                <a:lnTo>
                  <a:pt x="375" y="18212"/>
                </a:lnTo>
                <a:cubicBezTo>
                  <a:pt x="546" y="18338"/>
                  <a:pt x="668" y="18532"/>
                  <a:pt x="713" y="18759"/>
                </a:cubicBezTo>
                <a:cubicBezTo>
                  <a:pt x="1039" y="20384"/>
                  <a:pt x="2323" y="21600"/>
                  <a:pt x="3856" y="21600"/>
                </a:cubicBezTo>
                <a:lnTo>
                  <a:pt x="3856" y="21415"/>
                </a:lnTo>
                <a:cubicBezTo>
                  <a:pt x="2167" y="21415"/>
                  <a:pt x="794" y="19858"/>
                  <a:pt x="794" y="17942"/>
                </a:cubicBezTo>
                <a:cubicBezTo>
                  <a:pt x="794" y="16027"/>
                  <a:pt x="2167" y="14470"/>
                  <a:pt x="3856" y="14470"/>
                </a:cubicBezTo>
                <a:lnTo>
                  <a:pt x="17740" y="14458"/>
                </a:lnTo>
                <a:cubicBezTo>
                  <a:pt x="19269" y="14458"/>
                  <a:pt x="20553" y="13245"/>
                  <a:pt x="20884" y="11621"/>
                </a:cubicBezTo>
                <a:cubicBezTo>
                  <a:pt x="20928" y="11398"/>
                  <a:pt x="21051" y="11200"/>
                  <a:pt x="21221" y="11074"/>
                </a:cubicBezTo>
                <a:lnTo>
                  <a:pt x="21600" y="10800"/>
                </a:lnTo>
                <a:lnTo>
                  <a:pt x="21221" y="10526"/>
                </a:lnTo>
                <a:close/>
              </a:path>
            </a:pathLst>
          </a:custGeom>
          <a:solidFill>
            <a:srgbClr val="747480"/>
          </a:solidFill>
          <a:ln w="12700">
            <a:miter lim="400000"/>
          </a:ln>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lang="en-GB" sz="2799">
              <a:solidFill>
                <a:srgbClr val="747480"/>
              </a:solidFill>
            </a:endParaRPr>
          </a:p>
        </p:txBody>
      </p:sp>
      <p:grpSp>
        <p:nvGrpSpPr>
          <p:cNvPr id="71" name="Group 70">
            <a:extLst>
              <a:ext uri="{FF2B5EF4-FFF2-40B4-BE49-F238E27FC236}">
                <a16:creationId xmlns:a16="http://schemas.microsoft.com/office/drawing/2014/main" id="{7A4137EA-4B41-3470-C7C7-89A1594D2209}"/>
              </a:ext>
            </a:extLst>
          </p:cNvPr>
          <p:cNvGrpSpPr/>
          <p:nvPr/>
        </p:nvGrpSpPr>
        <p:grpSpPr>
          <a:xfrm>
            <a:off x="1563283" y="4552086"/>
            <a:ext cx="4372208" cy="1088336"/>
            <a:chOff x="2384975" y="4690556"/>
            <a:chExt cx="4374485" cy="1088903"/>
          </a:xfrm>
        </p:grpSpPr>
        <p:sp>
          <p:nvSpPr>
            <p:cNvPr id="72" name="Shape">
              <a:extLst>
                <a:ext uri="{FF2B5EF4-FFF2-40B4-BE49-F238E27FC236}">
                  <a16:creationId xmlns:a16="http://schemas.microsoft.com/office/drawing/2014/main" id="{AB7B8A53-444F-9E13-FFCF-8FFC46065652}"/>
                </a:ext>
              </a:extLst>
            </p:cNvPr>
            <p:cNvSpPr/>
            <p:nvPr/>
          </p:nvSpPr>
          <p:spPr>
            <a:xfrm>
              <a:off x="2385413" y="4690556"/>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43"/>
                    <a:pt x="1201" y="0"/>
                    <a:pt x="2689" y="0"/>
                  </a:cubicBezTo>
                  <a:lnTo>
                    <a:pt x="18911" y="0"/>
                  </a:lnTo>
                  <a:cubicBezTo>
                    <a:pt x="20394" y="0"/>
                    <a:pt x="21600" y="4825"/>
                    <a:pt x="21600" y="10800"/>
                  </a:cubicBezTo>
                  <a:lnTo>
                    <a:pt x="21600" y="10800"/>
                  </a:lnTo>
                  <a:cubicBezTo>
                    <a:pt x="21600" y="16757"/>
                    <a:pt x="20399" y="21600"/>
                    <a:pt x="18911" y="21600"/>
                  </a:cubicBezTo>
                  <a:lnTo>
                    <a:pt x="2684" y="21600"/>
                  </a:lnTo>
                  <a:cubicBezTo>
                    <a:pt x="1201" y="21600"/>
                    <a:pt x="0" y="16775"/>
                    <a:pt x="0" y="10800"/>
                  </a:cubicBezTo>
                  <a:close/>
                </a:path>
              </a:pathLst>
            </a:custGeom>
            <a:solidFill>
              <a:schemeClr val="bg1">
                <a:lumMod val="95000"/>
              </a:schemeClr>
            </a:solidFill>
            <a:ln w="12700">
              <a:miter lim="400000"/>
            </a:ln>
            <a:effectLst>
              <a:outerShdw blurRad="254000" dist="190500" dir="13500000" algn="tl" rotWithShape="0">
                <a:schemeClr val="bg1"/>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sp>
          <p:nvSpPr>
            <p:cNvPr id="73" name="Shape">
              <a:extLst>
                <a:ext uri="{FF2B5EF4-FFF2-40B4-BE49-F238E27FC236}">
                  <a16:creationId xmlns:a16="http://schemas.microsoft.com/office/drawing/2014/main" id="{FFFFC0FD-DE12-1290-1B95-29850BE9A793}"/>
                </a:ext>
              </a:extLst>
            </p:cNvPr>
            <p:cNvSpPr/>
            <p:nvPr/>
          </p:nvSpPr>
          <p:spPr>
            <a:xfrm>
              <a:off x="2384975" y="4690556"/>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43"/>
                    <a:pt x="1201" y="0"/>
                    <a:pt x="2689" y="0"/>
                  </a:cubicBezTo>
                  <a:lnTo>
                    <a:pt x="18911" y="0"/>
                  </a:lnTo>
                  <a:cubicBezTo>
                    <a:pt x="20394" y="0"/>
                    <a:pt x="21600" y="4825"/>
                    <a:pt x="21600" y="10800"/>
                  </a:cubicBezTo>
                  <a:lnTo>
                    <a:pt x="21600" y="10800"/>
                  </a:lnTo>
                  <a:cubicBezTo>
                    <a:pt x="21600" y="16757"/>
                    <a:pt x="20399" y="21600"/>
                    <a:pt x="18911" y="21600"/>
                  </a:cubicBezTo>
                  <a:lnTo>
                    <a:pt x="2684" y="21600"/>
                  </a:lnTo>
                  <a:cubicBezTo>
                    <a:pt x="1201" y="21600"/>
                    <a:pt x="0" y="16775"/>
                    <a:pt x="0" y="10800"/>
                  </a:cubicBezTo>
                  <a:close/>
                </a:path>
              </a:pathLst>
            </a:custGeom>
            <a:solidFill>
              <a:srgbClr val="FFE600"/>
            </a:solidFill>
            <a:ln w="12700">
              <a:miter lim="400000"/>
            </a:ln>
            <a:effectLst>
              <a:outerShdw blurRad="254000" dist="190500" dir="2700000" algn="tl" rotWithShape="0">
                <a:schemeClr val="bg1">
                  <a:lumMod val="75000"/>
                  <a:alpha val="40000"/>
                </a:schemeClr>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grpSp>
          <p:nvGrpSpPr>
            <p:cNvPr id="74" name="Group 73">
              <a:extLst>
                <a:ext uri="{FF2B5EF4-FFF2-40B4-BE49-F238E27FC236}">
                  <a16:creationId xmlns:a16="http://schemas.microsoft.com/office/drawing/2014/main" id="{2050F8CA-DB9C-A823-89CA-AEF6B1B75E4E}"/>
                </a:ext>
              </a:extLst>
            </p:cNvPr>
            <p:cNvGrpSpPr>
              <a:grpSpLocks noChangeAspect="1"/>
            </p:cNvGrpSpPr>
            <p:nvPr/>
          </p:nvGrpSpPr>
          <p:grpSpPr>
            <a:xfrm>
              <a:off x="5862583" y="4836069"/>
              <a:ext cx="810201" cy="797875"/>
              <a:chOff x="239720" y="3921854"/>
              <a:chExt cx="1624124" cy="1598311"/>
            </a:xfrm>
          </p:grpSpPr>
          <p:sp>
            <p:nvSpPr>
              <p:cNvPr id="79" name="Oval 78">
                <a:extLst>
                  <a:ext uri="{FF2B5EF4-FFF2-40B4-BE49-F238E27FC236}">
                    <a16:creationId xmlns:a16="http://schemas.microsoft.com/office/drawing/2014/main" id="{2B7489C4-C5A6-4ECA-06B8-5AB401068443}"/>
                  </a:ext>
                </a:extLst>
              </p:cNvPr>
              <p:cNvSpPr/>
              <p:nvPr/>
            </p:nvSpPr>
            <p:spPr>
              <a:xfrm>
                <a:off x="265533" y="3921854"/>
                <a:ext cx="1598311" cy="1598311"/>
              </a:xfrm>
              <a:prstGeom prst="ellipse">
                <a:avLst/>
              </a:prstGeom>
              <a:gradFill>
                <a:gsLst>
                  <a:gs pos="50000">
                    <a:schemeClr val="bg1">
                      <a:lumMod val="95000"/>
                    </a:schemeClr>
                  </a:gs>
                  <a:gs pos="100000">
                    <a:schemeClr val="bg1">
                      <a:lumMod val="0"/>
                      <a:lumOff val="100000"/>
                    </a:schemeClr>
                  </a:gs>
                </a:gsLst>
                <a:lin ang="2700000" scaled="0"/>
              </a:gradFill>
              <a:ln>
                <a:noFill/>
              </a:ln>
              <a:effectLst>
                <a:innerShdw blurRad="254000" dist="190500" dir="13500000">
                  <a:schemeClr val="bg1">
                    <a:lumMod val="75000"/>
                    <a:alpha val="40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99"/>
              </a:p>
            </p:txBody>
          </p:sp>
          <p:sp>
            <p:nvSpPr>
              <p:cNvPr id="80" name="Freeform: Shape 79">
                <a:extLst>
                  <a:ext uri="{FF2B5EF4-FFF2-40B4-BE49-F238E27FC236}">
                    <a16:creationId xmlns:a16="http://schemas.microsoft.com/office/drawing/2014/main" id="{93633BBA-9761-E623-A55B-EB9675AC5938}"/>
                  </a:ext>
                </a:extLst>
              </p:cNvPr>
              <p:cNvSpPr/>
              <p:nvPr/>
            </p:nvSpPr>
            <p:spPr>
              <a:xfrm>
                <a:off x="239720" y="4205528"/>
                <a:ext cx="1461652" cy="1313176"/>
              </a:xfrm>
              <a:custGeom>
                <a:avLst/>
                <a:gdLst>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605949 w 1461652"/>
                  <a:gd name="connsiteY7" fmla="*/ 1243326 h 1313176"/>
                  <a:gd name="connsiteX8" fmla="*/ 1404502 w 1461652"/>
                  <a:gd name="connsiteY8" fmla="*/ 444773 h 1313176"/>
                  <a:gd name="connsiteX9" fmla="*/ 1341748 w 1461652"/>
                  <a:gd name="connsiteY9" fmla="*/ 13394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404502 w 1461652"/>
                  <a:gd name="connsiteY7" fmla="*/ 444773 h 1313176"/>
                  <a:gd name="connsiteX8" fmla="*/ 1341748 w 1461652"/>
                  <a:gd name="connsiteY8" fmla="*/ 133940 h 1313176"/>
                  <a:gd name="connsiteX9" fmla="*/ 1269048 w 1461652"/>
                  <a:gd name="connsiteY9"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341748 w 1461652"/>
                  <a:gd name="connsiteY7" fmla="*/ 133940 h 1313176"/>
                  <a:gd name="connsiteX8" fmla="*/ 1269048 w 1461652"/>
                  <a:gd name="connsiteY8"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269048 w 1461652"/>
                  <a:gd name="connsiteY7"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1269048 w 1461652"/>
                  <a:gd name="connsiteY6" fmla="*/ 0 h 13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652" h="1313176">
                    <a:moveTo>
                      <a:pt x="1269048" y="0"/>
                    </a:moveTo>
                    <a:lnTo>
                      <a:pt x="1325272" y="68145"/>
                    </a:lnTo>
                    <a:cubicBezTo>
                      <a:pt x="1411375" y="195594"/>
                      <a:pt x="1461652" y="349237"/>
                      <a:pt x="1461652" y="514623"/>
                    </a:cubicBezTo>
                    <a:cubicBezTo>
                      <a:pt x="1461652" y="955652"/>
                      <a:pt x="1104128" y="1313176"/>
                      <a:pt x="663099" y="1313176"/>
                    </a:cubicBezTo>
                    <a:cubicBezTo>
                      <a:pt x="387456" y="1313176"/>
                      <a:pt x="144432" y="1173518"/>
                      <a:pt x="926" y="961102"/>
                    </a:cubicBezTo>
                    <a:lnTo>
                      <a:pt x="0" y="959396"/>
                    </a:lnTo>
                    <a:lnTo>
                      <a:pt x="1269048" y="0"/>
                    </a:lnTo>
                    <a:close/>
                  </a:path>
                </a:pathLst>
              </a:custGeom>
              <a:gradFill flip="none" rotWithShape="1">
                <a:gsLst>
                  <a:gs pos="68000">
                    <a:schemeClr val="bg1">
                      <a:alpha val="0"/>
                    </a:schemeClr>
                  </a:gs>
                  <a:gs pos="100000">
                    <a:schemeClr val="bg1"/>
                  </a:gs>
                </a:gsLst>
                <a:path path="circle">
                  <a:fillToRect r="100000" b="100000"/>
                </a:path>
                <a:tileRect l="-100000" t="-10000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599"/>
              </a:p>
            </p:txBody>
          </p:sp>
        </p:grpSp>
        <p:grpSp>
          <p:nvGrpSpPr>
            <p:cNvPr id="76" name="Group 75">
              <a:extLst>
                <a:ext uri="{FF2B5EF4-FFF2-40B4-BE49-F238E27FC236}">
                  <a16:creationId xmlns:a16="http://schemas.microsoft.com/office/drawing/2014/main" id="{6F2F1B41-8689-20F7-F5AF-86B90C86994C}"/>
                </a:ext>
              </a:extLst>
            </p:cNvPr>
            <p:cNvGrpSpPr/>
            <p:nvPr/>
          </p:nvGrpSpPr>
          <p:grpSpPr>
            <a:xfrm>
              <a:off x="2543809" y="4708807"/>
              <a:ext cx="3505996" cy="883758"/>
              <a:chOff x="211127" y="4256251"/>
              <a:chExt cx="2497096" cy="952057"/>
            </a:xfrm>
          </p:grpSpPr>
          <p:sp>
            <p:nvSpPr>
              <p:cNvPr id="77" name="TextBox 19">
                <a:extLst>
                  <a:ext uri="{FF2B5EF4-FFF2-40B4-BE49-F238E27FC236}">
                    <a16:creationId xmlns:a16="http://schemas.microsoft.com/office/drawing/2014/main" id="{2CA2DCB0-2990-5C05-F284-2B468142CD00}"/>
                  </a:ext>
                </a:extLst>
              </p:cNvPr>
              <p:cNvSpPr txBox="1"/>
              <p:nvPr/>
            </p:nvSpPr>
            <p:spPr>
              <a:xfrm>
                <a:off x="393577" y="4256251"/>
                <a:ext cx="2314646" cy="29840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buClr>
                    <a:srgbClr val="000000"/>
                  </a:buClr>
                  <a:buSzPct val="100000"/>
                  <a:defRPr/>
                </a:pPr>
                <a:r>
                  <a:rPr lang="en-GB" sz="1199" b="1" kern="0">
                    <a:solidFill>
                      <a:srgbClr val="000000"/>
                    </a:solidFill>
                  </a:rPr>
                  <a:t>Operational Readiness &amp; Compliance</a:t>
                </a:r>
              </a:p>
            </p:txBody>
          </p:sp>
          <p:sp>
            <p:nvSpPr>
              <p:cNvPr id="78" name="Rectangle 77">
                <a:extLst>
                  <a:ext uri="{FF2B5EF4-FFF2-40B4-BE49-F238E27FC236}">
                    <a16:creationId xmlns:a16="http://schemas.microsoft.com/office/drawing/2014/main" id="{463A9098-2D7A-B900-B701-FEB7C3BC4DE4}"/>
                  </a:ext>
                </a:extLst>
              </p:cNvPr>
              <p:cNvSpPr/>
              <p:nvPr/>
            </p:nvSpPr>
            <p:spPr>
              <a:xfrm>
                <a:off x="211127" y="4536894"/>
                <a:ext cx="2405145" cy="671414"/>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100"/>
                  </a:spcBef>
                  <a:buFont typeface="Arial" panose="020B0604020202020204" pitchFamily="34" charset="0"/>
                  <a:buChar char="•"/>
                </a:pPr>
                <a:r>
                  <a:rPr lang="en-GB" sz="800"/>
                  <a:t>Setup collaboration &amp; reporting tools</a:t>
                </a:r>
              </a:p>
              <a:p>
                <a:pPr marL="171364" indent="-171364">
                  <a:spcBef>
                    <a:spcPts val="100"/>
                  </a:spcBef>
                  <a:buFont typeface="Arial" panose="020B0604020202020204" pitchFamily="34" charset="0"/>
                  <a:buChar char="•"/>
                </a:pPr>
                <a:r>
                  <a:rPr lang="en-GB" sz="800"/>
                  <a:t>Conduct compliance workshops (NCA, ISO/IEC 27001, NWC policies)</a:t>
                </a:r>
              </a:p>
              <a:p>
                <a:pPr marL="171364" indent="-171364">
                  <a:spcBef>
                    <a:spcPts val="100"/>
                  </a:spcBef>
                  <a:buFont typeface="Arial" panose="020B0604020202020204" pitchFamily="34" charset="0"/>
                  <a:buChar char="•"/>
                </a:pPr>
                <a:r>
                  <a:rPr lang="en-GB" sz="800"/>
                  <a:t>Risk identification, dependencies &amp; mitigation</a:t>
                </a:r>
              </a:p>
              <a:p>
                <a:pPr marL="171364" indent="-171364">
                  <a:spcBef>
                    <a:spcPts val="100"/>
                  </a:spcBef>
                  <a:buFont typeface="Arial" panose="020B0604020202020204" pitchFamily="34" charset="0"/>
                  <a:buChar char="•"/>
                </a:pPr>
                <a:r>
                  <a:rPr lang="en-GB" sz="800"/>
                  <a:t>Onboard 100% </a:t>
                </a:r>
                <a:r>
                  <a:rPr lang="en-GB" sz="800" err="1"/>
                  <a:t>Saudized</a:t>
                </a:r>
                <a:r>
                  <a:rPr lang="en-GB" sz="800"/>
                  <a:t> team: Leads, L2/L3 Engineers, remote support</a:t>
                </a:r>
              </a:p>
            </p:txBody>
          </p:sp>
        </p:grpSp>
      </p:grpSp>
      <p:sp>
        <p:nvSpPr>
          <p:cNvPr id="81" name="TextBox 35">
            <a:extLst>
              <a:ext uri="{FF2B5EF4-FFF2-40B4-BE49-F238E27FC236}">
                <a16:creationId xmlns:a16="http://schemas.microsoft.com/office/drawing/2014/main" id="{A2E0594E-B685-C16F-71AF-8CCDAC50F9DF}"/>
              </a:ext>
            </a:extLst>
          </p:cNvPr>
          <p:cNvSpPr txBox="1"/>
          <p:nvPr/>
        </p:nvSpPr>
        <p:spPr>
          <a:xfrm>
            <a:off x="6351337" y="3189058"/>
            <a:ext cx="841459" cy="83024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4798" b="1">
                <a:solidFill>
                  <a:srgbClr val="747480"/>
                </a:solidFill>
              </a:rPr>
              <a:t>02</a:t>
            </a:r>
          </a:p>
        </p:txBody>
      </p:sp>
      <p:grpSp>
        <p:nvGrpSpPr>
          <p:cNvPr id="82" name="Group 81">
            <a:extLst>
              <a:ext uri="{FF2B5EF4-FFF2-40B4-BE49-F238E27FC236}">
                <a16:creationId xmlns:a16="http://schemas.microsoft.com/office/drawing/2014/main" id="{E64C2049-A161-CA33-2C08-EFEE1090B8EE}"/>
              </a:ext>
            </a:extLst>
          </p:cNvPr>
          <p:cNvGrpSpPr/>
          <p:nvPr/>
        </p:nvGrpSpPr>
        <p:grpSpPr>
          <a:xfrm>
            <a:off x="1563283" y="3060013"/>
            <a:ext cx="5027851" cy="1088336"/>
            <a:chOff x="2384975" y="3197706"/>
            <a:chExt cx="5030470" cy="1088903"/>
          </a:xfrm>
        </p:grpSpPr>
        <p:sp>
          <p:nvSpPr>
            <p:cNvPr id="83" name="Shape">
              <a:extLst>
                <a:ext uri="{FF2B5EF4-FFF2-40B4-BE49-F238E27FC236}">
                  <a16:creationId xmlns:a16="http://schemas.microsoft.com/office/drawing/2014/main" id="{7625A008-3C6A-BB92-12C3-F173BEBEC1D0}"/>
                </a:ext>
              </a:extLst>
            </p:cNvPr>
            <p:cNvSpPr/>
            <p:nvPr/>
          </p:nvSpPr>
          <p:spPr>
            <a:xfrm>
              <a:off x="2384975" y="3197706"/>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lnTo>
                    <a:pt x="21600" y="10800"/>
                  </a:lnTo>
                  <a:cubicBezTo>
                    <a:pt x="21600" y="16757"/>
                    <a:pt x="20399" y="21600"/>
                    <a:pt x="18911" y="21600"/>
                  </a:cubicBezTo>
                  <a:lnTo>
                    <a:pt x="2689" y="21600"/>
                  </a:lnTo>
                  <a:cubicBezTo>
                    <a:pt x="1206" y="21600"/>
                    <a:pt x="0" y="16775"/>
                    <a:pt x="0" y="10800"/>
                  </a:cubicBezTo>
                  <a:lnTo>
                    <a:pt x="0" y="10800"/>
                  </a:lnTo>
                  <a:cubicBezTo>
                    <a:pt x="0" y="4843"/>
                    <a:pt x="1201" y="0"/>
                    <a:pt x="2689" y="0"/>
                  </a:cubicBezTo>
                  <a:lnTo>
                    <a:pt x="18911" y="0"/>
                  </a:lnTo>
                  <a:cubicBezTo>
                    <a:pt x="20399" y="0"/>
                    <a:pt x="21600" y="4825"/>
                    <a:pt x="21600" y="10800"/>
                  </a:cubicBezTo>
                  <a:close/>
                </a:path>
              </a:pathLst>
            </a:custGeom>
            <a:solidFill>
              <a:schemeClr val="bg1">
                <a:lumMod val="95000"/>
              </a:schemeClr>
            </a:solidFill>
            <a:ln w="12700">
              <a:miter lim="400000"/>
            </a:ln>
            <a:effectLst>
              <a:outerShdw blurRad="254000" dist="190500" dir="13500000" algn="tl" rotWithShape="0">
                <a:schemeClr val="bg1"/>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sp>
          <p:nvSpPr>
            <p:cNvPr id="84" name="Shape">
              <a:extLst>
                <a:ext uri="{FF2B5EF4-FFF2-40B4-BE49-F238E27FC236}">
                  <a16:creationId xmlns:a16="http://schemas.microsoft.com/office/drawing/2014/main" id="{B8380C7D-DDCE-9AF5-9259-8F61971BB4DE}"/>
                </a:ext>
              </a:extLst>
            </p:cNvPr>
            <p:cNvSpPr/>
            <p:nvPr/>
          </p:nvSpPr>
          <p:spPr>
            <a:xfrm>
              <a:off x="2384975" y="3197706"/>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lnTo>
                    <a:pt x="21600" y="10800"/>
                  </a:lnTo>
                  <a:cubicBezTo>
                    <a:pt x="21600" y="16757"/>
                    <a:pt x="20399" y="21600"/>
                    <a:pt x="18911" y="21600"/>
                  </a:cubicBezTo>
                  <a:lnTo>
                    <a:pt x="2689" y="21600"/>
                  </a:lnTo>
                  <a:cubicBezTo>
                    <a:pt x="1206" y="21600"/>
                    <a:pt x="0" y="16775"/>
                    <a:pt x="0" y="10800"/>
                  </a:cubicBezTo>
                  <a:lnTo>
                    <a:pt x="0" y="10800"/>
                  </a:lnTo>
                  <a:cubicBezTo>
                    <a:pt x="0" y="4843"/>
                    <a:pt x="1201" y="0"/>
                    <a:pt x="2689" y="0"/>
                  </a:cubicBezTo>
                  <a:lnTo>
                    <a:pt x="18911" y="0"/>
                  </a:lnTo>
                  <a:cubicBezTo>
                    <a:pt x="20399" y="0"/>
                    <a:pt x="21600" y="4825"/>
                    <a:pt x="21600" y="10800"/>
                  </a:cubicBezTo>
                  <a:close/>
                </a:path>
              </a:pathLst>
            </a:custGeom>
            <a:solidFill>
              <a:srgbClr val="C4C4CD"/>
            </a:solidFill>
            <a:ln w="12700">
              <a:miter lim="400000"/>
            </a:ln>
            <a:effectLst>
              <a:outerShdw blurRad="254000" dist="190500" dir="2700000" algn="tl" rotWithShape="0">
                <a:schemeClr val="bg1">
                  <a:lumMod val="75000"/>
                  <a:alpha val="40000"/>
                </a:schemeClr>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sp>
          <p:nvSpPr>
            <p:cNvPr id="85" name="Oval 84">
              <a:extLst>
                <a:ext uri="{FF2B5EF4-FFF2-40B4-BE49-F238E27FC236}">
                  <a16:creationId xmlns:a16="http://schemas.microsoft.com/office/drawing/2014/main" id="{20A8557A-8B15-E5D3-0417-C0CEBD8FC2DA}"/>
                </a:ext>
              </a:extLst>
            </p:cNvPr>
            <p:cNvSpPr>
              <a:spLocks noChangeAspect="1"/>
            </p:cNvSpPr>
            <p:nvPr/>
          </p:nvSpPr>
          <p:spPr>
            <a:xfrm>
              <a:off x="2481981" y="3338309"/>
              <a:ext cx="797875" cy="797875"/>
            </a:xfrm>
            <a:prstGeom prst="ellipse">
              <a:avLst/>
            </a:prstGeom>
            <a:gradFill>
              <a:gsLst>
                <a:gs pos="50000">
                  <a:schemeClr val="accent2"/>
                </a:gs>
                <a:gs pos="100000">
                  <a:schemeClr val="accent2">
                    <a:lumMod val="20000"/>
                    <a:lumOff val="80000"/>
                  </a:schemeClr>
                </a:gs>
              </a:gsLst>
              <a:lin ang="2700000" scaled="0"/>
            </a:gradFill>
            <a:ln w="12700">
              <a:miter lim="400000"/>
            </a:ln>
            <a:effectLst>
              <a:innerShdw blurRad="254000" dist="190500" dir="13500000">
                <a:schemeClr val="accent2">
                  <a:lumMod val="50000"/>
                  <a:alpha val="40000"/>
                </a:schemeClr>
              </a:innerShdw>
            </a:effectLst>
          </p:spPr>
          <p:txBody>
            <a:bodyPr lIns="28560" tIns="28560" rIns="28560" bIns="28560" anchor="ctr"/>
            <a:lstStyle/>
            <a:p>
              <a:endParaRPr lang="en-GB" sz="2799">
                <a:solidFill>
                  <a:srgbClr val="FFFFFF"/>
                </a:solidFill>
              </a:endParaRPr>
            </a:p>
          </p:txBody>
        </p:sp>
        <p:grpSp>
          <p:nvGrpSpPr>
            <p:cNvPr id="87" name="Group 86">
              <a:extLst>
                <a:ext uri="{FF2B5EF4-FFF2-40B4-BE49-F238E27FC236}">
                  <a16:creationId xmlns:a16="http://schemas.microsoft.com/office/drawing/2014/main" id="{BE644BDF-836B-CDB5-9C27-C54B44BC7464}"/>
                </a:ext>
              </a:extLst>
            </p:cNvPr>
            <p:cNvGrpSpPr/>
            <p:nvPr/>
          </p:nvGrpSpPr>
          <p:grpSpPr>
            <a:xfrm>
              <a:off x="3464048" y="3254596"/>
              <a:ext cx="3951397" cy="941375"/>
              <a:chOff x="237077" y="4297865"/>
              <a:chExt cx="2814327" cy="1014124"/>
            </a:xfrm>
          </p:grpSpPr>
          <p:sp>
            <p:nvSpPr>
              <p:cNvPr id="88" name="TextBox 13">
                <a:extLst>
                  <a:ext uri="{FF2B5EF4-FFF2-40B4-BE49-F238E27FC236}">
                    <a16:creationId xmlns:a16="http://schemas.microsoft.com/office/drawing/2014/main" id="{242EF704-0F02-1546-8D43-923E29E58017}"/>
                  </a:ext>
                </a:extLst>
              </p:cNvPr>
              <p:cNvSpPr txBox="1"/>
              <p:nvPr/>
            </p:nvSpPr>
            <p:spPr>
              <a:xfrm>
                <a:off x="237077" y="4297865"/>
                <a:ext cx="2088993" cy="29840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buClr>
                    <a:srgbClr val="000000"/>
                  </a:buClr>
                  <a:buSzPct val="100000"/>
                  <a:defRPr/>
                </a:pPr>
                <a:r>
                  <a:rPr lang="en-GB" sz="1199" b="1" kern="0">
                    <a:solidFill>
                      <a:srgbClr val="000000"/>
                    </a:solidFill>
                  </a:rPr>
                  <a:t>Devise the Managed Services Framework</a:t>
                </a:r>
              </a:p>
            </p:txBody>
          </p:sp>
          <p:sp>
            <p:nvSpPr>
              <p:cNvPr id="89" name="Rectangle 88">
                <a:extLst>
                  <a:ext uri="{FF2B5EF4-FFF2-40B4-BE49-F238E27FC236}">
                    <a16:creationId xmlns:a16="http://schemas.microsoft.com/office/drawing/2014/main" id="{8A6AD60B-49F1-D367-EC47-410FF713308A}"/>
                  </a:ext>
                </a:extLst>
              </p:cNvPr>
              <p:cNvSpPr/>
              <p:nvPr/>
            </p:nvSpPr>
            <p:spPr>
              <a:xfrm>
                <a:off x="262578" y="4599131"/>
                <a:ext cx="2788826" cy="712858"/>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200"/>
                  </a:spcBef>
                  <a:buFont typeface="Arial" panose="020B0604020202020204" pitchFamily="34" charset="0"/>
                  <a:buChar char="•"/>
                </a:pPr>
                <a:r>
                  <a:rPr lang="en-GB" sz="800"/>
                  <a:t>Define service scope, SLAs &amp; KPIs (incl. high-demand periods)</a:t>
                </a:r>
              </a:p>
              <a:p>
                <a:pPr marL="171364" indent="-171364">
                  <a:spcBef>
                    <a:spcPts val="200"/>
                  </a:spcBef>
                  <a:buFont typeface="Arial" panose="020B0604020202020204" pitchFamily="34" charset="0"/>
                  <a:buChar char="•"/>
                </a:pPr>
                <a:r>
                  <a:rPr lang="en-GB" sz="800"/>
                  <a:t>RACI matrix, escalation &amp; severity classification</a:t>
                </a:r>
              </a:p>
              <a:p>
                <a:pPr marL="171364" indent="-171364">
                  <a:spcBef>
                    <a:spcPts val="200"/>
                  </a:spcBef>
                  <a:buFont typeface="Arial" panose="020B0604020202020204" pitchFamily="34" charset="0"/>
                  <a:buChar char="•"/>
                </a:pPr>
                <a:r>
                  <a:rPr lang="en-GB" sz="800"/>
                  <a:t>ITIL workflows for incident, problem, change mgmt.</a:t>
                </a:r>
              </a:p>
              <a:p>
                <a:pPr marL="171364" indent="-171364">
                  <a:spcBef>
                    <a:spcPts val="200"/>
                  </a:spcBef>
                  <a:buFont typeface="Arial" panose="020B0604020202020204" pitchFamily="34" charset="0"/>
                  <a:buChar char="•"/>
                </a:pPr>
                <a:r>
                  <a:rPr lang="en-GB" sz="800"/>
                  <a:t>Reporting cadence &amp; formats</a:t>
                </a:r>
              </a:p>
            </p:txBody>
          </p:sp>
        </p:grpSp>
      </p:grpSp>
      <p:grpSp>
        <p:nvGrpSpPr>
          <p:cNvPr id="90" name="Group 89">
            <a:extLst>
              <a:ext uri="{FF2B5EF4-FFF2-40B4-BE49-F238E27FC236}">
                <a16:creationId xmlns:a16="http://schemas.microsoft.com/office/drawing/2014/main" id="{320BBA8C-DB25-8768-3ADF-15FA032B3CB3}"/>
              </a:ext>
            </a:extLst>
          </p:cNvPr>
          <p:cNvGrpSpPr/>
          <p:nvPr/>
        </p:nvGrpSpPr>
        <p:grpSpPr>
          <a:xfrm>
            <a:off x="1563283" y="1576720"/>
            <a:ext cx="4372208" cy="1088336"/>
            <a:chOff x="2384975" y="1713641"/>
            <a:chExt cx="4374485" cy="1088903"/>
          </a:xfrm>
        </p:grpSpPr>
        <p:sp>
          <p:nvSpPr>
            <p:cNvPr id="91" name="Shape">
              <a:extLst>
                <a:ext uri="{FF2B5EF4-FFF2-40B4-BE49-F238E27FC236}">
                  <a16:creationId xmlns:a16="http://schemas.microsoft.com/office/drawing/2014/main" id="{29AA5684-57CE-D882-948F-6758938492C1}"/>
                </a:ext>
              </a:extLst>
            </p:cNvPr>
            <p:cNvSpPr/>
            <p:nvPr/>
          </p:nvSpPr>
          <p:spPr>
            <a:xfrm>
              <a:off x="2385413" y="1713641"/>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43"/>
                    <a:pt x="1201" y="0"/>
                    <a:pt x="2689" y="0"/>
                  </a:cubicBezTo>
                  <a:lnTo>
                    <a:pt x="18911" y="0"/>
                  </a:lnTo>
                  <a:cubicBezTo>
                    <a:pt x="20394" y="0"/>
                    <a:pt x="21600" y="4825"/>
                    <a:pt x="21600" y="10800"/>
                  </a:cubicBezTo>
                  <a:lnTo>
                    <a:pt x="21600" y="10800"/>
                  </a:lnTo>
                  <a:cubicBezTo>
                    <a:pt x="21600" y="16757"/>
                    <a:pt x="20399" y="21600"/>
                    <a:pt x="18911" y="21600"/>
                  </a:cubicBezTo>
                  <a:lnTo>
                    <a:pt x="2684" y="21600"/>
                  </a:lnTo>
                  <a:cubicBezTo>
                    <a:pt x="1201" y="21583"/>
                    <a:pt x="0" y="16757"/>
                    <a:pt x="0" y="10800"/>
                  </a:cubicBezTo>
                  <a:close/>
                </a:path>
              </a:pathLst>
            </a:custGeom>
            <a:solidFill>
              <a:schemeClr val="bg1">
                <a:lumMod val="95000"/>
              </a:schemeClr>
            </a:solidFill>
            <a:ln w="12700">
              <a:miter lim="400000"/>
            </a:ln>
            <a:effectLst>
              <a:outerShdw blurRad="254000" dist="190500" dir="13500000" algn="tl" rotWithShape="0">
                <a:schemeClr val="bg1"/>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sp>
          <p:nvSpPr>
            <p:cNvPr id="92" name="Shape">
              <a:extLst>
                <a:ext uri="{FF2B5EF4-FFF2-40B4-BE49-F238E27FC236}">
                  <a16:creationId xmlns:a16="http://schemas.microsoft.com/office/drawing/2014/main" id="{0AF168F1-A320-A5B0-7D5E-004A998F12C7}"/>
                </a:ext>
              </a:extLst>
            </p:cNvPr>
            <p:cNvSpPr/>
            <p:nvPr/>
          </p:nvSpPr>
          <p:spPr>
            <a:xfrm>
              <a:off x="2384975" y="1713641"/>
              <a:ext cx="4374047" cy="108890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43"/>
                    <a:pt x="1201" y="0"/>
                    <a:pt x="2689" y="0"/>
                  </a:cubicBezTo>
                  <a:lnTo>
                    <a:pt x="18911" y="0"/>
                  </a:lnTo>
                  <a:cubicBezTo>
                    <a:pt x="20394" y="0"/>
                    <a:pt x="21600" y="4825"/>
                    <a:pt x="21600" y="10800"/>
                  </a:cubicBezTo>
                  <a:lnTo>
                    <a:pt x="21600" y="10800"/>
                  </a:lnTo>
                  <a:cubicBezTo>
                    <a:pt x="21600" y="16757"/>
                    <a:pt x="20399" y="21600"/>
                    <a:pt x="18911" y="21600"/>
                  </a:cubicBezTo>
                  <a:lnTo>
                    <a:pt x="2684" y="21600"/>
                  </a:lnTo>
                  <a:cubicBezTo>
                    <a:pt x="1201" y="21583"/>
                    <a:pt x="0" y="16757"/>
                    <a:pt x="0" y="10800"/>
                  </a:cubicBezTo>
                  <a:close/>
                </a:path>
              </a:pathLst>
            </a:custGeom>
            <a:solidFill>
              <a:srgbClr val="FFE600"/>
            </a:solidFill>
            <a:ln w="12700">
              <a:miter lim="400000"/>
            </a:ln>
            <a:effectLst>
              <a:outerShdw blurRad="254000" dist="190500" dir="2700000" algn="tl" rotWithShape="0">
                <a:schemeClr val="bg1">
                  <a:lumMod val="75000"/>
                  <a:alpha val="40000"/>
                </a:schemeClr>
              </a:outerShdw>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799">
                <a:solidFill>
                  <a:srgbClr val="FFFFFF"/>
                </a:solidFill>
              </a:endParaRPr>
            </a:p>
          </p:txBody>
        </p:sp>
        <p:grpSp>
          <p:nvGrpSpPr>
            <p:cNvPr id="93" name="Group 92">
              <a:extLst>
                <a:ext uri="{FF2B5EF4-FFF2-40B4-BE49-F238E27FC236}">
                  <a16:creationId xmlns:a16="http://schemas.microsoft.com/office/drawing/2014/main" id="{19A7E0C1-D613-6BA0-1626-FCE5FDD4C060}"/>
                </a:ext>
              </a:extLst>
            </p:cNvPr>
            <p:cNvGrpSpPr>
              <a:grpSpLocks noChangeAspect="1"/>
            </p:cNvGrpSpPr>
            <p:nvPr/>
          </p:nvGrpSpPr>
          <p:grpSpPr>
            <a:xfrm>
              <a:off x="5862583" y="1859153"/>
              <a:ext cx="810201" cy="797875"/>
              <a:chOff x="239721" y="3921852"/>
              <a:chExt cx="1624123" cy="1598311"/>
            </a:xfrm>
          </p:grpSpPr>
          <p:sp>
            <p:nvSpPr>
              <p:cNvPr id="98" name="Oval 97">
                <a:extLst>
                  <a:ext uri="{FF2B5EF4-FFF2-40B4-BE49-F238E27FC236}">
                    <a16:creationId xmlns:a16="http://schemas.microsoft.com/office/drawing/2014/main" id="{6423940D-7A22-C629-9264-4402F6580800}"/>
                  </a:ext>
                </a:extLst>
              </p:cNvPr>
              <p:cNvSpPr/>
              <p:nvPr/>
            </p:nvSpPr>
            <p:spPr>
              <a:xfrm>
                <a:off x="265534" y="3921852"/>
                <a:ext cx="1598310" cy="1598311"/>
              </a:xfrm>
              <a:prstGeom prst="ellipse">
                <a:avLst/>
              </a:prstGeom>
              <a:gradFill>
                <a:gsLst>
                  <a:gs pos="50000">
                    <a:schemeClr val="bg1">
                      <a:lumMod val="95000"/>
                    </a:schemeClr>
                  </a:gs>
                  <a:gs pos="100000">
                    <a:schemeClr val="bg1">
                      <a:lumMod val="0"/>
                      <a:lumOff val="100000"/>
                    </a:schemeClr>
                  </a:gs>
                </a:gsLst>
                <a:lin ang="2700000" scaled="0"/>
              </a:gradFill>
              <a:ln>
                <a:noFill/>
              </a:ln>
              <a:effectLst>
                <a:innerShdw blurRad="254000" dist="190500" dir="13500000">
                  <a:schemeClr val="bg1">
                    <a:lumMod val="75000"/>
                    <a:alpha val="40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599"/>
              </a:p>
            </p:txBody>
          </p:sp>
          <p:sp>
            <p:nvSpPr>
              <p:cNvPr id="99" name="Freeform: Shape 98">
                <a:extLst>
                  <a:ext uri="{FF2B5EF4-FFF2-40B4-BE49-F238E27FC236}">
                    <a16:creationId xmlns:a16="http://schemas.microsoft.com/office/drawing/2014/main" id="{6DE7E27A-A641-3A8B-5F36-5F188FC924AB}"/>
                  </a:ext>
                </a:extLst>
              </p:cNvPr>
              <p:cNvSpPr/>
              <p:nvPr/>
            </p:nvSpPr>
            <p:spPr>
              <a:xfrm>
                <a:off x="239721" y="4205529"/>
                <a:ext cx="1461651" cy="1313176"/>
              </a:xfrm>
              <a:custGeom>
                <a:avLst/>
                <a:gdLst>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605949 w 1461652"/>
                  <a:gd name="connsiteY7" fmla="*/ 1243326 h 1313176"/>
                  <a:gd name="connsiteX8" fmla="*/ 1404502 w 1461652"/>
                  <a:gd name="connsiteY8" fmla="*/ 444773 h 1313176"/>
                  <a:gd name="connsiteX9" fmla="*/ 1341748 w 1461652"/>
                  <a:gd name="connsiteY9" fmla="*/ 13394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404502 w 1461652"/>
                  <a:gd name="connsiteY7" fmla="*/ 444773 h 1313176"/>
                  <a:gd name="connsiteX8" fmla="*/ 1341748 w 1461652"/>
                  <a:gd name="connsiteY8" fmla="*/ 133940 h 1313176"/>
                  <a:gd name="connsiteX9" fmla="*/ 1269048 w 1461652"/>
                  <a:gd name="connsiteY9"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341748 w 1461652"/>
                  <a:gd name="connsiteY7" fmla="*/ 133940 h 1313176"/>
                  <a:gd name="connsiteX8" fmla="*/ 1269048 w 1461652"/>
                  <a:gd name="connsiteY8"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41287 w 1461652"/>
                  <a:gd name="connsiteY6" fmla="*/ 1009436 h 1313176"/>
                  <a:gd name="connsiteX7" fmla="*/ 1269048 w 1461652"/>
                  <a:gd name="connsiteY7" fmla="*/ 0 h 1313176"/>
                  <a:gd name="connsiteX0" fmla="*/ 1269048 w 1461652"/>
                  <a:gd name="connsiteY0" fmla="*/ 0 h 1313176"/>
                  <a:gd name="connsiteX1" fmla="*/ 1325272 w 1461652"/>
                  <a:gd name="connsiteY1" fmla="*/ 68145 h 1313176"/>
                  <a:gd name="connsiteX2" fmla="*/ 1461652 w 1461652"/>
                  <a:gd name="connsiteY2" fmla="*/ 514623 h 1313176"/>
                  <a:gd name="connsiteX3" fmla="*/ 663099 w 1461652"/>
                  <a:gd name="connsiteY3" fmla="*/ 1313176 h 1313176"/>
                  <a:gd name="connsiteX4" fmla="*/ 926 w 1461652"/>
                  <a:gd name="connsiteY4" fmla="*/ 961102 h 1313176"/>
                  <a:gd name="connsiteX5" fmla="*/ 0 w 1461652"/>
                  <a:gd name="connsiteY5" fmla="*/ 959396 h 1313176"/>
                  <a:gd name="connsiteX6" fmla="*/ 1269048 w 1461652"/>
                  <a:gd name="connsiteY6" fmla="*/ 0 h 13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652" h="1313176">
                    <a:moveTo>
                      <a:pt x="1269048" y="0"/>
                    </a:moveTo>
                    <a:lnTo>
                      <a:pt x="1325272" y="68145"/>
                    </a:lnTo>
                    <a:cubicBezTo>
                      <a:pt x="1411375" y="195594"/>
                      <a:pt x="1461652" y="349237"/>
                      <a:pt x="1461652" y="514623"/>
                    </a:cubicBezTo>
                    <a:cubicBezTo>
                      <a:pt x="1461652" y="955652"/>
                      <a:pt x="1104128" y="1313176"/>
                      <a:pt x="663099" y="1313176"/>
                    </a:cubicBezTo>
                    <a:cubicBezTo>
                      <a:pt x="387456" y="1313176"/>
                      <a:pt x="144432" y="1173518"/>
                      <a:pt x="926" y="961102"/>
                    </a:cubicBezTo>
                    <a:lnTo>
                      <a:pt x="0" y="959396"/>
                    </a:lnTo>
                    <a:lnTo>
                      <a:pt x="1269048" y="0"/>
                    </a:lnTo>
                    <a:close/>
                  </a:path>
                </a:pathLst>
              </a:custGeom>
              <a:gradFill flip="none" rotWithShape="1">
                <a:gsLst>
                  <a:gs pos="68000">
                    <a:schemeClr val="bg1">
                      <a:alpha val="0"/>
                    </a:schemeClr>
                  </a:gs>
                  <a:gs pos="100000">
                    <a:schemeClr val="bg1"/>
                  </a:gs>
                </a:gsLst>
                <a:path path="circle">
                  <a:fillToRect r="100000" b="100000"/>
                </a:path>
                <a:tileRect l="-100000" t="-100000"/>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599"/>
              </a:p>
            </p:txBody>
          </p:sp>
        </p:grpSp>
        <p:grpSp>
          <p:nvGrpSpPr>
            <p:cNvPr id="95" name="Group 94">
              <a:extLst>
                <a:ext uri="{FF2B5EF4-FFF2-40B4-BE49-F238E27FC236}">
                  <a16:creationId xmlns:a16="http://schemas.microsoft.com/office/drawing/2014/main" id="{CCDCA5EF-BACC-B23C-4C84-78FBDD59CA02}"/>
                </a:ext>
              </a:extLst>
            </p:cNvPr>
            <p:cNvGrpSpPr/>
            <p:nvPr/>
          </p:nvGrpSpPr>
          <p:grpSpPr>
            <a:xfrm>
              <a:off x="2543096" y="1783881"/>
              <a:ext cx="3192977" cy="985291"/>
              <a:chOff x="210620" y="4312257"/>
              <a:chExt cx="2274152" cy="1061437"/>
            </a:xfrm>
          </p:grpSpPr>
          <p:sp>
            <p:nvSpPr>
              <p:cNvPr id="96" name="TextBox 16">
                <a:extLst>
                  <a:ext uri="{FF2B5EF4-FFF2-40B4-BE49-F238E27FC236}">
                    <a16:creationId xmlns:a16="http://schemas.microsoft.com/office/drawing/2014/main" id="{E159436D-A673-6463-94C8-4827A0B98949}"/>
                  </a:ext>
                </a:extLst>
              </p:cNvPr>
              <p:cNvSpPr txBox="1"/>
              <p:nvPr/>
            </p:nvSpPr>
            <p:spPr>
              <a:xfrm>
                <a:off x="300653" y="4312257"/>
                <a:ext cx="2165660" cy="298406"/>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199" b="1" kern="0">
                    <a:solidFill>
                      <a:srgbClr val="000000"/>
                    </a:solidFill>
                  </a:rPr>
                  <a:t>Programme Initiation &amp; Governance Setup</a:t>
                </a:r>
              </a:p>
            </p:txBody>
          </p:sp>
          <p:sp>
            <p:nvSpPr>
              <p:cNvPr id="97" name="Rectangle 96">
                <a:extLst>
                  <a:ext uri="{FF2B5EF4-FFF2-40B4-BE49-F238E27FC236}">
                    <a16:creationId xmlns:a16="http://schemas.microsoft.com/office/drawing/2014/main" id="{59BBD17E-1FB5-490F-825B-3D430B01963B}"/>
                  </a:ext>
                </a:extLst>
              </p:cNvPr>
              <p:cNvSpPr/>
              <p:nvPr/>
            </p:nvSpPr>
            <p:spPr>
              <a:xfrm>
                <a:off x="210620" y="4555840"/>
                <a:ext cx="2274152" cy="817854"/>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200"/>
                  </a:spcBef>
                  <a:buFont typeface="Arial" panose="020B0604020202020204" pitchFamily="34" charset="0"/>
                  <a:buChar char="•"/>
                </a:pPr>
                <a:r>
                  <a:rPr lang="en-GB" sz="800"/>
                  <a:t>Appoint Programme Manager &amp; key leads (Security, Compliance, PMO)</a:t>
                </a:r>
              </a:p>
              <a:p>
                <a:pPr marL="171364" indent="-171364">
                  <a:spcBef>
                    <a:spcPts val="200"/>
                  </a:spcBef>
                  <a:buFont typeface="Arial" panose="020B0604020202020204" pitchFamily="34" charset="0"/>
                  <a:buChar char="•"/>
                </a:pPr>
                <a:r>
                  <a:rPr lang="en-GB" sz="800"/>
                  <a:t>Conduct formal kick-off with NWC stakeholders</a:t>
                </a:r>
              </a:p>
              <a:p>
                <a:pPr marL="171364" indent="-171364">
                  <a:spcBef>
                    <a:spcPts val="200"/>
                  </a:spcBef>
                  <a:buFont typeface="Arial" panose="020B0604020202020204" pitchFamily="34" charset="0"/>
                  <a:buChar char="•"/>
                </a:pPr>
                <a:r>
                  <a:rPr lang="en-GB" sz="800"/>
                  <a:t>Define governance: steering committees, working groups, escalation. </a:t>
                </a:r>
              </a:p>
            </p:txBody>
          </p:sp>
        </p:grpSp>
      </p:grpSp>
      <p:pic>
        <p:nvPicPr>
          <p:cNvPr id="3" name="Picture 2" descr="A black background with a black square&#10;&#10;AI-generated content may be incorrect.">
            <a:extLst>
              <a:ext uri="{FF2B5EF4-FFF2-40B4-BE49-F238E27FC236}">
                <a16:creationId xmlns:a16="http://schemas.microsoft.com/office/drawing/2014/main" id="{3A6B218E-EB9F-D5B9-4A3B-489660303D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6580" y="1891081"/>
            <a:ext cx="516873" cy="516873"/>
          </a:xfrm>
          <a:prstGeom prst="rect">
            <a:avLst/>
          </a:prstGeom>
        </p:spPr>
      </p:pic>
      <p:pic>
        <p:nvPicPr>
          <p:cNvPr id="6" name="Picture 5">
            <a:extLst>
              <a:ext uri="{FF2B5EF4-FFF2-40B4-BE49-F238E27FC236}">
                <a16:creationId xmlns:a16="http://schemas.microsoft.com/office/drawing/2014/main" id="{15D113B6-395D-D212-3095-F9DE967649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4143" y="3349003"/>
            <a:ext cx="500535" cy="500535"/>
          </a:xfrm>
          <a:prstGeom prst="rect">
            <a:avLst/>
          </a:prstGeom>
        </p:spPr>
      </p:pic>
      <p:pic>
        <p:nvPicPr>
          <p:cNvPr id="9" name="Picture 8" descr="A black background with a black square&#10;&#10;AI-generated content may be incorrect.">
            <a:extLst>
              <a:ext uri="{FF2B5EF4-FFF2-40B4-BE49-F238E27FC236}">
                <a16:creationId xmlns:a16="http://schemas.microsoft.com/office/drawing/2014/main" id="{9B6024F4-FABB-64FB-0470-8AE2D0105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4613" y="4849270"/>
            <a:ext cx="493963" cy="493963"/>
          </a:xfrm>
          <a:prstGeom prst="rect">
            <a:avLst/>
          </a:prstGeom>
        </p:spPr>
      </p:pic>
    </p:spTree>
    <p:extLst>
      <p:ext uri="{BB962C8B-B14F-4D97-AF65-F5344CB8AC3E}">
        <p14:creationId xmlns:p14="http://schemas.microsoft.com/office/powerpoint/2010/main" val="4151687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05A73-B531-CB0D-FEF3-160A5924C130}"/>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55C811C9-25AA-9EE5-CE16-CA466352AB4F}"/>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29" name="Shape">
            <a:extLst>
              <a:ext uri="{FF2B5EF4-FFF2-40B4-BE49-F238E27FC236}">
                <a16:creationId xmlns:a16="http://schemas.microsoft.com/office/drawing/2014/main" id="{C222DD35-E618-DAFA-030D-8D11FDFCE2E2}"/>
              </a:ext>
            </a:extLst>
          </p:cNvPr>
          <p:cNvSpPr/>
          <p:nvPr/>
        </p:nvSpPr>
        <p:spPr>
          <a:xfrm>
            <a:off x="890758"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7931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0" name="Shape">
            <a:extLst>
              <a:ext uri="{FF2B5EF4-FFF2-40B4-BE49-F238E27FC236}">
                <a16:creationId xmlns:a16="http://schemas.microsoft.com/office/drawing/2014/main" id="{F653D0AE-5198-4592-2DB2-5C467B2BC5D2}"/>
              </a:ext>
            </a:extLst>
          </p:cNvPr>
          <p:cNvSpPr/>
          <p:nvPr/>
        </p:nvSpPr>
        <p:spPr>
          <a:xfrm>
            <a:off x="6695469" y="3182647"/>
            <a:ext cx="1553283" cy="1552655"/>
          </a:xfrm>
          <a:custGeom>
            <a:avLst/>
            <a:gdLst/>
            <a:ahLst/>
            <a:cxnLst>
              <a:cxn ang="0">
                <a:pos x="wd2" y="hd2"/>
              </a:cxn>
              <a:cxn ang="5400000">
                <a:pos x="wd2" y="hd2"/>
              </a:cxn>
              <a:cxn ang="10800000">
                <a:pos x="wd2" y="hd2"/>
              </a:cxn>
              <a:cxn ang="16200000">
                <a:pos x="wd2" y="hd2"/>
              </a:cxn>
            </a:cxnLst>
            <a:rect l="0" t="0" r="r" b="b"/>
            <a:pathLst>
              <a:path w="21154" h="21156" extrusionOk="0">
                <a:moveTo>
                  <a:pt x="20479" y="8962"/>
                </a:moveTo>
                <a:lnTo>
                  <a:pt x="12187" y="666"/>
                </a:lnTo>
                <a:cubicBezTo>
                  <a:pt x="11300" y="-222"/>
                  <a:pt x="9844" y="-222"/>
                  <a:pt x="8957" y="666"/>
                </a:cubicBezTo>
                <a:lnTo>
                  <a:pt x="665" y="8962"/>
                </a:lnTo>
                <a:cubicBezTo>
                  <a:pt x="-222" y="9850"/>
                  <a:pt x="-222" y="11306"/>
                  <a:pt x="665" y="12194"/>
                </a:cubicBezTo>
                <a:lnTo>
                  <a:pt x="8957" y="20490"/>
                </a:lnTo>
                <a:cubicBezTo>
                  <a:pt x="9844" y="21378"/>
                  <a:pt x="11300" y="21378"/>
                  <a:pt x="12187" y="20490"/>
                </a:cubicBezTo>
                <a:lnTo>
                  <a:pt x="20479" y="12194"/>
                </a:lnTo>
                <a:cubicBezTo>
                  <a:pt x="21378" y="11306"/>
                  <a:pt x="21378" y="9861"/>
                  <a:pt x="20479" y="8962"/>
                </a:cubicBezTo>
                <a:close/>
              </a:path>
            </a:pathLst>
          </a:custGeom>
          <a:solidFill>
            <a:srgbClr val="A2B969"/>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1" name="Shape">
            <a:extLst>
              <a:ext uri="{FF2B5EF4-FFF2-40B4-BE49-F238E27FC236}">
                <a16:creationId xmlns:a16="http://schemas.microsoft.com/office/drawing/2014/main" id="{E6C9C9C9-48E8-7B92-C166-6AFA326356EF}"/>
              </a:ext>
            </a:extLst>
          </p:cNvPr>
          <p:cNvSpPr/>
          <p:nvPr/>
        </p:nvSpPr>
        <p:spPr>
          <a:xfrm>
            <a:off x="3792800"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FCC4C"/>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2" name="Shape">
            <a:extLst>
              <a:ext uri="{FF2B5EF4-FFF2-40B4-BE49-F238E27FC236}">
                <a16:creationId xmlns:a16="http://schemas.microsoft.com/office/drawing/2014/main" id="{2BFA752F-9289-AAD3-9B63-475FBE60FA86}"/>
              </a:ext>
            </a:extLst>
          </p:cNvPr>
          <p:cNvSpPr/>
          <p:nvPr/>
        </p:nvSpPr>
        <p:spPr>
          <a:xfrm>
            <a:off x="5243822" y="2241366"/>
            <a:ext cx="1553283" cy="1552658"/>
          </a:xfrm>
          <a:custGeom>
            <a:avLst/>
            <a:gdLst/>
            <a:ahLst/>
            <a:cxnLst>
              <a:cxn ang="0">
                <a:pos x="wd2" y="hd2"/>
              </a:cxn>
              <a:cxn ang="5400000">
                <a:pos x="wd2" y="hd2"/>
              </a:cxn>
              <a:cxn ang="10800000">
                <a:pos x="wd2" y="hd2"/>
              </a:cxn>
              <a:cxn ang="16200000">
                <a:pos x="wd2" y="hd2"/>
              </a:cxn>
            </a:cxnLst>
            <a:rect l="0" t="0" r="r" b="b"/>
            <a:pathLst>
              <a:path w="21154" h="21156" extrusionOk="0">
                <a:moveTo>
                  <a:pt x="20479" y="8962"/>
                </a:moveTo>
                <a:lnTo>
                  <a:pt x="12187" y="666"/>
                </a:lnTo>
                <a:cubicBezTo>
                  <a:pt x="11300" y="-222"/>
                  <a:pt x="9844" y="-222"/>
                  <a:pt x="8957" y="666"/>
                </a:cubicBezTo>
                <a:lnTo>
                  <a:pt x="665" y="8962"/>
                </a:lnTo>
                <a:cubicBezTo>
                  <a:pt x="-222" y="9850"/>
                  <a:pt x="-222" y="11306"/>
                  <a:pt x="665" y="12194"/>
                </a:cubicBezTo>
                <a:lnTo>
                  <a:pt x="8957" y="20490"/>
                </a:lnTo>
                <a:cubicBezTo>
                  <a:pt x="9844" y="21378"/>
                  <a:pt x="11300" y="21378"/>
                  <a:pt x="12187" y="20490"/>
                </a:cubicBezTo>
                <a:lnTo>
                  <a:pt x="20479" y="12194"/>
                </a:lnTo>
                <a:cubicBezTo>
                  <a:pt x="21378" y="11306"/>
                  <a:pt x="21378" y="9850"/>
                  <a:pt x="20479" y="8962"/>
                </a:cubicBezTo>
                <a:close/>
              </a:path>
            </a:pathLst>
          </a:custGeom>
          <a:solidFill>
            <a:srgbClr val="C13018"/>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3" name="Shape">
            <a:extLst>
              <a:ext uri="{FF2B5EF4-FFF2-40B4-BE49-F238E27FC236}">
                <a16:creationId xmlns:a16="http://schemas.microsoft.com/office/drawing/2014/main" id="{02297C3E-9735-C933-0EA4-C5BE5F94DDA5}"/>
              </a:ext>
            </a:extLst>
          </p:cNvPr>
          <p:cNvSpPr/>
          <p:nvPr/>
        </p:nvSpPr>
        <p:spPr>
          <a:xfrm>
            <a:off x="2341778" y="2241366"/>
            <a:ext cx="1552657" cy="1552658"/>
          </a:xfrm>
          <a:custGeom>
            <a:avLst/>
            <a:gdLst/>
            <a:ahLst/>
            <a:cxnLst>
              <a:cxn ang="0">
                <a:pos x="wd2" y="hd2"/>
              </a:cxn>
              <a:cxn ang="5400000">
                <a:pos x="wd2" y="hd2"/>
              </a:cxn>
              <a:cxn ang="10800000">
                <a:pos x="wd2" y="hd2"/>
              </a:cxn>
              <a:cxn ang="16200000">
                <a:pos x="wd2" y="hd2"/>
              </a:cxn>
            </a:cxnLst>
            <a:rect l="0" t="0" r="r" b="b"/>
            <a:pathLst>
              <a:path w="21156" h="21156" extrusionOk="0">
                <a:moveTo>
                  <a:pt x="20490" y="8962"/>
                </a:moveTo>
                <a:lnTo>
                  <a:pt x="12194" y="666"/>
                </a:ln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close/>
              </a:path>
            </a:pathLst>
          </a:custGeom>
          <a:solidFill>
            <a:srgbClr val="4CC1E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4" name="Shape">
            <a:extLst>
              <a:ext uri="{FF2B5EF4-FFF2-40B4-BE49-F238E27FC236}">
                <a16:creationId xmlns:a16="http://schemas.microsoft.com/office/drawing/2014/main" id="{9F60D739-BCE9-434E-2BCD-73FA49E2364E}"/>
              </a:ext>
            </a:extLst>
          </p:cNvPr>
          <p:cNvSpPr/>
          <p:nvPr/>
        </p:nvSpPr>
        <p:spPr>
          <a:xfrm>
            <a:off x="748770" y="2781746"/>
            <a:ext cx="7641701" cy="1415682"/>
          </a:xfrm>
          <a:custGeom>
            <a:avLst/>
            <a:gdLst/>
            <a:ahLst/>
            <a:cxnLst>
              <a:cxn ang="0">
                <a:pos x="wd2" y="hd2"/>
              </a:cxn>
              <a:cxn ang="5400000">
                <a:pos x="wd2" y="hd2"/>
              </a:cxn>
              <a:cxn ang="10800000">
                <a:pos x="wd2" y="hd2"/>
              </a:cxn>
              <a:cxn ang="16200000">
                <a:pos x="wd2" y="hd2"/>
              </a:cxn>
            </a:cxnLst>
            <a:rect l="0" t="0" r="r" b="b"/>
            <a:pathLst>
              <a:path w="21587" h="21600" extrusionOk="0">
                <a:moveTo>
                  <a:pt x="21570" y="13304"/>
                </a:moveTo>
                <a:lnTo>
                  <a:pt x="19850" y="4014"/>
                </a:lnTo>
                <a:cubicBezTo>
                  <a:pt x="19730" y="3364"/>
                  <a:pt x="19589" y="2880"/>
                  <a:pt x="19440" y="2561"/>
                </a:cubicBezTo>
                <a:cubicBezTo>
                  <a:pt x="19312" y="2281"/>
                  <a:pt x="19202" y="1810"/>
                  <a:pt x="19128" y="1172"/>
                </a:cubicBezTo>
                <a:lnTo>
                  <a:pt x="18992" y="13"/>
                </a:lnTo>
                <a:lnTo>
                  <a:pt x="18855" y="1172"/>
                </a:lnTo>
                <a:cubicBezTo>
                  <a:pt x="18782" y="1797"/>
                  <a:pt x="18671" y="2281"/>
                  <a:pt x="18543" y="2561"/>
                </a:cubicBezTo>
                <a:cubicBezTo>
                  <a:pt x="18395" y="2880"/>
                  <a:pt x="18253" y="3364"/>
                  <a:pt x="18133" y="4014"/>
                </a:cubicBezTo>
                <a:lnTo>
                  <a:pt x="15670" y="17114"/>
                </a:lnTo>
                <a:cubicBezTo>
                  <a:pt x="15462" y="18236"/>
                  <a:pt x="15186" y="18847"/>
                  <a:pt x="14893" y="18847"/>
                </a:cubicBezTo>
                <a:cubicBezTo>
                  <a:pt x="14598" y="18847"/>
                  <a:pt x="14322" y="18236"/>
                  <a:pt x="14115" y="17114"/>
                </a:cubicBezTo>
                <a:lnTo>
                  <a:pt x="11654" y="4014"/>
                </a:lnTo>
                <a:cubicBezTo>
                  <a:pt x="11534" y="3364"/>
                  <a:pt x="11394" y="2867"/>
                  <a:pt x="11241" y="2549"/>
                </a:cubicBezTo>
                <a:cubicBezTo>
                  <a:pt x="11114" y="2281"/>
                  <a:pt x="11005" y="1797"/>
                  <a:pt x="10932" y="1172"/>
                </a:cubicBezTo>
                <a:lnTo>
                  <a:pt x="10795" y="13"/>
                </a:lnTo>
                <a:lnTo>
                  <a:pt x="10658" y="1172"/>
                </a:lnTo>
                <a:cubicBezTo>
                  <a:pt x="10585" y="1797"/>
                  <a:pt x="10477" y="2281"/>
                  <a:pt x="10349" y="2549"/>
                </a:cubicBezTo>
                <a:cubicBezTo>
                  <a:pt x="10196" y="2880"/>
                  <a:pt x="10057" y="3364"/>
                  <a:pt x="9936" y="4014"/>
                </a:cubicBezTo>
                <a:lnTo>
                  <a:pt x="7471" y="17114"/>
                </a:lnTo>
                <a:cubicBezTo>
                  <a:pt x="7263" y="18236"/>
                  <a:pt x="6987" y="18847"/>
                  <a:pt x="6695" y="18847"/>
                </a:cubicBezTo>
                <a:cubicBezTo>
                  <a:pt x="6402" y="18847"/>
                  <a:pt x="6126" y="18236"/>
                  <a:pt x="5916" y="17102"/>
                </a:cubicBezTo>
                <a:lnTo>
                  <a:pt x="3455" y="4001"/>
                </a:lnTo>
                <a:cubicBezTo>
                  <a:pt x="3335" y="3352"/>
                  <a:pt x="3196" y="2855"/>
                  <a:pt x="3042" y="2536"/>
                </a:cubicBezTo>
                <a:cubicBezTo>
                  <a:pt x="2915" y="2268"/>
                  <a:pt x="2806" y="1784"/>
                  <a:pt x="2733" y="1160"/>
                </a:cubicBezTo>
                <a:lnTo>
                  <a:pt x="2596" y="0"/>
                </a:lnTo>
                <a:lnTo>
                  <a:pt x="2460" y="1160"/>
                </a:lnTo>
                <a:cubicBezTo>
                  <a:pt x="2386" y="1784"/>
                  <a:pt x="2278" y="2268"/>
                  <a:pt x="2150" y="2536"/>
                </a:cubicBezTo>
                <a:cubicBezTo>
                  <a:pt x="1997" y="2867"/>
                  <a:pt x="1858" y="3352"/>
                  <a:pt x="1738" y="4001"/>
                </a:cubicBezTo>
                <a:lnTo>
                  <a:pt x="18" y="13291"/>
                </a:lnTo>
                <a:cubicBezTo>
                  <a:pt x="-6" y="13419"/>
                  <a:pt x="-6" y="13648"/>
                  <a:pt x="22" y="13763"/>
                </a:cubicBezTo>
                <a:cubicBezTo>
                  <a:pt x="46" y="13865"/>
                  <a:pt x="81" y="13852"/>
                  <a:pt x="103" y="13725"/>
                </a:cubicBezTo>
                <a:lnTo>
                  <a:pt x="1806" y="4524"/>
                </a:lnTo>
                <a:cubicBezTo>
                  <a:pt x="2016" y="3390"/>
                  <a:pt x="2299" y="2714"/>
                  <a:pt x="2594" y="2714"/>
                </a:cubicBezTo>
                <a:cubicBezTo>
                  <a:pt x="2889" y="2714"/>
                  <a:pt x="3165" y="3326"/>
                  <a:pt x="3373" y="4460"/>
                </a:cubicBezTo>
                <a:lnTo>
                  <a:pt x="5833" y="17560"/>
                </a:lnTo>
                <a:cubicBezTo>
                  <a:pt x="5954" y="18210"/>
                  <a:pt x="6093" y="18695"/>
                  <a:pt x="6244" y="19026"/>
                </a:cubicBezTo>
                <a:cubicBezTo>
                  <a:pt x="6371" y="19293"/>
                  <a:pt x="6480" y="19778"/>
                  <a:pt x="6553" y="20402"/>
                </a:cubicBezTo>
                <a:lnTo>
                  <a:pt x="6692" y="21587"/>
                </a:lnTo>
                <a:lnTo>
                  <a:pt x="6831" y="20402"/>
                </a:lnTo>
                <a:cubicBezTo>
                  <a:pt x="6905" y="19778"/>
                  <a:pt x="7013" y="19293"/>
                  <a:pt x="7141" y="19026"/>
                </a:cubicBezTo>
                <a:cubicBezTo>
                  <a:pt x="7294" y="18695"/>
                  <a:pt x="7433" y="18210"/>
                  <a:pt x="7551" y="17560"/>
                </a:cubicBezTo>
                <a:lnTo>
                  <a:pt x="10012" y="4460"/>
                </a:lnTo>
                <a:cubicBezTo>
                  <a:pt x="10219" y="3339"/>
                  <a:pt x="10496" y="2727"/>
                  <a:pt x="10788" y="2727"/>
                </a:cubicBezTo>
                <a:cubicBezTo>
                  <a:pt x="11081" y="2727"/>
                  <a:pt x="11357" y="3339"/>
                  <a:pt x="11567" y="4473"/>
                </a:cubicBezTo>
                <a:lnTo>
                  <a:pt x="14028" y="17573"/>
                </a:lnTo>
                <a:cubicBezTo>
                  <a:pt x="14145" y="18210"/>
                  <a:pt x="14287" y="18707"/>
                  <a:pt x="14438" y="19039"/>
                </a:cubicBezTo>
                <a:cubicBezTo>
                  <a:pt x="14565" y="19306"/>
                  <a:pt x="14674" y="19790"/>
                  <a:pt x="14747" y="20415"/>
                </a:cubicBezTo>
                <a:lnTo>
                  <a:pt x="14889" y="21600"/>
                </a:lnTo>
                <a:lnTo>
                  <a:pt x="15030" y="20415"/>
                </a:lnTo>
                <a:cubicBezTo>
                  <a:pt x="15103" y="19790"/>
                  <a:pt x="15212" y="19306"/>
                  <a:pt x="15339" y="19039"/>
                </a:cubicBezTo>
                <a:cubicBezTo>
                  <a:pt x="15490" y="18707"/>
                  <a:pt x="15632" y="18223"/>
                  <a:pt x="15750" y="17586"/>
                </a:cubicBezTo>
                <a:lnTo>
                  <a:pt x="18211" y="4486"/>
                </a:lnTo>
                <a:cubicBezTo>
                  <a:pt x="18640" y="2166"/>
                  <a:pt x="19336" y="2166"/>
                  <a:pt x="19765" y="4486"/>
                </a:cubicBezTo>
                <a:lnTo>
                  <a:pt x="21483" y="13763"/>
                </a:lnTo>
                <a:cubicBezTo>
                  <a:pt x="21504" y="13878"/>
                  <a:pt x="21540" y="13903"/>
                  <a:pt x="21563" y="13801"/>
                </a:cubicBezTo>
                <a:cubicBezTo>
                  <a:pt x="21594" y="13648"/>
                  <a:pt x="21594" y="13432"/>
                  <a:pt x="21570" y="13304"/>
                </a:cubicBezTo>
                <a:close/>
              </a:path>
            </a:pathLst>
          </a:custGeom>
          <a:solidFill>
            <a:sysClr val="window" lastClr="FFFFFF">
              <a:lumMod val="75000"/>
              <a:alpha val="60000"/>
            </a:sysClr>
          </a:solidFill>
          <a:ln w="12700">
            <a:miter lim="400000"/>
          </a:ln>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sz="3000">
                <a:solidFill>
                  <a:srgbClr val="FFFFFF"/>
                </a:solidFill>
              </a:defRPr>
            </a:pPr>
            <a:endParaRPr sz="2099">
              <a:solidFill>
                <a:srgbClr val="FFFFFF"/>
              </a:solidFill>
              <a:latin typeface="Calibri" panose="020F0502020204030204"/>
            </a:endParaRPr>
          </a:p>
        </p:txBody>
      </p:sp>
      <p:pic>
        <p:nvPicPr>
          <p:cNvPr id="35" name="Graphic 34" descr="Head with gears">
            <a:extLst>
              <a:ext uri="{FF2B5EF4-FFF2-40B4-BE49-F238E27FC236}">
                <a16:creationId xmlns:a16="http://schemas.microsoft.com/office/drawing/2014/main" id="{B5CC698F-9A01-CC5F-4406-505C627FDF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1424" y="3573313"/>
            <a:ext cx="771323" cy="771323"/>
          </a:xfrm>
          <a:prstGeom prst="rect">
            <a:avLst/>
          </a:prstGeom>
          <a:effectLst>
            <a:outerShdw blurRad="88900" dist="38100" dir="2700000" algn="tl" rotWithShape="0">
              <a:prstClr val="black">
                <a:alpha val="30000"/>
              </a:prstClr>
            </a:outerShdw>
          </a:effectLst>
        </p:spPr>
      </p:pic>
      <p:pic>
        <p:nvPicPr>
          <p:cNvPr id="36" name="Graphic 35" descr="Eye">
            <a:extLst>
              <a:ext uri="{FF2B5EF4-FFF2-40B4-BE49-F238E27FC236}">
                <a16:creationId xmlns:a16="http://schemas.microsoft.com/office/drawing/2014/main" id="{7B69A49A-50EF-6B56-EC03-F0EE9CE69B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6449" y="3573313"/>
            <a:ext cx="771323" cy="771323"/>
          </a:xfrm>
          <a:prstGeom prst="rect">
            <a:avLst/>
          </a:prstGeom>
          <a:effectLst>
            <a:outerShdw blurRad="88900" dist="38100" dir="2700000" algn="tl" rotWithShape="0">
              <a:prstClr val="black">
                <a:alpha val="30000"/>
              </a:prstClr>
            </a:outerShdw>
          </a:effectLst>
        </p:spPr>
      </p:pic>
      <p:pic>
        <p:nvPicPr>
          <p:cNvPr id="37" name="Graphic 36" descr="Stopwatch 33%">
            <a:extLst>
              <a:ext uri="{FF2B5EF4-FFF2-40B4-BE49-F238E27FC236}">
                <a16:creationId xmlns:a16="http://schemas.microsoft.com/office/drawing/2014/main" id="{98676478-B351-7099-D3A0-B732A8EB33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83467" y="3573313"/>
            <a:ext cx="771323" cy="771323"/>
          </a:xfrm>
          <a:prstGeom prst="rect">
            <a:avLst/>
          </a:prstGeom>
          <a:effectLst>
            <a:outerShdw blurRad="88900" dist="38100" dir="2700000" algn="tl" rotWithShape="0">
              <a:prstClr val="black">
                <a:alpha val="30000"/>
              </a:prstClr>
            </a:outerShdw>
          </a:effectLst>
        </p:spPr>
      </p:pic>
      <p:pic>
        <p:nvPicPr>
          <p:cNvPr id="38" name="Graphic 37" descr="Lights On">
            <a:extLst>
              <a:ext uri="{FF2B5EF4-FFF2-40B4-BE49-F238E27FC236}">
                <a16:creationId xmlns:a16="http://schemas.microsoft.com/office/drawing/2014/main" id="{149DDEAA-BD52-E738-DDCD-11D41B4CA9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4802" y="2632033"/>
            <a:ext cx="771323" cy="771323"/>
          </a:xfrm>
          <a:prstGeom prst="rect">
            <a:avLst/>
          </a:prstGeom>
          <a:effectLst>
            <a:outerShdw blurRad="88900" dist="38100" dir="2700000" algn="tl" rotWithShape="0">
              <a:prstClr val="black">
                <a:alpha val="30000"/>
              </a:prstClr>
            </a:outerShdw>
          </a:effectLst>
        </p:spPr>
      </p:pic>
      <p:grpSp>
        <p:nvGrpSpPr>
          <p:cNvPr id="39" name="Group 38">
            <a:extLst>
              <a:ext uri="{FF2B5EF4-FFF2-40B4-BE49-F238E27FC236}">
                <a16:creationId xmlns:a16="http://schemas.microsoft.com/office/drawing/2014/main" id="{59E64C43-24C7-E26D-DFDD-7FBFE4D87643}"/>
              </a:ext>
            </a:extLst>
          </p:cNvPr>
          <p:cNvGrpSpPr/>
          <p:nvPr/>
        </p:nvGrpSpPr>
        <p:grpSpPr>
          <a:xfrm>
            <a:off x="996397" y="1670269"/>
            <a:ext cx="1341378" cy="1048893"/>
            <a:chOff x="319755" y="4350748"/>
            <a:chExt cx="2088994" cy="1399253"/>
          </a:xfrm>
        </p:grpSpPr>
        <p:sp>
          <p:nvSpPr>
            <p:cNvPr id="40" name="TextBox 20">
              <a:extLst>
                <a:ext uri="{FF2B5EF4-FFF2-40B4-BE49-F238E27FC236}">
                  <a16:creationId xmlns:a16="http://schemas.microsoft.com/office/drawing/2014/main" id="{CDE7B2B0-BB60-0E66-C46F-E60E5E0EDA59}"/>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7931F"/>
                  </a:solidFill>
                  <a:latin typeface="Calibri" panose="020F0502020204030204"/>
                </a:rPr>
                <a:t>Lorem Ipsum</a:t>
              </a:r>
            </a:p>
          </p:txBody>
        </p:sp>
        <p:sp>
          <p:nvSpPr>
            <p:cNvPr id="41" name="Rectangle 40">
              <a:extLst>
                <a:ext uri="{FF2B5EF4-FFF2-40B4-BE49-F238E27FC236}">
                  <a16:creationId xmlns:a16="http://schemas.microsoft.com/office/drawing/2014/main" id="{21C3D6D2-C3A9-E59D-F785-AC75C27F557F}"/>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2" name="Group 41">
            <a:extLst>
              <a:ext uri="{FF2B5EF4-FFF2-40B4-BE49-F238E27FC236}">
                <a16:creationId xmlns:a16="http://schemas.microsoft.com/office/drawing/2014/main" id="{7C732775-7892-FC77-274D-BD3CCE7D4779}"/>
              </a:ext>
            </a:extLst>
          </p:cNvPr>
          <p:cNvGrpSpPr/>
          <p:nvPr/>
        </p:nvGrpSpPr>
        <p:grpSpPr>
          <a:xfrm>
            <a:off x="3898909" y="1670269"/>
            <a:ext cx="1341378" cy="1048893"/>
            <a:chOff x="319755" y="4350748"/>
            <a:chExt cx="2088994" cy="1399253"/>
          </a:xfrm>
        </p:grpSpPr>
        <p:sp>
          <p:nvSpPr>
            <p:cNvPr id="43" name="TextBox 23">
              <a:extLst>
                <a:ext uri="{FF2B5EF4-FFF2-40B4-BE49-F238E27FC236}">
                  <a16:creationId xmlns:a16="http://schemas.microsoft.com/office/drawing/2014/main" id="{10AE295F-08CC-35F5-02F9-1318680E41CC}"/>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FCC4C"/>
                  </a:solidFill>
                  <a:latin typeface="Calibri" panose="020F0502020204030204"/>
                </a:rPr>
                <a:t>Lorem Ipsum</a:t>
              </a:r>
            </a:p>
          </p:txBody>
        </p:sp>
        <p:sp>
          <p:nvSpPr>
            <p:cNvPr id="44" name="Rectangle 43">
              <a:extLst>
                <a:ext uri="{FF2B5EF4-FFF2-40B4-BE49-F238E27FC236}">
                  <a16:creationId xmlns:a16="http://schemas.microsoft.com/office/drawing/2014/main" id="{ED52BC82-E8E5-AE69-F578-C8ABD33CD62C}"/>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5" name="Group 44">
            <a:extLst>
              <a:ext uri="{FF2B5EF4-FFF2-40B4-BE49-F238E27FC236}">
                <a16:creationId xmlns:a16="http://schemas.microsoft.com/office/drawing/2014/main" id="{AA21B2D5-C27C-48E1-38EB-BC0342B7BD4B}"/>
              </a:ext>
            </a:extLst>
          </p:cNvPr>
          <p:cNvGrpSpPr/>
          <p:nvPr/>
        </p:nvGrpSpPr>
        <p:grpSpPr>
          <a:xfrm>
            <a:off x="6801421" y="1670269"/>
            <a:ext cx="1341378" cy="1048893"/>
            <a:chOff x="319755" y="4350748"/>
            <a:chExt cx="2088994" cy="1399253"/>
          </a:xfrm>
        </p:grpSpPr>
        <p:sp>
          <p:nvSpPr>
            <p:cNvPr id="46" name="TextBox 26">
              <a:extLst>
                <a:ext uri="{FF2B5EF4-FFF2-40B4-BE49-F238E27FC236}">
                  <a16:creationId xmlns:a16="http://schemas.microsoft.com/office/drawing/2014/main" id="{FFC019A3-C4B9-11E5-D85E-F819571537B9}"/>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A2B969"/>
                  </a:solidFill>
                  <a:latin typeface="Calibri" panose="020F0502020204030204"/>
                </a:rPr>
                <a:t>Lorem Ipsum</a:t>
              </a:r>
            </a:p>
          </p:txBody>
        </p:sp>
        <p:sp>
          <p:nvSpPr>
            <p:cNvPr id="47" name="Rectangle 46">
              <a:extLst>
                <a:ext uri="{FF2B5EF4-FFF2-40B4-BE49-F238E27FC236}">
                  <a16:creationId xmlns:a16="http://schemas.microsoft.com/office/drawing/2014/main" id="{6CEE12E4-BAAC-BA74-7D42-FEFD5478CB16}"/>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8" name="Group 47">
            <a:extLst>
              <a:ext uri="{FF2B5EF4-FFF2-40B4-BE49-F238E27FC236}">
                <a16:creationId xmlns:a16="http://schemas.microsoft.com/office/drawing/2014/main" id="{A8035457-B370-63BE-3BD3-19A2A6F6578F}"/>
              </a:ext>
            </a:extLst>
          </p:cNvPr>
          <p:cNvGrpSpPr/>
          <p:nvPr/>
        </p:nvGrpSpPr>
        <p:grpSpPr>
          <a:xfrm>
            <a:off x="2447653" y="4274953"/>
            <a:ext cx="1341378" cy="1048893"/>
            <a:chOff x="319755" y="4350748"/>
            <a:chExt cx="2088994" cy="1399253"/>
          </a:xfrm>
        </p:grpSpPr>
        <p:sp>
          <p:nvSpPr>
            <p:cNvPr id="49" name="TextBox 29">
              <a:extLst>
                <a:ext uri="{FF2B5EF4-FFF2-40B4-BE49-F238E27FC236}">
                  <a16:creationId xmlns:a16="http://schemas.microsoft.com/office/drawing/2014/main" id="{9AFF5A2C-60A7-5159-518C-407B25977D53}"/>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4CC1EF"/>
                  </a:solidFill>
                  <a:latin typeface="Calibri" panose="020F0502020204030204"/>
                </a:rPr>
                <a:t>Lorem Ipsum</a:t>
              </a:r>
            </a:p>
          </p:txBody>
        </p:sp>
        <p:sp>
          <p:nvSpPr>
            <p:cNvPr id="50" name="Rectangle 49">
              <a:extLst>
                <a:ext uri="{FF2B5EF4-FFF2-40B4-BE49-F238E27FC236}">
                  <a16:creationId xmlns:a16="http://schemas.microsoft.com/office/drawing/2014/main" id="{02DCACC9-94BF-189D-6136-D03F30EB2814}"/>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51" name="Group 50">
            <a:extLst>
              <a:ext uri="{FF2B5EF4-FFF2-40B4-BE49-F238E27FC236}">
                <a16:creationId xmlns:a16="http://schemas.microsoft.com/office/drawing/2014/main" id="{7F075EB5-2D17-3332-6858-ED2876345E8D}"/>
              </a:ext>
            </a:extLst>
          </p:cNvPr>
          <p:cNvGrpSpPr/>
          <p:nvPr/>
        </p:nvGrpSpPr>
        <p:grpSpPr>
          <a:xfrm>
            <a:off x="5350165" y="4274953"/>
            <a:ext cx="1341378" cy="1048893"/>
            <a:chOff x="319755" y="4350748"/>
            <a:chExt cx="2088994" cy="1399253"/>
          </a:xfrm>
        </p:grpSpPr>
        <p:sp>
          <p:nvSpPr>
            <p:cNvPr id="52" name="TextBox 32">
              <a:extLst>
                <a:ext uri="{FF2B5EF4-FFF2-40B4-BE49-F238E27FC236}">
                  <a16:creationId xmlns:a16="http://schemas.microsoft.com/office/drawing/2014/main" id="{49926F19-B9FA-8842-5F4A-9699021B261F}"/>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C13018">
                      <a:lumMod val="60000"/>
                      <a:lumOff val="40000"/>
                    </a:srgbClr>
                  </a:solidFill>
                  <a:latin typeface="Calibri" panose="020F0502020204030204"/>
                </a:rPr>
                <a:t>Lorem Ipsum</a:t>
              </a:r>
            </a:p>
          </p:txBody>
        </p:sp>
        <p:sp>
          <p:nvSpPr>
            <p:cNvPr id="53" name="Rectangle 52">
              <a:extLst>
                <a:ext uri="{FF2B5EF4-FFF2-40B4-BE49-F238E27FC236}">
                  <a16:creationId xmlns:a16="http://schemas.microsoft.com/office/drawing/2014/main" id="{197F484D-D540-8E02-8DD5-C524947B9B4E}"/>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pic>
        <p:nvPicPr>
          <p:cNvPr id="54" name="Graphic 53" descr="Bullseye">
            <a:extLst>
              <a:ext uri="{FF2B5EF4-FFF2-40B4-BE49-F238E27FC236}">
                <a16:creationId xmlns:a16="http://schemas.microsoft.com/office/drawing/2014/main" id="{9D187F65-7539-9739-702D-78AB3E6529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32445" y="2632033"/>
            <a:ext cx="771323" cy="771323"/>
          </a:xfrm>
          <a:prstGeom prst="rect">
            <a:avLst/>
          </a:prstGeom>
          <a:effectLst>
            <a:outerShdw blurRad="88900" dist="38100" dir="2700000" algn="tl" rotWithShape="0">
              <a:prstClr val="black">
                <a:alpha val="30000"/>
              </a:prstClr>
            </a:outerShdw>
          </a:effectLst>
        </p:spPr>
      </p:pic>
    </p:spTree>
    <p:extLst>
      <p:ext uri="{BB962C8B-B14F-4D97-AF65-F5344CB8AC3E}">
        <p14:creationId xmlns:p14="http://schemas.microsoft.com/office/powerpoint/2010/main" val="1837508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D2A57-00CA-44CC-E5E6-7FCE19A45AB6}"/>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8B083C4-F6AA-6293-0AEB-B1614AC38D44}"/>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58" name="Freeform: Shape 57">
            <a:extLst>
              <a:ext uri="{FF2B5EF4-FFF2-40B4-BE49-F238E27FC236}">
                <a16:creationId xmlns:a16="http://schemas.microsoft.com/office/drawing/2014/main" id="{4EB031F8-5F59-9EE6-ACE1-F433E5EA2FE0}"/>
              </a:ext>
            </a:extLst>
          </p:cNvPr>
          <p:cNvSpPr/>
          <p:nvPr/>
        </p:nvSpPr>
        <p:spPr>
          <a:xfrm rot="10800000">
            <a:off x="3267099" y="3730146"/>
            <a:ext cx="848321" cy="1102277"/>
          </a:xfrm>
          <a:custGeom>
            <a:avLst/>
            <a:gdLst>
              <a:gd name="connsiteX0" fmla="*/ 754456 w 1230099"/>
              <a:gd name="connsiteY0" fmla="*/ 1470468 h 1470468"/>
              <a:gd name="connsiteX1" fmla="*/ 0 w 1230099"/>
              <a:gd name="connsiteY1" fmla="*/ 1470468 h 1470468"/>
              <a:gd name="connsiteX2" fmla="*/ 98415 w 1230099"/>
              <a:gd name="connsiteY2" fmla="*/ 1300786 h 1470468"/>
              <a:gd name="connsiteX3" fmla="*/ 475643 w 1230099"/>
              <a:gd name="connsiteY3" fmla="*/ 650393 h 1470468"/>
              <a:gd name="connsiteX4" fmla="*/ 852871 w 1230099"/>
              <a:gd name="connsiteY4" fmla="*/ 0 h 1470468"/>
              <a:gd name="connsiteX5" fmla="*/ 1230099 w 1230099"/>
              <a:gd name="connsiteY5" fmla="*/ 650393 h 1470468"/>
              <a:gd name="connsiteX0" fmla="*/ 656041 w 1131684"/>
              <a:gd name="connsiteY0" fmla="*/ 1470468 h 1470468"/>
              <a:gd name="connsiteX1" fmla="*/ 0 w 1131684"/>
              <a:gd name="connsiteY1" fmla="*/ 1300786 h 1470468"/>
              <a:gd name="connsiteX2" fmla="*/ 377228 w 1131684"/>
              <a:gd name="connsiteY2" fmla="*/ 650393 h 1470468"/>
              <a:gd name="connsiteX3" fmla="*/ 754456 w 1131684"/>
              <a:gd name="connsiteY3" fmla="*/ 0 h 1470468"/>
              <a:gd name="connsiteX4" fmla="*/ 1131684 w 1131684"/>
              <a:gd name="connsiteY4" fmla="*/ 650393 h 1470468"/>
              <a:gd name="connsiteX5" fmla="*/ 656041 w 1131684"/>
              <a:gd name="connsiteY5" fmla="*/ 1470468 h 147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1684" h="1470468">
                <a:moveTo>
                  <a:pt x="656041" y="1470468"/>
                </a:moveTo>
                <a:lnTo>
                  <a:pt x="0" y="1300786"/>
                </a:lnTo>
                <a:lnTo>
                  <a:pt x="377228" y="650393"/>
                </a:lnTo>
                <a:lnTo>
                  <a:pt x="754456" y="0"/>
                </a:lnTo>
                <a:lnTo>
                  <a:pt x="1131684" y="650393"/>
                </a:lnTo>
                <a:lnTo>
                  <a:pt x="656041" y="1470468"/>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59" name="Freeform: Shape 58">
            <a:extLst>
              <a:ext uri="{FF2B5EF4-FFF2-40B4-BE49-F238E27FC236}">
                <a16:creationId xmlns:a16="http://schemas.microsoft.com/office/drawing/2014/main" id="{39C5DC65-A445-FFEA-C84D-E7B074572EF5}"/>
              </a:ext>
            </a:extLst>
          </p:cNvPr>
          <p:cNvSpPr/>
          <p:nvPr/>
        </p:nvSpPr>
        <p:spPr>
          <a:xfrm rot="10800000">
            <a:off x="2701995" y="2484515"/>
            <a:ext cx="1978971" cy="1245631"/>
          </a:xfrm>
          <a:custGeom>
            <a:avLst/>
            <a:gdLst>
              <a:gd name="connsiteX0" fmla="*/ 585608 w 2640003"/>
              <a:gd name="connsiteY0" fmla="*/ 1661706 h 1661706"/>
              <a:gd name="connsiteX1" fmla="*/ 0 w 2640003"/>
              <a:gd name="connsiteY1" fmla="*/ 1131103 h 1661706"/>
              <a:gd name="connsiteX2" fmla="*/ 1967607 w 2640003"/>
              <a:gd name="connsiteY2" fmla="*/ 0 h 1661706"/>
              <a:gd name="connsiteX3" fmla="*/ 2559340 w 2640003"/>
              <a:gd name="connsiteY3" fmla="*/ 341637 h 1661706"/>
              <a:gd name="connsiteX4" fmla="*/ 2640003 w 2640003"/>
              <a:gd name="connsiteY4" fmla="*/ 480711 h 1661706"/>
              <a:gd name="connsiteX0" fmla="*/ 585608 w 2640003"/>
              <a:gd name="connsiteY0" fmla="*/ 1661706 h 1661706"/>
              <a:gd name="connsiteX1" fmla="*/ 0 w 2640003"/>
              <a:gd name="connsiteY1" fmla="*/ 1131103 h 1661706"/>
              <a:gd name="connsiteX2" fmla="*/ 1967607 w 2640003"/>
              <a:gd name="connsiteY2" fmla="*/ 0 h 1661706"/>
              <a:gd name="connsiteX3" fmla="*/ 2640003 w 2640003"/>
              <a:gd name="connsiteY3" fmla="*/ 480711 h 1661706"/>
              <a:gd name="connsiteX4" fmla="*/ 585608 w 2640003"/>
              <a:gd name="connsiteY4" fmla="*/ 1661706 h 166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003" h="1661706">
                <a:moveTo>
                  <a:pt x="585608" y="1661706"/>
                </a:moveTo>
                <a:lnTo>
                  <a:pt x="0" y="1131103"/>
                </a:lnTo>
                <a:lnTo>
                  <a:pt x="1967607" y="0"/>
                </a:lnTo>
                <a:lnTo>
                  <a:pt x="2640003" y="480711"/>
                </a:lnTo>
                <a:lnTo>
                  <a:pt x="585608" y="1661706"/>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0" name="Freeform: Shape 59">
            <a:extLst>
              <a:ext uri="{FF2B5EF4-FFF2-40B4-BE49-F238E27FC236}">
                <a16:creationId xmlns:a16="http://schemas.microsoft.com/office/drawing/2014/main" id="{52A335DB-0FC7-B908-2227-1899C7B8E1CE}"/>
              </a:ext>
            </a:extLst>
          </p:cNvPr>
          <p:cNvSpPr/>
          <p:nvPr/>
        </p:nvSpPr>
        <p:spPr>
          <a:xfrm rot="10800000">
            <a:off x="2136002" y="1485347"/>
            <a:ext cx="3110512" cy="1301102"/>
          </a:xfrm>
          <a:custGeom>
            <a:avLst/>
            <a:gdLst>
              <a:gd name="connsiteX0" fmla="*/ 631437 w 4149509"/>
              <a:gd name="connsiteY0" fmla="*/ 1735707 h 1735707"/>
              <a:gd name="connsiteX1" fmla="*/ 0 w 4149509"/>
              <a:gd name="connsiteY1" fmla="*/ 1172972 h 1735707"/>
              <a:gd name="connsiteX2" fmla="*/ 3401617 w 4149509"/>
              <a:gd name="connsiteY2" fmla="*/ 0 h 1735707"/>
              <a:gd name="connsiteX3" fmla="*/ 4070347 w 4149509"/>
              <a:gd name="connsiteY3" fmla="*/ 386092 h 1735707"/>
              <a:gd name="connsiteX4" fmla="*/ 4149509 w 4149509"/>
              <a:gd name="connsiteY4" fmla="*/ 522578 h 1735707"/>
              <a:gd name="connsiteX0" fmla="*/ 631437 w 4149509"/>
              <a:gd name="connsiteY0" fmla="*/ 1735707 h 1735707"/>
              <a:gd name="connsiteX1" fmla="*/ 0 w 4149509"/>
              <a:gd name="connsiteY1" fmla="*/ 1172972 h 1735707"/>
              <a:gd name="connsiteX2" fmla="*/ 3401617 w 4149509"/>
              <a:gd name="connsiteY2" fmla="*/ 0 h 1735707"/>
              <a:gd name="connsiteX3" fmla="*/ 4149509 w 4149509"/>
              <a:gd name="connsiteY3" fmla="*/ 522578 h 1735707"/>
              <a:gd name="connsiteX4" fmla="*/ 631437 w 4149509"/>
              <a:gd name="connsiteY4" fmla="*/ 1735707 h 1735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509" h="1735707">
                <a:moveTo>
                  <a:pt x="631437" y="1735707"/>
                </a:moveTo>
                <a:lnTo>
                  <a:pt x="0" y="1172972"/>
                </a:lnTo>
                <a:lnTo>
                  <a:pt x="3401617" y="0"/>
                </a:lnTo>
                <a:lnTo>
                  <a:pt x="4149509" y="522578"/>
                </a:lnTo>
                <a:lnTo>
                  <a:pt x="631437" y="1735707"/>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1" name="TextBox 60">
            <a:extLst>
              <a:ext uri="{FF2B5EF4-FFF2-40B4-BE49-F238E27FC236}">
                <a16:creationId xmlns:a16="http://schemas.microsoft.com/office/drawing/2014/main" id="{A0388C7B-F81F-BF4E-C96B-FF0DEA4AA4EC}"/>
              </a:ext>
            </a:extLst>
          </p:cNvPr>
          <p:cNvSpPr txBox="1"/>
          <p:nvPr/>
        </p:nvSpPr>
        <p:spPr>
          <a:xfrm>
            <a:off x="-909254" y="1478838"/>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62" name="TextBox 61">
            <a:extLst>
              <a:ext uri="{FF2B5EF4-FFF2-40B4-BE49-F238E27FC236}">
                <a16:creationId xmlns:a16="http://schemas.microsoft.com/office/drawing/2014/main" id="{2D20FDE9-5A37-A121-ADB2-7D6C6197ACAC}"/>
              </a:ext>
            </a:extLst>
          </p:cNvPr>
          <p:cNvSpPr txBox="1"/>
          <p:nvPr/>
        </p:nvSpPr>
        <p:spPr>
          <a:xfrm>
            <a:off x="-343710" y="2453921"/>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63" name="TextBox 62">
            <a:extLst>
              <a:ext uri="{FF2B5EF4-FFF2-40B4-BE49-F238E27FC236}">
                <a16:creationId xmlns:a16="http://schemas.microsoft.com/office/drawing/2014/main" id="{147181CB-D5DD-35F0-6CA8-BB1B11158833}"/>
              </a:ext>
            </a:extLst>
          </p:cNvPr>
          <p:cNvSpPr txBox="1"/>
          <p:nvPr/>
        </p:nvSpPr>
        <p:spPr>
          <a:xfrm>
            <a:off x="221835" y="3429002"/>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64" name="Freeform: Shape 63">
            <a:extLst>
              <a:ext uri="{FF2B5EF4-FFF2-40B4-BE49-F238E27FC236}">
                <a16:creationId xmlns:a16="http://schemas.microsoft.com/office/drawing/2014/main" id="{500CCFCD-0AE4-D8E4-2680-8B50C7F21233}"/>
              </a:ext>
            </a:extLst>
          </p:cNvPr>
          <p:cNvSpPr/>
          <p:nvPr/>
        </p:nvSpPr>
        <p:spPr>
          <a:xfrm rot="10800000">
            <a:off x="5389980" y="1419640"/>
            <a:ext cx="2729513" cy="487540"/>
          </a:xfrm>
          <a:custGeom>
            <a:avLst/>
            <a:gdLst>
              <a:gd name="connsiteX0" fmla="*/ 3264020 w 3641247"/>
              <a:gd name="connsiteY0" fmla="*/ 650392 h 650392"/>
              <a:gd name="connsiteX1" fmla="*/ 0 w 3641247"/>
              <a:gd name="connsiteY1" fmla="*/ 650392 h 650392"/>
              <a:gd name="connsiteX2" fmla="*/ 0 w 3641247"/>
              <a:gd name="connsiteY2" fmla="*/ 0 h 650392"/>
              <a:gd name="connsiteX3" fmla="*/ 3641247 w 3641247"/>
              <a:gd name="connsiteY3" fmla="*/ 0 h 650392"/>
            </a:gdLst>
            <a:ahLst/>
            <a:cxnLst>
              <a:cxn ang="0">
                <a:pos x="connsiteX0" y="connsiteY0"/>
              </a:cxn>
              <a:cxn ang="0">
                <a:pos x="connsiteX1" y="connsiteY1"/>
              </a:cxn>
              <a:cxn ang="0">
                <a:pos x="connsiteX2" y="connsiteY2"/>
              </a:cxn>
              <a:cxn ang="0">
                <a:pos x="connsiteX3" y="connsiteY3"/>
              </a:cxn>
            </a:cxnLst>
            <a:rect l="l" t="t" r="r" b="b"/>
            <a:pathLst>
              <a:path w="3641247" h="650392">
                <a:moveTo>
                  <a:pt x="3264020" y="650392"/>
                </a:moveTo>
                <a:lnTo>
                  <a:pt x="0" y="650392"/>
                </a:lnTo>
                <a:lnTo>
                  <a:pt x="0" y="0"/>
                </a:lnTo>
                <a:lnTo>
                  <a:pt x="3641247" y="0"/>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5" name="Freeform: Shape 64">
            <a:extLst>
              <a:ext uri="{FF2B5EF4-FFF2-40B4-BE49-F238E27FC236}">
                <a16:creationId xmlns:a16="http://schemas.microsoft.com/office/drawing/2014/main" id="{B9998D98-E3AA-F0E1-AD17-B939B3445503}"/>
              </a:ext>
            </a:extLst>
          </p:cNvPr>
          <p:cNvSpPr/>
          <p:nvPr/>
        </p:nvSpPr>
        <p:spPr>
          <a:xfrm>
            <a:off x="4824433" y="2393959"/>
            <a:ext cx="3295061" cy="487541"/>
          </a:xfrm>
          <a:custGeom>
            <a:avLst/>
            <a:gdLst>
              <a:gd name="connsiteX0" fmla="*/ 377228 w 4395703"/>
              <a:gd name="connsiteY0" fmla="*/ 0 h 650393"/>
              <a:gd name="connsiteX1" fmla="*/ 2775553 w 4395703"/>
              <a:gd name="connsiteY1" fmla="*/ 0 h 650393"/>
              <a:gd name="connsiteX2" fmla="*/ 3395050 w 4395703"/>
              <a:gd name="connsiteY2" fmla="*/ 0 h 650393"/>
              <a:gd name="connsiteX3" fmla="*/ 4395703 w 4395703"/>
              <a:gd name="connsiteY3" fmla="*/ 0 h 650393"/>
              <a:gd name="connsiteX4" fmla="*/ 4395703 w 4395703"/>
              <a:gd name="connsiteY4" fmla="*/ 650393 h 650393"/>
              <a:gd name="connsiteX5" fmla="*/ 3772278 w 4395703"/>
              <a:gd name="connsiteY5" fmla="*/ 650393 h 650393"/>
              <a:gd name="connsiteX6" fmla="*/ 2398325 w 4395703"/>
              <a:gd name="connsiteY6" fmla="*/ 650393 h 650393"/>
              <a:gd name="connsiteX7" fmla="*/ 0 w 4395703"/>
              <a:gd name="connsiteY7" fmla="*/ 650393 h 65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5703" h="650393">
                <a:moveTo>
                  <a:pt x="377228" y="0"/>
                </a:moveTo>
                <a:lnTo>
                  <a:pt x="2775553" y="0"/>
                </a:lnTo>
                <a:lnTo>
                  <a:pt x="3395050" y="0"/>
                </a:lnTo>
                <a:lnTo>
                  <a:pt x="4395703" y="0"/>
                </a:lnTo>
                <a:lnTo>
                  <a:pt x="4395703" y="650393"/>
                </a:lnTo>
                <a:lnTo>
                  <a:pt x="3772278" y="650393"/>
                </a:lnTo>
                <a:lnTo>
                  <a:pt x="2398325" y="650393"/>
                </a:lnTo>
                <a:lnTo>
                  <a:pt x="0" y="650393"/>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6" name="Freeform: Shape 65">
            <a:extLst>
              <a:ext uri="{FF2B5EF4-FFF2-40B4-BE49-F238E27FC236}">
                <a16:creationId xmlns:a16="http://schemas.microsoft.com/office/drawing/2014/main" id="{9C3F4E24-548E-381E-04E9-6550D313A489}"/>
              </a:ext>
            </a:extLst>
          </p:cNvPr>
          <p:cNvSpPr/>
          <p:nvPr/>
        </p:nvSpPr>
        <p:spPr>
          <a:xfrm>
            <a:off x="4258887" y="3369801"/>
            <a:ext cx="3860607" cy="487541"/>
          </a:xfrm>
          <a:custGeom>
            <a:avLst/>
            <a:gdLst>
              <a:gd name="connsiteX0" fmla="*/ 377228 w 5150157"/>
              <a:gd name="connsiteY0" fmla="*/ 0 h 650393"/>
              <a:gd name="connsiteX1" fmla="*/ 1516488 w 5150157"/>
              <a:gd name="connsiteY1" fmla="*/ 0 h 650393"/>
              <a:gd name="connsiteX2" fmla="*/ 1886140 w 5150157"/>
              <a:gd name="connsiteY2" fmla="*/ 0 h 650393"/>
              <a:gd name="connsiteX3" fmla="*/ 5150157 w 5150157"/>
              <a:gd name="connsiteY3" fmla="*/ 0 h 650393"/>
              <a:gd name="connsiteX4" fmla="*/ 5150157 w 5150157"/>
              <a:gd name="connsiteY4" fmla="*/ 650393 h 650393"/>
              <a:gd name="connsiteX5" fmla="*/ 2263368 w 5150157"/>
              <a:gd name="connsiteY5" fmla="*/ 650393 h 650393"/>
              <a:gd name="connsiteX6" fmla="*/ 499461 w 5150157"/>
              <a:gd name="connsiteY6" fmla="*/ 650393 h 650393"/>
              <a:gd name="connsiteX7" fmla="*/ 0 w 5150157"/>
              <a:gd name="connsiteY7" fmla="*/ 650393 h 65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0157" h="650393">
                <a:moveTo>
                  <a:pt x="377228" y="0"/>
                </a:moveTo>
                <a:lnTo>
                  <a:pt x="1516488" y="0"/>
                </a:lnTo>
                <a:lnTo>
                  <a:pt x="1886140" y="0"/>
                </a:lnTo>
                <a:lnTo>
                  <a:pt x="5150157" y="0"/>
                </a:lnTo>
                <a:lnTo>
                  <a:pt x="5150157" y="650393"/>
                </a:lnTo>
                <a:lnTo>
                  <a:pt x="2263368" y="650393"/>
                </a:lnTo>
                <a:lnTo>
                  <a:pt x="499461" y="650393"/>
                </a:lnTo>
                <a:lnTo>
                  <a:pt x="0" y="650393"/>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7" name="TextBox 66">
            <a:extLst>
              <a:ext uri="{FF2B5EF4-FFF2-40B4-BE49-F238E27FC236}">
                <a16:creationId xmlns:a16="http://schemas.microsoft.com/office/drawing/2014/main" id="{3743B4FA-A454-ECF0-D90B-195C21987C4A}"/>
              </a:ext>
            </a:extLst>
          </p:cNvPr>
          <p:cNvSpPr txBox="1"/>
          <p:nvPr/>
        </p:nvSpPr>
        <p:spPr>
          <a:xfrm>
            <a:off x="5699223" y="1409624"/>
            <a:ext cx="2193418" cy="507567"/>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 sodales mauris, cras.</a:t>
            </a:r>
          </a:p>
        </p:txBody>
      </p:sp>
      <p:sp>
        <p:nvSpPr>
          <p:cNvPr id="68" name="TextBox 67">
            <a:extLst>
              <a:ext uri="{FF2B5EF4-FFF2-40B4-BE49-F238E27FC236}">
                <a16:creationId xmlns:a16="http://schemas.microsoft.com/office/drawing/2014/main" id="{8F7688F9-F19E-2B14-6215-60CCD025DAC3}"/>
              </a:ext>
            </a:extLst>
          </p:cNvPr>
          <p:cNvSpPr txBox="1"/>
          <p:nvPr/>
        </p:nvSpPr>
        <p:spPr>
          <a:xfrm>
            <a:off x="5133673" y="2384706"/>
            <a:ext cx="2758968" cy="507567"/>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 sodales mauris, cras phare.</a:t>
            </a:r>
          </a:p>
        </p:txBody>
      </p:sp>
      <p:sp>
        <p:nvSpPr>
          <p:cNvPr id="69" name="TextBox 68">
            <a:extLst>
              <a:ext uri="{FF2B5EF4-FFF2-40B4-BE49-F238E27FC236}">
                <a16:creationId xmlns:a16="http://schemas.microsoft.com/office/drawing/2014/main" id="{7372D89F-976F-EEB0-27F1-FEAB74FD38DD}"/>
              </a:ext>
            </a:extLst>
          </p:cNvPr>
          <p:cNvSpPr txBox="1"/>
          <p:nvPr/>
        </p:nvSpPr>
        <p:spPr>
          <a:xfrm>
            <a:off x="4568127" y="3429000"/>
            <a:ext cx="3324513"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 sodales mauris, cras phare.</a:t>
            </a:r>
          </a:p>
        </p:txBody>
      </p:sp>
      <p:sp>
        <p:nvSpPr>
          <p:cNvPr id="70" name="Freeform: Shape 69">
            <a:extLst>
              <a:ext uri="{FF2B5EF4-FFF2-40B4-BE49-F238E27FC236}">
                <a16:creationId xmlns:a16="http://schemas.microsoft.com/office/drawing/2014/main" id="{306A03BA-4088-B2D0-9FAC-EC092DFA2D0B}"/>
              </a:ext>
            </a:extLst>
          </p:cNvPr>
          <p:cNvSpPr/>
          <p:nvPr/>
        </p:nvSpPr>
        <p:spPr>
          <a:xfrm rot="21147748">
            <a:off x="2323161" y="1619472"/>
            <a:ext cx="2906130" cy="506509"/>
          </a:xfrm>
          <a:custGeom>
            <a:avLst/>
            <a:gdLst>
              <a:gd name="connsiteX0" fmla="*/ 3324695 w 3876859"/>
              <a:gd name="connsiteY0" fmla="*/ 0 h 675697"/>
              <a:gd name="connsiteX1" fmla="*/ 3876859 w 3876859"/>
              <a:gd name="connsiteY1" fmla="*/ 640702 h 675697"/>
              <a:gd name="connsiteX2" fmla="*/ 3704669 w 3876859"/>
              <a:gd name="connsiteY2" fmla="*/ 675697 h 675697"/>
              <a:gd name="connsiteX3" fmla="*/ 0 w 3876859"/>
              <a:gd name="connsiteY3" fmla="*/ 675697 h 675697"/>
              <a:gd name="connsiteX0" fmla="*/ 3324695 w 3876859"/>
              <a:gd name="connsiteY0" fmla="*/ 0 h 675697"/>
              <a:gd name="connsiteX1" fmla="*/ 3876859 w 3876859"/>
              <a:gd name="connsiteY1" fmla="*/ 640702 h 675697"/>
              <a:gd name="connsiteX2" fmla="*/ 0 w 3876859"/>
              <a:gd name="connsiteY2" fmla="*/ 675697 h 675697"/>
              <a:gd name="connsiteX3" fmla="*/ 3324695 w 3876859"/>
              <a:gd name="connsiteY3" fmla="*/ 0 h 675697"/>
            </a:gdLst>
            <a:ahLst/>
            <a:cxnLst>
              <a:cxn ang="0">
                <a:pos x="connsiteX0" y="connsiteY0"/>
              </a:cxn>
              <a:cxn ang="0">
                <a:pos x="connsiteX1" y="connsiteY1"/>
              </a:cxn>
              <a:cxn ang="0">
                <a:pos x="connsiteX2" y="connsiteY2"/>
              </a:cxn>
              <a:cxn ang="0">
                <a:pos x="connsiteX3" y="connsiteY3"/>
              </a:cxn>
            </a:cxnLst>
            <a:rect l="l" t="t" r="r" b="b"/>
            <a:pathLst>
              <a:path w="3876859" h="675697">
                <a:moveTo>
                  <a:pt x="3324695" y="0"/>
                </a:moveTo>
                <a:lnTo>
                  <a:pt x="3876859" y="640702"/>
                </a:lnTo>
                <a:lnTo>
                  <a:pt x="0" y="675697"/>
                </a:lnTo>
                <a:lnTo>
                  <a:pt x="3324695" y="0"/>
                </a:lnTo>
                <a:close/>
              </a:path>
            </a:pathLst>
          </a:custGeom>
          <a:solidFill>
            <a:sysClr val="windowText" lastClr="000000">
              <a:alpha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1" name="Freeform: Shape 70">
            <a:extLst>
              <a:ext uri="{FF2B5EF4-FFF2-40B4-BE49-F238E27FC236}">
                <a16:creationId xmlns:a16="http://schemas.microsoft.com/office/drawing/2014/main" id="{EABE710C-D174-F7B5-45A7-AFBB19B761AA}"/>
              </a:ext>
            </a:extLst>
          </p:cNvPr>
          <p:cNvSpPr/>
          <p:nvPr/>
        </p:nvSpPr>
        <p:spPr>
          <a:xfrm rot="21147748">
            <a:off x="3134177" y="2532262"/>
            <a:ext cx="1524903" cy="469616"/>
          </a:xfrm>
          <a:custGeom>
            <a:avLst/>
            <a:gdLst>
              <a:gd name="connsiteX0" fmla="*/ 1523317 w 2034263"/>
              <a:gd name="connsiteY0" fmla="*/ 0 h 626481"/>
              <a:gd name="connsiteX1" fmla="*/ 2034263 w 2034263"/>
              <a:gd name="connsiteY1" fmla="*/ 602836 h 626481"/>
              <a:gd name="connsiteX2" fmla="*/ 1976769 w 2034263"/>
              <a:gd name="connsiteY2" fmla="*/ 626481 h 626481"/>
              <a:gd name="connsiteX3" fmla="*/ 0 w 2034263"/>
              <a:gd name="connsiteY3" fmla="*/ 626481 h 626481"/>
              <a:gd name="connsiteX0" fmla="*/ 1523317 w 2034263"/>
              <a:gd name="connsiteY0" fmla="*/ 0 h 626481"/>
              <a:gd name="connsiteX1" fmla="*/ 2034263 w 2034263"/>
              <a:gd name="connsiteY1" fmla="*/ 602836 h 626481"/>
              <a:gd name="connsiteX2" fmla="*/ 0 w 2034263"/>
              <a:gd name="connsiteY2" fmla="*/ 626481 h 626481"/>
              <a:gd name="connsiteX3" fmla="*/ 1523317 w 2034263"/>
              <a:gd name="connsiteY3" fmla="*/ 0 h 626481"/>
            </a:gdLst>
            <a:ahLst/>
            <a:cxnLst>
              <a:cxn ang="0">
                <a:pos x="connsiteX0" y="connsiteY0"/>
              </a:cxn>
              <a:cxn ang="0">
                <a:pos x="connsiteX1" y="connsiteY1"/>
              </a:cxn>
              <a:cxn ang="0">
                <a:pos x="connsiteX2" y="connsiteY2"/>
              </a:cxn>
              <a:cxn ang="0">
                <a:pos x="connsiteX3" y="connsiteY3"/>
              </a:cxn>
            </a:cxnLst>
            <a:rect l="l" t="t" r="r" b="b"/>
            <a:pathLst>
              <a:path w="2034263" h="626481">
                <a:moveTo>
                  <a:pt x="1523317" y="0"/>
                </a:moveTo>
                <a:lnTo>
                  <a:pt x="2034263" y="602836"/>
                </a:lnTo>
                <a:lnTo>
                  <a:pt x="0" y="626481"/>
                </a:lnTo>
                <a:lnTo>
                  <a:pt x="1523317" y="0"/>
                </a:lnTo>
                <a:close/>
              </a:path>
            </a:pathLst>
          </a:custGeom>
          <a:solidFill>
            <a:sysClr val="windowText" lastClr="000000">
              <a:alpha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2" name="Freeform: Shape 71">
            <a:extLst>
              <a:ext uri="{FF2B5EF4-FFF2-40B4-BE49-F238E27FC236}">
                <a16:creationId xmlns:a16="http://schemas.microsoft.com/office/drawing/2014/main" id="{CAEE1443-50F8-3F7F-5E90-27FDC8244EB5}"/>
              </a:ext>
            </a:extLst>
          </p:cNvPr>
          <p:cNvSpPr/>
          <p:nvPr/>
        </p:nvSpPr>
        <p:spPr>
          <a:xfrm rot="21147748">
            <a:off x="3476655" y="3708813"/>
            <a:ext cx="630016" cy="206313"/>
          </a:xfrm>
          <a:custGeom>
            <a:avLst/>
            <a:gdLst>
              <a:gd name="connsiteX0" fmla="*/ 212345 w 840459"/>
              <a:gd name="connsiteY0" fmla="*/ 0 h 275226"/>
              <a:gd name="connsiteX1" fmla="*/ 840459 w 840459"/>
              <a:gd name="connsiteY1" fmla="*/ 254272 h 275226"/>
              <a:gd name="connsiteX2" fmla="*/ 824292 w 840459"/>
              <a:gd name="connsiteY2" fmla="*/ 275226 h 275226"/>
              <a:gd name="connsiteX3" fmla="*/ 0 w 840459"/>
              <a:gd name="connsiteY3" fmla="*/ 275226 h 275226"/>
              <a:gd name="connsiteX0" fmla="*/ 212345 w 840459"/>
              <a:gd name="connsiteY0" fmla="*/ 0 h 275226"/>
              <a:gd name="connsiteX1" fmla="*/ 840459 w 840459"/>
              <a:gd name="connsiteY1" fmla="*/ 254272 h 275226"/>
              <a:gd name="connsiteX2" fmla="*/ 0 w 840459"/>
              <a:gd name="connsiteY2" fmla="*/ 275226 h 275226"/>
              <a:gd name="connsiteX3" fmla="*/ 212345 w 840459"/>
              <a:gd name="connsiteY3" fmla="*/ 0 h 275226"/>
            </a:gdLst>
            <a:ahLst/>
            <a:cxnLst>
              <a:cxn ang="0">
                <a:pos x="connsiteX0" y="connsiteY0"/>
              </a:cxn>
              <a:cxn ang="0">
                <a:pos x="connsiteX1" y="connsiteY1"/>
              </a:cxn>
              <a:cxn ang="0">
                <a:pos x="connsiteX2" y="connsiteY2"/>
              </a:cxn>
              <a:cxn ang="0">
                <a:pos x="connsiteX3" y="connsiteY3"/>
              </a:cxn>
            </a:cxnLst>
            <a:rect l="l" t="t" r="r" b="b"/>
            <a:pathLst>
              <a:path w="840459" h="275226">
                <a:moveTo>
                  <a:pt x="212345" y="0"/>
                </a:moveTo>
                <a:lnTo>
                  <a:pt x="840459" y="254272"/>
                </a:lnTo>
                <a:lnTo>
                  <a:pt x="0" y="275226"/>
                </a:lnTo>
                <a:lnTo>
                  <a:pt x="212345" y="0"/>
                </a:lnTo>
                <a:close/>
              </a:path>
            </a:pathLst>
          </a:custGeom>
          <a:solidFill>
            <a:sysClr val="windowText" lastClr="000000">
              <a:alpha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3" name="Freeform: Shape 72">
            <a:extLst>
              <a:ext uri="{FF2B5EF4-FFF2-40B4-BE49-F238E27FC236}">
                <a16:creationId xmlns:a16="http://schemas.microsoft.com/office/drawing/2014/main" id="{8D708A6A-E8C2-B8A6-DBA7-184CE0D3FB09}"/>
              </a:ext>
            </a:extLst>
          </p:cNvPr>
          <p:cNvSpPr/>
          <p:nvPr/>
        </p:nvSpPr>
        <p:spPr>
          <a:xfrm>
            <a:off x="1570461" y="1419639"/>
            <a:ext cx="3958830" cy="487540"/>
          </a:xfrm>
          <a:custGeom>
            <a:avLst/>
            <a:gdLst>
              <a:gd name="connsiteX0" fmla="*/ 0 w 5281189"/>
              <a:gd name="connsiteY0" fmla="*/ 0 h 650392"/>
              <a:gd name="connsiteX1" fmla="*/ 5281189 w 5281189"/>
              <a:gd name="connsiteY1" fmla="*/ 0 h 650392"/>
              <a:gd name="connsiteX2" fmla="*/ 4903962 w 5281189"/>
              <a:gd name="connsiteY2" fmla="*/ 650392 h 650392"/>
              <a:gd name="connsiteX3" fmla="*/ 377228 w 5281189"/>
              <a:gd name="connsiteY3" fmla="*/ 650392 h 650392"/>
            </a:gdLst>
            <a:ahLst/>
            <a:cxnLst>
              <a:cxn ang="0">
                <a:pos x="connsiteX0" y="connsiteY0"/>
              </a:cxn>
              <a:cxn ang="0">
                <a:pos x="connsiteX1" y="connsiteY1"/>
              </a:cxn>
              <a:cxn ang="0">
                <a:pos x="connsiteX2" y="connsiteY2"/>
              </a:cxn>
              <a:cxn ang="0">
                <a:pos x="connsiteX3" y="connsiteY3"/>
              </a:cxn>
            </a:cxnLst>
            <a:rect l="l" t="t" r="r" b="b"/>
            <a:pathLst>
              <a:path w="5281189" h="650392">
                <a:moveTo>
                  <a:pt x="0" y="0"/>
                </a:moveTo>
                <a:lnTo>
                  <a:pt x="5281189" y="0"/>
                </a:lnTo>
                <a:lnTo>
                  <a:pt x="4903962" y="650392"/>
                </a:lnTo>
                <a:lnTo>
                  <a:pt x="377228" y="650392"/>
                </a:lnTo>
                <a:close/>
              </a:path>
            </a:pathLst>
          </a:custGeom>
          <a:solidFill>
            <a:srgbClr val="F7931F"/>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4" name="TextBox 73">
            <a:extLst>
              <a:ext uri="{FF2B5EF4-FFF2-40B4-BE49-F238E27FC236}">
                <a16:creationId xmlns:a16="http://schemas.microsoft.com/office/drawing/2014/main" id="{F42CD524-A0DB-C6F1-F61A-ED14B4D2B046}"/>
              </a:ext>
            </a:extLst>
          </p:cNvPr>
          <p:cNvSpPr txBox="1"/>
          <p:nvPr/>
        </p:nvSpPr>
        <p:spPr>
          <a:xfrm>
            <a:off x="3302179" y="1432697"/>
            <a:ext cx="495391" cy="461425"/>
          </a:xfrm>
          <a:prstGeom prst="rect">
            <a:avLst/>
          </a:prstGeom>
          <a:noFill/>
        </p:spPr>
        <p:txBody>
          <a:bodyPr wrap="none" rtlCol="0" anchor="ctr">
            <a:spAutoFit/>
          </a:bodyPr>
          <a:lstStyle/>
          <a:p>
            <a:pPr algn="ctr"/>
            <a:r>
              <a:rPr lang="en-US" sz="2399" b="1">
                <a:solidFill>
                  <a:prstClr val="black"/>
                </a:solidFill>
                <a:latin typeface="Calibri" panose="020F0502020204030204"/>
              </a:rPr>
              <a:t>01</a:t>
            </a:r>
          </a:p>
        </p:txBody>
      </p:sp>
      <p:sp>
        <p:nvSpPr>
          <p:cNvPr id="75" name="Freeform: Shape 74">
            <a:extLst>
              <a:ext uri="{FF2B5EF4-FFF2-40B4-BE49-F238E27FC236}">
                <a16:creationId xmlns:a16="http://schemas.microsoft.com/office/drawing/2014/main" id="{47248B19-F36B-1593-BF5C-F0E0277B0380}"/>
              </a:ext>
            </a:extLst>
          </p:cNvPr>
          <p:cNvSpPr/>
          <p:nvPr/>
        </p:nvSpPr>
        <p:spPr>
          <a:xfrm rot="10800000">
            <a:off x="2136005" y="2394720"/>
            <a:ext cx="2827736" cy="487541"/>
          </a:xfrm>
          <a:custGeom>
            <a:avLst/>
            <a:gdLst>
              <a:gd name="connsiteX0" fmla="*/ 3772278 w 3772278"/>
              <a:gd name="connsiteY0" fmla="*/ 650393 h 650393"/>
              <a:gd name="connsiteX1" fmla="*/ 0 w 3772278"/>
              <a:gd name="connsiteY1" fmla="*/ 650393 h 650393"/>
              <a:gd name="connsiteX2" fmla="*/ 377228 w 3772278"/>
              <a:gd name="connsiteY2" fmla="*/ 0 h 650393"/>
              <a:gd name="connsiteX3" fmla="*/ 3395050 w 3772278"/>
              <a:gd name="connsiteY3" fmla="*/ 0 h 650393"/>
            </a:gdLst>
            <a:ahLst/>
            <a:cxnLst>
              <a:cxn ang="0">
                <a:pos x="connsiteX0" y="connsiteY0"/>
              </a:cxn>
              <a:cxn ang="0">
                <a:pos x="connsiteX1" y="connsiteY1"/>
              </a:cxn>
              <a:cxn ang="0">
                <a:pos x="connsiteX2" y="connsiteY2"/>
              </a:cxn>
              <a:cxn ang="0">
                <a:pos x="connsiteX3" y="connsiteY3"/>
              </a:cxn>
            </a:cxnLst>
            <a:rect l="l" t="t" r="r" b="b"/>
            <a:pathLst>
              <a:path w="3772278" h="650393">
                <a:moveTo>
                  <a:pt x="3772278" y="650393"/>
                </a:moveTo>
                <a:lnTo>
                  <a:pt x="0" y="650393"/>
                </a:lnTo>
                <a:lnTo>
                  <a:pt x="377228" y="0"/>
                </a:lnTo>
                <a:lnTo>
                  <a:pt x="3395050" y="0"/>
                </a:lnTo>
                <a:close/>
              </a:path>
            </a:pathLst>
          </a:custGeom>
          <a:solidFill>
            <a:srgbClr val="4CC1EF"/>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6" name="TextBox 75">
            <a:extLst>
              <a:ext uri="{FF2B5EF4-FFF2-40B4-BE49-F238E27FC236}">
                <a16:creationId xmlns:a16="http://schemas.microsoft.com/office/drawing/2014/main" id="{1914D403-105F-88ED-FDE4-0F7814040FDB}"/>
              </a:ext>
            </a:extLst>
          </p:cNvPr>
          <p:cNvSpPr txBox="1"/>
          <p:nvPr/>
        </p:nvSpPr>
        <p:spPr>
          <a:xfrm>
            <a:off x="3302179" y="2407778"/>
            <a:ext cx="495391" cy="461425"/>
          </a:xfrm>
          <a:prstGeom prst="rect">
            <a:avLst/>
          </a:prstGeom>
          <a:noFill/>
        </p:spPr>
        <p:txBody>
          <a:bodyPr wrap="none" rtlCol="0" anchor="ctr">
            <a:spAutoFit/>
          </a:bodyPr>
          <a:lstStyle/>
          <a:p>
            <a:pPr algn="ctr"/>
            <a:r>
              <a:rPr lang="en-US" sz="2399" b="1">
                <a:solidFill>
                  <a:prstClr val="black"/>
                </a:solidFill>
                <a:latin typeface="Calibri" panose="020F0502020204030204"/>
              </a:rPr>
              <a:t>02</a:t>
            </a:r>
          </a:p>
        </p:txBody>
      </p:sp>
      <p:sp>
        <p:nvSpPr>
          <p:cNvPr id="77" name="Freeform: Shape 76">
            <a:extLst>
              <a:ext uri="{FF2B5EF4-FFF2-40B4-BE49-F238E27FC236}">
                <a16:creationId xmlns:a16="http://schemas.microsoft.com/office/drawing/2014/main" id="{54C3DC3C-7858-6422-0560-51810239C3BD}"/>
              </a:ext>
            </a:extLst>
          </p:cNvPr>
          <p:cNvSpPr/>
          <p:nvPr/>
        </p:nvSpPr>
        <p:spPr>
          <a:xfrm rot="10800000">
            <a:off x="2701551" y="3369801"/>
            <a:ext cx="1696642" cy="487541"/>
          </a:xfrm>
          <a:custGeom>
            <a:avLst/>
            <a:gdLst>
              <a:gd name="connsiteX0" fmla="*/ 2263368 w 2263368"/>
              <a:gd name="connsiteY0" fmla="*/ 650393 h 650393"/>
              <a:gd name="connsiteX1" fmla="*/ 0 w 2263368"/>
              <a:gd name="connsiteY1" fmla="*/ 650393 h 650393"/>
              <a:gd name="connsiteX2" fmla="*/ 377228 w 2263368"/>
              <a:gd name="connsiteY2" fmla="*/ 0 h 650393"/>
              <a:gd name="connsiteX3" fmla="*/ 1886140 w 2263368"/>
              <a:gd name="connsiteY3" fmla="*/ 0 h 650393"/>
            </a:gdLst>
            <a:ahLst/>
            <a:cxnLst>
              <a:cxn ang="0">
                <a:pos x="connsiteX0" y="connsiteY0"/>
              </a:cxn>
              <a:cxn ang="0">
                <a:pos x="connsiteX1" y="connsiteY1"/>
              </a:cxn>
              <a:cxn ang="0">
                <a:pos x="connsiteX2" y="connsiteY2"/>
              </a:cxn>
              <a:cxn ang="0">
                <a:pos x="connsiteX3" y="connsiteY3"/>
              </a:cxn>
            </a:cxnLst>
            <a:rect l="l" t="t" r="r" b="b"/>
            <a:pathLst>
              <a:path w="2263368" h="650393">
                <a:moveTo>
                  <a:pt x="2263368" y="650393"/>
                </a:moveTo>
                <a:lnTo>
                  <a:pt x="0" y="650393"/>
                </a:lnTo>
                <a:lnTo>
                  <a:pt x="377228" y="0"/>
                </a:lnTo>
                <a:lnTo>
                  <a:pt x="1886140" y="0"/>
                </a:lnTo>
                <a:close/>
              </a:path>
            </a:pathLst>
          </a:custGeom>
          <a:solidFill>
            <a:srgbClr val="A2B969"/>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8" name="TextBox 77">
            <a:extLst>
              <a:ext uri="{FF2B5EF4-FFF2-40B4-BE49-F238E27FC236}">
                <a16:creationId xmlns:a16="http://schemas.microsoft.com/office/drawing/2014/main" id="{EC1CB1D6-0DA5-9BD5-2FA2-05DAA1B8A344}"/>
              </a:ext>
            </a:extLst>
          </p:cNvPr>
          <p:cNvSpPr txBox="1"/>
          <p:nvPr/>
        </p:nvSpPr>
        <p:spPr>
          <a:xfrm>
            <a:off x="3302179" y="3382859"/>
            <a:ext cx="495391" cy="461425"/>
          </a:xfrm>
          <a:prstGeom prst="rect">
            <a:avLst/>
          </a:prstGeom>
          <a:noFill/>
        </p:spPr>
        <p:txBody>
          <a:bodyPr wrap="none" rtlCol="0" anchor="ctr">
            <a:spAutoFit/>
          </a:bodyPr>
          <a:lstStyle/>
          <a:p>
            <a:pPr algn="ctr"/>
            <a:r>
              <a:rPr lang="en-US" sz="2399" b="1">
                <a:solidFill>
                  <a:prstClr val="black"/>
                </a:solidFill>
                <a:latin typeface="Calibri" panose="020F0502020204030204"/>
              </a:rPr>
              <a:t>03</a:t>
            </a:r>
          </a:p>
        </p:txBody>
      </p:sp>
    </p:spTree>
    <p:extLst>
      <p:ext uri="{BB962C8B-B14F-4D97-AF65-F5344CB8AC3E}">
        <p14:creationId xmlns:p14="http://schemas.microsoft.com/office/powerpoint/2010/main" val="961034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75748-0104-2588-9651-1BF75E366510}"/>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51D6A95-517F-B3B7-BA54-B84DAB346D0A}"/>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38" name="Freeform: Shape 37">
            <a:extLst>
              <a:ext uri="{FF2B5EF4-FFF2-40B4-BE49-F238E27FC236}">
                <a16:creationId xmlns:a16="http://schemas.microsoft.com/office/drawing/2014/main" id="{EB464F8A-D0D3-4206-3D00-0527701DC196}"/>
              </a:ext>
            </a:extLst>
          </p:cNvPr>
          <p:cNvSpPr/>
          <p:nvPr/>
        </p:nvSpPr>
        <p:spPr>
          <a:xfrm>
            <a:off x="3140772" y="2929056"/>
            <a:ext cx="1979416" cy="735273"/>
          </a:xfrm>
          <a:custGeom>
            <a:avLst/>
            <a:gdLst>
              <a:gd name="connsiteX0" fmla="*/ 2045866 w 2680270"/>
              <a:gd name="connsiteY0" fmla="*/ 0 h 980874"/>
              <a:gd name="connsiteX1" fmla="*/ 2680270 w 2680270"/>
              <a:gd name="connsiteY1" fmla="*/ 223180 h 980874"/>
              <a:gd name="connsiteX2" fmla="*/ 2640596 w 2680270"/>
              <a:gd name="connsiteY2" fmla="*/ 291583 h 980874"/>
              <a:gd name="connsiteX3" fmla="*/ 641651 w 2680270"/>
              <a:gd name="connsiteY3" fmla="*/ 980874 h 980874"/>
              <a:gd name="connsiteX4" fmla="*/ 36197 w 2680270"/>
              <a:gd name="connsiteY4" fmla="*/ 767878 h 980874"/>
              <a:gd name="connsiteX5" fmla="*/ 0 w 2680270"/>
              <a:gd name="connsiteY5" fmla="*/ 705470 h 980874"/>
              <a:gd name="connsiteX0" fmla="*/ 2045866 w 2640596"/>
              <a:gd name="connsiteY0" fmla="*/ 0 h 980874"/>
              <a:gd name="connsiteX1" fmla="*/ 2640596 w 2640596"/>
              <a:gd name="connsiteY1" fmla="*/ 291583 h 980874"/>
              <a:gd name="connsiteX2" fmla="*/ 641651 w 2640596"/>
              <a:gd name="connsiteY2" fmla="*/ 980874 h 980874"/>
              <a:gd name="connsiteX3" fmla="*/ 36197 w 2640596"/>
              <a:gd name="connsiteY3" fmla="*/ 767878 h 980874"/>
              <a:gd name="connsiteX4" fmla="*/ 0 w 2640596"/>
              <a:gd name="connsiteY4" fmla="*/ 705470 h 980874"/>
              <a:gd name="connsiteX5" fmla="*/ 2045866 w 2640596"/>
              <a:gd name="connsiteY5" fmla="*/ 0 h 980874"/>
              <a:gd name="connsiteX0" fmla="*/ 2045866 w 2640596"/>
              <a:gd name="connsiteY0" fmla="*/ 0 h 980874"/>
              <a:gd name="connsiteX1" fmla="*/ 2640596 w 2640596"/>
              <a:gd name="connsiteY1" fmla="*/ 291583 h 980874"/>
              <a:gd name="connsiteX2" fmla="*/ 641651 w 2640596"/>
              <a:gd name="connsiteY2" fmla="*/ 980874 h 980874"/>
              <a:gd name="connsiteX3" fmla="*/ 0 w 2640596"/>
              <a:gd name="connsiteY3" fmla="*/ 705470 h 980874"/>
              <a:gd name="connsiteX4" fmla="*/ 2045866 w 2640596"/>
              <a:gd name="connsiteY4" fmla="*/ 0 h 980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0596" h="980874">
                <a:moveTo>
                  <a:pt x="2045866" y="0"/>
                </a:moveTo>
                <a:lnTo>
                  <a:pt x="2640596" y="291583"/>
                </a:lnTo>
                <a:lnTo>
                  <a:pt x="641651" y="980874"/>
                </a:lnTo>
                <a:lnTo>
                  <a:pt x="0" y="705470"/>
                </a:lnTo>
                <a:lnTo>
                  <a:pt x="2045866" y="0"/>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39" name="Freeform: Shape 38">
            <a:extLst>
              <a:ext uri="{FF2B5EF4-FFF2-40B4-BE49-F238E27FC236}">
                <a16:creationId xmlns:a16="http://schemas.microsoft.com/office/drawing/2014/main" id="{FF55DF65-9601-843F-3917-879E5B20F859}"/>
              </a:ext>
            </a:extLst>
          </p:cNvPr>
          <p:cNvSpPr/>
          <p:nvPr/>
        </p:nvSpPr>
        <p:spPr>
          <a:xfrm>
            <a:off x="2780879" y="2296177"/>
            <a:ext cx="2699202" cy="770135"/>
          </a:xfrm>
          <a:custGeom>
            <a:avLst/>
            <a:gdLst>
              <a:gd name="connsiteX0" fmla="*/ 2931233 w 3635753"/>
              <a:gd name="connsiteY0" fmla="*/ 0 h 1027381"/>
              <a:gd name="connsiteX1" fmla="*/ 3635753 w 3635753"/>
              <a:gd name="connsiteY1" fmla="*/ 247847 h 1027381"/>
              <a:gd name="connsiteX2" fmla="*/ 3600811 w 3635753"/>
              <a:gd name="connsiteY2" fmla="*/ 308092 h 1027381"/>
              <a:gd name="connsiteX3" fmla="*/ 680496 w 3635753"/>
              <a:gd name="connsiteY3" fmla="*/ 1027381 h 1027381"/>
              <a:gd name="connsiteX4" fmla="*/ 48098 w 3635753"/>
              <a:gd name="connsiteY4" fmla="*/ 804906 h 1027381"/>
              <a:gd name="connsiteX5" fmla="*/ 0 w 3635753"/>
              <a:gd name="connsiteY5" fmla="*/ 721978 h 1027381"/>
              <a:gd name="connsiteX0" fmla="*/ 2931233 w 3600811"/>
              <a:gd name="connsiteY0" fmla="*/ 0 h 1027381"/>
              <a:gd name="connsiteX1" fmla="*/ 3600811 w 3600811"/>
              <a:gd name="connsiteY1" fmla="*/ 308092 h 1027381"/>
              <a:gd name="connsiteX2" fmla="*/ 680496 w 3600811"/>
              <a:gd name="connsiteY2" fmla="*/ 1027381 h 1027381"/>
              <a:gd name="connsiteX3" fmla="*/ 48098 w 3600811"/>
              <a:gd name="connsiteY3" fmla="*/ 804906 h 1027381"/>
              <a:gd name="connsiteX4" fmla="*/ 0 w 3600811"/>
              <a:gd name="connsiteY4" fmla="*/ 721978 h 1027381"/>
              <a:gd name="connsiteX5" fmla="*/ 2931233 w 3600811"/>
              <a:gd name="connsiteY5" fmla="*/ 0 h 1027381"/>
              <a:gd name="connsiteX0" fmla="*/ 2931233 w 3600811"/>
              <a:gd name="connsiteY0" fmla="*/ 0 h 1027381"/>
              <a:gd name="connsiteX1" fmla="*/ 3600811 w 3600811"/>
              <a:gd name="connsiteY1" fmla="*/ 308092 h 1027381"/>
              <a:gd name="connsiteX2" fmla="*/ 680496 w 3600811"/>
              <a:gd name="connsiteY2" fmla="*/ 1027381 h 1027381"/>
              <a:gd name="connsiteX3" fmla="*/ 0 w 3600811"/>
              <a:gd name="connsiteY3" fmla="*/ 721978 h 1027381"/>
              <a:gd name="connsiteX4" fmla="*/ 2931233 w 3600811"/>
              <a:gd name="connsiteY4" fmla="*/ 0 h 102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811" h="1027381">
                <a:moveTo>
                  <a:pt x="2931233" y="0"/>
                </a:moveTo>
                <a:lnTo>
                  <a:pt x="3600811" y="308092"/>
                </a:lnTo>
                <a:lnTo>
                  <a:pt x="680496" y="1027381"/>
                </a:lnTo>
                <a:lnTo>
                  <a:pt x="0" y="721978"/>
                </a:lnTo>
                <a:lnTo>
                  <a:pt x="2931233" y="0"/>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0" name="Freeform: Shape 39">
            <a:extLst>
              <a:ext uri="{FF2B5EF4-FFF2-40B4-BE49-F238E27FC236}">
                <a16:creationId xmlns:a16="http://schemas.microsoft.com/office/drawing/2014/main" id="{1661B982-42C8-08D7-2F16-1A7A42E96026}"/>
              </a:ext>
            </a:extLst>
          </p:cNvPr>
          <p:cNvSpPr/>
          <p:nvPr/>
        </p:nvSpPr>
        <p:spPr>
          <a:xfrm>
            <a:off x="2420984" y="1662771"/>
            <a:ext cx="3418989" cy="798609"/>
          </a:xfrm>
          <a:custGeom>
            <a:avLst/>
            <a:gdLst>
              <a:gd name="connsiteX0" fmla="*/ 3858554 w 4598684"/>
              <a:gd name="connsiteY0" fmla="*/ 0 h 1065366"/>
              <a:gd name="connsiteX1" fmla="*/ 4598684 w 4598684"/>
              <a:gd name="connsiteY1" fmla="*/ 260375 h 1065366"/>
              <a:gd name="connsiteX2" fmla="*/ 4561027 w 4598684"/>
              <a:gd name="connsiteY2" fmla="*/ 325300 h 1065366"/>
              <a:gd name="connsiteX3" fmla="*/ 697874 w 4598684"/>
              <a:gd name="connsiteY3" fmla="*/ 1065366 h 1065366"/>
              <a:gd name="connsiteX4" fmla="*/ 58784 w 4598684"/>
              <a:gd name="connsiteY4" fmla="*/ 840537 h 1065366"/>
              <a:gd name="connsiteX5" fmla="*/ 0 w 4598684"/>
              <a:gd name="connsiteY5" fmla="*/ 739185 h 1065366"/>
              <a:gd name="connsiteX0" fmla="*/ 3858554 w 4561027"/>
              <a:gd name="connsiteY0" fmla="*/ 0 h 1065366"/>
              <a:gd name="connsiteX1" fmla="*/ 4561027 w 4561027"/>
              <a:gd name="connsiteY1" fmla="*/ 325300 h 1065366"/>
              <a:gd name="connsiteX2" fmla="*/ 697874 w 4561027"/>
              <a:gd name="connsiteY2" fmla="*/ 1065366 h 1065366"/>
              <a:gd name="connsiteX3" fmla="*/ 58784 w 4561027"/>
              <a:gd name="connsiteY3" fmla="*/ 840537 h 1065366"/>
              <a:gd name="connsiteX4" fmla="*/ 0 w 4561027"/>
              <a:gd name="connsiteY4" fmla="*/ 739185 h 1065366"/>
              <a:gd name="connsiteX5" fmla="*/ 3858554 w 4561027"/>
              <a:gd name="connsiteY5" fmla="*/ 0 h 1065366"/>
              <a:gd name="connsiteX0" fmla="*/ 3858554 w 4561027"/>
              <a:gd name="connsiteY0" fmla="*/ 0 h 1065366"/>
              <a:gd name="connsiteX1" fmla="*/ 4561027 w 4561027"/>
              <a:gd name="connsiteY1" fmla="*/ 325300 h 1065366"/>
              <a:gd name="connsiteX2" fmla="*/ 697874 w 4561027"/>
              <a:gd name="connsiteY2" fmla="*/ 1065366 h 1065366"/>
              <a:gd name="connsiteX3" fmla="*/ 0 w 4561027"/>
              <a:gd name="connsiteY3" fmla="*/ 739185 h 1065366"/>
              <a:gd name="connsiteX4" fmla="*/ 3858554 w 4561027"/>
              <a:gd name="connsiteY4" fmla="*/ 0 h 1065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1027" h="1065366">
                <a:moveTo>
                  <a:pt x="3858554" y="0"/>
                </a:moveTo>
                <a:lnTo>
                  <a:pt x="4561027" y="325300"/>
                </a:lnTo>
                <a:lnTo>
                  <a:pt x="697874" y="1065366"/>
                </a:lnTo>
                <a:lnTo>
                  <a:pt x="0" y="739185"/>
                </a:lnTo>
                <a:lnTo>
                  <a:pt x="3858554" y="0"/>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1" name="Freeform: Shape 40">
            <a:extLst>
              <a:ext uri="{FF2B5EF4-FFF2-40B4-BE49-F238E27FC236}">
                <a16:creationId xmlns:a16="http://schemas.microsoft.com/office/drawing/2014/main" id="{9148BE97-D21D-4426-05DF-C648A181FD4A}"/>
              </a:ext>
            </a:extLst>
          </p:cNvPr>
          <p:cNvSpPr/>
          <p:nvPr/>
        </p:nvSpPr>
        <p:spPr>
          <a:xfrm rot="19711421">
            <a:off x="3516663" y="3725491"/>
            <a:ext cx="1236279" cy="409669"/>
          </a:xfrm>
          <a:custGeom>
            <a:avLst/>
            <a:gdLst>
              <a:gd name="connsiteX0" fmla="*/ 1354656 w 1720285"/>
              <a:gd name="connsiteY0" fmla="*/ 37556 h 546509"/>
              <a:gd name="connsiteX1" fmla="*/ 1720285 w 1720285"/>
              <a:gd name="connsiteY1" fmla="*/ 486789 h 546509"/>
              <a:gd name="connsiteX2" fmla="*/ 1650723 w 1720285"/>
              <a:gd name="connsiteY2" fmla="*/ 524417 h 546509"/>
              <a:gd name="connsiteX3" fmla="*/ 544864 w 1720285"/>
              <a:gd name="connsiteY3" fmla="*/ 539299 h 546509"/>
              <a:gd name="connsiteX4" fmla="*/ 380459 w 1720285"/>
              <a:gd name="connsiteY4" fmla="*/ 530188 h 546509"/>
              <a:gd name="connsiteX5" fmla="*/ 0 w 1720285"/>
              <a:gd name="connsiteY5" fmla="*/ 62734 h 546509"/>
              <a:gd name="connsiteX6" fmla="*/ 1492 w 1720285"/>
              <a:gd name="connsiteY6" fmla="*/ 0 h 546509"/>
              <a:gd name="connsiteX0" fmla="*/ 1354656 w 1650723"/>
              <a:gd name="connsiteY0" fmla="*/ 37556 h 546509"/>
              <a:gd name="connsiteX1" fmla="*/ 1650723 w 1650723"/>
              <a:gd name="connsiteY1" fmla="*/ 524417 h 546509"/>
              <a:gd name="connsiteX2" fmla="*/ 544864 w 1650723"/>
              <a:gd name="connsiteY2" fmla="*/ 539299 h 546509"/>
              <a:gd name="connsiteX3" fmla="*/ 380459 w 1650723"/>
              <a:gd name="connsiteY3" fmla="*/ 530188 h 546509"/>
              <a:gd name="connsiteX4" fmla="*/ 0 w 1650723"/>
              <a:gd name="connsiteY4" fmla="*/ 62734 h 546509"/>
              <a:gd name="connsiteX5" fmla="*/ 1492 w 1650723"/>
              <a:gd name="connsiteY5" fmla="*/ 0 h 546509"/>
              <a:gd name="connsiteX6" fmla="*/ 1354656 w 1650723"/>
              <a:gd name="connsiteY6" fmla="*/ 37556 h 546509"/>
              <a:gd name="connsiteX0" fmla="*/ 1353164 w 1649231"/>
              <a:gd name="connsiteY0" fmla="*/ 37556 h 546509"/>
              <a:gd name="connsiteX1" fmla="*/ 1649231 w 1649231"/>
              <a:gd name="connsiteY1" fmla="*/ 524417 h 546509"/>
              <a:gd name="connsiteX2" fmla="*/ 543372 w 1649231"/>
              <a:gd name="connsiteY2" fmla="*/ 539299 h 546509"/>
              <a:gd name="connsiteX3" fmla="*/ 378967 w 1649231"/>
              <a:gd name="connsiteY3" fmla="*/ 530188 h 546509"/>
              <a:gd name="connsiteX4" fmla="*/ 0 w 1649231"/>
              <a:gd name="connsiteY4" fmla="*/ 0 h 546509"/>
              <a:gd name="connsiteX5" fmla="*/ 1353164 w 1649231"/>
              <a:gd name="connsiteY5" fmla="*/ 37556 h 54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231" h="546509">
                <a:moveTo>
                  <a:pt x="1353164" y="37556"/>
                </a:moveTo>
                <a:lnTo>
                  <a:pt x="1649231" y="524417"/>
                </a:lnTo>
                <a:cubicBezTo>
                  <a:pt x="1432414" y="543329"/>
                  <a:pt x="945315" y="554739"/>
                  <a:pt x="543372" y="539299"/>
                </a:cubicBezTo>
                <a:lnTo>
                  <a:pt x="378967" y="530188"/>
                </a:lnTo>
                <a:lnTo>
                  <a:pt x="0" y="0"/>
                </a:lnTo>
                <a:lnTo>
                  <a:pt x="1353164" y="37556"/>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2" name="TextBox 41">
            <a:extLst>
              <a:ext uri="{FF2B5EF4-FFF2-40B4-BE49-F238E27FC236}">
                <a16:creationId xmlns:a16="http://schemas.microsoft.com/office/drawing/2014/main" id="{A67F4E47-7AF7-E98C-BF28-B21F31AEC96D}"/>
              </a:ext>
            </a:extLst>
          </p:cNvPr>
          <p:cNvSpPr txBox="1"/>
          <p:nvPr/>
        </p:nvSpPr>
        <p:spPr>
          <a:xfrm>
            <a:off x="-529114" y="1563596"/>
            <a:ext cx="2176518"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43" name="Freeform: Shape 42">
            <a:extLst>
              <a:ext uri="{FF2B5EF4-FFF2-40B4-BE49-F238E27FC236}">
                <a16:creationId xmlns:a16="http://schemas.microsoft.com/office/drawing/2014/main" id="{91A10030-566E-4D41-6FF6-AB8590A47F3A}"/>
              </a:ext>
            </a:extLst>
          </p:cNvPr>
          <p:cNvSpPr/>
          <p:nvPr/>
        </p:nvSpPr>
        <p:spPr>
          <a:xfrm rot="10800000">
            <a:off x="5944663" y="1596367"/>
            <a:ext cx="2665462" cy="310252"/>
          </a:xfrm>
          <a:custGeom>
            <a:avLst/>
            <a:gdLst>
              <a:gd name="connsiteX0" fmla="*/ 3315747 w 3555800"/>
              <a:gd name="connsiteY0" fmla="*/ 413885 h 413885"/>
              <a:gd name="connsiteX1" fmla="*/ 0 w 3555800"/>
              <a:gd name="connsiteY1" fmla="*/ 413885 h 413885"/>
              <a:gd name="connsiteX2" fmla="*/ 0 w 3555800"/>
              <a:gd name="connsiteY2" fmla="*/ 0 h 413885"/>
              <a:gd name="connsiteX3" fmla="*/ 3555800 w 3555800"/>
              <a:gd name="connsiteY3" fmla="*/ 0 h 413885"/>
            </a:gdLst>
            <a:ahLst/>
            <a:cxnLst>
              <a:cxn ang="0">
                <a:pos x="connsiteX0" y="connsiteY0"/>
              </a:cxn>
              <a:cxn ang="0">
                <a:pos x="connsiteX1" y="connsiteY1"/>
              </a:cxn>
              <a:cxn ang="0">
                <a:pos x="connsiteX2" y="connsiteY2"/>
              </a:cxn>
              <a:cxn ang="0">
                <a:pos x="connsiteX3" y="connsiteY3"/>
              </a:cxn>
            </a:cxnLst>
            <a:rect l="l" t="t" r="r" b="b"/>
            <a:pathLst>
              <a:path w="3555800" h="413885">
                <a:moveTo>
                  <a:pt x="3315747" y="413885"/>
                </a:moveTo>
                <a:lnTo>
                  <a:pt x="0" y="413885"/>
                </a:lnTo>
                <a:lnTo>
                  <a:pt x="0" y="0"/>
                </a:lnTo>
                <a:lnTo>
                  <a:pt x="3555800" y="0"/>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4" name="Freeform: Shape 43">
            <a:extLst>
              <a:ext uri="{FF2B5EF4-FFF2-40B4-BE49-F238E27FC236}">
                <a16:creationId xmlns:a16="http://schemas.microsoft.com/office/drawing/2014/main" id="{50A0865B-F3CF-A55B-3B3C-48D7EEB1431C}"/>
              </a:ext>
            </a:extLst>
          </p:cNvPr>
          <p:cNvSpPr/>
          <p:nvPr/>
        </p:nvSpPr>
        <p:spPr>
          <a:xfrm rot="10800000">
            <a:off x="5582247" y="2216871"/>
            <a:ext cx="3027879" cy="310253"/>
          </a:xfrm>
          <a:custGeom>
            <a:avLst/>
            <a:gdLst>
              <a:gd name="connsiteX0" fmla="*/ 3799221 w 4039275"/>
              <a:gd name="connsiteY0" fmla="*/ 413886 h 413886"/>
              <a:gd name="connsiteX1" fmla="*/ 0 w 4039275"/>
              <a:gd name="connsiteY1" fmla="*/ 413886 h 413886"/>
              <a:gd name="connsiteX2" fmla="*/ 0 w 4039275"/>
              <a:gd name="connsiteY2" fmla="*/ 0 h 413886"/>
              <a:gd name="connsiteX3" fmla="*/ 4039275 w 4039275"/>
              <a:gd name="connsiteY3" fmla="*/ 0 h 413886"/>
            </a:gdLst>
            <a:ahLst/>
            <a:cxnLst>
              <a:cxn ang="0">
                <a:pos x="connsiteX0" y="connsiteY0"/>
              </a:cxn>
              <a:cxn ang="0">
                <a:pos x="connsiteX1" y="connsiteY1"/>
              </a:cxn>
              <a:cxn ang="0">
                <a:pos x="connsiteX2" y="connsiteY2"/>
              </a:cxn>
              <a:cxn ang="0">
                <a:pos x="connsiteX3" y="connsiteY3"/>
              </a:cxn>
            </a:cxnLst>
            <a:rect l="l" t="t" r="r" b="b"/>
            <a:pathLst>
              <a:path w="4039275" h="413886">
                <a:moveTo>
                  <a:pt x="3799221" y="413886"/>
                </a:moveTo>
                <a:lnTo>
                  <a:pt x="0" y="413886"/>
                </a:lnTo>
                <a:lnTo>
                  <a:pt x="0" y="0"/>
                </a:lnTo>
                <a:lnTo>
                  <a:pt x="4039275" y="0"/>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5" name="Freeform: Shape 44">
            <a:extLst>
              <a:ext uri="{FF2B5EF4-FFF2-40B4-BE49-F238E27FC236}">
                <a16:creationId xmlns:a16="http://schemas.microsoft.com/office/drawing/2014/main" id="{9A563517-00B5-E0F3-396D-FB5E7C808BD9}"/>
              </a:ext>
            </a:extLst>
          </p:cNvPr>
          <p:cNvSpPr/>
          <p:nvPr/>
        </p:nvSpPr>
        <p:spPr>
          <a:xfrm rot="10800000">
            <a:off x="3680611" y="4388644"/>
            <a:ext cx="719787" cy="620507"/>
          </a:xfrm>
          <a:custGeom>
            <a:avLst/>
            <a:gdLst>
              <a:gd name="connsiteX0" fmla="*/ 960216 w 960216"/>
              <a:gd name="connsiteY0" fmla="*/ 827773 h 827773"/>
              <a:gd name="connsiteX1" fmla="*/ 0 w 960216"/>
              <a:gd name="connsiteY1" fmla="*/ 827773 h 827773"/>
              <a:gd name="connsiteX2" fmla="*/ 480108 w 960216"/>
              <a:gd name="connsiteY2" fmla="*/ 0 h 827773"/>
              <a:gd name="connsiteX3" fmla="*/ 720162 w 960216"/>
              <a:gd name="connsiteY3" fmla="*/ 413886 h 827773"/>
              <a:gd name="connsiteX4" fmla="*/ 480108 w 960216"/>
              <a:gd name="connsiteY4" fmla="*/ 827772 h 827773"/>
              <a:gd name="connsiteX5" fmla="*/ 960215 w 960216"/>
              <a:gd name="connsiteY5" fmla="*/ 827772 h 827773"/>
              <a:gd name="connsiteX6" fmla="*/ 754455 w 960216"/>
              <a:gd name="connsiteY6" fmla="*/ 473013 h 82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16" h="827773">
                <a:moveTo>
                  <a:pt x="960216" y="827773"/>
                </a:moveTo>
                <a:lnTo>
                  <a:pt x="0" y="827773"/>
                </a:lnTo>
                <a:lnTo>
                  <a:pt x="480108" y="0"/>
                </a:lnTo>
                <a:lnTo>
                  <a:pt x="720162" y="413886"/>
                </a:lnTo>
                <a:lnTo>
                  <a:pt x="480108" y="827772"/>
                </a:lnTo>
                <a:lnTo>
                  <a:pt x="960215" y="827772"/>
                </a:lnTo>
                <a:lnTo>
                  <a:pt x="754455" y="473013"/>
                </a:lnTo>
                <a:close/>
              </a:path>
            </a:pathLst>
          </a:custGeom>
          <a:solidFill>
            <a:sysClr val="window" lastClr="FFFFFF">
              <a:lumMod val="50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6" name="Freeform: Shape 45">
            <a:extLst>
              <a:ext uri="{FF2B5EF4-FFF2-40B4-BE49-F238E27FC236}">
                <a16:creationId xmlns:a16="http://schemas.microsoft.com/office/drawing/2014/main" id="{B34DF8A3-3AA5-431B-15A7-3821595EDB96}"/>
              </a:ext>
            </a:extLst>
          </p:cNvPr>
          <p:cNvSpPr/>
          <p:nvPr/>
        </p:nvSpPr>
        <p:spPr>
          <a:xfrm rot="10800000">
            <a:off x="5222354" y="2837379"/>
            <a:ext cx="3387773" cy="310253"/>
          </a:xfrm>
          <a:custGeom>
            <a:avLst/>
            <a:gdLst>
              <a:gd name="connsiteX0" fmla="*/ 4279329 w 4519383"/>
              <a:gd name="connsiteY0" fmla="*/ 413887 h 413887"/>
              <a:gd name="connsiteX1" fmla="*/ 1398679 w 4519383"/>
              <a:gd name="connsiteY1" fmla="*/ 413887 h 413887"/>
              <a:gd name="connsiteX2" fmla="*/ 1398678 w 4519383"/>
              <a:gd name="connsiteY2" fmla="*/ 413886 h 413887"/>
              <a:gd name="connsiteX3" fmla="*/ 0 w 4519383"/>
              <a:gd name="connsiteY3" fmla="*/ 413886 h 413887"/>
              <a:gd name="connsiteX4" fmla="*/ 0 w 4519383"/>
              <a:gd name="connsiteY4" fmla="*/ 0 h 413887"/>
              <a:gd name="connsiteX5" fmla="*/ 2358898 w 4519383"/>
              <a:gd name="connsiteY5" fmla="*/ 0 h 413887"/>
              <a:gd name="connsiteX6" fmla="*/ 2358898 w 4519383"/>
              <a:gd name="connsiteY6" fmla="*/ 1 h 413887"/>
              <a:gd name="connsiteX7" fmla="*/ 4519383 w 4519383"/>
              <a:gd name="connsiteY7" fmla="*/ 1 h 4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19383" h="413887">
                <a:moveTo>
                  <a:pt x="4279329" y="413887"/>
                </a:moveTo>
                <a:lnTo>
                  <a:pt x="1398679" y="413887"/>
                </a:lnTo>
                <a:lnTo>
                  <a:pt x="1398678" y="413886"/>
                </a:lnTo>
                <a:lnTo>
                  <a:pt x="0" y="413886"/>
                </a:lnTo>
                <a:lnTo>
                  <a:pt x="0" y="0"/>
                </a:lnTo>
                <a:lnTo>
                  <a:pt x="2358898" y="0"/>
                </a:lnTo>
                <a:lnTo>
                  <a:pt x="2358898" y="1"/>
                </a:lnTo>
                <a:lnTo>
                  <a:pt x="4519383" y="1"/>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7" name="Freeform: Shape 46">
            <a:extLst>
              <a:ext uri="{FF2B5EF4-FFF2-40B4-BE49-F238E27FC236}">
                <a16:creationId xmlns:a16="http://schemas.microsoft.com/office/drawing/2014/main" id="{37578AA5-F874-5EDB-9AFC-9AFD14F2DE2C}"/>
              </a:ext>
            </a:extLst>
          </p:cNvPr>
          <p:cNvSpPr/>
          <p:nvPr/>
        </p:nvSpPr>
        <p:spPr>
          <a:xfrm rot="10800000">
            <a:off x="4859548" y="3457884"/>
            <a:ext cx="3750578" cy="310253"/>
          </a:xfrm>
          <a:custGeom>
            <a:avLst/>
            <a:gdLst>
              <a:gd name="connsiteX0" fmla="*/ 4763321 w 5003375"/>
              <a:gd name="connsiteY0" fmla="*/ 413886 h 413886"/>
              <a:gd name="connsiteX1" fmla="*/ 3079061 w 5003375"/>
              <a:gd name="connsiteY1" fmla="*/ 413886 h 413886"/>
              <a:gd name="connsiteX2" fmla="*/ 2842888 w 5003375"/>
              <a:gd name="connsiteY2" fmla="*/ 413886 h 413886"/>
              <a:gd name="connsiteX3" fmla="*/ 0 w 5003375"/>
              <a:gd name="connsiteY3" fmla="*/ 413886 h 413886"/>
              <a:gd name="connsiteX4" fmla="*/ 0 w 5003375"/>
              <a:gd name="connsiteY4" fmla="*/ 0 h 413886"/>
              <a:gd name="connsiteX5" fmla="*/ 2602834 w 5003375"/>
              <a:gd name="connsiteY5" fmla="*/ 0 h 413886"/>
              <a:gd name="connsiteX6" fmla="*/ 3079061 w 5003375"/>
              <a:gd name="connsiteY6" fmla="*/ 0 h 413886"/>
              <a:gd name="connsiteX7" fmla="*/ 5003375 w 5003375"/>
              <a:gd name="connsiteY7" fmla="*/ 0 h 41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3375" h="413886">
                <a:moveTo>
                  <a:pt x="4763321" y="413886"/>
                </a:moveTo>
                <a:lnTo>
                  <a:pt x="3079061" y="413886"/>
                </a:lnTo>
                <a:lnTo>
                  <a:pt x="2842888" y="413886"/>
                </a:lnTo>
                <a:lnTo>
                  <a:pt x="0" y="413886"/>
                </a:lnTo>
                <a:lnTo>
                  <a:pt x="0" y="0"/>
                </a:lnTo>
                <a:lnTo>
                  <a:pt x="2602834" y="0"/>
                </a:lnTo>
                <a:lnTo>
                  <a:pt x="3079061" y="0"/>
                </a:lnTo>
                <a:lnTo>
                  <a:pt x="5003375" y="0"/>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8" name="Freeform: Shape 47">
            <a:extLst>
              <a:ext uri="{FF2B5EF4-FFF2-40B4-BE49-F238E27FC236}">
                <a16:creationId xmlns:a16="http://schemas.microsoft.com/office/drawing/2014/main" id="{693F2EC3-F1BC-138E-E5B3-94986DFBB635}"/>
              </a:ext>
            </a:extLst>
          </p:cNvPr>
          <p:cNvSpPr/>
          <p:nvPr/>
        </p:nvSpPr>
        <p:spPr>
          <a:xfrm rot="10800000">
            <a:off x="4502566" y="4078390"/>
            <a:ext cx="4107560" cy="310253"/>
          </a:xfrm>
          <a:custGeom>
            <a:avLst/>
            <a:gdLst>
              <a:gd name="connsiteX0" fmla="*/ 5239545 w 5479599"/>
              <a:gd name="connsiteY0" fmla="*/ 413886 h 413886"/>
              <a:gd name="connsiteX1" fmla="*/ 4623146 w 5479599"/>
              <a:gd name="connsiteY1" fmla="*/ 413886 h 413886"/>
              <a:gd name="connsiteX2" fmla="*/ 4279328 w 5479599"/>
              <a:gd name="connsiteY2" fmla="*/ 413886 h 413886"/>
              <a:gd name="connsiteX3" fmla="*/ 0 w 5479599"/>
              <a:gd name="connsiteY3" fmla="*/ 413886 h 413886"/>
              <a:gd name="connsiteX4" fmla="*/ 0 w 5479599"/>
              <a:gd name="connsiteY4" fmla="*/ 0 h 413886"/>
              <a:gd name="connsiteX5" fmla="*/ 4039274 w 5479599"/>
              <a:gd name="connsiteY5" fmla="*/ 0 h 413886"/>
              <a:gd name="connsiteX6" fmla="*/ 4623146 w 5479599"/>
              <a:gd name="connsiteY6" fmla="*/ 0 h 413886"/>
              <a:gd name="connsiteX7" fmla="*/ 5479599 w 5479599"/>
              <a:gd name="connsiteY7" fmla="*/ 0 h 41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9599" h="413886">
                <a:moveTo>
                  <a:pt x="5239545" y="413886"/>
                </a:moveTo>
                <a:lnTo>
                  <a:pt x="4623146" y="413886"/>
                </a:lnTo>
                <a:lnTo>
                  <a:pt x="4279328" y="413886"/>
                </a:lnTo>
                <a:lnTo>
                  <a:pt x="0" y="413886"/>
                </a:lnTo>
                <a:lnTo>
                  <a:pt x="0" y="0"/>
                </a:lnTo>
                <a:lnTo>
                  <a:pt x="4039274" y="0"/>
                </a:lnTo>
                <a:lnTo>
                  <a:pt x="4623146" y="0"/>
                </a:lnTo>
                <a:lnTo>
                  <a:pt x="5479599" y="0"/>
                </a:lnTo>
                <a:close/>
              </a:path>
            </a:pathLst>
          </a:custGeom>
          <a:solidFill>
            <a:srgbClr val="D3D3D3">
              <a:lumMod val="75000"/>
            </a:srgb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49" name="TextBox 48">
            <a:extLst>
              <a:ext uri="{FF2B5EF4-FFF2-40B4-BE49-F238E27FC236}">
                <a16:creationId xmlns:a16="http://schemas.microsoft.com/office/drawing/2014/main" id="{1595BAEB-FD49-188A-FA36-01D5727FCD14}"/>
              </a:ext>
            </a:extLst>
          </p:cNvPr>
          <p:cNvSpPr txBox="1"/>
          <p:nvPr/>
        </p:nvSpPr>
        <p:spPr>
          <a:xfrm>
            <a:off x="4856636" y="4048946"/>
            <a:ext cx="3506259"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 sodales mauris, cras phare.</a:t>
            </a:r>
          </a:p>
        </p:txBody>
      </p:sp>
      <p:sp>
        <p:nvSpPr>
          <p:cNvPr id="50" name="TextBox 49">
            <a:extLst>
              <a:ext uri="{FF2B5EF4-FFF2-40B4-BE49-F238E27FC236}">
                <a16:creationId xmlns:a16="http://schemas.microsoft.com/office/drawing/2014/main" id="{52A74887-7B2C-55F7-1933-CDD4CE196B0D}"/>
              </a:ext>
            </a:extLst>
          </p:cNvPr>
          <p:cNvSpPr txBox="1"/>
          <p:nvPr/>
        </p:nvSpPr>
        <p:spPr>
          <a:xfrm>
            <a:off x="5222354" y="3431764"/>
            <a:ext cx="3140540"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 sodales mauris.</a:t>
            </a:r>
          </a:p>
        </p:txBody>
      </p:sp>
      <p:sp>
        <p:nvSpPr>
          <p:cNvPr id="51" name="TextBox 50">
            <a:extLst>
              <a:ext uri="{FF2B5EF4-FFF2-40B4-BE49-F238E27FC236}">
                <a16:creationId xmlns:a16="http://schemas.microsoft.com/office/drawing/2014/main" id="{5A73680D-C8CD-74EE-AAAF-6F60EE8B4AE5}"/>
              </a:ext>
            </a:extLst>
          </p:cNvPr>
          <p:cNvSpPr txBox="1"/>
          <p:nvPr/>
        </p:nvSpPr>
        <p:spPr>
          <a:xfrm>
            <a:off x="5582248" y="2804609"/>
            <a:ext cx="2780647"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 Suspendisse viverra.</a:t>
            </a:r>
          </a:p>
        </p:txBody>
      </p:sp>
      <p:sp>
        <p:nvSpPr>
          <p:cNvPr id="52" name="TextBox 51">
            <a:extLst>
              <a:ext uri="{FF2B5EF4-FFF2-40B4-BE49-F238E27FC236}">
                <a16:creationId xmlns:a16="http://schemas.microsoft.com/office/drawing/2014/main" id="{A184BE16-7459-789B-4134-F12E91C7D1E2}"/>
              </a:ext>
            </a:extLst>
          </p:cNvPr>
          <p:cNvSpPr txBox="1"/>
          <p:nvPr/>
        </p:nvSpPr>
        <p:spPr>
          <a:xfrm>
            <a:off x="5942141" y="2184103"/>
            <a:ext cx="2420753"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 lorem nunc.</a:t>
            </a:r>
          </a:p>
        </p:txBody>
      </p:sp>
      <p:sp>
        <p:nvSpPr>
          <p:cNvPr id="53" name="TextBox 52">
            <a:extLst>
              <a:ext uri="{FF2B5EF4-FFF2-40B4-BE49-F238E27FC236}">
                <a16:creationId xmlns:a16="http://schemas.microsoft.com/office/drawing/2014/main" id="{19774A48-AE02-2050-F6A2-57A717E9E434}"/>
              </a:ext>
            </a:extLst>
          </p:cNvPr>
          <p:cNvSpPr txBox="1"/>
          <p:nvPr/>
        </p:nvSpPr>
        <p:spPr>
          <a:xfrm>
            <a:off x="6289724" y="1563596"/>
            <a:ext cx="2073170" cy="369140"/>
          </a:xfrm>
          <a:prstGeom prst="rect">
            <a:avLst/>
          </a:prstGeom>
          <a:noFill/>
        </p:spPr>
        <p:txBody>
          <a:bodyPr wrap="square" lIns="0" rIns="0" rtlCol="0" anchor="ctr">
            <a:spAutoFit/>
          </a:bodyPr>
          <a:lstStyle/>
          <a:p>
            <a:pPr algn="just"/>
            <a:r>
              <a:rPr lang="en-US" sz="900" noProof="1">
                <a:solidFill>
                  <a:prstClr val="black">
                    <a:lumMod val="95000"/>
                    <a:lumOff val="5000"/>
                  </a:prstClr>
                </a:solidFill>
                <a:latin typeface="Calibri" panose="020F0502020204030204"/>
              </a:rPr>
              <a:t>Lorem ipsum dolor sit amet, nibh est. A magna maecenas, quam magna nec quis.</a:t>
            </a:r>
          </a:p>
        </p:txBody>
      </p:sp>
      <p:sp>
        <p:nvSpPr>
          <p:cNvPr id="54" name="TextBox 53">
            <a:extLst>
              <a:ext uri="{FF2B5EF4-FFF2-40B4-BE49-F238E27FC236}">
                <a16:creationId xmlns:a16="http://schemas.microsoft.com/office/drawing/2014/main" id="{91AFD588-3158-BC2D-6E2D-F799A01B3CFB}"/>
              </a:ext>
            </a:extLst>
          </p:cNvPr>
          <p:cNvSpPr txBox="1"/>
          <p:nvPr/>
        </p:nvSpPr>
        <p:spPr>
          <a:xfrm>
            <a:off x="-377894" y="2187339"/>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55" name="TextBox 54">
            <a:extLst>
              <a:ext uri="{FF2B5EF4-FFF2-40B4-BE49-F238E27FC236}">
                <a16:creationId xmlns:a16="http://schemas.microsoft.com/office/drawing/2014/main" id="{10AE6F1F-2806-0C66-548E-0F49A369D959}"/>
              </a:ext>
            </a:extLst>
          </p:cNvPr>
          <p:cNvSpPr txBox="1"/>
          <p:nvPr/>
        </p:nvSpPr>
        <p:spPr>
          <a:xfrm>
            <a:off x="-18000" y="2790027"/>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56" name="TextBox 55">
            <a:extLst>
              <a:ext uri="{FF2B5EF4-FFF2-40B4-BE49-F238E27FC236}">
                <a16:creationId xmlns:a16="http://schemas.microsoft.com/office/drawing/2014/main" id="{CFDE9499-0B47-30EA-18CC-A30050B66CE5}"/>
              </a:ext>
            </a:extLst>
          </p:cNvPr>
          <p:cNvSpPr txBox="1"/>
          <p:nvPr/>
        </p:nvSpPr>
        <p:spPr>
          <a:xfrm>
            <a:off x="341894" y="3429550"/>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57" name="TextBox 56">
            <a:extLst>
              <a:ext uri="{FF2B5EF4-FFF2-40B4-BE49-F238E27FC236}">
                <a16:creationId xmlns:a16="http://schemas.microsoft.com/office/drawing/2014/main" id="{7054F2C2-9994-74DF-DF35-0CDBCBDB3ABB}"/>
              </a:ext>
            </a:extLst>
          </p:cNvPr>
          <p:cNvSpPr txBox="1"/>
          <p:nvPr/>
        </p:nvSpPr>
        <p:spPr>
          <a:xfrm>
            <a:off x="701785" y="4048946"/>
            <a:ext cx="2388089" cy="369140"/>
          </a:xfrm>
          <a:prstGeom prst="rect">
            <a:avLst/>
          </a:prstGeom>
          <a:noFill/>
        </p:spPr>
        <p:txBody>
          <a:bodyPr wrap="square" lIns="0" rIns="0" rtlCol="0" anchor="ctr">
            <a:spAutoFit/>
          </a:bodyPr>
          <a:lstStyle/>
          <a:p>
            <a:pPr algn="r"/>
            <a:r>
              <a:rPr lang="en-US" sz="1799" b="1" noProof="1">
                <a:solidFill>
                  <a:prstClr val="white"/>
                </a:solidFill>
                <a:latin typeface="Calibri" panose="020F0502020204030204"/>
              </a:rPr>
              <a:t>Lorem Ipsum</a:t>
            </a:r>
          </a:p>
        </p:txBody>
      </p:sp>
      <p:sp>
        <p:nvSpPr>
          <p:cNvPr id="58" name="Freeform: Shape 57">
            <a:extLst>
              <a:ext uri="{FF2B5EF4-FFF2-40B4-BE49-F238E27FC236}">
                <a16:creationId xmlns:a16="http://schemas.microsoft.com/office/drawing/2014/main" id="{1BF3F1E6-EF9B-C562-998A-98CCBE60AAAB}"/>
              </a:ext>
            </a:extLst>
          </p:cNvPr>
          <p:cNvSpPr/>
          <p:nvPr/>
        </p:nvSpPr>
        <p:spPr>
          <a:xfrm rot="21382590">
            <a:off x="2995093" y="1719968"/>
            <a:ext cx="2839563" cy="295157"/>
          </a:xfrm>
          <a:custGeom>
            <a:avLst/>
            <a:gdLst>
              <a:gd name="connsiteX0" fmla="*/ 3107546 w 3788056"/>
              <a:gd name="connsiteY0" fmla="*/ 0 h 393748"/>
              <a:gd name="connsiteX1" fmla="*/ 3788056 w 3788056"/>
              <a:gd name="connsiteY1" fmla="*/ 369046 h 393748"/>
              <a:gd name="connsiteX2" fmla="*/ 3593105 w 3788056"/>
              <a:gd name="connsiteY2" fmla="*/ 393748 h 393748"/>
              <a:gd name="connsiteX3" fmla="*/ 0 w 3788056"/>
              <a:gd name="connsiteY3" fmla="*/ 393748 h 393748"/>
              <a:gd name="connsiteX0" fmla="*/ 3107546 w 3788056"/>
              <a:gd name="connsiteY0" fmla="*/ 0 h 393748"/>
              <a:gd name="connsiteX1" fmla="*/ 3788056 w 3788056"/>
              <a:gd name="connsiteY1" fmla="*/ 369046 h 393748"/>
              <a:gd name="connsiteX2" fmla="*/ 0 w 3788056"/>
              <a:gd name="connsiteY2" fmla="*/ 393748 h 393748"/>
              <a:gd name="connsiteX3" fmla="*/ 3107546 w 3788056"/>
              <a:gd name="connsiteY3" fmla="*/ 0 h 393748"/>
            </a:gdLst>
            <a:ahLst/>
            <a:cxnLst>
              <a:cxn ang="0">
                <a:pos x="connsiteX0" y="connsiteY0"/>
              </a:cxn>
              <a:cxn ang="0">
                <a:pos x="connsiteX1" y="connsiteY1"/>
              </a:cxn>
              <a:cxn ang="0">
                <a:pos x="connsiteX2" y="connsiteY2"/>
              </a:cxn>
              <a:cxn ang="0">
                <a:pos x="connsiteX3" y="connsiteY3"/>
              </a:cxn>
            </a:cxnLst>
            <a:rect l="l" t="t" r="r" b="b"/>
            <a:pathLst>
              <a:path w="3788056" h="393748">
                <a:moveTo>
                  <a:pt x="3107546" y="0"/>
                </a:moveTo>
                <a:lnTo>
                  <a:pt x="3788056" y="369046"/>
                </a:lnTo>
                <a:lnTo>
                  <a:pt x="0" y="393748"/>
                </a:lnTo>
                <a:lnTo>
                  <a:pt x="3107546" y="0"/>
                </a:lnTo>
                <a:close/>
              </a:path>
            </a:pathLst>
          </a:custGeom>
          <a:solidFill>
            <a:sysClr val="windowText" lastClr="000000">
              <a:alpha val="35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59" name="Freeform: Shape 58">
            <a:extLst>
              <a:ext uri="{FF2B5EF4-FFF2-40B4-BE49-F238E27FC236}">
                <a16:creationId xmlns:a16="http://schemas.microsoft.com/office/drawing/2014/main" id="{F931F28A-22EA-5225-380C-D3D9777DDDFF}"/>
              </a:ext>
            </a:extLst>
          </p:cNvPr>
          <p:cNvSpPr/>
          <p:nvPr/>
        </p:nvSpPr>
        <p:spPr>
          <a:xfrm rot="21382590">
            <a:off x="3452201" y="2329064"/>
            <a:ext cx="2022074" cy="276694"/>
          </a:xfrm>
          <a:custGeom>
            <a:avLst/>
            <a:gdLst>
              <a:gd name="connsiteX0" fmla="*/ 2048733 w 2697502"/>
              <a:gd name="connsiteY0" fmla="*/ 0 h 369117"/>
              <a:gd name="connsiteX1" fmla="*/ 2697502 w 2697502"/>
              <a:gd name="connsiteY1" fmla="*/ 349793 h 369117"/>
              <a:gd name="connsiteX2" fmla="*/ 2590245 w 2697502"/>
              <a:gd name="connsiteY2" fmla="*/ 369117 h 369117"/>
              <a:gd name="connsiteX3" fmla="*/ 0 w 2697502"/>
              <a:gd name="connsiteY3" fmla="*/ 369117 h 369117"/>
              <a:gd name="connsiteX0" fmla="*/ 2048733 w 2697502"/>
              <a:gd name="connsiteY0" fmla="*/ 0 h 369117"/>
              <a:gd name="connsiteX1" fmla="*/ 2697502 w 2697502"/>
              <a:gd name="connsiteY1" fmla="*/ 349793 h 369117"/>
              <a:gd name="connsiteX2" fmla="*/ 0 w 2697502"/>
              <a:gd name="connsiteY2" fmla="*/ 369117 h 369117"/>
              <a:gd name="connsiteX3" fmla="*/ 2048733 w 2697502"/>
              <a:gd name="connsiteY3" fmla="*/ 0 h 369117"/>
            </a:gdLst>
            <a:ahLst/>
            <a:cxnLst>
              <a:cxn ang="0">
                <a:pos x="connsiteX0" y="connsiteY0"/>
              </a:cxn>
              <a:cxn ang="0">
                <a:pos x="connsiteX1" y="connsiteY1"/>
              </a:cxn>
              <a:cxn ang="0">
                <a:pos x="connsiteX2" y="connsiteY2"/>
              </a:cxn>
              <a:cxn ang="0">
                <a:pos x="connsiteX3" y="connsiteY3"/>
              </a:cxn>
            </a:cxnLst>
            <a:rect l="l" t="t" r="r" b="b"/>
            <a:pathLst>
              <a:path w="2697502" h="369117">
                <a:moveTo>
                  <a:pt x="2048733" y="0"/>
                </a:moveTo>
                <a:lnTo>
                  <a:pt x="2697502" y="349793"/>
                </a:lnTo>
                <a:lnTo>
                  <a:pt x="0" y="369117"/>
                </a:lnTo>
                <a:lnTo>
                  <a:pt x="2048733" y="0"/>
                </a:lnTo>
                <a:close/>
              </a:path>
            </a:pathLst>
          </a:custGeom>
          <a:solidFill>
            <a:sysClr val="windowText" lastClr="000000">
              <a:alpha val="35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0" name="Freeform: Shape 59">
            <a:extLst>
              <a:ext uri="{FF2B5EF4-FFF2-40B4-BE49-F238E27FC236}">
                <a16:creationId xmlns:a16="http://schemas.microsoft.com/office/drawing/2014/main" id="{91D43F50-A1B2-9165-68D1-C6690848AF38}"/>
              </a:ext>
            </a:extLst>
          </p:cNvPr>
          <p:cNvSpPr/>
          <p:nvPr/>
        </p:nvSpPr>
        <p:spPr>
          <a:xfrm rot="21382590">
            <a:off x="3728904" y="2945328"/>
            <a:ext cx="1385409" cy="262895"/>
          </a:xfrm>
          <a:custGeom>
            <a:avLst/>
            <a:gdLst>
              <a:gd name="connsiteX0" fmla="*/ 1273061 w 1848174"/>
              <a:gd name="connsiteY0" fmla="*/ 0 h 350709"/>
              <a:gd name="connsiteX1" fmla="*/ 1848174 w 1848174"/>
              <a:gd name="connsiteY1" fmla="*/ 328587 h 350709"/>
              <a:gd name="connsiteX2" fmla="*/ 1767871 w 1848174"/>
              <a:gd name="connsiteY2" fmla="*/ 350709 h 350709"/>
              <a:gd name="connsiteX3" fmla="*/ 0 w 1848174"/>
              <a:gd name="connsiteY3" fmla="*/ 350709 h 350709"/>
              <a:gd name="connsiteX0" fmla="*/ 1273061 w 1848174"/>
              <a:gd name="connsiteY0" fmla="*/ 0 h 350709"/>
              <a:gd name="connsiteX1" fmla="*/ 1848174 w 1848174"/>
              <a:gd name="connsiteY1" fmla="*/ 328587 h 350709"/>
              <a:gd name="connsiteX2" fmla="*/ 0 w 1848174"/>
              <a:gd name="connsiteY2" fmla="*/ 350709 h 350709"/>
              <a:gd name="connsiteX3" fmla="*/ 1273061 w 1848174"/>
              <a:gd name="connsiteY3" fmla="*/ 0 h 350709"/>
            </a:gdLst>
            <a:ahLst/>
            <a:cxnLst>
              <a:cxn ang="0">
                <a:pos x="connsiteX0" y="connsiteY0"/>
              </a:cxn>
              <a:cxn ang="0">
                <a:pos x="connsiteX1" y="connsiteY1"/>
              </a:cxn>
              <a:cxn ang="0">
                <a:pos x="connsiteX2" y="connsiteY2"/>
              </a:cxn>
              <a:cxn ang="0">
                <a:pos x="connsiteX3" y="connsiteY3"/>
              </a:cxn>
            </a:cxnLst>
            <a:rect l="l" t="t" r="r" b="b"/>
            <a:pathLst>
              <a:path w="1848174" h="350709">
                <a:moveTo>
                  <a:pt x="1273061" y="0"/>
                </a:moveTo>
                <a:lnTo>
                  <a:pt x="1848174" y="328587"/>
                </a:lnTo>
                <a:lnTo>
                  <a:pt x="0" y="350709"/>
                </a:lnTo>
                <a:lnTo>
                  <a:pt x="1273061" y="0"/>
                </a:lnTo>
                <a:close/>
              </a:path>
            </a:pathLst>
          </a:custGeom>
          <a:solidFill>
            <a:sysClr val="windowText" lastClr="000000">
              <a:alpha val="35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1" name="Freeform: Shape 60">
            <a:extLst>
              <a:ext uri="{FF2B5EF4-FFF2-40B4-BE49-F238E27FC236}">
                <a16:creationId xmlns:a16="http://schemas.microsoft.com/office/drawing/2014/main" id="{1C87389E-1504-1BB4-0CFA-D301E2E3D171}"/>
              </a:ext>
            </a:extLst>
          </p:cNvPr>
          <p:cNvSpPr/>
          <p:nvPr/>
        </p:nvSpPr>
        <p:spPr>
          <a:xfrm rot="21382590">
            <a:off x="3910770" y="3576022"/>
            <a:ext cx="843969" cy="235482"/>
          </a:xfrm>
          <a:custGeom>
            <a:avLst/>
            <a:gdLst>
              <a:gd name="connsiteX0" fmla="*/ 636648 w 1125879"/>
              <a:gd name="connsiteY0" fmla="*/ 0 h 314140"/>
              <a:gd name="connsiteX1" fmla="*/ 1125879 w 1125879"/>
              <a:gd name="connsiteY1" fmla="*/ 292135 h 314140"/>
              <a:gd name="connsiteX2" fmla="*/ 1090613 w 1125879"/>
              <a:gd name="connsiteY2" fmla="*/ 314140 h 314140"/>
              <a:gd name="connsiteX3" fmla="*/ 0 w 1125879"/>
              <a:gd name="connsiteY3" fmla="*/ 314140 h 314140"/>
              <a:gd name="connsiteX0" fmla="*/ 636648 w 1125879"/>
              <a:gd name="connsiteY0" fmla="*/ 0 h 314140"/>
              <a:gd name="connsiteX1" fmla="*/ 1125879 w 1125879"/>
              <a:gd name="connsiteY1" fmla="*/ 292135 h 314140"/>
              <a:gd name="connsiteX2" fmla="*/ 0 w 1125879"/>
              <a:gd name="connsiteY2" fmla="*/ 314140 h 314140"/>
              <a:gd name="connsiteX3" fmla="*/ 636648 w 1125879"/>
              <a:gd name="connsiteY3" fmla="*/ 0 h 314140"/>
            </a:gdLst>
            <a:ahLst/>
            <a:cxnLst>
              <a:cxn ang="0">
                <a:pos x="connsiteX0" y="connsiteY0"/>
              </a:cxn>
              <a:cxn ang="0">
                <a:pos x="connsiteX1" y="connsiteY1"/>
              </a:cxn>
              <a:cxn ang="0">
                <a:pos x="connsiteX2" y="connsiteY2"/>
              </a:cxn>
              <a:cxn ang="0">
                <a:pos x="connsiteX3" y="connsiteY3"/>
              </a:cxn>
            </a:cxnLst>
            <a:rect l="l" t="t" r="r" b="b"/>
            <a:pathLst>
              <a:path w="1125879" h="314140">
                <a:moveTo>
                  <a:pt x="636648" y="0"/>
                </a:moveTo>
                <a:lnTo>
                  <a:pt x="1125879" y="292135"/>
                </a:lnTo>
                <a:lnTo>
                  <a:pt x="0" y="314140"/>
                </a:lnTo>
                <a:lnTo>
                  <a:pt x="636648" y="0"/>
                </a:lnTo>
                <a:close/>
              </a:path>
            </a:pathLst>
          </a:custGeom>
          <a:solidFill>
            <a:sysClr val="windowText" lastClr="000000">
              <a:alpha val="35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2" name="Freeform: Shape 61">
            <a:extLst>
              <a:ext uri="{FF2B5EF4-FFF2-40B4-BE49-F238E27FC236}">
                <a16:creationId xmlns:a16="http://schemas.microsoft.com/office/drawing/2014/main" id="{46E8C430-46E0-CF0A-09C8-603BF31BEC33}"/>
              </a:ext>
            </a:extLst>
          </p:cNvPr>
          <p:cNvSpPr/>
          <p:nvPr/>
        </p:nvSpPr>
        <p:spPr>
          <a:xfrm rot="21382590">
            <a:off x="4017931" y="4377996"/>
            <a:ext cx="382519" cy="34955"/>
          </a:xfrm>
          <a:custGeom>
            <a:avLst/>
            <a:gdLst>
              <a:gd name="connsiteX0" fmla="*/ 0 w 958297"/>
              <a:gd name="connsiteY0" fmla="*/ 0 h 76974"/>
              <a:gd name="connsiteX1" fmla="*/ 958297 w 958297"/>
              <a:gd name="connsiteY1" fmla="*/ 60686 h 76974"/>
              <a:gd name="connsiteX2" fmla="*/ 947418 w 958297"/>
              <a:gd name="connsiteY2" fmla="*/ 76974 h 76974"/>
              <a:gd name="connsiteX3" fmla="*/ 448006 w 958297"/>
              <a:gd name="connsiteY3" fmla="*/ 76974 h 76974"/>
              <a:gd name="connsiteX4" fmla="*/ 479148 w 958297"/>
              <a:gd name="connsiteY4" fmla="*/ 30344 h 76974"/>
              <a:gd name="connsiteX5" fmla="*/ 1 w 958297"/>
              <a:gd name="connsiteY5" fmla="*/ 1 h 76974"/>
              <a:gd name="connsiteX6" fmla="*/ 38362 w 958297"/>
              <a:gd name="connsiteY6" fmla="*/ 76974 h 76974"/>
              <a:gd name="connsiteX7" fmla="*/ 38362 w 958297"/>
              <a:gd name="connsiteY7" fmla="*/ 76974 h 76974"/>
              <a:gd name="connsiteX0" fmla="*/ 0 w 958297"/>
              <a:gd name="connsiteY0" fmla="*/ 0 h 76974"/>
              <a:gd name="connsiteX1" fmla="*/ 958297 w 958297"/>
              <a:gd name="connsiteY1" fmla="*/ 60686 h 76974"/>
              <a:gd name="connsiteX2" fmla="*/ 947418 w 958297"/>
              <a:gd name="connsiteY2" fmla="*/ 76974 h 76974"/>
              <a:gd name="connsiteX3" fmla="*/ 448006 w 958297"/>
              <a:gd name="connsiteY3" fmla="*/ 76974 h 76974"/>
              <a:gd name="connsiteX4" fmla="*/ 479148 w 958297"/>
              <a:gd name="connsiteY4" fmla="*/ 30344 h 76974"/>
              <a:gd name="connsiteX5" fmla="*/ 1 w 958297"/>
              <a:gd name="connsiteY5" fmla="*/ 1 h 76974"/>
              <a:gd name="connsiteX6" fmla="*/ 38362 w 958297"/>
              <a:gd name="connsiteY6" fmla="*/ 76974 h 76974"/>
              <a:gd name="connsiteX7" fmla="*/ 0 w 958297"/>
              <a:gd name="connsiteY7" fmla="*/ 0 h 76974"/>
              <a:gd name="connsiteX0" fmla="*/ 0 w 958297"/>
              <a:gd name="connsiteY0" fmla="*/ 0 h 76974"/>
              <a:gd name="connsiteX1" fmla="*/ 958297 w 958297"/>
              <a:gd name="connsiteY1" fmla="*/ 60686 h 76974"/>
              <a:gd name="connsiteX2" fmla="*/ 947418 w 958297"/>
              <a:gd name="connsiteY2" fmla="*/ 76974 h 76974"/>
              <a:gd name="connsiteX3" fmla="*/ 448006 w 958297"/>
              <a:gd name="connsiteY3" fmla="*/ 76974 h 76974"/>
              <a:gd name="connsiteX4" fmla="*/ 479148 w 958297"/>
              <a:gd name="connsiteY4" fmla="*/ 30344 h 76974"/>
              <a:gd name="connsiteX5" fmla="*/ 1 w 958297"/>
              <a:gd name="connsiteY5" fmla="*/ 1 h 76974"/>
              <a:gd name="connsiteX6" fmla="*/ 0 w 958297"/>
              <a:gd name="connsiteY6" fmla="*/ 0 h 76974"/>
              <a:gd name="connsiteX0" fmla="*/ 0 w 958296"/>
              <a:gd name="connsiteY0" fmla="*/ 0 h 76973"/>
              <a:gd name="connsiteX1" fmla="*/ 958296 w 958296"/>
              <a:gd name="connsiteY1" fmla="*/ 60685 h 76973"/>
              <a:gd name="connsiteX2" fmla="*/ 947417 w 958296"/>
              <a:gd name="connsiteY2" fmla="*/ 76973 h 76973"/>
              <a:gd name="connsiteX3" fmla="*/ 448005 w 958296"/>
              <a:gd name="connsiteY3" fmla="*/ 76973 h 76973"/>
              <a:gd name="connsiteX4" fmla="*/ 479147 w 958296"/>
              <a:gd name="connsiteY4" fmla="*/ 30343 h 76973"/>
              <a:gd name="connsiteX5" fmla="*/ 0 w 958296"/>
              <a:gd name="connsiteY5" fmla="*/ 0 h 76973"/>
              <a:gd name="connsiteX0" fmla="*/ 31142 w 510291"/>
              <a:gd name="connsiteY0" fmla="*/ 0 h 46630"/>
              <a:gd name="connsiteX1" fmla="*/ 510291 w 510291"/>
              <a:gd name="connsiteY1" fmla="*/ 30342 h 46630"/>
              <a:gd name="connsiteX2" fmla="*/ 499412 w 510291"/>
              <a:gd name="connsiteY2" fmla="*/ 46630 h 46630"/>
              <a:gd name="connsiteX3" fmla="*/ 0 w 510291"/>
              <a:gd name="connsiteY3" fmla="*/ 46630 h 46630"/>
              <a:gd name="connsiteX4" fmla="*/ 31142 w 510291"/>
              <a:gd name="connsiteY4" fmla="*/ 0 h 46630"/>
              <a:gd name="connsiteX0" fmla="*/ 31142 w 510291"/>
              <a:gd name="connsiteY0" fmla="*/ 0 h 46630"/>
              <a:gd name="connsiteX1" fmla="*/ 510291 w 510291"/>
              <a:gd name="connsiteY1" fmla="*/ 30342 h 46630"/>
              <a:gd name="connsiteX2" fmla="*/ 0 w 510291"/>
              <a:gd name="connsiteY2" fmla="*/ 46630 h 46630"/>
              <a:gd name="connsiteX3" fmla="*/ 31142 w 510291"/>
              <a:gd name="connsiteY3" fmla="*/ 0 h 46630"/>
            </a:gdLst>
            <a:ahLst/>
            <a:cxnLst>
              <a:cxn ang="0">
                <a:pos x="connsiteX0" y="connsiteY0"/>
              </a:cxn>
              <a:cxn ang="0">
                <a:pos x="connsiteX1" y="connsiteY1"/>
              </a:cxn>
              <a:cxn ang="0">
                <a:pos x="connsiteX2" y="connsiteY2"/>
              </a:cxn>
              <a:cxn ang="0">
                <a:pos x="connsiteX3" y="connsiteY3"/>
              </a:cxn>
            </a:cxnLst>
            <a:rect l="l" t="t" r="r" b="b"/>
            <a:pathLst>
              <a:path w="510291" h="46630">
                <a:moveTo>
                  <a:pt x="31142" y="0"/>
                </a:moveTo>
                <a:lnTo>
                  <a:pt x="510291" y="30342"/>
                </a:lnTo>
                <a:lnTo>
                  <a:pt x="0" y="46630"/>
                </a:lnTo>
                <a:lnTo>
                  <a:pt x="31142" y="0"/>
                </a:lnTo>
                <a:close/>
              </a:path>
            </a:pathLst>
          </a:custGeom>
          <a:solidFill>
            <a:sysClr val="windowText" lastClr="000000">
              <a:alpha val="35000"/>
            </a:sysClr>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3" name="Freeform: Shape 62">
            <a:extLst>
              <a:ext uri="{FF2B5EF4-FFF2-40B4-BE49-F238E27FC236}">
                <a16:creationId xmlns:a16="http://schemas.microsoft.com/office/drawing/2014/main" id="{478A49A3-9591-FED1-D8C4-19148ABC8CBC}"/>
              </a:ext>
            </a:extLst>
          </p:cNvPr>
          <p:cNvSpPr/>
          <p:nvPr/>
        </p:nvSpPr>
        <p:spPr>
          <a:xfrm>
            <a:off x="2061092" y="1596367"/>
            <a:ext cx="3958830" cy="310252"/>
          </a:xfrm>
          <a:custGeom>
            <a:avLst/>
            <a:gdLst>
              <a:gd name="connsiteX0" fmla="*/ 0 w 5281189"/>
              <a:gd name="connsiteY0" fmla="*/ 0 h 413885"/>
              <a:gd name="connsiteX1" fmla="*/ 5281189 w 5281189"/>
              <a:gd name="connsiteY1" fmla="*/ 0 h 413885"/>
              <a:gd name="connsiteX2" fmla="*/ 5041136 w 5281189"/>
              <a:gd name="connsiteY2" fmla="*/ 413885 h 413885"/>
              <a:gd name="connsiteX3" fmla="*/ 240054 w 5281189"/>
              <a:gd name="connsiteY3" fmla="*/ 413885 h 413885"/>
            </a:gdLst>
            <a:ahLst/>
            <a:cxnLst>
              <a:cxn ang="0">
                <a:pos x="connsiteX0" y="connsiteY0"/>
              </a:cxn>
              <a:cxn ang="0">
                <a:pos x="connsiteX1" y="connsiteY1"/>
              </a:cxn>
              <a:cxn ang="0">
                <a:pos x="connsiteX2" y="connsiteY2"/>
              </a:cxn>
              <a:cxn ang="0">
                <a:pos x="connsiteX3" y="connsiteY3"/>
              </a:cxn>
            </a:cxnLst>
            <a:rect l="l" t="t" r="r" b="b"/>
            <a:pathLst>
              <a:path w="5281189" h="413885">
                <a:moveTo>
                  <a:pt x="0" y="0"/>
                </a:moveTo>
                <a:lnTo>
                  <a:pt x="5281189" y="0"/>
                </a:lnTo>
                <a:lnTo>
                  <a:pt x="5041136" y="413885"/>
                </a:lnTo>
                <a:lnTo>
                  <a:pt x="240054" y="413885"/>
                </a:lnTo>
                <a:close/>
              </a:path>
            </a:pathLst>
          </a:custGeom>
          <a:solidFill>
            <a:srgbClr val="F7931F"/>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4" name="TextBox 63">
            <a:extLst>
              <a:ext uri="{FF2B5EF4-FFF2-40B4-BE49-F238E27FC236}">
                <a16:creationId xmlns:a16="http://schemas.microsoft.com/office/drawing/2014/main" id="{B724CAD9-A10A-2F12-D190-73BF493D1062}"/>
              </a:ext>
            </a:extLst>
          </p:cNvPr>
          <p:cNvSpPr txBox="1"/>
          <p:nvPr/>
        </p:nvSpPr>
        <p:spPr>
          <a:xfrm>
            <a:off x="3831263" y="1566922"/>
            <a:ext cx="418486" cy="369140"/>
          </a:xfrm>
          <a:prstGeom prst="rect">
            <a:avLst/>
          </a:prstGeom>
          <a:noFill/>
        </p:spPr>
        <p:txBody>
          <a:bodyPr wrap="none" rtlCol="0" anchor="ctr">
            <a:spAutoFit/>
          </a:bodyPr>
          <a:lstStyle/>
          <a:p>
            <a:pPr algn="ctr"/>
            <a:r>
              <a:rPr lang="en-US" sz="1799" b="1">
                <a:solidFill>
                  <a:prstClr val="black"/>
                </a:solidFill>
                <a:latin typeface="Calibri" panose="020F0502020204030204"/>
              </a:rPr>
              <a:t>01</a:t>
            </a:r>
          </a:p>
        </p:txBody>
      </p:sp>
      <p:sp>
        <p:nvSpPr>
          <p:cNvPr id="65" name="Freeform: Shape 64">
            <a:extLst>
              <a:ext uri="{FF2B5EF4-FFF2-40B4-BE49-F238E27FC236}">
                <a16:creationId xmlns:a16="http://schemas.microsoft.com/office/drawing/2014/main" id="{78078321-71F6-F76B-601A-6A43EC5BABFD}"/>
              </a:ext>
            </a:extLst>
          </p:cNvPr>
          <p:cNvSpPr/>
          <p:nvPr/>
        </p:nvSpPr>
        <p:spPr>
          <a:xfrm>
            <a:off x="2420985" y="2216872"/>
            <a:ext cx="3239043" cy="310253"/>
          </a:xfrm>
          <a:custGeom>
            <a:avLst/>
            <a:gdLst>
              <a:gd name="connsiteX0" fmla="*/ 0 w 4320973"/>
              <a:gd name="connsiteY0" fmla="*/ 0 h 413886"/>
              <a:gd name="connsiteX1" fmla="*/ 4320973 w 4320973"/>
              <a:gd name="connsiteY1" fmla="*/ 0 h 413886"/>
              <a:gd name="connsiteX2" fmla="*/ 4080919 w 4320973"/>
              <a:gd name="connsiteY2" fmla="*/ 413886 h 413886"/>
              <a:gd name="connsiteX3" fmla="*/ 240054 w 4320973"/>
              <a:gd name="connsiteY3" fmla="*/ 413886 h 413886"/>
            </a:gdLst>
            <a:ahLst/>
            <a:cxnLst>
              <a:cxn ang="0">
                <a:pos x="connsiteX0" y="connsiteY0"/>
              </a:cxn>
              <a:cxn ang="0">
                <a:pos x="connsiteX1" y="connsiteY1"/>
              </a:cxn>
              <a:cxn ang="0">
                <a:pos x="connsiteX2" y="connsiteY2"/>
              </a:cxn>
              <a:cxn ang="0">
                <a:pos x="connsiteX3" y="connsiteY3"/>
              </a:cxn>
            </a:cxnLst>
            <a:rect l="l" t="t" r="r" b="b"/>
            <a:pathLst>
              <a:path w="4320973" h="413886">
                <a:moveTo>
                  <a:pt x="0" y="0"/>
                </a:moveTo>
                <a:lnTo>
                  <a:pt x="4320973" y="0"/>
                </a:lnTo>
                <a:lnTo>
                  <a:pt x="4080919" y="413886"/>
                </a:lnTo>
                <a:lnTo>
                  <a:pt x="240054" y="413886"/>
                </a:lnTo>
                <a:close/>
              </a:path>
            </a:pathLst>
          </a:custGeom>
          <a:solidFill>
            <a:srgbClr val="4CC1EF"/>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6" name="TextBox 65">
            <a:extLst>
              <a:ext uri="{FF2B5EF4-FFF2-40B4-BE49-F238E27FC236}">
                <a16:creationId xmlns:a16="http://schemas.microsoft.com/office/drawing/2014/main" id="{63FF9B29-2295-679D-B5E9-79CC7EA2668C}"/>
              </a:ext>
            </a:extLst>
          </p:cNvPr>
          <p:cNvSpPr txBox="1"/>
          <p:nvPr/>
        </p:nvSpPr>
        <p:spPr>
          <a:xfrm>
            <a:off x="3831263" y="2187428"/>
            <a:ext cx="418486" cy="369140"/>
          </a:xfrm>
          <a:prstGeom prst="rect">
            <a:avLst/>
          </a:prstGeom>
          <a:noFill/>
        </p:spPr>
        <p:txBody>
          <a:bodyPr wrap="none" rtlCol="0" anchor="ctr">
            <a:spAutoFit/>
          </a:bodyPr>
          <a:lstStyle/>
          <a:p>
            <a:pPr algn="ctr"/>
            <a:r>
              <a:rPr lang="en-US" sz="1799" b="1">
                <a:solidFill>
                  <a:prstClr val="black"/>
                </a:solidFill>
                <a:latin typeface="Calibri" panose="020F0502020204030204"/>
              </a:rPr>
              <a:t>02</a:t>
            </a:r>
          </a:p>
        </p:txBody>
      </p:sp>
      <p:sp>
        <p:nvSpPr>
          <p:cNvPr id="67" name="Freeform: Shape 66">
            <a:extLst>
              <a:ext uri="{FF2B5EF4-FFF2-40B4-BE49-F238E27FC236}">
                <a16:creationId xmlns:a16="http://schemas.microsoft.com/office/drawing/2014/main" id="{FCD483ED-1606-A1C7-BE9D-89DF19B66EFD}"/>
              </a:ext>
            </a:extLst>
          </p:cNvPr>
          <p:cNvSpPr/>
          <p:nvPr/>
        </p:nvSpPr>
        <p:spPr>
          <a:xfrm>
            <a:off x="2780878" y="2837378"/>
            <a:ext cx="2519257" cy="310253"/>
          </a:xfrm>
          <a:custGeom>
            <a:avLst/>
            <a:gdLst>
              <a:gd name="connsiteX0" fmla="*/ 0 w 3360758"/>
              <a:gd name="connsiteY0" fmla="*/ 0 h 413886"/>
              <a:gd name="connsiteX1" fmla="*/ 3360758 w 3360758"/>
              <a:gd name="connsiteY1" fmla="*/ 0 h 413886"/>
              <a:gd name="connsiteX2" fmla="*/ 3120704 w 3360758"/>
              <a:gd name="connsiteY2" fmla="*/ 413886 h 413886"/>
              <a:gd name="connsiteX3" fmla="*/ 240054 w 3360758"/>
              <a:gd name="connsiteY3" fmla="*/ 413886 h 413886"/>
            </a:gdLst>
            <a:ahLst/>
            <a:cxnLst>
              <a:cxn ang="0">
                <a:pos x="connsiteX0" y="connsiteY0"/>
              </a:cxn>
              <a:cxn ang="0">
                <a:pos x="connsiteX1" y="connsiteY1"/>
              </a:cxn>
              <a:cxn ang="0">
                <a:pos x="connsiteX2" y="connsiteY2"/>
              </a:cxn>
              <a:cxn ang="0">
                <a:pos x="connsiteX3" y="connsiteY3"/>
              </a:cxn>
            </a:cxnLst>
            <a:rect l="l" t="t" r="r" b="b"/>
            <a:pathLst>
              <a:path w="3360758" h="413886">
                <a:moveTo>
                  <a:pt x="0" y="0"/>
                </a:moveTo>
                <a:lnTo>
                  <a:pt x="3360758" y="0"/>
                </a:lnTo>
                <a:lnTo>
                  <a:pt x="3120704" y="413886"/>
                </a:lnTo>
                <a:lnTo>
                  <a:pt x="240054" y="413886"/>
                </a:lnTo>
                <a:close/>
              </a:path>
            </a:pathLst>
          </a:custGeom>
          <a:solidFill>
            <a:srgbClr val="FFCC4C"/>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68" name="TextBox 67">
            <a:extLst>
              <a:ext uri="{FF2B5EF4-FFF2-40B4-BE49-F238E27FC236}">
                <a16:creationId xmlns:a16="http://schemas.microsoft.com/office/drawing/2014/main" id="{A1D6BE7C-C536-B687-80FE-D5B01678929B}"/>
              </a:ext>
            </a:extLst>
          </p:cNvPr>
          <p:cNvSpPr txBox="1"/>
          <p:nvPr/>
        </p:nvSpPr>
        <p:spPr>
          <a:xfrm>
            <a:off x="3831263" y="2807933"/>
            <a:ext cx="418486" cy="369140"/>
          </a:xfrm>
          <a:prstGeom prst="rect">
            <a:avLst/>
          </a:prstGeom>
          <a:noFill/>
        </p:spPr>
        <p:txBody>
          <a:bodyPr wrap="none" rtlCol="0" anchor="ctr">
            <a:spAutoFit/>
          </a:bodyPr>
          <a:lstStyle/>
          <a:p>
            <a:pPr algn="ctr"/>
            <a:r>
              <a:rPr lang="en-US" sz="1799" b="1">
                <a:solidFill>
                  <a:prstClr val="black"/>
                </a:solidFill>
                <a:latin typeface="Calibri" panose="020F0502020204030204"/>
              </a:rPr>
              <a:t>03</a:t>
            </a:r>
          </a:p>
        </p:txBody>
      </p:sp>
      <p:sp>
        <p:nvSpPr>
          <p:cNvPr id="69" name="Freeform: Shape 68">
            <a:extLst>
              <a:ext uri="{FF2B5EF4-FFF2-40B4-BE49-F238E27FC236}">
                <a16:creationId xmlns:a16="http://schemas.microsoft.com/office/drawing/2014/main" id="{E99DBE26-0017-C3D4-DD52-53E30CAEDBEC}"/>
              </a:ext>
            </a:extLst>
          </p:cNvPr>
          <p:cNvSpPr/>
          <p:nvPr/>
        </p:nvSpPr>
        <p:spPr>
          <a:xfrm>
            <a:off x="3140772" y="3457885"/>
            <a:ext cx="1799469" cy="310253"/>
          </a:xfrm>
          <a:custGeom>
            <a:avLst/>
            <a:gdLst>
              <a:gd name="connsiteX0" fmla="*/ 0 w 2400541"/>
              <a:gd name="connsiteY0" fmla="*/ 0 h 413886"/>
              <a:gd name="connsiteX1" fmla="*/ 2400541 w 2400541"/>
              <a:gd name="connsiteY1" fmla="*/ 0 h 413886"/>
              <a:gd name="connsiteX2" fmla="*/ 2160487 w 2400541"/>
              <a:gd name="connsiteY2" fmla="*/ 413886 h 413886"/>
              <a:gd name="connsiteX3" fmla="*/ 240054 w 2400541"/>
              <a:gd name="connsiteY3" fmla="*/ 413886 h 413886"/>
            </a:gdLst>
            <a:ahLst/>
            <a:cxnLst>
              <a:cxn ang="0">
                <a:pos x="connsiteX0" y="connsiteY0"/>
              </a:cxn>
              <a:cxn ang="0">
                <a:pos x="connsiteX1" y="connsiteY1"/>
              </a:cxn>
              <a:cxn ang="0">
                <a:pos x="connsiteX2" y="connsiteY2"/>
              </a:cxn>
              <a:cxn ang="0">
                <a:pos x="connsiteX3" y="connsiteY3"/>
              </a:cxn>
            </a:cxnLst>
            <a:rect l="l" t="t" r="r" b="b"/>
            <a:pathLst>
              <a:path w="2400541" h="413886">
                <a:moveTo>
                  <a:pt x="0" y="0"/>
                </a:moveTo>
                <a:lnTo>
                  <a:pt x="2400541" y="0"/>
                </a:lnTo>
                <a:lnTo>
                  <a:pt x="2160487" y="413886"/>
                </a:lnTo>
                <a:lnTo>
                  <a:pt x="240054" y="413886"/>
                </a:lnTo>
                <a:close/>
              </a:path>
            </a:pathLst>
          </a:custGeom>
          <a:solidFill>
            <a:srgbClr val="C13018"/>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0" name="TextBox 69">
            <a:extLst>
              <a:ext uri="{FF2B5EF4-FFF2-40B4-BE49-F238E27FC236}">
                <a16:creationId xmlns:a16="http://schemas.microsoft.com/office/drawing/2014/main" id="{E80372BB-8975-9A27-C050-6558A8F4E38B}"/>
              </a:ext>
            </a:extLst>
          </p:cNvPr>
          <p:cNvSpPr txBox="1"/>
          <p:nvPr/>
        </p:nvSpPr>
        <p:spPr>
          <a:xfrm>
            <a:off x="3831263" y="3429000"/>
            <a:ext cx="418486" cy="369140"/>
          </a:xfrm>
          <a:prstGeom prst="rect">
            <a:avLst/>
          </a:prstGeom>
          <a:noFill/>
        </p:spPr>
        <p:txBody>
          <a:bodyPr wrap="none" rtlCol="0" anchor="ctr">
            <a:spAutoFit/>
          </a:bodyPr>
          <a:lstStyle/>
          <a:p>
            <a:pPr algn="ctr"/>
            <a:r>
              <a:rPr lang="en-US" sz="1799" b="1">
                <a:solidFill>
                  <a:prstClr val="white"/>
                </a:solidFill>
                <a:latin typeface="Calibri" panose="020F0502020204030204"/>
              </a:rPr>
              <a:t>04</a:t>
            </a:r>
          </a:p>
        </p:txBody>
      </p:sp>
      <p:sp>
        <p:nvSpPr>
          <p:cNvPr id="71" name="Freeform: Shape 70">
            <a:extLst>
              <a:ext uri="{FF2B5EF4-FFF2-40B4-BE49-F238E27FC236}">
                <a16:creationId xmlns:a16="http://schemas.microsoft.com/office/drawing/2014/main" id="{7294C15E-2BCF-AAB3-0418-F26148366E11}"/>
              </a:ext>
            </a:extLst>
          </p:cNvPr>
          <p:cNvSpPr/>
          <p:nvPr/>
        </p:nvSpPr>
        <p:spPr>
          <a:xfrm>
            <a:off x="3500666" y="4078391"/>
            <a:ext cx="1079682" cy="310253"/>
          </a:xfrm>
          <a:custGeom>
            <a:avLst/>
            <a:gdLst>
              <a:gd name="connsiteX0" fmla="*/ 0 w 1440325"/>
              <a:gd name="connsiteY0" fmla="*/ 0 h 413886"/>
              <a:gd name="connsiteX1" fmla="*/ 1440325 w 1440325"/>
              <a:gd name="connsiteY1" fmla="*/ 0 h 413886"/>
              <a:gd name="connsiteX2" fmla="*/ 1200271 w 1440325"/>
              <a:gd name="connsiteY2" fmla="*/ 413886 h 413886"/>
              <a:gd name="connsiteX3" fmla="*/ 240054 w 1440325"/>
              <a:gd name="connsiteY3" fmla="*/ 413886 h 413886"/>
            </a:gdLst>
            <a:ahLst/>
            <a:cxnLst>
              <a:cxn ang="0">
                <a:pos x="connsiteX0" y="connsiteY0"/>
              </a:cxn>
              <a:cxn ang="0">
                <a:pos x="connsiteX1" y="connsiteY1"/>
              </a:cxn>
              <a:cxn ang="0">
                <a:pos x="connsiteX2" y="connsiteY2"/>
              </a:cxn>
              <a:cxn ang="0">
                <a:pos x="connsiteX3" y="connsiteY3"/>
              </a:cxn>
            </a:cxnLst>
            <a:rect l="l" t="t" r="r" b="b"/>
            <a:pathLst>
              <a:path w="1440325" h="413886">
                <a:moveTo>
                  <a:pt x="0" y="0"/>
                </a:moveTo>
                <a:lnTo>
                  <a:pt x="1440325" y="0"/>
                </a:lnTo>
                <a:lnTo>
                  <a:pt x="1200271" y="413886"/>
                </a:lnTo>
                <a:lnTo>
                  <a:pt x="240054" y="413886"/>
                </a:lnTo>
                <a:close/>
              </a:path>
            </a:pathLst>
          </a:custGeom>
          <a:solidFill>
            <a:srgbClr val="A2B969"/>
          </a:solidFill>
          <a:ln w="12700" cap="flat" cmpd="sng" algn="ctr">
            <a:noFill/>
            <a:prstDash val="solid"/>
            <a:miter lim="800000"/>
          </a:ln>
          <a:effectLst/>
        </p:spPr>
        <p:txBody>
          <a:bodyPr wrap="square" rtlCol="0" anchor="ctr">
            <a:noAutofit/>
          </a:bodyPr>
          <a:lstStyle/>
          <a:p>
            <a:pPr algn="ctr" defTabSz="913943">
              <a:defRPr/>
            </a:pPr>
            <a:endParaRPr lang="en-US" sz="1349" kern="0">
              <a:solidFill>
                <a:prstClr val="white"/>
              </a:solidFill>
              <a:latin typeface="Calibri" panose="020F0502020204030204"/>
            </a:endParaRPr>
          </a:p>
        </p:txBody>
      </p:sp>
      <p:sp>
        <p:nvSpPr>
          <p:cNvPr id="72" name="TextBox 71">
            <a:extLst>
              <a:ext uri="{FF2B5EF4-FFF2-40B4-BE49-F238E27FC236}">
                <a16:creationId xmlns:a16="http://schemas.microsoft.com/office/drawing/2014/main" id="{10B183E7-791F-51DD-F513-027408C050B8}"/>
              </a:ext>
            </a:extLst>
          </p:cNvPr>
          <p:cNvSpPr txBox="1"/>
          <p:nvPr/>
        </p:nvSpPr>
        <p:spPr>
          <a:xfrm>
            <a:off x="3831263" y="4049506"/>
            <a:ext cx="418486" cy="369140"/>
          </a:xfrm>
          <a:prstGeom prst="rect">
            <a:avLst/>
          </a:prstGeom>
          <a:noFill/>
        </p:spPr>
        <p:txBody>
          <a:bodyPr wrap="none" rtlCol="0" anchor="ctr">
            <a:spAutoFit/>
          </a:bodyPr>
          <a:lstStyle/>
          <a:p>
            <a:pPr algn="ctr"/>
            <a:r>
              <a:rPr lang="en-US" sz="1799" b="1">
                <a:solidFill>
                  <a:prstClr val="black"/>
                </a:solidFill>
                <a:latin typeface="Calibri" panose="020F0502020204030204"/>
              </a:rPr>
              <a:t>05</a:t>
            </a:r>
          </a:p>
        </p:txBody>
      </p:sp>
    </p:spTree>
    <p:extLst>
      <p:ext uri="{BB962C8B-B14F-4D97-AF65-F5344CB8AC3E}">
        <p14:creationId xmlns:p14="http://schemas.microsoft.com/office/powerpoint/2010/main" val="1458386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F6EBA-10AF-DE59-ACD7-F0D20D039B0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0BE3FCD8-B97B-F348-FA59-AB3B578DB5C3}"/>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2" name="Group 1">
            <a:extLst>
              <a:ext uri="{FF2B5EF4-FFF2-40B4-BE49-F238E27FC236}">
                <a16:creationId xmlns:a16="http://schemas.microsoft.com/office/drawing/2014/main" id="{BD8A7DCC-C6D3-A4B2-DB98-AA7D8DFDBF62}"/>
              </a:ext>
            </a:extLst>
          </p:cNvPr>
          <p:cNvGrpSpPr/>
          <p:nvPr/>
        </p:nvGrpSpPr>
        <p:grpSpPr>
          <a:xfrm>
            <a:off x="579453" y="5474317"/>
            <a:ext cx="1939804" cy="1197824"/>
            <a:chOff x="332936" y="4498451"/>
            <a:chExt cx="2926511" cy="1597927"/>
          </a:xfrm>
        </p:grpSpPr>
        <p:sp>
          <p:nvSpPr>
            <p:cNvPr id="3" name="TextBox 2">
              <a:extLst>
                <a:ext uri="{FF2B5EF4-FFF2-40B4-BE49-F238E27FC236}">
                  <a16:creationId xmlns:a16="http://schemas.microsoft.com/office/drawing/2014/main" id="{9E764671-2180-49A4-E029-4B7A55B0F712}"/>
                </a:ext>
              </a:extLst>
            </p:cNvPr>
            <p:cNvSpPr txBox="1"/>
            <p:nvPr/>
          </p:nvSpPr>
          <p:spPr>
            <a:xfrm>
              <a:off x="332936" y="4498451"/>
              <a:ext cx="2926511" cy="615552"/>
            </a:xfrm>
            <a:prstGeom prst="rect">
              <a:avLst/>
            </a:prstGeom>
            <a:noFill/>
          </p:spPr>
          <p:txBody>
            <a:bodyPr wrap="square" lIns="0" rIns="0" rtlCol="0" anchor="b">
              <a:spAutoFit/>
            </a:bodyPr>
            <a:lstStyle/>
            <a:p>
              <a:pPr algn="r"/>
              <a:r>
                <a:rPr lang="en-US" sz="2399" b="1" cap="all" noProof="1">
                  <a:solidFill>
                    <a:srgbClr val="F7931F"/>
                  </a:solidFill>
                  <a:latin typeface="Calibri" panose="020F0502020204030204"/>
                </a:rPr>
                <a:t>Lorem Ipsum</a:t>
              </a:r>
            </a:p>
          </p:txBody>
        </p:sp>
        <p:sp>
          <p:nvSpPr>
            <p:cNvPr id="4" name="TextBox 3">
              <a:extLst>
                <a:ext uri="{FF2B5EF4-FFF2-40B4-BE49-F238E27FC236}">
                  <a16:creationId xmlns:a16="http://schemas.microsoft.com/office/drawing/2014/main" id="{48E6090B-8782-DCCF-3CE4-5DE9960F53A0}"/>
                </a:ext>
              </a:extLst>
            </p:cNvPr>
            <p:cNvSpPr txBox="1"/>
            <p:nvPr/>
          </p:nvSpPr>
          <p:spPr>
            <a:xfrm>
              <a:off x="332936" y="5111494"/>
              <a:ext cx="2926511" cy="984884"/>
            </a:xfrm>
            <a:prstGeom prst="rect">
              <a:avLst/>
            </a:prstGeom>
            <a:noFill/>
          </p:spPr>
          <p:txBody>
            <a:bodyPr wrap="square" lIns="0" rIns="0" rtlCol="0" anchor="t">
              <a:spAutoFit/>
            </a:bodyPr>
            <a:lstStyle/>
            <a:p>
              <a:pPr algn="just"/>
              <a:r>
                <a:rPr lang="en-US" sz="1049" noProof="1">
                  <a:solidFill>
                    <a:prstClr val="white">
                      <a:lumMod val="75000"/>
                    </a:prstClr>
                  </a:solidFill>
                  <a:latin typeface="Calibri" panose="020F0502020204030204"/>
                </a:rPr>
                <a:t>Lorem ipsum dolor sit amet, nibh est. A magna maecenas, quam magna nec quis, lorem nunc. Suspendisse viverra sodales.</a:t>
              </a:r>
            </a:p>
          </p:txBody>
        </p:sp>
      </p:grpSp>
      <p:grpSp>
        <p:nvGrpSpPr>
          <p:cNvPr id="5" name="Group 4">
            <a:extLst>
              <a:ext uri="{FF2B5EF4-FFF2-40B4-BE49-F238E27FC236}">
                <a16:creationId xmlns:a16="http://schemas.microsoft.com/office/drawing/2014/main" id="{E75E3064-830D-6939-7286-8DCCD3DCB6A4}"/>
              </a:ext>
            </a:extLst>
          </p:cNvPr>
          <p:cNvGrpSpPr/>
          <p:nvPr/>
        </p:nvGrpSpPr>
        <p:grpSpPr>
          <a:xfrm>
            <a:off x="5126098" y="3165669"/>
            <a:ext cx="1939804" cy="1197824"/>
            <a:chOff x="332936" y="4498451"/>
            <a:chExt cx="2926511" cy="1597927"/>
          </a:xfrm>
        </p:grpSpPr>
        <p:sp>
          <p:nvSpPr>
            <p:cNvPr id="6" name="TextBox 5">
              <a:extLst>
                <a:ext uri="{FF2B5EF4-FFF2-40B4-BE49-F238E27FC236}">
                  <a16:creationId xmlns:a16="http://schemas.microsoft.com/office/drawing/2014/main" id="{B7A7C630-54BC-E4D9-79D2-AD98AB4330FF}"/>
                </a:ext>
              </a:extLst>
            </p:cNvPr>
            <p:cNvSpPr txBox="1"/>
            <p:nvPr/>
          </p:nvSpPr>
          <p:spPr>
            <a:xfrm>
              <a:off x="332936" y="4498451"/>
              <a:ext cx="2926511" cy="615552"/>
            </a:xfrm>
            <a:prstGeom prst="rect">
              <a:avLst/>
            </a:prstGeom>
            <a:noFill/>
          </p:spPr>
          <p:txBody>
            <a:bodyPr wrap="square" lIns="0" rIns="0" rtlCol="0" anchor="b">
              <a:spAutoFit/>
            </a:bodyPr>
            <a:lstStyle/>
            <a:p>
              <a:r>
                <a:rPr lang="en-US" sz="2399" b="1" cap="all" noProof="1">
                  <a:solidFill>
                    <a:srgbClr val="A2B969"/>
                  </a:solidFill>
                  <a:latin typeface="Calibri" panose="020F0502020204030204"/>
                </a:rPr>
                <a:t>Lorem Ipsum</a:t>
              </a:r>
            </a:p>
          </p:txBody>
        </p:sp>
        <p:sp>
          <p:nvSpPr>
            <p:cNvPr id="7" name="TextBox 6">
              <a:extLst>
                <a:ext uri="{FF2B5EF4-FFF2-40B4-BE49-F238E27FC236}">
                  <a16:creationId xmlns:a16="http://schemas.microsoft.com/office/drawing/2014/main" id="{2D821B8E-3BFF-30C1-386D-0102ACFBC138}"/>
                </a:ext>
              </a:extLst>
            </p:cNvPr>
            <p:cNvSpPr txBox="1"/>
            <p:nvPr/>
          </p:nvSpPr>
          <p:spPr>
            <a:xfrm>
              <a:off x="332936" y="5111494"/>
              <a:ext cx="2926511" cy="984884"/>
            </a:xfrm>
            <a:prstGeom prst="rect">
              <a:avLst/>
            </a:prstGeom>
            <a:noFill/>
          </p:spPr>
          <p:txBody>
            <a:bodyPr wrap="square" lIns="0" rIns="0" rtlCol="0" anchor="t">
              <a:spAutoFit/>
            </a:bodyPr>
            <a:lstStyle/>
            <a:p>
              <a:pPr algn="just"/>
              <a:r>
                <a:rPr lang="en-US" sz="1049" noProof="1">
                  <a:solidFill>
                    <a:prstClr val="white">
                      <a:lumMod val="75000"/>
                    </a:prstClr>
                  </a:solidFill>
                  <a:latin typeface="Calibri" panose="020F0502020204030204"/>
                </a:rPr>
                <a:t>Lorem ipsum dolor sit amet, nibh est. A magna maecenas, quam magna nec quis, lorem nunc. Suspendisse viverra sodales.</a:t>
              </a:r>
            </a:p>
          </p:txBody>
        </p:sp>
      </p:grpSp>
      <p:pic>
        <p:nvPicPr>
          <p:cNvPr id="8" name="Graphic 7" descr="Users">
            <a:extLst>
              <a:ext uri="{FF2B5EF4-FFF2-40B4-BE49-F238E27FC236}">
                <a16:creationId xmlns:a16="http://schemas.microsoft.com/office/drawing/2014/main" id="{202AB0BC-BEF6-526F-142A-FF697BCD34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6314" y="5499047"/>
            <a:ext cx="434812" cy="434812"/>
          </a:xfrm>
          <a:prstGeom prst="rect">
            <a:avLst/>
          </a:prstGeom>
        </p:spPr>
      </p:pic>
      <p:pic>
        <p:nvPicPr>
          <p:cNvPr id="9" name="Graphic 8" descr="Puzzle">
            <a:extLst>
              <a:ext uri="{FF2B5EF4-FFF2-40B4-BE49-F238E27FC236}">
                <a16:creationId xmlns:a16="http://schemas.microsoft.com/office/drawing/2014/main" id="{AC8DFE9B-8595-A5AD-6504-B7803826EF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34230" y="3190399"/>
            <a:ext cx="434812" cy="434812"/>
          </a:xfrm>
          <a:prstGeom prst="rect">
            <a:avLst/>
          </a:prstGeom>
        </p:spPr>
      </p:pic>
      <p:grpSp>
        <p:nvGrpSpPr>
          <p:cNvPr id="11" name="Group 10">
            <a:extLst>
              <a:ext uri="{FF2B5EF4-FFF2-40B4-BE49-F238E27FC236}">
                <a16:creationId xmlns:a16="http://schemas.microsoft.com/office/drawing/2014/main" id="{E0C7703D-B74E-0F65-03CB-D1F8922B42BA}"/>
              </a:ext>
            </a:extLst>
          </p:cNvPr>
          <p:cNvGrpSpPr/>
          <p:nvPr/>
        </p:nvGrpSpPr>
        <p:grpSpPr>
          <a:xfrm>
            <a:off x="786247" y="2200761"/>
            <a:ext cx="1939804" cy="1197824"/>
            <a:chOff x="332936" y="4498451"/>
            <a:chExt cx="2926511" cy="1597927"/>
          </a:xfrm>
        </p:grpSpPr>
        <p:sp>
          <p:nvSpPr>
            <p:cNvPr id="12" name="TextBox 11">
              <a:extLst>
                <a:ext uri="{FF2B5EF4-FFF2-40B4-BE49-F238E27FC236}">
                  <a16:creationId xmlns:a16="http://schemas.microsoft.com/office/drawing/2014/main" id="{1BA6079C-E953-3E3D-486F-3358CEB00FD4}"/>
                </a:ext>
              </a:extLst>
            </p:cNvPr>
            <p:cNvSpPr txBox="1"/>
            <p:nvPr/>
          </p:nvSpPr>
          <p:spPr>
            <a:xfrm>
              <a:off x="332936" y="4498451"/>
              <a:ext cx="2926511" cy="615552"/>
            </a:xfrm>
            <a:prstGeom prst="rect">
              <a:avLst/>
            </a:prstGeom>
            <a:noFill/>
          </p:spPr>
          <p:txBody>
            <a:bodyPr wrap="square" lIns="0" rIns="0" rtlCol="0" anchor="b">
              <a:spAutoFit/>
            </a:bodyPr>
            <a:lstStyle/>
            <a:p>
              <a:pPr algn="r"/>
              <a:r>
                <a:rPr lang="en-US" sz="2399" b="1" cap="all" noProof="1">
                  <a:solidFill>
                    <a:srgbClr val="4CC1EF"/>
                  </a:solidFill>
                  <a:latin typeface="Calibri" panose="020F0502020204030204"/>
                </a:rPr>
                <a:t>Lorem Ipsum</a:t>
              </a:r>
            </a:p>
          </p:txBody>
        </p:sp>
        <p:sp>
          <p:nvSpPr>
            <p:cNvPr id="13" name="TextBox 12">
              <a:extLst>
                <a:ext uri="{FF2B5EF4-FFF2-40B4-BE49-F238E27FC236}">
                  <a16:creationId xmlns:a16="http://schemas.microsoft.com/office/drawing/2014/main" id="{091EB937-601C-2795-4A6B-CD7AB653CFE5}"/>
                </a:ext>
              </a:extLst>
            </p:cNvPr>
            <p:cNvSpPr txBox="1"/>
            <p:nvPr/>
          </p:nvSpPr>
          <p:spPr>
            <a:xfrm>
              <a:off x="332936" y="5111494"/>
              <a:ext cx="2926511" cy="984884"/>
            </a:xfrm>
            <a:prstGeom prst="rect">
              <a:avLst/>
            </a:prstGeom>
            <a:noFill/>
          </p:spPr>
          <p:txBody>
            <a:bodyPr wrap="square" lIns="0" rIns="0" rtlCol="0" anchor="t">
              <a:spAutoFit/>
            </a:bodyPr>
            <a:lstStyle/>
            <a:p>
              <a:pPr algn="just"/>
              <a:r>
                <a:rPr lang="en-US" sz="1049" noProof="1">
                  <a:solidFill>
                    <a:prstClr val="white">
                      <a:lumMod val="75000"/>
                    </a:prstClr>
                  </a:solidFill>
                  <a:latin typeface="Calibri" panose="020F0502020204030204"/>
                </a:rPr>
                <a:t>Lorem ipsum dolor sit amet, nibh est. A magna maecenas, quam magna nec quis, lorem nunc. Suspendisse viverra sodales.</a:t>
              </a:r>
            </a:p>
          </p:txBody>
        </p:sp>
      </p:grpSp>
      <p:grpSp>
        <p:nvGrpSpPr>
          <p:cNvPr id="17" name="Group 16">
            <a:extLst>
              <a:ext uri="{FF2B5EF4-FFF2-40B4-BE49-F238E27FC236}">
                <a16:creationId xmlns:a16="http://schemas.microsoft.com/office/drawing/2014/main" id="{04637B32-BB0E-79DC-2E6E-33619A9B3A23}"/>
              </a:ext>
            </a:extLst>
          </p:cNvPr>
          <p:cNvGrpSpPr/>
          <p:nvPr/>
        </p:nvGrpSpPr>
        <p:grpSpPr>
          <a:xfrm>
            <a:off x="1058308" y="2498679"/>
            <a:ext cx="4889493" cy="2975063"/>
            <a:chOff x="2125980" y="2521448"/>
            <a:chExt cx="4892040" cy="2976613"/>
          </a:xfrm>
        </p:grpSpPr>
        <p:sp>
          <p:nvSpPr>
            <p:cNvPr id="18" name="Shape">
              <a:extLst>
                <a:ext uri="{FF2B5EF4-FFF2-40B4-BE49-F238E27FC236}">
                  <a16:creationId xmlns:a16="http://schemas.microsoft.com/office/drawing/2014/main" id="{A18477BA-45DF-6203-C342-2EE5A666E1E6}"/>
                </a:ext>
              </a:extLst>
            </p:cNvPr>
            <p:cNvSpPr/>
            <p:nvPr/>
          </p:nvSpPr>
          <p:spPr>
            <a:xfrm>
              <a:off x="4615285" y="4399316"/>
              <a:ext cx="2402735" cy="1098743"/>
            </a:xfrm>
            <a:custGeom>
              <a:avLst/>
              <a:gdLst/>
              <a:ahLst/>
              <a:cxnLst>
                <a:cxn ang="0">
                  <a:pos x="wd2" y="hd2"/>
                </a:cxn>
                <a:cxn ang="5400000">
                  <a:pos x="wd2" y="hd2"/>
                </a:cxn>
                <a:cxn ang="10800000">
                  <a:pos x="wd2" y="hd2"/>
                </a:cxn>
                <a:cxn ang="16200000">
                  <a:pos x="wd2" y="hd2"/>
                </a:cxn>
              </a:cxnLst>
              <a:rect l="0" t="0" r="r" b="b"/>
              <a:pathLst>
                <a:path w="21600" h="21600" extrusionOk="0">
                  <a:moveTo>
                    <a:pt x="0" y="11333"/>
                  </a:moveTo>
                  <a:cubicBezTo>
                    <a:pt x="176" y="17679"/>
                    <a:pt x="3501" y="21600"/>
                    <a:pt x="8768" y="21600"/>
                  </a:cubicBezTo>
                  <a:cubicBezTo>
                    <a:pt x="15133" y="21600"/>
                    <a:pt x="20466" y="12799"/>
                    <a:pt x="21600" y="10787"/>
                  </a:cubicBezTo>
                  <a:cubicBezTo>
                    <a:pt x="20513" y="8757"/>
                    <a:pt x="15430" y="0"/>
                    <a:pt x="8768" y="0"/>
                  </a:cubicBezTo>
                  <a:cubicBezTo>
                    <a:pt x="7210" y="0"/>
                    <a:pt x="5822" y="343"/>
                    <a:pt x="4636" y="993"/>
                  </a:cubicBezTo>
                  <a:cubicBezTo>
                    <a:pt x="3841" y="7302"/>
                    <a:pt x="2213" y="11057"/>
                    <a:pt x="0" y="11333"/>
                  </a:cubicBezTo>
                  <a:close/>
                </a:path>
              </a:pathLst>
            </a:custGeom>
            <a:solidFill>
              <a:srgbClr val="A2B969"/>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19" name="Shape">
              <a:extLst>
                <a:ext uri="{FF2B5EF4-FFF2-40B4-BE49-F238E27FC236}">
                  <a16:creationId xmlns:a16="http://schemas.microsoft.com/office/drawing/2014/main" id="{D4569CCC-29FC-C0D3-AECC-CEC7A79B3FE5}"/>
                </a:ext>
              </a:extLst>
            </p:cNvPr>
            <p:cNvSpPr/>
            <p:nvPr/>
          </p:nvSpPr>
          <p:spPr>
            <a:xfrm>
              <a:off x="4022630" y="2521448"/>
              <a:ext cx="1098740" cy="2402548"/>
            </a:xfrm>
            <a:custGeom>
              <a:avLst/>
              <a:gdLst/>
              <a:ahLst/>
              <a:cxnLst>
                <a:cxn ang="0">
                  <a:pos x="wd2" y="hd2"/>
                </a:cxn>
                <a:cxn ang="5400000">
                  <a:pos x="wd2" y="hd2"/>
                </a:cxn>
                <a:cxn ang="10800000">
                  <a:pos x="wd2" y="hd2"/>
                </a:cxn>
                <a:cxn ang="16200000">
                  <a:pos x="wd2" y="hd2"/>
                </a:cxn>
              </a:cxnLst>
              <a:rect l="0" t="0" r="r" b="b"/>
              <a:pathLst>
                <a:path w="21600" h="21600" extrusionOk="0">
                  <a:moveTo>
                    <a:pt x="6261" y="17977"/>
                  </a:moveTo>
                  <a:cubicBezTo>
                    <a:pt x="8506" y="18625"/>
                    <a:pt x="10034" y="19447"/>
                    <a:pt x="10794" y="20398"/>
                  </a:cubicBezTo>
                  <a:cubicBezTo>
                    <a:pt x="10909" y="20541"/>
                    <a:pt x="11005" y="20690"/>
                    <a:pt x="11086" y="20839"/>
                  </a:cubicBezTo>
                  <a:cubicBezTo>
                    <a:pt x="11219" y="21085"/>
                    <a:pt x="11304" y="21340"/>
                    <a:pt x="11337" y="21600"/>
                  </a:cubicBezTo>
                  <a:cubicBezTo>
                    <a:pt x="11348" y="21600"/>
                    <a:pt x="11363" y="21600"/>
                    <a:pt x="11374" y="21600"/>
                  </a:cubicBezTo>
                  <a:cubicBezTo>
                    <a:pt x="15516" y="21477"/>
                    <a:pt x="18613" y="20008"/>
                    <a:pt x="20264" y="17535"/>
                  </a:cubicBezTo>
                  <a:cubicBezTo>
                    <a:pt x="20330" y="17437"/>
                    <a:pt x="20393" y="17339"/>
                    <a:pt x="20452" y="17239"/>
                  </a:cubicBezTo>
                  <a:cubicBezTo>
                    <a:pt x="20507" y="17150"/>
                    <a:pt x="20559" y="17057"/>
                    <a:pt x="20607" y="16964"/>
                  </a:cubicBezTo>
                  <a:cubicBezTo>
                    <a:pt x="21253" y="15777"/>
                    <a:pt x="21600" y="14389"/>
                    <a:pt x="21600" y="12831"/>
                  </a:cubicBezTo>
                  <a:cubicBezTo>
                    <a:pt x="21600" y="6471"/>
                    <a:pt x="12799" y="1135"/>
                    <a:pt x="10787" y="0"/>
                  </a:cubicBezTo>
                  <a:cubicBezTo>
                    <a:pt x="8757" y="1087"/>
                    <a:pt x="0" y="6171"/>
                    <a:pt x="0" y="12831"/>
                  </a:cubicBezTo>
                  <a:cubicBezTo>
                    <a:pt x="0" y="14388"/>
                    <a:pt x="343" y="15772"/>
                    <a:pt x="989" y="16959"/>
                  </a:cubicBezTo>
                  <a:cubicBezTo>
                    <a:pt x="3016" y="17212"/>
                    <a:pt x="4788" y="17551"/>
                    <a:pt x="6261" y="17977"/>
                  </a:cubicBezTo>
                  <a:close/>
                </a:path>
              </a:pathLst>
            </a:custGeom>
            <a:solidFill>
              <a:srgbClr val="4CC1EF"/>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0" name="Shape">
              <a:extLst>
                <a:ext uri="{FF2B5EF4-FFF2-40B4-BE49-F238E27FC236}">
                  <a16:creationId xmlns:a16="http://schemas.microsoft.com/office/drawing/2014/main" id="{F46C1D39-F7CC-FCC2-9B4B-5A3E8A4A9335}"/>
                </a:ext>
              </a:extLst>
            </p:cNvPr>
            <p:cNvSpPr/>
            <p:nvPr/>
          </p:nvSpPr>
          <p:spPr>
            <a:xfrm>
              <a:off x="2125980" y="4399316"/>
              <a:ext cx="2403674" cy="1098745"/>
            </a:xfrm>
            <a:custGeom>
              <a:avLst/>
              <a:gdLst/>
              <a:ahLst/>
              <a:cxnLst>
                <a:cxn ang="0">
                  <a:pos x="wd2" y="hd2"/>
                </a:cxn>
                <a:cxn ang="5400000">
                  <a:pos x="wd2" y="hd2"/>
                </a:cxn>
                <a:cxn ang="10800000">
                  <a:pos x="wd2" y="hd2"/>
                </a:cxn>
                <a:cxn ang="16200000">
                  <a:pos x="wd2" y="hd2"/>
                </a:cxn>
              </a:cxnLst>
              <a:rect l="0" t="0" r="r" b="b"/>
              <a:pathLst>
                <a:path w="21600" h="21596" extrusionOk="0">
                  <a:moveTo>
                    <a:pt x="21592" y="11339"/>
                  </a:moveTo>
                  <a:cubicBezTo>
                    <a:pt x="21597" y="11162"/>
                    <a:pt x="21600" y="10985"/>
                    <a:pt x="21600" y="10804"/>
                  </a:cubicBezTo>
                  <a:cubicBezTo>
                    <a:pt x="21600" y="10796"/>
                    <a:pt x="21600" y="10793"/>
                    <a:pt x="21600" y="10785"/>
                  </a:cubicBezTo>
                  <a:cubicBezTo>
                    <a:pt x="21600" y="10597"/>
                    <a:pt x="21597" y="10412"/>
                    <a:pt x="21592" y="10228"/>
                  </a:cubicBezTo>
                  <a:cubicBezTo>
                    <a:pt x="21506" y="7419"/>
                    <a:pt x="20790" y="5012"/>
                    <a:pt x="19508" y="3241"/>
                  </a:cubicBezTo>
                  <a:cubicBezTo>
                    <a:pt x="18947" y="2466"/>
                    <a:pt x="18281" y="1827"/>
                    <a:pt x="17526" y="1325"/>
                  </a:cubicBezTo>
                  <a:cubicBezTo>
                    <a:pt x="17430" y="1262"/>
                    <a:pt x="17331" y="1200"/>
                    <a:pt x="17231" y="1141"/>
                  </a:cubicBezTo>
                  <a:cubicBezTo>
                    <a:pt x="17140" y="1085"/>
                    <a:pt x="17049" y="1033"/>
                    <a:pt x="16956" y="982"/>
                  </a:cubicBezTo>
                  <a:cubicBezTo>
                    <a:pt x="15761" y="336"/>
                    <a:pt x="14372" y="0"/>
                    <a:pt x="12827" y="0"/>
                  </a:cubicBezTo>
                  <a:cubicBezTo>
                    <a:pt x="6470" y="0"/>
                    <a:pt x="1134" y="8799"/>
                    <a:pt x="0" y="10811"/>
                  </a:cubicBezTo>
                  <a:cubicBezTo>
                    <a:pt x="1087" y="12841"/>
                    <a:pt x="6168" y="21596"/>
                    <a:pt x="12825" y="21596"/>
                  </a:cubicBezTo>
                  <a:cubicBezTo>
                    <a:pt x="18092" y="21600"/>
                    <a:pt x="21416" y="17684"/>
                    <a:pt x="21592" y="11339"/>
                  </a:cubicBezTo>
                  <a:close/>
                </a:path>
              </a:pathLst>
            </a:custGeom>
            <a:solidFill>
              <a:srgbClr val="F7931F"/>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1" name="Freeform: Shape 20">
              <a:extLst>
                <a:ext uri="{FF2B5EF4-FFF2-40B4-BE49-F238E27FC236}">
                  <a16:creationId xmlns:a16="http://schemas.microsoft.com/office/drawing/2014/main" id="{02E1356B-954A-96AD-82AC-472C535DCD3C}"/>
                </a:ext>
              </a:extLst>
            </p:cNvPr>
            <p:cNvSpPr/>
            <p:nvPr/>
          </p:nvSpPr>
          <p:spPr>
            <a:xfrm>
              <a:off x="4615284" y="4421894"/>
              <a:ext cx="674671" cy="605410"/>
            </a:xfrm>
            <a:custGeom>
              <a:avLst/>
              <a:gdLst>
                <a:gd name="connsiteX0" fmla="*/ 767952 w 767952"/>
                <a:gd name="connsiteY0" fmla="*/ 0 h 689114"/>
                <a:gd name="connsiteX1" fmla="*/ 754740 w 767952"/>
                <a:gd name="connsiteY1" fmla="*/ 40272 h 689114"/>
                <a:gd name="connsiteX2" fmla="*/ 139918 w 767952"/>
                <a:gd name="connsiteY2" fmla="*/ 669796 h 689114"/>
                <a:gd name="connsiteX3" fmla="*/ 11967 w 767952"/>
                <a:gd name="connsiteY3" fmla="*/ 689114 h 689114"/>
                <a:gd name="connsiteX4" fmla="*/ 0 w 767952"/>
                <a:gd name="connsiteY4" fmla="*/ 630490 h 689114"/>
                <a:gd name="connsiteX5" fmla="*/ 587000 w 767952"/>
                <a:gd name="connsiteY5" fmla="*/ 31796 h 68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952" h="689114">
                  <a:moveTo>
                    <a:pt x="767952" y="0"/>
                  </a:moveTo>
                  <a:lnTo>
                    <a:pt x="754740" y="40272"/>
                  </a:lnTo>
                  <a:cubicBezTo>
                    <a:pt x="622975" y="381289"/>
                    <a:pt x="411903" y="601587"/>
                    <a:pt x="139918" y="669796"/>
                  </a:cubicBezTo>
                  <a:lnTo>
                    <a:pt x="11967" y="689114"/>
                  </a:lnTo>
                  <a:lnTo>
                    <a:pt x="0" y="630490"/>
                  </a:lnTo>
                  <a:cubicBezTo>
                    <a:pt x="280205" y="614509"/>
                    <a:pt x="486339" y="397092"/>
                    <a:pt x="587000" y="31796"/>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sp>
          <p:nvSpPr>
            <p:cNvPr id="22" name="Freeform: Shape 21">
              <a:extLst>
                <a:ext uri="{FF2B5EF4-FFF2-40B4-BE49-F238E27FC236}">
                  <a16:creationId xmlns:a16="http://schemas.microsoft.com/office/drawing/2014/main" id="{660DBA6E-0B68-3AA4-E995-E49BC48F5E36}"/>
                </a:ext>
              </a:extLst>
            </p:cNvPr>
            <p:cNvSpPr/>
            <p:nvPr/>
          </p:nvSpPr>
          <p:spPr>
            <a:xfrm>
              <a:off x="4045821" y="4252829"/>
              <a:ext cx="603687" cy="671166"/>
            </a:xfrm>
            <a:custGeom>
              <a:avLst/>
              <a:gdLst>
                <a:gd name="connsiteX0" fmla="*/ 0 w 687153"/>
                <a:gd name="connsiteY0" fmla="*/ 0 h 763963"/>
                <a:gd name="connsiteX1" fmla="*/ 87038 w 687153"/>
                <a:gd name="connsiteY1" fmla="*/ 33047 h 763963"/>
                <a:gd name="connsiteX2" fmla="*/ 282244 w 687153"/>
                <a:gd name="connsiteY2" fmla="*/ 133925 h 763963"/>
                <a:gd name="connsiteX3" fmla="*/ 646650 w 687153"/>
                <a:gd name="connsiteY3" fmla="*/ 559496 h 763963"/>
                <a:gd name="connsiteX4" fmla="*/ 670124 w 687153"/>
                <a:gd name="connsiteY4" fmla="*/ 637016 h 763963"/>
                <a:gd name="connsiteX5" fmla="*/ 687153 w 687153"/>
                <a:gd name="connsiteY5" fmla="*/ 749917 h 763963"/>
                <a:gd name="connsiteX6" fmla="*/ 632165 w 687153"/>
                <a:gd name="connsiteY6" fmla="*/ 763963 h 763963"/>
                <a:gd name="connsiteX7" fmla="*/ 630022 w 687153"/>
                <a:gd name="connsiteY7" fmla="*/ 763963 h 763963"/>
                <a:gd name="connsiteX8" fmla="*/ 615489 w 687153"/>
                <a:gd name="connsiteY8" fmla="*/ 667615 h 763963"/>
                <a:gd name="connsiteX9" fmla="*/ 598582 w 687153"/>
                <a:gd name="connsiteY9" fmla="*/ 611781 h 763963"/>
                <a:gd name="connsiteX10" fmla="*/ 336119 w 687153"/>
                <a:gd name="connsiteY10" fmla="*/ 305263 h 763963"/>
                <a:gd name="connsiteX11" fmla="*/ 30867 w 687153"/>
                <a:gd name="connsiteY11" fmla="*/ 176377 h 7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153" h="763963">
                  <a:moveTo>
                    <a:pt x="0" y="0"/>
                  </a:moveTo>
                  <a:lnTo>
                    <a:pt x="87038" y="33047"/>
                  </a:lnTo>
                  <a:cubicBezTo>
                    <a:pt x="157821" y="62865"/>
                    <a:pt x="223037" y="96483"/>
                    <a:pt x="282244" y="133925"/>
                  </a:cubicBezTo>
                  <a:cubicBezTo>
                    <a:pt x="462718" y="247832"/>
                    <a:pt x="585554" y="392326"/>
                    <a:pt x="646650" y="559496"/>
                  </a:cubicBezTo>
                  <a:cubicBezTo>
                    <a:pt x="655895" y="584633"/>
                    <a:pt x="663612" y="610825"/>
                    <a:pt x="670124" y="637016"/>
                  </a:cubicBezTo>
                  <a:lnTo>
                    <a:pt x="687153" y="749917"/>
                  </a:lnTo>
                  <a:lnTo>
                    <a:pt x="632165" y="763963"/>
                  </a:lnTo>
                  <a:cubicBezTo>
                    <a:pt x="631528" y="763963"/>
                    <a:pt x="630659" y="763963"/>
                    <a:pt x="630022" y="763963"/>
                  </a:cubicBezTo>
                  <a:cubicBezTo>
                    <a:pt x="628112" y="731045"/>
                    <a:pt x="623190" y="698760"/>
                    <a:pt x="615489" y="667615"/>
                  </a:cubicBezTo>
                  <a:cubicBezTo>
                    <a:pt x="610799" y="648750"/>
                    <a:pt x="605241" y="629886"/>
                    <a:pt x="598582" y="611781"/>
                  </a:cubicBezTo>
                  <a:cubicBezTo>
                    <a:pt x="554578" y="491377"/>
                    <a:pt x="466106" y="387305"/>
                    <a:pt x="336119" y="305263"/>
                  </a:cubicBezTo>
                  <a:cubicBezTo>
                    <a:pt x="250831" y="251328"/>
                    <a:pt x="148231" y="208408"/>
                    <a:pt x="30867" y="176377"/>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grpSp>
      <p:pic>
        <p:nvPicPr>
          <p:cNvPr id="23" name="Graphic 22" descr="Light bulb">
            <a:extLst>
              <a:ext uri="{FF2B5EF4-FFF2-40B4-BE49-F238E27FC236}">
                <a16:creationId xmlns:a16="http://schemas.microsoft.com/office/drawing/2014/main" id="{EC6061E4-5D59-F88F-5597-5E73678A74C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81889" y="2880519"/>
            <a:ext cx="642330" cy="642330"/>
          </a:xfrm>
          <a:prstGeom prst="rect">
            <a:avLst/>
          </a:prstGeom>
        </p:spPr>
      </p:pic>
      <p:pic>
        <p:nvPicPr>
          <p:cNvPr id="24" name="Graphic 23" descr="Users">
            <a:extLst>
              <a:ext uri="{FF2B5EF4-FFF2-40B4-BE49-F238E27FC236}">
                <a16:creationId xmlns:a16="http://schemas.microsoft.com/office/drawing/2014/main" id="{CAC75C75-D341-6B12-3F37-D47A958AA7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9356" y="4603490"/>
            <a:ext cx="642330" cy="642330"/>
          </a:xfrm>
          <a:prstGeom prst="rect">
            <a:avLst/>
          </a:prstGeom>
        </p:spPr>
      </p:pic>
      <p:pic>
        <p:nvPicPr>
          <p:cNvPr id="25" name="Graphic 24" descr="Puzzle">
            <a:extLst>
              <a:ext uri="{FF2B5EF4-FFF2-40B4-BE49-F238E27FC236}">
                <a16:creationId xmlns:a16="http://schemas.microsoft.com/office/drawing/2014/main" id="{E76A3898-05BC-4E6A-B75E-FEBD36455E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14424" y="4603490"/>
            <a:ext cx="642330" cy="642330"/>
          </a:xfrm>
          <a:prstGeom prst="rect">
            <a:avLst/>
          </a:prstGeom>
        </p:spPr>
      </p:pic>
      <p:sp>
        <p:nvSpPr>
          <p:cNvPr id="91" name="Rectangle: Rounded Corners 90">
            <a:extLst>
              <a:ext uri="{FF2B5EF4-FFF2-40B4-BE49-F238E27FC236}">
                <a16:creationId xmlns:a16="http://schemas.microsoft.com/office/drawing/2014/main" id="{90918E06-0FD6-D862-0F47-07B8AABBEEAD}"/>
              </a:ext>
            </a:extLst>
          </p:cNvPr>
          <p:cNvSpPr/>
          <p:nvPr/>
        </p:nvSpPr>
        <p:spPr>
          <a:xfrm>
            <a:off x="7791428" y="978595"/>
            <a:ext cx="2879813" cy="801609"/>
          </a:xfrm>
          <a:prstGeom prst="roundRect">
            <a:avLst>
              <a:gd name="adj" fmla="val 50000"/>
            </a:avLst>
          </a:prstGeom>
          <a:solidFill>
            <a:sysClr val="window" lastClr="FFFFFF"/>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defRPr/>
            </a:pPr>
            <a:r>
              <a:rPr lang="en-US" sz="2399" b="1" kern="0" cap="all" noProof="1">
                <a:solidFill>
                  <a:prstClr val="black"/>
                </a:solidFill>
                <a:latin typeface="Calibri" panose="020F0502020204030204"/>
              </a:rPr>
              <a:t>Lorem Ipsum</a:t>
            </a:r>
          </a:p>
        </p:txBody>
      </p:sp>
      <p:sp>
        <p:nvSpPr>
          <p:cNvPr id="92" name="Rectangle: Rounded Corners 91">
            <a:extLst>
              <a:ext uri="{FF2B5EF4-FFF2-40B4-BE49-F238E27FC236}">
                <a16:creationId xmlns:a16="http://schemas.microsoft.com/office/drawing/2014/main" id="{43F2F67F-639D-EDB3-E992-93E2EC5CF5FD}"/>
              </a:ext>
            </a:extLst>
          </p:cNvPr>
          <p:cNvSpPr/>
          <p:nvPr/>
        </p:nvSpPr>
        <p:spPr>
          <a:xfrm>
            <a:off x="9728755" y="2327112"/>
            <a:ext cx="2118210" cy="451816"/>
          </a:xfrm>
          <a:prstGeom prst="roundRect">
            <a:avLst>
              <a:gd name="adj" fmla="val 50000"/>
            </a:avLst>
          </a:prstGeom>
          <a:solidFill>
            <a:srgbClr val="A2B969">
              <a:lumMod val="5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white"/>
                </a:solidFill>
                <a:latin typeface="Calibri" panose="020F0502020204030204"/>
              </a:rPr>
              <a:t>Lorem Ipsum</a:t>
            </a:r>
          </a:p>
        </p:txBody>
      </p:sp>
      <p:sp>
        <p:nvSpPr>
          <p:cNvPr id="93" name="Rectangle: Rounded Corners 92">
            <a:extLst>
              <a:ext uri="{FF2B5EF4-FFF2-40B4-BE49-F238E27FC236}">
                <a16:creationId xmlns:a16="http://schemas.microsoft.com/office/drawing/2014/main" id="{FCC2F6E6-6ECE-172A-F071-3A0987F8B2B9}"/>
              </a:ext>
            </a:extLst>
          </p:cNvPr>
          <p:cNvSpPr/>
          <p:nvPr/>
        </p:nvSpPr>
        <p:spPr>
          <a:xfrm>
            <a:off x="9728755" y="3246765"/>
            <a:ext cx="2118210" cy="451816"/>
          </a:xfrm>
          <a:prstGeom prst="roundRect">
            <a:avLst>
              <a:gd name="adj" fmla="val 50000"/>
            </a:avLst>
          </a:prstGeom>
          <a:solidFill>
            <a:srgbClr val="A2B969">
              <a:lumMod val="75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white"/>
                </a:solidFill>
                <a:latin typeface="Calibri" panose="020F0502020204030204"/>
              </a:rPr>
              <a:t>Lorem Ipsum</a:t>
            </a:r>
          </a:p>
        </p:txBody>
      </p:sp>
      <p:sp>
        <p:nvSpPr>
          <p:cNvPr id="94" name="Rectangle: Rounded Corners 93">
            <a:extLst>
              <a:ext uri="{FF2B5EF4-FFF2-40B4-BE49-F238E27FC236}">
                <a16:creationId xmlns:a16="http://schemas.microsoft.com/office/drawing/2014/main" id="{4934D7F7-9CA5-36C1-EE05-B84B6FC9BB33}"/>
              </a:ext>
            </a:extLst>
          </p:cNvPr>
          <p:cNvSpPr/>
          <p:nvPr/>
        </p:nvSpPr>
        <p:spPr>
          <a:xfrm>
            <a:off x="9728755" y="4166418"/>
            <a:ext cx="2118210" cy="451816"/>
          </a:xfrm>
          <a:prstGeom prst="roundRect">
            <a:avLst>
              <a:gd name="adj" fmla="val 50000"/>
            </a:avLst>
          </a:prstGeom>
          <a:solidFill>
            <a:srgbClr val="A2B969"/>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black">
                    <a:lumMod val="85000"/>
                    <a:lumOff val="15000"/>
                  </a:prstClr>
                </a:solidFill>
                <a:latin typeface="Calibri" panose="020F0502020204030204"/>
              </a:rPr>
              <a:t>Lorem Ipsum</a:t>
            </a:r>
          </a:p>
        </p:txBody>
      </p:sp>
      <p:sp>
        <p:nvSpPr>
          <p:cNvPr id="95" name="Rectangle: Rounded Corners 94">
            <a:extLst>
              <a:ext uri="{FF2B5EF4-FFF2-40B4-BE49-F238E27FC236}">
                <a16:creationId xmlns:a16="http://schemas.microsoft.com/office/drawing/2014/main" id="{019731A4-4E2F-C2C5-9D2E-DFA57546B6BF}"/>
              </a:ext>
            </a:extLst>
          </p:cNvPr>
          <p:cNvSpPr/>
          <p:nvPr/>
        </p:nvSpPr>
        <p:spPr>
          <a:xfrm>
            <a:off x="9728755" y="5086071"/>
            <a:ext cx="2118210" cy="451816"/>
          </a:xfrm>
          <a:prstGeom prst="roundRect">
            <a:avLst>
              <a:gd name="adj" fmla="val 50000"/>
            </a:avLst>
          </a:prstGeom>
          <a:solidFill>
            <a:srgbClr val="A2B969">
              <a:lumMod val="60000"/>
              <a:lumOff val="4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black">
                    <a:lumMod val="85000"/>
                    <a:lumOff val="15000"/>
                  </a:prstClr>
                </a:solidFill>
                <a:latin typeface="Calibri" panose="020F0502020204030204"/>
              </a:rPr>
              <a:t>Lorem Ipsum</a:t>
            </a:r>
          </a:p>
        </p:txBody>
      </p:sp>
      <p:cxnSp>
        <p:nvCxnSpPr>
          <p:cNvPr id="96" name="Connector: Elbow 95">
            <a:extLst>
              <a:ext uri="{FF2B5EF4-FFF2-40B4-BE49-F238E27FC236}">
                <a16:creationId xmlns:a16="http://schemas.microsoft.com/office/drawing/2014/main" id="{0D7D4D55-EA41-73A3-AFAE-B5936923C0F1}"/>
              </a:ext>
            </a:extLst>
          </p:cNvPr>
          <p:cNvCxnSpPr>
            <a:cxnSpLocks/>
            <a:stCxn id="91" idx="2"/>
            <a:endCxn id="92" idx="1"/>
          </p:cNvCxnSpPr>
          <p:nvPr/>
        </p:nvCxnSpPr>
        <p:spPr>
          <a:xfrm rot="16200000" flipH="1">
            <a:off x="9093637" y="1917901"/>
            <a:ext cx="772816" cy="497421"/>
          </a:xfrm>
          <a:prstGeom prst="bentConnector2">
            <a:avLst/>
          </a:prstGeom>
          <a:noFill/>
          <a:ln w="19050" cap="flat" cmpd="sng" algn="ctr">
            <a:solidFill>
              <a:srgbClr val="D3D3D3">
                <a:lumMod val="75000"/>
              </a:srgbClr>
            </a:solidFill>
            <a:prstDash val="solid"/>
            <a:miter lim="800000"/>
          </a:ln>
          <a:effectLst/>
        </p:spPr>
      </p:cxnSp>
      <p:cxnSp>
        <p:nvCxnSpPr>
          <p:cNvPr id="97" name="Connector: Elbow 96">
            <a:extLst>
              <a:ext uri="{FF2B5EF4-FFF2-40B4-BE49-F238E27FC236}">
                <a16:creationId xmlns:a16="http://schemas.microsoft.com/office/drawing/2014/main" id="{BFBD989E-1F22-6B92-9FBD-E7B6DC6D35AE}"/>
              </a:ext>
            </a:extLst>
          </p:cNvPr>
          <p:cNvCxnSpPr>
            <a:cxnSpLocks/>
            <a:stCxn id="91" idx="2"/>
            <a:endCxn id="93" idx="1"/>
          </p:cNvCxnSpPr>
          <p:nvPr/>
        </p:nvCxnSpPr>
        <p:spPr>
          <a:xfrm rot="16200000" flipH="1">
            <a:off x="8633810" y="2377728"/>
            <a:ext cx="1692470" cy="497421"/>
          </a:xfrm>
          <a:prstGeom prst="bentConnector2">
            <a:avLst/>
          </a:prstGeom>
          <a:noFill/>
          <a:ln w="19050" cap="flat" cmpd="sng" algn="ctr">
            <a:solidFill>
              <a:srgbClr val="D3D3D3">
                <a:lumMod val="75000"/>
              </a:srgbClr>
            </a:solidFill>
            <a:prstDash val="solid"/>
            <a:miter lim="800000"/>
          </a:ln>
          <a:effectLst/>
        </p:spPr>
      </p:cxnSp>
      <p:cxnSp>
        <p:nvCxnSpPr>
          <p:cNvPr id="98" name="Connector: Elbow 97">
            <a:extLst>
              <a:ext uri="{FF2B5EF4-FFF2-40B4-BE49-F238E27FC236}">
                <a16:creationId xmlns:a16="http://schemas.microsoft.com/office/drawing/2014/main" id="{D3B790A3-C5C6-1D95-AD8B-B3678CA4A3D8}"/>
              </a:ext>
            </a:extLst>
          </p:cNvPr>
          <p:cNvCxnSpPr>
            <a:cxnSpLocks/>
            <a:stCxn id="91" idx="2"/>
            <a:endCxn id="94" idx="1"/>
          </p:cNvCxnSpPr>
          <p:nvPr/>
        </p:nvCxnSpPr>
        <p:spPr>
          <a:xfrm rot="16200000" flipH="1">
            <a:off x="8173984" y="2837554"/>
            <a:ext cx="2612123" cy="497421"/>
          </a:xfrm>
          <a:prstGeom prst="bentConnector2">
            <a:avLst/>
          </a:prstGeom>
          <a:noFill/>
          <a:ln w="19050" cap="flat" cmpd="sng" algn="ctr">
            <a:solidFill>
              <a:srgbClr val="D3D3D3">
                <a:lumMod val="75000"/>
              </a:srgbClr>
            </a:solidFill>
            <a:prstDash val="solid"/>
            <a:miter lim="800000"/>
          </a:ln>
          <a:effectLst/>
        </p:spPr>
      </p:cxnSp>
      <p:cxnSp>
        <p:nvCxnSpPr>
          <p:cNvPr id="99" name="Connector: Elbow 98">
            <a:extLst>
              <a:ext uri="{FF2B5EF4-FFF2-40B4-BE49-F238E27FC236}">
                <a16:creationId xmlns:a16="http://schemas.microsoft.com/office/drawing/2014/main" id="{EBA62DE7-8E5E-2DA6-AD06-84C38FCC1498}"/>
              </a:ext>
            </a:extLst>
          </p:cNvPr>
          <p:cNvCxnSpPr>
            <a:cxnSpLocks/>
            <a:stCxn id="91" idx="2"/>
            <a:endCxn id="95" idx="1"/>
          </p:cNvCxnSpPr>
          <p:nvPr/>
        </p:nvCxnSpPr>
        <p:spPr>
          <a:xfrm rot="16200000" flipH="1">
            <a:off x="7714157" y="3297381"/>
            <a:ext cx="3531776" cy="497421"/>
          </a:xfrm>
          <a:prstGeom prst="bentConnector2">
            <a:avLst/>
          </a:prstGeom>
          <a:noFill/>
          <a:ln w="19050" cap="flat" cmpd="sng" algn="ctr">
            <a:solidFill>
              <a:srgbClr val="D3D3D3">
                <a:lumMod val="75000"/>
              </a:srgbClr>
            </a:solidFill>
            <a:prstDash val="solid"/>
            <a:miter lim="800000"/>
          </a:ln>
          <a:effectLst/>
        </p:spPr>
      </p:cxnSp>
      <p:grpSp>
        <p:nvGrpSpPr>
          <p:cNvPr id="100" name="Graphic 4" descr="Database">
            <a:extLst>
              <a:ext uri="{FF2B5EF4-FFF2-40B4-BE49-F238E27FC236}">
                <a16:creationId xmlns:a16="http://schemas.microsoft.com/office/drawing/2014/main" id="{19BCFE4A-42B9-3C58-98C8-32370D5583CC}"/>
              </a:ext>
            </a:extLst>
          </p:cNvPr>
          <p:cNvGrpSpPr/>
          <p:nvPr/>
        </p:nvGrpSpPr>
        <p:grpSpPr>
          <a:xfrm>
            <a:off x="9923608" y="2433126"/>
            <a:ext cx="181716" cy="246615"/>
            <a:chOff x="3530187" y="2890592"/>
            <a:chExt cx="242414" cy="328990"/>
          </a:xfrm>
          <a:solidFill>
            <a:sysClr val="window" lastClr="FFFFFF"/>
          </a:solidFill>
        </p:grpSpPr>
        <p:sp>
          <p:nvSpPr>
            <p:cNvPr id="101" name="Freeform: Shape 100">
              <a:extLst>
                <a:ext uri="{FF2B5EF4-FFF2-40B4-BE49-F238E27FC236}">
                  <a16:creationId xmlns:a16="http://schemas.microsoft.com/office/drawing/2014/main" id="{320332F8-D134-B0A2-849E-FD0D0B3B36E6}"/>
                </a:ext>
              </a:extLst>
            </p:cNvPr>
            <p:cNvSpPr/>
            <p:nvPr/>
          </p:nvSpPr>
          <p:spPr>
            <a:xfrm>
              <a:off x="3530187" y="2890592"/>
              <a:ext cx="242414" cy="69261"/>
            </a:xfrm>
            <a:custGeom>
              <a:avLst/>
              <a:gdLst>
                <a:gd name="connsiteX0" fmla="*/ 242414 w 242414"/>
                <a:gd name="connsiteY0" fmla="*/ 34631 h 69261"/>
                <a:gd name="connsiteX1" fmla="*/ 121207 w 242414"/>
                <a:gd name="connsiteY1" fmla="*/ 69261 h 69261"/>
                <a:gd name="connsiteX2" fmla="*/ 0 w 242414"/>
                <a:gd name="connsiteY2" fmla="*/ 34631 h 69261"/>
                <a:gd name="connsiteX3" fmla="*/ 121207 w 242414"/>
                <a:gd name="connsiteY3" fmla="*/ 0 h 69261"/>
                <a:gd name="connsiteX4" fmla="*/ 242414 w 242414"/>
                <a:gd name="connsiteY4" fmla="*/ 34631 h 69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14" h="69261">
                  <a:moveTo>
                    <a:pt x="242414" y="34631"/>
                  </a:moveTo>
                  <a:cubicBezTo>
                    <a:pt x="242414" y="53757"/>
                    <a:pt x="188148" y="69261"/>
                    <a:pt x="121207" y="69261"/>
                  </a:cubicBezTo>
                  <a:cubicBezTo>
                    <a:pt x="54266" y="69261"/>
                    <a:pt x="0" y="53757"/>
                    <a:pt x="0" y="34631"/>
                  </a:cubicBezTo>
                  <a:cubicBezTo>
                    <a:pt x="0" y="15505"/>
                    <a:pt x="54266" y="0"/>
                    <a:pt x="121207" y="0"/>
                  </a:cubicBezTo>
                  <a:cubicBezTo>
                    <a:pt x="188148" y="0"/>
                    <a:pt x="242414" y="15505"/>
                    <a:pt x="242414"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2" name="Freeform: Shape 101">
              <a:extLst>
                <a:ext uri="{FF2B5EF4-FFF2-40B4-BE49-F238E27FC236}">
                  <a16:creationId xmlns:a16="http://schemas.microsoft.com/office/drawing/2014/main" id="{E19A5E53-0E6E-A256-4340-117E285C81CF}"/>
                </a:ext>
              </a:extLst>
            </p:cNvPr>
            <p:cNvSpPr/>
            <p:nvPr/>
          </p:nvSpPr>
          <p:spPr>
            <a:xfrm>
              <a:off x="3530187" y="2942538"/>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3" name="Freeform: Shape 102">
              <a:extLst>
                <a:ext uri="{FF2B5EF4-FFF2-40B4-BE49-F238E27FC236}">
                  <a16:creationId xmlns:a16="http://schemas.microsoft.com/office/drawing/2014/main" id="{0B487A46-8C74-E53F-18B3-1F936AD6E1B1}"/>
                </a:ext>
              </a:extLst>
            </p:cNvPr>
            <p:cNvSpPr/>
            <p:nvPr/>
          </p:nvSpPr>
          <p:spPr>
            <a:xfrm>
              <a:off x="3530187" y="3029114"/>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4" name="Freeform: Shape 103">
              <a:extLst>
                <a:ext uri="{FF2B5EF4-FFF2-40B4-BE49-F238E27FC236}">
                  <a16:creationId xmlns:a16="http://schemas.microsoft.com/office/drawing/2014/main" id="{38D0FAAB-C52A-B7B0-6529-9D56628ADCE8}"/>
                </a:ext>
              </a:extLst>
            </p:cNvPr>
            <p:cNvSpPr/>
            <p:nvPr/>
          </p:nvSpPr>
          <p:spPr>
            <a:xfrm>
              <a:off x="3530187" y="3115691"/>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05" name="Graphic 6" descr="Research">
            <a:extLst>
              <a:ext uri="{FF2B5EF4-FFF2-40B4-BE49-F238E27FC236}">
                <a16:creationId xmlns:a16="http://schemas.microsoft.com/office/drawing/2014/main" id="{C4E10EF2-53A4-0FF2-7319-EA2DFED6C8F0}"/>
              </a:ext>
            </a:extLst>
          </p:cNvPr>
          <p:cNvGrpSpPr/>
          <p:nvPr/>
        </p:nvGrpSpPr>
        <p:grpSpPr>
          <a:xfrm>
            <a:off x="9858710" y="3316916"/>
            <a:ext cx="311513" cy="311513"/>
            <a:chOff x="3443611" y="3602485"/>
            <a:chExt cx="415567" cy="415567"/>
          </a:xfrm>
          <a:solidFill>
            <a:sysClr val="window" lastClr="FFFFFF"/>
          </a:solidFill>
        </p:grpSpPr>
        <p:sp>
          <p:nvSpPr>
            <p:cNvPr id="106" name="Freeform: Shape 105">
              <a:extLst>
                <a:ext uri="{FF2B5EF4-FFF2-40B4-BE49-F238E27FC236}">
                  <a16:creationId xmlns:a16="http://schemas.microsoft.com/office/drawing/2014/main" id="{40B6A210-B3F5-DBC5-BF33-E3229CC801BC}"/>
                </a:ext>
              </a:extLst>
            </p:cNvPr>
            <p:cNvSpPr/>
            <p:nvPr/>
          </p:nvSpPr>
          <p:spPr>
            <a:xfrm>
              <a:off x="3477373" y="3638411"/>
              <a:ext cx="342520" cy="342953"/>
            </a:xfrm>
            <a:custGeom>
              <a:avLst/>
              <a:gdLst>
                <a:gd name="connsiteX0" fmla="*/ 280077 w 342520"/>
                <a:gd name="connsiteY0" fmla="*/ 237222 h 342953"/>
                <a:gd name="connsiteX1" fmla="*/ 253239 w 342520"/>
                <a:gd name="connsiteY1" fmla="*/ 228997 h 342953"/>
                <a:gd name="connsiteX2" fmla="*/ 233759 w 342520"/>
                <a:gd name="connsiteY2" fmla="*/ 209950 h 342953"/>
                <a:gd name="connsiteX3" fmla="*/ 260598 w 342520"/>
                <a:gd name="connsiteY3" fmla="*/ 131166 h 342953"/>
                <a:gd name="connsiteX4" fmla="*/ 130733 w 342520"/>
                <a:gd name="connsiteY4" fmla="*/ 2 h 342953"/>
                <a:gd name="connsiteX5" fmla="*/ 2 w 342520"/>
                <a:gd name="connsiteY5" fmla="*/ 129867 h 342953"/>
                <a:gd name="connsiteX6" fmla="*/ 129867 w 342520"/>
                <a:gd name="connsiteY6" fmla="*/ 260598 h 342953"/>
                <a:gd name="connsiteX7" fmla="*/ 209517 w 342520"/>
                <a:gd name="connsiteY7" fmla="*/ 233759 h 342953"/>
                <a:gd name="connsiteX8" fmla="*/ 228564 w 342520"/>
                <a:gd name="connsiteY8" fmla="*/ 252806 h 342953"/>
                <a:gd name="connsiteX9" fmla="*/ 236789 w 342520"/>
                <a:gd name="connsiteY9" fmla="*/ 280077 h 342953"/>
                <a:gd name="connsiteX10" fmla="*/ 290899 w 342520"/>
                <a:gd name="connsiteY10" fmla="*/ 334188 h 342953"/>
                <a:gd name="connsiteX11" fmla="*/ 333755 w 342520"/>
                <a:gd name="connsiteY11" fmla="*/ 334188 h 342953"/>
                <a:gd name="connsiteX12" fmla="*/ 333755 w 342520"/>
                <a:gd name="connsiteY12" fmla="*/ 291332 h 342953"/>
                <a:gd name="connsiteX13" fmla="*/ 280077 w 342520"/>
                <a:gd name="connsiteY13" fmla="*/ 237222 h 342953"/>
                <a:gd name="connsiteX14" fmla="*/ 130733 w 342520"/>
                <a:gd name="connsiteY14" fmla="*/ 234625 h 342953"/>
                <a:gd name="connsiteX15" fmla="*/ 26841 w 342520"/>
                <a:gd name="connsiteY15" fmla="*/ 130733 h 342953"/>
                <a:gd name="connsiteX16" fmla="*/ 130733 w 342520"/>
                <a:gd name="connsiteY16" fmla="*/ 26841 h 342953"/>
                <a:gd name="connsiteX17" fmla="*/ 234625 w 342520"/>
                <a:gd name="connsiteY17" fmla="*/ 130733 h 342953"/>
                <a:gd name="connsiteX18" fmla="*/ 130733 w 342520"/>
                <a:gd name="connsiteY18" fmla="*/ 234625 h 34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520" h="342953">
                  <a:moveTo>
                    <a:pt x="280077" y="237222"/>
                  </a:moveTo>
                  <a:cubicBezTo>
                    <a:pt x="273151" y="230296"/>
                    <a:pt x="262762" y="226833"/>
                    <a:pt x="253239" y="228997"/>
                  </a:cubicBezTo>
                  <a:lnTo>
                    <a:pt x="233759" y="209950"/>
                  </a:lnTo>
                  <a:cubicBezTo>
                    <a:pt x="251074" y="187440"/>
                    <a:pt x="260598" y="159736"/>
                    <a:pt x="260598" y="131166"/>
                  </a:cubicBezTo>
                  <a:cubicBezTo>
                    <a:pt x="261030" y="58874"/>
                    <a:pt x="202591" y="435"/>
                    <a:pt x="130733" y="2"/>
                  </a:cubicBezTo>
                  <a:cubicBezTo>
                    <a:pt x="58874" y="-430"/>
                    <a:pt x="435" y="58009"/>
                    <a:pt x="2" y="129867"/>
                  </a:cubicBezTo>
                  <a:cubicBezTo>
                    <a:pt x="-430" y="201726"/>
                    <a:pt x="58009" y="260165"/>
                    <a:pt x="129867" y="260598"/>
                  </a:cubicBezTo>
                  <a:cubicBezTo>
                    <a:pt x="158437" y="260598"/>
                    <a:pt x="186575" y="251074"/>
                    <a:pt x="209517" y="233759"/>
                  </a:cubicBezTo>
                  <a:lnTo>
                    <a:pt x="228564" y="252806"/>
                  </a:lnTo>
                  <a:cubicBezTo>
                    <a:pt x="226833" y="262762"/>
                    <a:pt x="229863" y="272718"/>
                    <a:pt x="236789" y="280077"/>
                  </a:cubicBezTo>
                  <a:lnTo>
                    <a:pt x="290899" y="334188"/>
                  </a:lnTo>
                  <a:cubicBezTo>
                    <a:pt x="302587" y="345875"/>
                    <a:pt x="322067" y="345875"/>
                    <a:pt x="333755" y="334188"/>
                  </a:cubicBezTo>
                  <a:cubicBezTo>
                    <a:pt x="345442" y="322500"/>
                    <a:pt x="345442" y="303020"/>
                    <a:pt x="333755" y="291332"/>
                  </a:cubicBezTo>
                  <a:lnTo>
                    <a:pt x="280077" y="237222"/>
                  </a:lnTo>
                  <a:close/>
                  <a:moveTo>
                    <a:pt x="130733" y="234625"/>
                  </a:moveTo>
                  <a:cubicBezTo>
                    <a:pt x="73160" y="234625"/>
                    <a:pt x="26841" y="188306"/>
                    <a:pt x="26841" y="130733"/>
                  </a:cubicBezTo>
                  <a:cubicBezTo>
                    <a:pt x="26841" y="73160"/>
                    <a:pt x="73160" y="26841"/>
                    <a:pt x="130733" y="26841"/>
                  </a:cubicBezTo>
                  <a:cubicBezTo>
                    <a:pt x="188306" y="26841"/>
                    <a:pt x="234625" y="73160"/>
                    <a:pt x="234625" y="130733"/>
                  </a:cubicBezTo>
                  <a:cubicBezTo>
                    <a:pt x="234625" y="187873"/>
                    <a:pt x="187873" y="234625"/>
                    <a:pt x="130733" y="234625"/>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7" name="Freeform: Shape 106">
              <a:extLst>
                <a:ext uri="{FF2B5EF4-FFF2-40B4-BE49-F238E27FC236}">
                  <a16:creationId xmlns:a16="http://schemas.microsoft.com/office/drawing/2014/main" id="{041C1961-DC94-98A4-CF47-7712CC4DC0A2}"/>
                </a:ext>
              </a:extLst>
            </p:cNvPr>
            <p:cNvSpPr/>
            <p:nvPr/>
          </p:nvSpPr>
          <p:spPr>
            <a:xfrm>
              <a:off x="3515036" y="3702747"/>
              <a:ext cx="186572" cy="136956"/>
            </a:xfrm>
            <a:custGeom>
              <a:avLst/>
              <a:gdLst>
                <a:gd name="connsiteX0" fmla="*/ 186139 w 186572"/>
                <a:gd name="connsiteY0" fmla="*/ 59904 h 136956"/>
                <a:gd name="connsiteX1" fmla="*/ 161465 w 186572"/>
                <a:gd name="connsiteY1" fmla="*/ 59904 h 136956"/>
                <a:gd name="connsiteX2" fmla="*/ 155838 w 186572"/>
                <a:gd name="connsiteY2" fmla="*/ 63367 h 136956"/>
                <a:gd name="connsiteX3" fmla="*/ 139388 w 186572"/>
                <a:gd name="connsiteY3" fmla="*/ 81115 h 136956"/>
                <a:gd name="connsiteX4" fmla="*/ 125536 w 186572"/>
                <a:gd name="connsiteY4" fmla="*/ 33065 h 136956"/>
                <a:gd name="connsiteX5" fmla="*/ 116012 w 186572"/>
                <a:gd name="connsiteY5" fmla="*/ 27870 h 136956"/>
                <a:gd name="connsiteX6" fmla="*/ 110818 w 186572"/>
                <a:gd name="connsiteY6" fmla="*/ 32632 h 136956"/>
                <a:gd name="connsiteX7" fmla="*/ 84845 w 186572"/>
                <a:gd name="connsiteY7" fmla="*/ 101460 h 136956"/>
                <a:gd name="connsiteX8" fmla="*/ 67097 w 186572"/>
                <a:gd name="connsiteY8" fmla="*/ 6226 h 136956"/>
                <a:gd name="connsiteX9" fmla="*/ 58439 w 186572"/>
                <a:gd name="connsiteY9" fmla="*/ 166 h 136956"/>
                <a:gd name="connsiteX10" fmla="*/ 52379 w 186572"/>
                <a:gd name="connsiteY10" fmla="*/ 5360 h 136956"/>
                <a:gd name="connsiteX11" fmla="*/ 33765 w 186572"/>
                <a:gd name="connsiteY11" fmla="*/ 59904 h 136956"/>
                <a:gd name="connsiteX12" fmla="*/ 0 w 186572"/>
                <a:gd name="connsiteY12" fmla="*/ 59904 h 136956"/>
                <a:gd name="connsiteX13" fmla="*/ 0 w 186572"/>
                <a:gd name="connsiteY13" fmla="*/ 77219 h 136956"/>
                <a:gd name="connsiteX14" fmla="*/ 39392 w 186572"/>
                <a:gd name="connsiteY14" fmla="*/ 77219 h 136956"/>
                <a:gd name="connsiteX15" fmla="*/ 46751 w 186572"/>
                <a:gd name="connsiteY15" fmla="*/ 70726 h 136956"/>
                <a:gd name="connsiteX16" fmla="*/ 57573 w 186572"/>
                <a:gd name="connsiteY16" fmla="*/ 37827 h 136956"/>
                <a:gd name="connsiteX17" fmla="*/ 74889 w 186572"/>
                <a:gd name="connsiteY17" fmla="*/ 130896 h 136956"/>
                <a:gd name="connsiteX18" fmla="*/ 81815 w 186572"/>
                <a:gd name="connsiteY18" fmla="*/ 136957 h 136956"/>
                <a:gd name="connsiteX19" fmla="*/ 82681 w 186572"/>
                <a:gd name="connsiteY19" fmla="*/ 136957 h 136956"/>
                <a:gd name="connsiteX20" fmla="*/ 90040 w 186572"/>
                <a:gd name="connsiteY20" fmla="*/ 132195 h 136956"/>
                <a:gd name="connsiteX21" fmla="*/ 117744 w 186572"/>
                <a:gd name="connsiteY21" fmla="*/ 59471 h 136956"/>
                <a:gd name="connsiteX22" fmla="*/ 128999 w 186572"/>
                <a:gd name="connsiteY22" fmla="*/ 98430 h 136956"/>
                <a:gd name="connsiteX23" fmla="*/ 138522 w 186572"/>
                <a:gd name="connsiteY23" fmla="*/ 103625 h 136956"/>
                <a:gd name="connsiteX24" fmla="*/ 141985 w 186572"/>
                <a:gd name="connsiteY24" fmla="*/ 101460 h 136956"/>
                <a:gd name="connsiteX25" fmla="*/ 165361 w 186572"/>
                <a:gd name="connsiteY25" fmla="*/ 77219 h 136956"/>
                <a:gd name="connsiteX26" fmla="*/ 186572 w 186572"/>
                <a:gd name="connsiteY26" fmla="*/ 77219 h 136956"/>
                <a:gd name="connsiteX27" fmla="*/ 186572 w 186572"/>
                <a:gd name="connsiteY27" fmla="*/ 59904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6572" h="136956">
                  <a:moveTo>
                    <a:pt x="186139" y="59904"/>
                  </a:moveTo>
                  <a:lnTo>
                    <a:pt x="161465" y="59904"/>
                  </a:lnTo>
                  <a:cubicBezTo>
                    <a:pt x="159301" y="60337"/>
                    <a:pt x="157136" y="61635"/>
                    <a:pt x="155838" y="63367"/>
                  </a:cubicBezTo>
                  <a:lnTo>
                    <a:pt x="139388" y="81115"/>
                  </a:lnTo>
                  <a:lnTo>
                    <a:pt x="125536" y="33065"/>
                  </a:lnTo>
                  <a:cubicBezTo>
                    <a:pt x="124237" y="29169"/>
                    <a:pt x="119908" y="26572"/>
                    <a:pt x="116012" y="27870"/>
                  </a:cubicBezTo>
                  <a:cubicBezTo>
                    <a:pt x="113848" y="28736"/>
                    <a:pt x="111684" y="30035"/>
                    <a:pt x="110818" y="32632"/>
                  </a:cubicBezTo>
                  <a:lnTo>
                    <a:pt x="84845" y="101460"/>
                  </a:lnTo>
                  <a:lnTo>
                    <a:pt x="67097" y="6226"/>
                  </a:lnTo>
                  <a:cubicBezTo>
                    <a:pt x="66231" y="1897"/>
                    <a:pt x="62335" y="-700"/>
                    <a:pt x="58439" y="166"/>
                  </a:cubicBezTo>
                  <a:cubicBezTo>
                    <a:pt x="55842" y="599"/>
                    <a:pt x="53677" y="2763"/>
                    <a:pt x="52379" y="5360"/>
                  </a:cubicBezTo>
                  <a:lnTo>
                    <a:pt x="33765" y="59904"/>
                  </a:lnTo>
                  <a:lnTo>
                    <a:pt x="0" y="59904"/>
                  </a:lnTo>
                  <a:lnTo>
                    <a:pt x="0" y="77219"/>
                  </a:lnTo>
                  <a:lnTo>
                    <a:pt x="39392" y="77219"/>
                  </a:lnTo>
                  <a:cubicBezTo>
                    <a:pt x="42855" y="76786"/>
                    <a:pt x="45886" y="74189"/>
                    <a:pt x="46751" y="70726"/>
                  </a:cubicBezTo>
                  <a:lnTo>
                    <a:pt x="57573" y="37827"/>
                  </a:lnTo>
                  <a:lnTo>
                    <a:pt x="74889" y="130896"/>
                  </a:lnTo>
                  <a:cubicBezTo>
                    <a:pt x="75322" y="134359"/>
                    <a:pt x="78352" y="136957"/>
                    <a:pt x="81815" y="136957"/>
                  </a:cubicBezTo>
                  <a:lnTo>
                    <a:pt x="82681" y="136957"/>
                  </a:lnTo>
                  <a:cubicBezTo>
                    <a:pt x="85711" y="136957"/>
                    <a:pt x="88741" y="135225"/>
                    <a:pt x="90040" y="132195"/>
                  </a:cubicBezTo>
                  <a:lnTo>
                    <a:pt x="117744" y="59471"/>
                  </a:lnTo>
                  <a:lnTo>
                    <a:pt x="128999" y="98430"/>
                  </a:lnTo>
                  <a:cubicBezTo>
                    <a:pt x="130298" y="102326"/>
                    <a:pt x="134194" y="104923"/>
                    <a:pt x="138522" y="103625"/>
                  </a:cubicBezTo>
                  <a:cubicBezTo>
                    <a:pt x="139821" y="103192"/>
                    <a:pt x="141120" y="102326"/>
                    <a:pt x="141985" y="101460"/>
                  </a:cubicBezTo>
                  <a:lnTo>
                    <a:pt x="165361" y="77219"/>
                  </a:lnTo>
                  <a:lnTo>
                    <a:pt x="186572" y="77219"/>
                  </a:lnTo>
                  <a:lnTo>
                    <a:pt x="186572" y="59904"/>
                  </a:ln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08" name="Graphic 8" descr="Stopwatch">
            <a:extLst>
              <a:ext uri="{FF2B5EF4-FFF2-40B4-BE49-F238E27FC236}">
                <a16:creationId xmlns:a16="http://schemas.microsoft.com/office/drawing/2014/main" id="{2CA7FB62-AB5C-0C85-689F-AA1C12115BEF}"/>
              </a:ext>
            </a:extLst>
          </p:cNvPr>
          <p:cNvGrpSpPr/>
          <p:nvPr/>
        </p:nvGrpSpPr>
        <p:grpSpPr>
          <a:xfrm>
            <a:off x="9858710" y="4236569"/>
            <a:ext cx="311513" cy="311513"/>
            <a:chOff x="3443611" y="4357666"/>
            <a:chExt cx="415567" cy="415567"/>
          </a:xfrm>
        </p:grpSpPr>
        <p:sp>
          <p:nvSpPr>
            <p:cNvPr id="109" name="Freeform: Shape 108">
              <a:extLst>
                <a:ext uri="{FF2B5EF4-FFF2-40B4-BE49-F238E27FC236}">
                  <a16:creationId xmlns:a16="http://schemas.microsoft.com/office/drawing/2014/main" id="{8527402D-1FC9-0E02-491E-8765829779E6}"/>
                </a:ext>
              </a:extLst>
            </p:cNvPr>
            <p:cNvSpPr/>
            <p:nvPr/>
          </p:nvSpPr>
          <p:spPr>
            <a:xfrm>
              <a:off x="3642736" y="4491859"/>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0" name="Freeform: Shape 109">
              <a:extLst>
                <a:ext uri="{FF2B5EF4-FFF2-40B4-BE49-F238E27FC236}">
                  <a16:creationId xmlns:a16="http://schemas.microsoft.com/office/drawing/2014/main" id="{851F5037-F560-8353-9222-B510A2A236D4}"/>
                </a:ext>
              </a:extLst>
            </p:cNvPr>
            <p:cNvSpPr/>
            <p:nvPr/>
          </p:nvSpPr>
          <p:spPr>
            <a:xfrm>
              <a:off x="3642736" y="4665012"/>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1" name="Freeform: Shape 110">
              <a:extLst>
                <a:ext uri="{FF2B5EF4-FFF2-40B4-BE49-F238E27FC236}">
                  <a16:creationId xmlns:a16="http://schemas.microsoft.com/office/drawing/2014/main" id="{53CFC8DD-7695-95C5-AA8D-2E5DE309EF5C}"/>
                </a:ext>
              </a:extLst>
            </p:cNvPr>
            <p:cNvSpPr/>
            <p:nvPr/>
          </p:nvSpPr>
          <p:spPr>
            <a:xfrm>
              <a:off x="3729313" y="4574107"/>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2" name="Freeform: Shape 111">
              <a:extLst>
                <a:ext uri="{FF2B5EF4-FFF2-40B4-BE49-F238E27FC236}">
                  <a16:creationId xmlns:a16="http://schemas.microsoft.com/office/drawing/2014/main" id="{2E33A52B-32D6-3E2F-8B1B-28D8C612C255}"/>
                </a:ext>
              </a:extLst>
            </p:cNvPr>
            <p:cNvSpPr/>
            <p:nvPr/>
          </p:nvSpPr>
          <p:spPr>
            <a:xfrm>
              <a:off x="3556160" y="4574107"/>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3" name="Freeform: Shape 112">
              <a:extLst>
                <a:ext uri="{FF2B5EF4-FFF2-40B4-BE49-F238E27FC236}">
                  <a16:creationId xmlns:a16="http://schemas.microsoft.com/office/drawing/2014/main" id="{9B54A645-BD32-833E-53FC-F0A2ACE27D3F}"/>
                </a:ext>
              </a:extLst>
            </p:cNvPr>
            <p:cNvSpPr/>
            <p:nvPr/>
          </p:nvSpPr>
          <p:spPr>
            <a:xfrm>
              <a:off x="3642736" y="4522161"/>
              <a:ext cx="57573" cy="109519"/>
            </a:xfrm>
            <a:custGeom>
              <a:avLst/>
              <a:gdLst>
                <a:gd name="connsiteX0" fmla="*/ 17315 w 57573"/>
                <a:gd name="connsiteY0" fmla="*/ 0 h 109519"/>
                <a:gd name="connsiteX1" fmla="*/ 0 w 57573"/>
                <a:gd name="connsiteY1" fmla="*/ 0 h 109519"/>
                <a:gd name="connsiteX2" fmla="*/ 0 w 57573"/>
                <a:gd name="connsiteY2" fmla="*/ 60604 h 109519"/>
                <a:gd name="connsiteX3" fmla="*/ 2597 w 57573"/>
                <a:gd name="connsiteY3" fmla="*/ 66664 h 109519"/>
                <a:gd name="connsiteX4" fmla="*/ 45453 w 57573"/>
                <a:gd name="connsiteY4" fmla="*/ 109519 h 109519"/>
                <a:gd name="connsiteX5" fmla="*/ 57573 w 57573"/>
                <a:gd name="connsiteY5" fmla="*/ 97399 h 109519"/>
                <a:gd name="connsiteX6" fmla="*/ 17315 w 57573"/>
                <a:gd name="connsiteY6" fmla="*/ 57140 h 109519"/>
                <a:gd name="connsiteX7" fmla="*/ 17315 w 57573"/>
                <a:gd name="connsiteY7" fmla="*/ 0 h 10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 h="109519">
                  <a:moveTo>
                    <a:pt x="17315" y="0"/>
                  </a:moveTo>
                  <a:lnTo>
                    <a:pt x="0" y="0"/>
                  </a:lnTo>
                  <a:lnTo>
                    <a:pt x="0" y="60604"/>
                  </a:lnTo>
                  <a:cubicBezTo>
                    <a:pt x="0" y="62768"/>
                    <a:pt x="866" y="64932"/>
                    <a:pt x="2597" y="66664"/>
                  </a:cubicBezTo>
                  <a:lnTo>
                    <a:pt x="45453" y="109519"/>
                  </a:lnTo>
                  <a:lnTo>
                    <a:pt x="57573" y="97399"/>
                  </a:lnTo>
                  <a:lnTo>
                    <a:pt x="17315" y="57140"/>
                  </a:lnTo>
                  <a:lnTo>
                    <a:pt x="17315" y="0"/>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4" name="Freeform: Shape 113">
              <a:extLst>
                <a:ext uri="{FF2B5EF4-FFF2-40B4-BE49-F238E27FC236}">
                  <a16:creationId xmlns:a16="http://schemas.microsoft.com/office/drawing/2014/main" id="{B601DC25-2690-BDC4-51BA-7AEF14CA8E2B}"/>
                </a:ext>
              </a:extLst>
            </p:cNvPr>
            <p:cNvSpPr/>
            <p:nvPr/>
          </p:nvSpPr>
          <p:spPr>
            <a:xfrm>
              <a:off x="3504346" y="4396625"/>
              <a:ext cx="294617" cy="337412"/>
            </a:xfrm>
            <a:custGeom>
              <a:avLst/>
              <a:gdLst>
                <a:gd name="connsiteX0" fmla="*/ 147048 w 294617"/>
                <a:gd name="connsiteY0" fmla="*/ 311675 h 337412"/>
                <a:gd name="connsiteX1" fmla="*/ 25841 w 294617"/>
                <a:gd name="connsiteY1" fmla="*/ 190468 h 337412"/>
                <a:gd name="connsiteX2" fmla="*/ 147048 w 294617"/>
                <a:gd name="connsiteY2" fmla="*/ 69261 h 337412"/>
                <a:gd name="connsiteX3" fmla="*/ 268255 w 294617"/>
                <a:gd name="connsiteY3" fmla="*/ 190468 h 337412"/>
                <a:gd name="connsiteX4" fmla="*/ 147048 w 294617"/>
                <a:gd name="connsiteY4" fmla="*/ 311675 h 337412"/>
                <a:gd name="connsiteX5" fmla="*/ 147048 w 294617"/>
                <a:gd name="connsiteY5" fmla="*/ 311675 h 337412"/>
                <a:gd name="connsiteX6" fmla="*/ 249641 w 294617"/>
                <a:gd name="connsiteY6" fmla="*/ 84845 h 337412"/>
                <a:gd name="connsiteX7" fmla="*/ 262627 w 294617"/>
                <a:gd name="connsiteY7" fmla="*/ 71858 h 337412"/>
                <a:gd name="connsiteX8" fmla="*/ 262194 w 294617"/>
                <a:gd name="connsiteY8" fmla="*/ 53677 h 337412"/>
                <a:gd name="connsiteX9" fmla="*/ 244013 w 294617"/>
                <a:gd name="connsiteY9" fmla="*/ 53245 h 337412"/>
                <a:gd name="connsiteX10" fmla="*/ 229295 w 294617"/>
                <a:gd name="connsiteY10" fmla="*/ 68395 h 337412"/>
                <a:gd name="connsiteX11" fmla="*/ 160034 w 294617"/>
                <a:gd name="connsiteY11" fmla="*/ 44154 h 337412"/>
                <a:gd name="connsiteX12" fmla="*/ 160034 w 294617"/>
                <a:gd name="connsiteY12" fmla="*/ 25973 h 337412"/>
                <a:gd name="connsiteX13" fmla="*/ 198994 w 294617"/>
                <a:gd name="connsiteY13" fmla="*/ 25973 h 337412"/>
                <a:gd name="connsiteX14" fmla="*/ 198994 w 294617"/>
                <a:gd name="connsiteY14" fmla="*/ 0 h 337412"/>
                <a:gd name="connsiteX15" fmla="*/ 95102 w 294617"/>
                <a:gd name="connsiteY15" fmla="*/ 0 h 337412"/>
                <a:gd name="connsiteX16" fmla="*/ 95102 w 294617"/>
                <a:gd name="connsiteY16" fmla="*/ 25973 h 337412"/>
                <a:gd name="connsiteX17" fmla="*/ 134061 w 294617"/>
                <a:gd name="connsiteY17" fmla="*/ 25973 h 337412"/>
                <a:gd name="connsiteX18" fmla="*/ 134061 w 294617"/>
                <a:gd name="connsiteY18" fmla="*/ 43721 h 337412"/>
                <a:gd name="connsiteX19" fmla="*/ 1166 w 294617"/>
                <a:gd name="connsiteY19" fmla="*/ 171854 h 337412"/>
                <a:gd name="connsiteX20" fmla="*/ 98132 w 294617"/>
                <a:gd name="connsiteY20" fmla="*/ 328991 h 337412"/>
                <a:gd name="connsiteX21" fmla="*/ 272584 w 294617"/>
                <a:gd name="connsiteY21" fmla="*/ 267954 h 337412"/>
                <a:gd name="connsiteX22" fmla="*/ 249641 w 294617"/>
                <a:gd name="connsiteY22" fmla="*/ 84845 h 337412"/>
                <a:gd name="connsiteX23" fmla="*/ 249641 w 294617"/>
                <a:gd name="connsiteY23" fmla="*/ 84845 h 33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4617" h="337412">
                  <a:moveTo>
                    <a:pt x="147048" y="311675"/>
                  </a:moveTo>
                  <a:cubicBezTo>
                    <a:pt x="79951" y="311675"/>
                    <a:pt x="25841" y="257565"/>
                    <a:pt x="25841" y="190468"/>
                  </a:cubicBezTo>
                  <a:cubicBezTo>
                    <a:pt x="25841" y="123371"/>
                    <a:pt x="79951" y="69261"/>
                    <a:pt x="147048" y="69261"/>
                  </a:cubicBezTo>
                  <a:cubicBezTo>
                    <a:pt x="214144" y="69261"/>
                    <a:pt x="268255" y="123371"/>
                    <a:pt x="268255" y="190468"/>
                  </a:cubicBezTo>
                  <a:cubicBezTo>
                    <a:pt x="268255" y="257565"/>
                    <a:pt x="214144" y="311675"/>
                    <a:pt x="147048" y="311675"/>
                  </a:cubicBezTo>
                  <a:lnTo>
                    <a:pt x="147048" y="311675"/>
                  </a:lnTo>
                  <a:close/>
                  <a:moveTo>
                    <a:pt x="249641" y="84845"/>
                  </a:moveTo>
                  <a:lnTo>
                    <a:pt x="262627" y="71858"/>
                  </a:lnTo>
                  <a:cubicBezTo>
                    <a:pt x="267389" y="66664"/>
                    <a:pt x="267389" y="58872"/>
                    <a:pt x="262194" y="53677"/>
                  </a:cubicBezTo>
                  <a:cubicBezTo>
                    <a:pt x="257433" y="48916"/>
                    <a:pt x="249208" y="48483"/>
                    <a:pt x="244013" y="53245"/>
                  </a:cubicBezTo>
                  <a:lnTo>
                    <a:pt x="229295" y="68395"/>
                  </a:lnTo>
                  <a:cubicBezTo>
                    <a:pt x="208517" y="54543"/>
                    <a:pt x="184708" y="45886"/>
                    <a:pt x="160034" y="44154"/>
                  </a:cubicBezTo>
                  <a:lnTo>
                    <a:pt x="160034" y="25973"/>
                  </a:lnTo>
                  <a:lnTo>
                    <a:pt x="198994" y="25973"/>
                  </a:lnTo>
                  <a:lnTo>
                    <a:pt x="198994" y="0"/>
                  </a:lnTo>
                  <a:lnTo>
                    <a:pt x="95102" y="0"/>
                  </a:lnTo>
                  <a:lnTo>
                    <a:pt x="95102" y="25973"/>
                  </a:lnTo>
                  <a:lnTo>
                    <a:pt x="134061" y="25973"/>
                  </a:lnTo>
                  <a:lnTo>
                    <a:pt x="134061" y="43721"/>
                  </a:lnTo>
                  <a:cubicBezTo>
                    <a:pt x="65233" y="49781"/>
                    <a:pt x="9824" y="103026"/>
                    <a:pt x="1166" y="171854"/>
                  </a:cubicBezTo>
                  <a:cubicBezTo>
                    <a:pt x="-7491" y="240683"/>
                    <a:pt x="32767" y="306048"/>
                    <a:pt x="98132" y="328991"/>
                  </a:cubicBezTo>
                  <a:cubicBezTo>
                    <a:pt x="163497" y="351933"/>
                    <a:pt x="235789" y="326826"/>
                    <a:pt x="272584" y="267954"/>
                  </a:cubicBezTo>
                  <a:cubicBezTo>
                    <a:pt x="309379" y="209082"/>
                    <a:pt x="298989" y="132895"/>
                    <a:pt x="249641" y="84845"/>
                  </a:cubicBezTo>
                  <a:lnTo>
                    <a:pt x="249641" y="84845"/>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grpSp>
      <p:grpSp>
        <p:nvGrpSpPr>
          <p:cNvPr id="115" name="Graphic 10" descr="Bar graph with upward trend">
            <a:extLst>
              <a:ext uri="{FF2B5EF4-FFF2-40B4-BE49-F238E27FC236}">
                <a16:creationId xmlns:a16="http://schemas.microsoft.com/office/drawing/2014/main" id="{39C8995E-3768-1774-655E-73F3F5299270}"/>
              </a:ext>
            </a:extLst>
          </p:cNvPr>
          <p:cNvGrpSpPr/>
          <p:nvPr/>
        </p:nvGrpSpPr>
        <p:grpSpPr>
          <a:xfrm>
            <a:off x="9858710" y="5156222"/>
            <a:ext cx="311513" cy="311513"/>
            <a:chOff x="3443611" y="5112846"/>
            <a:chExt cx="415567" cy="415567"/>
          </a:xfrm>
        </p:grpSpPr>
        <p:sp>
          <p:nvSpPr>
            <p:cNvPr id="116" name="Freeform: Shape 115">
              <a:extLst>
                <a:ext uri="{FF2B5EF4-FFF2-40B4-BE49-F238E27FC236}">
                  <a16:creationId xmlns:a16="http://schemas.microsoft.com/office/drawing/2014/main" id="{60FDAFDF-782A-4865-B8E1-1D5C33AF981A}"/>
                </a:ext>
              </a:extLst>
            </p:cNvPr>
            <p:cNvSpPr/>
            <p:nvPr/>
          </p:nvSpPr>
          <p:spPr>
            <a:xfrm>
              <a:off x="3504214" y="5169120"/>
              <a:ext cx="298688" cy="303017"/>
            </a:xfrm>
            <a:custGeom>
              <a:avLst/>
              <a:gdLst>
                <a:gd name="connsiteX0" fmla="*/ 25973 w 298688"/>
                <a:gd name="connsiteY0" fmla="*/ 0 h 303017"/>
                <a:gd name="connsiteX1" fmla="*/ 0 w 298688"/>
                <a:gd name="connsiteY1" fmla="*/ 0 h 303017"/>
                <a:gd name="connsiteX2" fmla="*/ 0 w 298688"/>
                <a:gd name="connsiteY2" fmla="*/ 303018 h 303017"/>
                <a:gd name="connsiteX3" fmla="*/ 298689 w 298688"/>
                <a:gd name="connsiteY3" fmla="*/ 303018 h 303017"/>
                <a:gd name="connsiteX4" fmla="*/ 298689 w 298688"/>
                <a:gd name="connsiteY4" fmla="*/ 277045 h 303017"/>
                <a:gd name="connsiteX5" fmla="*/ 25973 w 298688"/>
                <a:gd name="connsiteY5" fmla="*/ 277045 h 303017"/>
                <a:gd name="connsiteX6" fmla="*/ 25973 w 298688"/>
                <a:gd name="connsiteY6" fmla="*/ 0 h 30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688" h="303017">
                  <a:moveTo>
                    <a:pt x="25973" y="0"/>
                  </a:moveTo>
                  <a:lnTo>
                    <a:pt x="0" y="0"/>
                  </a:lnTo>
                  <a:lnTo>
                    <a:pt x="0" y="303018"/>
                  </a:lnTo>
                  <a:lnTo>
                    <a:pt x="298689" y="303018"/>
                  </a:lnTo>
                  <a:lnTo>
                    <a:pt x="298689" y="277045"/>
                  </a:lnTo>
                  <a:lnTo>
                    <a:pt x="25973" y="277045"/>
                  </a:lnTo>
                  <a:lnTo>
                    <a:pt x="25973" y="0"/>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7" name="Freeform: Shape 116">
              <a:extLst>
                <a:ext uri="{FF2B5EF4-FFF2-40B4-BE49-F238E27FC236}">
                  <a16:creationId xmlns:a16="http://schemas.microsoft.com/office/drawing/2014/main" id="{27727EBB-6464-ADE5-3B3D-0304B0AD36B1}"/>
                </a:ext>
              </a:extLst>
            </p:cNvPr>
            <p:cNvSpPr/>
            <p:nvPr/>
          </p:nvSpPr>
          <p:spPr>
            <a:xfrm rot="-10800000">
              <a:off x="3737970" y="5169120"/>
              <a:ext cx="64932" cy="251071"/>
            </a:xfrm>
            <a:custGeom>
              <a:avLst/>
              <a:gdLst>
                <a:gd name="connsiteX0" fmla="*/ 0 w 64932"/>
                <a:gd name="connsiteY0" fmla="*/ 0 h 251071"/>
                <a:gd name="connsiteX1" fmla="*/ 64932 w 64932"/>
                <a:gd name="connsiteY1" fmla="*/ 0 h 251071"/>
                <a:gd name="connsiteX2" fmla="*/ 64932 w 64932"/>
                <a:gd name="connsiteY2" fmla="*/ 251072 h 251071"/>
                <a:gd name="connsiteX3" fmla="*/ 0 w 64932"/>
                <a:gd name="connsiteY3" fmla="*/ 251072 h 251071"/>
              </a:gdLst>
              <a:ahLst/>
              <a:cxnLst>
                <a:cxn ang="0">
                  <a:pos x="connsiteX0" y="connsiteY0"/>
                </a:cxn>
                <a:cxn ang="0">
                  <a:pos x="connsiteX1" y="connsiteY1"/>
                </a:cxn>
                <a:cxn ang="0">
                  <a:pos x="connsiteX2" y="connsiteY2"/>
                </a:cxn>
                <a:cxn ang="0">
                  <a:pos x="connsiteX3" y="connsiteY3"/>
                </a:cxn>
              </a:cxnLst>
              <a:rect l="l" t="t" r="r" b="b"/>
              <a:pathLst>
                <a:path w="64932" h="251071">
                  <a:moveTo>
                    <a:pt x="0" y="0"/>
                  </a:moveTo>
                  <a:lnTo>
                    <a:pt x="64932" y="0"/>
                  </a:lnTo>
                  <a:lnTo>
                    <a:pt x="64932" y="251072"/>
                  </a:lnTo>
                  <a:lnTo>
                    <a:pt x="0" y="251072"/>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8" name="Freeform: Shape 117">
              <a:extLst>
                <a:ext uri="{FF2B5EF4-FFF2-40B4-BE49-F238E27FC236}">
                  <a16:creationId xmlns:a16="http://schemas.microsoft.com/office/drawing/2014/main" id="{A98A304C-9CB8-6431-4C36-1F51C0A6D5B1}"/>
                </a:ext>
              </a:extLst>
            </p:cNvPr>
            <p:cNvSpPr/>
            <p:nvPr/>
          </p:nvSpPr>
          <p:spPr>
            <a:xfrm rot="-10800000">
              <a:off x="3647065" y="5255697"/>
              <a:ext cx="64932" cy="164495"/>
            </a:xfrm>
            <a:custGeom>
              <a:avLst/>
              <a:gdLst>
                <a:gd name="connsiteX0" fmla="*/ 0 w 64932"/>
                <a:gd name="connsiteY0" fmla="*/ 0 h 164495"/>
                <a:gd name="connsiteX1" fmla="*/ 64932 w 64932"/>
                <a:gd name="connsiteY1" fmla="*/ 0 h 164495"/>
                <a:gd name="connsiteX2" fmla="*/ 64932 w 64932"/>
                <a:gd name="connsiteY2" fmla="*/ 164495 h 164495"/>
                <a:gd name="connsiteX3" fmla="*/ 0 w 64932"/>
                <a:gd name="connsiteY3" fmla="*/ 164495 h 164495"/>
              </a:gdLst>
              <a:ahLst/>
              <a:cxnLst>
                <a:cxn ang="0">
                  <a:pos x="connsiteX0" y="connsiteY0"/>
                </a:cxn>
                <a:cxn ang="0">
                  <a:pos x="connsiteX1" y="connsiteY1"/>
                </a:cxn>
                <a:cxn ang="0">
                  <a:pos x="connsiteX2" y="connsiteY2"/>
                </a:cxn>
                <a:cxn ang="0">
                  <a:pos x="connsiteX3" y="connsiteY3"/>
                </a:cxn>
              </a:cxnLst>
              <a:rect l="l" t="t" r="r" b="b"/>
              <a:pathLst>
                <a:path w="64932" h="164495">
                  <a:moveTo>
                    <a:pt x="0" y="0"/>
                  </a:moveTo>
                  <a:lnTo>
                    <a:pt x="64932" y="0"/>
                  </a:lnTo>
                  <a:lnTo>
                    <a:pt x="64932" y="164495"/>
                  </a:lnTo>
                  <a:lnTo>
                    <a:pt x="0" y="164495"/>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19" name="Freeform: Shape 118">
              <a:extLst>
                <a:ext uri="{FF2B5EF4-FFF2-40B4-BE49-F238E27FC236}">
                  <a16:creationId xmlns:a16="http://schemas.microsoft.com/office/drawing/2014/main" id="{64806401-591A-102E-1E7E-C4D04CEF0F5A}"/>
                </a:ext>
              </a:extLst>
            </p:cNvPr>
            <p:cNvSpPr/>
            <p:nvPr/>
          </p:nvSpPr>
          <p:spPr>
            <a:xfrm rot="-10800000">
              <a:off x="3556160" y="5333615"/>
              <a:ext cx="64932" cy="86576"/>
            </a:xfrm>
            <a:custGeom>
              <a:avLst/>
              <a:gdLst>
                <a:gd name="connsiteX0" fmla="*/ 0 w 64932"/>
                <a:gd name="connsiteY0" fmla="*/ 0 h 86576"/>
                <a:gd name="connsiteX1" fmla="*/ 64932 w 64932"/>
                <a:gd name="connsiteY1" fmla="*/ 0 h 86576"/>
                <a:gd name="connsiteX2" fmla="*/ 64932 w 64932"/>
                <a:gd name="connsiteY2" fmla="*/ 86576 h 86576"/>
                <a:gd name="connsiteX3" fmla="*/ 0 w 64932"/>
                <a:gd name="connsiteY3" fmla="*/ 86576 h 86576"/>
              </a:gdLst>
              <a:ahLst/>
              <a:cxnLst>
                <a:cxn ang="0">
                  <a:pos x="connsiteX0" y="connsiteY0"/>
                </a:cxn>
                <a:cxn ang="0">
                  <a:pos x="connsiteX1" y="connsiteY1"/>
                </a:cxn>
                <a:cxn ang="0">
                  <a:pos x="connsiteX2" y="connsiteY2"/>
                </a:cxn>
                <a:cxn ang="0">
                  <a:pos x="connsiteX3" y="connsiteY3"/>
                </a:cxn>
              </a:cxnLst>
              <a:rect l="l" t="t" r="r" b="b"/>
              <a:pathLst>
                <a:path w="64932" h="86576">
                  <a:moveTo>
                    <a:pt x="0" y="0"/>
                  </a:moveTo>
                  <a:lnTo>
                    <a:pt x="64932" y="0"/>
                  </a:lnTo>
                  <a:lnTo>
                    <a:pt x="64932" y="86576"/>
                  </a:lnTo>
                  <a:lnTo>
                    <a:pt x="0" y="86576"/>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120" name="Freeform: Shape 119">
              <a:extLst>
                <a:ext uri="{FF2B5EF4-FFF2-40B4-BE49-F238E27FC236}">
                  <a16:creationId xmlns:a16="http://schemas.microsoft.com/office/drawing/2014/main" id="{E437B2A6-8DAF-D0B4-82E1-A805C1486554}"/>
                </a:ext>
              </a:extLst>
            </p:cNvPr>
            <p:cNvSpPr/>
            <p:nvPr/>
          </p:nvSpPr>
          <p:spPr>
            <a:xfrm>
              <a:off x="3554385" y="5169120"/>
              <a:ext cx="140297" cy="140297"/>
            </a:xfrm>
            <a:custGeom>
              <a:avLst/>
              <a:gdLst>
                <a:gd name="connsiteX0" fmla="*/ 140297 w 140297"/>
                <a:gd name="connsiteY0" fmla="*/ 59478 h 140297"/>
                <a:gd name="connsiteX1" fmla="*/ 140297 w 140297"/>
                <a:gd name="connsiteY1" fmla="*/ 0 h 140297"/>
                <a:gd name="connsiteX2" fmla="*/ 80819 w 140297"/>
                <a:gd name="connsiteY2" fmla="*/ 0 h 140297"/>
                <a:gd name="connsiteX3" fmla="*/ 104455 w 140297"/>
                <a:gd name="connsiteY3" fmla="*/ 23635 h 140297"/>
                <a:gd name="connsiteX4" fmla="*/ 0 w 140297"/>
                <a:gd name="connsiteY4" fmla="*/ 128090 h 140297"/>
                <a:gd name="connsiteX5" fmla="*/ 12207 w 140297"/>
                <a:gd name="connsiteY5" fmla="*/ 140297 h 140297"/>
                <a:gd name="connsiteX6" fmla="*/ 116662 w 140297"/>
                <a:gd name="connsiteY6" fmla="*/ 35886 h 140297"/>
                <a:gd name="connsiteX7" fmla="*/ 140297 w 140297"/>
                <a:gd name="connsiteY7" fmla="*/ 59478 h 14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297" h="140297">
                  <a:moveTo>
                    <a:pt x="140297" y="59478"/>
                  </a:moveTo>
                  <a:lnTo>
                    <a:pt x="140297" y="0"/>
                  </a:lnTo>
                  <a:lnTo>
                    <a:pt x="80819" y="0"/>
                  </a:lnTo>
                  <a:lnTo>
                    <a:pt x="104455" y="23635"/>
                  </a:lnTo>
                  <a:lnTo>
                    <a:pt x="0" y="128090"/>
                  </a:lnTo>
                  <a:lnTo>
                    <a:pt x="12207" y="140297"/>
                  </a:lnTo>
                  <a:lnTo>
                    <a:pt x="116662" y="35886"/>
                  </a:lnTo>
                  <a:lnTo>
                    <a:pt x="140297" y="59478"/>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grpSp>
    </p:spTree>
    <p:extLst>
      <p:ext uri="{BB962C8B-B14F-4D97-AF65-F5344CB8AC3E}">
        <p14:creationId xmlns:p14="http://schemas.microsoft.com/office/powerpoint/2010/main" val="17014322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E3EA4-1357-5B7B-60DD-0E26AB5A532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6C88066B-5E6A-8856-495B-35141B343316}"/>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2 – Transition &amp; Operation handover</a:t>
            </a:r>
          </a:p>
        </p:txBody>
      </p:sp>
      <p:sp>
        <p:nvSpPr>
          <p:cNvPr id="91" name="Rectangle: Rounded Corners 90">
            <a:extLst>
              <a:ext uri="{FF2B5EF4-FFF2-40B4-BE49-F238E27FC236}">
                <a16:creationId xmlns:a16="http://schemas.microsoft.com/office/drawing/2014/main" id="{3AD8E647-7890-5594-0B8E-F9B3868742B3}"/>
              </a:ext>
            </a:extLst>
          </p:cNvPr>
          <p:cNvSpPr/>
          <p:nvPr/>
        </p:nvSpPr>
        <p:spPr>
          <a:xfrm>
            <a:off x="8580152" y="1051791"/>
            <a:ext cx="1714776" cy="393296"/>
          </a:xfrm>
          <a:prstGeom prst="roundRect">
            <a:avLst>
              <a:gd name="adj" fmla="val 50000"/>
            </a:avLst>
          </a:prstGeom>
          <a:solidFill>
            <a:sysClr val="window" lastClr="FFFFFF"/>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94368">
              <a:defRPr/>
            </a:pPr>
            <a:r>
              <a:rPr lang="en-GB" sz="1399" b="1">
                <a:solidFill>
                  <a:srgbClr val="000000"/>
                </a:solidFill>
                <a:latin typeface="EYInterstate Light" panose="02000506000000020004" pitchFamily="2" charset="0"/>
                <a:cs typeface="Arial"/>
              </a:rPr>
              <a:t>Deliverables</a:t>
            </a:r>
          </a:p>
        </p:txBody>
      </p:sp>
      <p:sp>
        <p:nvSpPr>
          <p:cNvPr id="92" name="Rectangle: Rounded Corners 91">
            <a:extLst>
              <a:ext uri="{FF2B5EF4-FFF2-40B4-BE49-F238E27FC236}">
                <a16:creationId xmlns:a16="http://schemas.microsoft.com/office/drawing/2014/main" id="{E63E0B90-51F6-A56C-3114-FF83941FC09D}"/>
              </a:ext>
            </a:extLst>
          </p:cNvPr>
          <p:cNvSpPr/>
          <p:nvPr/>
        </p:nvSpPr>
        <p:spPr>
          <a:xfrm>
            <a:off x="9593935" y="1507496"/>
            <a:ext cx="2251473" cy="451816"/>
          </a:xfrm>
          <a:prstGeom prst="roundRect">
            <a:avLst>
              <a:gd name="adj" fmla="val 50000"/>
            </a:avLst>
          </a:prstGeom>
          <a:solidFill>
            <a:srgbClr val="A2B969">
              <a:lumMod val="5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defTabSz="913943">
              <a:spcBef>
                <a:spcPct val="20000"/>
              </a:spcBef>
              <a:spcAft>
                <a:spcPts val="200"/>
              </a:spcAft>
              <a:defRPr/>
            </a:pPr>
            <a:r>
              <a:rPr lang="en-GB" sz="999" kern="0">
                <a:solidFill>
                  <a:prstClr val="white"/>
                </a:solidFill>
                <a:latin typeface="EYInterstate Light"/>
                <a:cs typeface="Arial"/>
              </a:rPr>
              <a:t>Validated Documentation Set</a:t>
            </a:r>
          </a:p>
        </p:txBody>
      </p:sp>
      <p:sp>
        <p:nvSpPr>
          <p:cNvPr id="93" name="Rectangle: Rounded Corners 92">
            <a:extLst>
              <a:ext uri="{FF2B5EF4-FFF2-40B4-BE49-F238E27FC236}">
                <a16:creationId xmlns:a16="http://schemas.microsoft.com/office/drawing/2014/main" id="{9B207BA3-2634-DD60-46E3-809488DC0D22}"/>
              </a:ext>
            </a:extLst>
          </p:cNvPr>
          <p:cNvSpPr/>
          <p:nvPr/>
        </p:nvSpPr>
        <p:spPr>
          <a:xfrm>
            <a:off x="9604623" y="2033319"/>
            <a:ext cx="2241235" cy="451816"/>
          </a:xfrm>
          <a:prstGeom prst="roundRect">
            <a:avLst>
              <a:gd name="adj" fmla="val 50000"/>
            </a:avLst>
          </a:prstGeom>
          <a:solidFill>
            <a:srgbClr val="A2B969">
              <a:lumMod val="75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defTabSz="913943">
              <a:spcBef>
                <a:spcPct val="20000"/>
              </a:spcBef>
              <a:spcAft>
                <a:spcPts val="200"/>
              </a:spcAft>
              <a:defRPr/>
            </a:pPr>
            <a:r>
              <a:rPr lang="en-GB" sz="999" kern="0">
                <a:solidFill>
                  <a:prstClr val="white"/>
                </a:solidFill>
                <a:latin typeface="EYInterstate Light"/>
                <a:cs typeface="Arial"/>
              </a:rPr>
              <a:t>Knowledge Transfer &amp; Access Logs</a:t>
            </a:r>
          </a:p>
        </p:txBody>
      </p:sp>
      <p:sp>
        <p:nvSpPr>
          <p:cNvPr id="94" name="Rectangle: Rounded Corners 93">
            <a:extLst>
              <a:ext uri="{FF2B5EF4-FFF2-40B4-BE49-F238E27FC236}">
                <a16:creationId xmlns:a16="http://schemas.microsoft.com/office/drawing/2014/main" id="{AFBAEDD1-DF4A-2A42-2138-725315E5A2CA}"/>
              </a:ext>
            </a:extLst>
          </p:cNvPr>
          <p:cNvSpPr/>
          <p:nvPr/>
        </p:nvSpPr>
        <p:spPr>
          <a:xfrm>
            <a:off x="9593934" y="2578581"/>
            <a:ext cx="2251474" cy="451816"/>
          </a:xfrm>
          <a:prstGeom prst="roundRect">
            <a:avLst>
              <a:gd name="adj" fmla="val 50000"/>
            </a:avLst>
          </a:prstGeom>
          <a:solidFill>
            <a:srgbClr val="A2B969"/>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defTabSz="913943">
              <a:spcBef>
                <a:spcPct val="20000"/>
              </a:spcBef>
              <a:spcAft>
                <a:spcPts val="200"/>
              </a:spcAft>
              <a:defRPr/>
            </a:pPr>
            <a:r>
              <a:rPr lang="en-GB" sz="999" kern="0">
                <a:solidFill>
                  <a:srgbClr val="000000"/>
                </a:solidFill>
                <a:latin typeface="EYInterstate Light"/>
                <a:cs typeface="Arial"/>
              </a:rPr>
              <a:t>Technology Landscape Overview</a:t>
            </a:r>
          </a:p>
        </p:txBody>
      </p:sp>
      <p:sp>
        <p:nvSpPr>
          <p:cNvPr id="95" name="Rectangle: Rounded Corners 94">
            <a:extLst>
              <a:ext uri="{FF2B5EF4-FFF2-40B4-BE49-F238E27FC236}">
                <a16:creationId xmlns:a16="http://schemas.microsoft.com/office/drawing/2014/main" id="{ABD22DF1-0B3D-687E-9DD0-BB3597B83FD4}"/>
              </a:ext>
            </a:extLst>
          </p:cNvPr>
          <p:cNvSpPr/>
          <p:nvPr/>
        </p:nvSpPr>
        <p:spPr>
          <a:xfrm>
            <a:off x="9604623" y="3173013"/>
            <a:ext cx="2241236" cy="451816"/>
          </a:xfrm>
          <a:prstGeom prst="roundRect">
            <a:avLst>
              <a:gd name="adj" fmla="val 50000"/>
            </a:avLst>
          </a:prstGeom>
          <a:solidFill>
            <a:srgbClr val="A2B969">
              <a:lumMod val="60000"/>
              <a:lumOff val="4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defTabSz="913943">
              <a:spcBef>
                <a:spcPct val="20000"/>
              </a:spcBef>
              <a:spcAft>
                <a:spcPts val="200"/>
              </a:spcAft>
              <a:defRPr/>
            </a:pPr>
            <a:r>
              <a:rPr lang="en-GB" sz="999" kern="0">
                <a:solidFill>
                  <a:srgbClr val="000000"/>
                </a:solidFill>
                <a:latin typeface="EYInterstate Light"/>
                <a:cs typeface="Arial"/>
              </a:rPr>
              <a:t>Transition Readiness Assessment</a:t>
            </a:r>
          </a:p>
        </p:txBody>
      </p:sp>
      <p:cxnSp>
        <p:nvCxnSpPr>
          <p:cNvPr id="96" name="Connector: Elbow 95">
            <a:extLst>
              <a:ext uri="{FF2B5EF4-FFF2-40B4-BE49-F238E27FC236}">
                <a16:creationId xmlns:a16="http://schemas.microsoft.com/office/drawing/2014/main" id="{CBAD66F0-2A25-BB88-0784-73B3757F963C}"/>
              </a:ext>
            </a:extLst>
          </p:cNvPr>
          <p:cNvCxnSpPr>
            <a:cxnSpLocks/>
            <a:stCxn id="91" idx="2"/>
            <a:endCxn id="92" idx="1"/>
          </p:cNvCxnSpPr>
          <p:nvPr/>
        </p:nvCxnSpPr>
        <p:spPr>
          <a:xfrm rot="16200000" flipH="1">
            <a:off x="9371578" y="1511047"/>
            <a:ext cx="288318" cy="156396"/>
          </a:xfrm>
          <a:prstGeom prst="bentConnector2">
            <a:avLst/>
          </a:prstGeom>
          <a:noFill/>
          <a:ln w="19050" cap="flat" cmpd="sng" algn="ctr">
            <a:solidFill>
              <a:srgbClr val="D3D3D3">
                <a:lumMod val="75000"/>
              </a:srgbClr>
            </a:solidFill>
            <a:prstDash val="solid"/>
            <a:miter lim="800000"/>
          </a:ln>
          <a:effectLst/>
        </p:spPr>
      </p:cxnSp>
      <p:cxnSp>
        <p:nvCxnSpPr>
          <p:cNvPr id="97" name="Connector: Elbow 96">
            <a:extLst>
              <a:ext uri="{FF2B5EF4-FFF2-40B4-BE49-F238E27FC236}">
                <a16:creationId xmlns:a16="http://schemas.microsoft.com/office/drawing/2014/main" id="{0EB0E8E9-7FE6-0125-2A81-B8A3BF238A01}"/>
              </a:ext>
            </a:extLst>
          </p:cNvPr>
          <p:cNvCxnSpPr>
            <a:cxnSpLocks/>
            <a:stCxn id="91" idx="2"/>
            <a:endCxn id="93" idx="1"/>
          </p:cNvCxnSpPr>
          <p:nvPr/>
        </p:nvCxnSpPr>
        <p:spPr>
          <a:xfrm rot="16200000" flipH="1">
            <a:off x="9114012" y="1768614"/>
            <a:ext cx="814141" cy="167084"/>
          </a:xfrm>
          <a:prstGeom prst="bentConnector2">
            <a:avLst/>
          </a:prstGeom>
          <a:noFill/>
          <a:ln w="19050" cap="flat" cmpd="sng" algn="ctr">
            <a:solidFill>
              <a:srgbClr val="D3D3D3">
                <a:lumMod val="75000"/>
              </a:srgbClr>
            </a:solidFill>
            <a:prstDash val="solid"/>
            <a:miter lim="800000"/>
          </a:ln>
          <a:effectLst/>
        </p:spPr>
      </p:cxnSp>
      <p:cxnSp>
        <p:nvCxnSpPr>
          <p:cNvPr id="98" name="Connector: Elbow 97">
            <a:extLst>
              <a:ext uri="{FF2B5EF4-FFF2-40B4-BE49-F238E27FC236}">
                <a16:creationId xmlns:a16="http://schemas.microsoft.com/office/drawing/2014/main" id="{BFDA35AA-C060-9CA1-8A0D-7D0DDBDC66C1}"/>
              </a:ext>
            </a:extLst>
          </p:cNvPr>
          <p:cNvCxnSpPr>
            <a:cxnSpLocks/>
            <a:stCxn id="91" idx="2"/>
            <a:endCxn id="94" idx="1"/>
          </p:cNvCxnSpPr>
          <p:nvPr/>
        </p:nvCxnSpPr>
        <p:spPr>
          <a:xfrm rot="16200000" flipH="1">
            <a:off x="8836035" y="2046590"/>
            <a:ext cx="1359403" cy="156394"/>
          </a:xfrm>
          <a:prstGeom prst="bentConnector2">
            <a:avLst/>
          </a:prstGeom>
          <a:noFill/>
          <a:ln w="19050" cap="flat" cmpd="sng" algn="ctr">
            <a:solidFill>
              <a:srgbClr val="D3D3D3">
                <a:lumMod val="75000"/>
              </a:srgbClr>
            </a:solidFill>
            <a:prstDash val="solid"/>
            <a:miter lim="800000"/>
          </a:ln>
          <a:effectLst/>
        </p:spPr>
      </p:cxnSp>
      <p:cxnSp>
        <p:nvCxnSpPr>
          <p:cNvPr id="99" name="Connector: Elbow 98">
            <a:extLst>
              <a:ext uri="{FF2B5EF4-FFF2-40B4-BE49-F238E27FC236}">
                <a16:creationId xmlns:a16="http://schemas.microsoft.com/office/drawing/2014/main" id="{FFA5A3D9-4B16-4BF4-B554-7DF9E9855351}"/>
              </a:ext>
            </a:extLst>
          </p:cNvPr>
          <p:cNvCxnSpPr>
            <a:cxnSpLocks/>
            <a:stCxn id="91" idx="2"/>
            <a:endCxn id="95" idx="1"/>
          </p:cNvCxnSpPr>
          <p:nvPr/>
        </p:nvCxnSpPr>
        <p:spPr>
          <a:xfrm rot="16200000" flipH="1">
            <a:off x="8544164" y="2338462"/>
            <a:ext cx="1953834" cy="167083"/>
          </a:xfrm>
          <a:prstGeom prst="bentConnector2">
            <a:avLst/>
          </a:prstGeom>
          <a:noFill/>
          <a:ln w="19050" cap="flat" cmpd="sng" algn="ctr">
            <a:solidFill>
              <a:srgbClr val="D3D3D3">
                <a:lumMod val="75000"/>
              </a:srgbClr>
            </a:solidFill>
            <a:prstDash val="solid"/>
            <a:miter lim="800000"/>
          </a:ln>
          <a:effectLst/>
        </p:spPr>
      </p:cxnSp>
      <p:sp>
        <p:nvSpPr>
          <p:cNvPr id="56" name="Rectangle: Rounded Corners 55">
            <a:extLst>
              <a:ext uri="{FF2B5EF4-FFF2-40B4-BE49-F238E27FC236}">
                <a16:creationId xmlns:a16="http://schemas.microsoft.com/office/drawing/2014/main" id="{792C822D-F623-E8ED-B1EA-74346B5567D1}"/>
              </a:ext>
            </a:extLst>
          </p:cNvPr>
          <p:cNvSpPr/>
          <p:nvPr/>
        </p:nvSpPr>
        <p:spPr>
          <a:xfrm>
            <a:off x="9593934" y="3769963"/>
            <a:ext cx="2241236" cy="451816"/>
          </a:xfrm>
          <a:prstGeom prst="roundRect">
            <a:avLst>
              <a:gd name="adj" fmla="val 50000"/>
            </a:avLst>
          </a:prstGeom>
          <a:solidFill>
            <a:srgbClr val="DBE4C6"/>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defTabSz="913943">
              <a:spcBef>
                <a:spcPct val="20000"/>
              </a:spcBef>
              <a:spcAft>
                <a:spcPts val="200"/>
              </a:spcAft>
              <a:defRPr/>
            </a:pPr>
            <a:r>
              <a:rPr lang="en-GB" sz="999" kern="0">
                <a:solidFill>
                  <a:srgbClr val="000000"/>
                </a:solidFill>
                <a:latin typeface="EYInterstate Light"/>
                <a:cs typeface="Arial"/>
              </a:rPr>
              <a:t>Transition Readiness Assessment</a:t>
            </a:r>
          </a:p>
        </p:txBody>
      </p:sp>
      <p:cxnSp>
        <p:nvCxnSpPr>
          <p:cNvPr id="15" name="Straight Connector 14">
            <a:extLst>
              <a:ext uri="{FF2B5EF4-FFF2-40B4-BE49-F238E27FC236}">
                <a16:creationId xmlns:a16="http://schemas.microsoft.com/office/drawing/2014/main" id="{0DEA1B4A-3940-8E7F-D497-869152423460}"/>
              </a:ext>
            </a:extLst>
          </p:cNvPr>
          <p:cNvCxnSpPr>
            <a:cxnSpLocks/>
          </p:cNvCxnSpPr>
          <p:nvPr/>
        </p:nvCxnSpPr>
        <p:spPr>
          <a:xfrm>
            <a:off x="9437539" y="3398356"/>
            <a:ext cx="0" cy="606042"/>
          </a:xfrm>
          <a:prstGeom prst="line">
            <a:avLst/>
          </a:prstGeom>
          <a:ln w="19050">
            <a:solidFill>
              <a:srgbClr val="9E9E9E"/>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33AD4B-9011-2EA2-A9FF-34A7E03F60D1}"/>
              </a:ext>
            </a:extLst>
          </p:cNvPr>
          <p:cNvCxnSpPr>
            <a:cxnSpLocks/>
          </p:cNvCxnSpPr>
          <p:nvPr/>
        </p:nvCxnSpPr>
        <p:spPr>
          <a:xfrm flipH="1" flipV="1">
            <a:off x="9437538" y="3993353"/>
            <a:ext cx="156395" cy="428"/>
          </a:xfrm>
          <a:prstGeom prst="line">
            <a:avLst/>
          </a:prstGeom>
          <a:ln w="19050">
            <a:solidFill>
              <a:srgbClr val="9E9E9E"/>
            </a:solidFill>
            <a:tailEnd type="non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52F50094-EDAB-4C07-C439-901FA619C9DF}"/>
              </a:ext>
            </a:extLst>
          </p:cNvPr>
          <p:cNvGrpSpPr/>
          <p:nvPr/>
        </p:nvGrpSpPr>
        <p:grpSpPr>
          <a:xfrm>
            <a:off x="1601700" y="1787719"/>
            <a:ext cx="4886505" cy="2675998"/>
            <a:chOff x="1071335" y="1325271"/>
            <a:chExt cx="6518732" cy="3569855"/>
          </a:xfrm>
        </p:grpSpPr>
        <p:sp>
          <p:nvSpPr>
            <p:cNvPr id="100" name="Freeform: Shape 99">
              <a:extLst>
                <a:ext uri="{FF2B5EF4-FFF2-40B4-BE49-F238E27FC236}">
                  <a16:creationId xmlns:a16="http://schemas.microsoft.com/office/drawing/2014/main" id="{B5155DCD-3664-7C86-EB1B-EF6B2FF0C8FA}"/>
                </a:ext>
              </a:extLst>
            </p:cNvPr>
            <p:cNvSpPr/>
            <p:nvPr/>
          </p:nvSpPr>
          <p:spPr>
            <a:xfrm>
              <a:off x="2781464" y="1325271"/>
              <a:ext cx="1848525" cy="2916445"/>
            </a:xfrm>
            <a:custGeom>
              <a:avLst/>
              <a:gdLst>
                <a:gd name="connsiteX0" fmla="*/ 52214 w 919750"/>
                <a:gd name="connsiteY0" fmla="*/ 0 h 1451103"/>
                <a:gd name="connsiteX1" fmla="*/ 759363 w 919750"/>
                <a:gd name="connsiteY1" fmla="*/ 631432 h 1451103"/>
                <a:gd name="connsiteX2" fmla="*/ 769914 w 919750"/>
                <a:gd name="connsiteY2" fmla="*/ 650511 h 1451103"/>
                <a:gd name="connsiteX3" fmla="*/ 780465 w 919750"/>
                <a:gd name="connsiteY3" fmla="*/ 669792 h 1451103"/>
                <a:gd name="connsiteX4" fmla="*/ 801797 w 919750"/>
                <a:gd name="connsiteY4" fmla="*/ 712855 h 1451103"/>
                <a:gd name="connsiteX5" fmla="*/ 919647 w 919750"/>
                <a:gd name="connsiteY5" fmla="*/ 1143147 h 1451103"/>
                <a:gd name="connsiteX6" fmla="*/ 919647 w 919750"/>
                <a:gd name="connsiteY6" fmla="*/ 1165720 h 1451103"/>
                <a:gd name="connsiteX7" fmla="*/ 918638 w 919750"/>
                <a:gd name="connsiteY7" fmla="*/ 1190241 h 1451103"/>
                <a:gd name="connsiteX8" fmla="*/ 780832 w 919750"/>
                <a:gd name="connsiteY8" fmla="*/ 1451103 h 1451103"/>
                <a:gd name="connsiteX9" fmla="*/ 779319 w 919750"/>
                <a:gd name="connsiteY9" fmla="*/ 1390775 h 1451103"/>
                <a:gd name="connsiteX10" fmla="*/ 771199 w 919750"/>
                <a:gd name="connsiteY10" fmla="*/ 1348854 h 1451103"/>
                <a:gd name="connsiteX11" fmla="*/ 761932 w 919750"/>
                <a:gd name="connsiteY11" fmla="*/ 1319429 h 1451103"/>
                <a:gd name="connsiteX12" fmla="*/ 657660 w 919750"/>
                <a:gd name="connsiteY12" fmla="*/ 1169818 h 1451103"/>
                <a:gd name="connsiteX13" fmla="*/ 614585 w 919750"/>
                <a:gd name="connsiteY13" fmla="*/ 1133876 h 1451103"/>
                <a:gd name="connsiteX14" fmla="*/ 596327 w 919750"/>
                <a:gd name="connsiteY14" fmla="*/ 1120641 h 1451103"/>
                <a:gd name="connsiteX15" fmla="*/ 578803 w 919750"/>
                <a:gd name="connsiteY15" fmla="*/ 1108952 h 1451103"/>
                <a:gd name="connsiteX16" fmla="*/ 165110 w 919750"/>
                <a:gd name="connsiteY16" fmla="*/ 957930 h 1451103"/>
                <a:gd name="connsiteX17" fmla="*/ 94280 w 919750"/>
                <a:gd name="connsiteY17" fmla="*/ 946912 h 1451103"/>
                <a:gd name="connsiteX18" fmla="*/ 52214 w 919750"/>
                <a:gd name="connsiteY18" fmla="*/ 0 h 145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9750" h="1451103">
                  <a:moveTo>
                    <a:pt x="52214" y="0"/>
                  </a:moveTo>
                  <a:cubicBezTo>
                    <a:pt x="144925" y="44339"/>
                    <a:pt x="540819" y="251189"/>
                    <a:pt x="759363" y="631432"/>
                  </a:cubicBezTo>
                  <a:cubicBezTo>
                    <a:pt x="762942" y="637679"/>
                    <a:pt x="766382" y="644129"/>
                    <a:pt x="769914" y="650511"/>
                  </a:cubicBezTo>
                  <a:cubicBezTo>
                    <a:pt x="773493" y="656826"/>
                    <a:pt x="777025" y="663342"/>
                    <a:pt x="780465" y="669792"/>
                  </a:cubicBezTo>
                  <a:cubicBezTo>
                    <a:pt x="787851" y="683900"/>
                    <a:pt x="795053" y="698142"/>
                    <a:pt x="801797" y="712855"/>
                  </a:cubicBezTo>
                  <a:cubicBezTo>
                    <a:pt x="878498" y="874626"/>
                    <a:pt x="917491" y="1021214"/>
                    <a:pt x="919647" y="1143147"/>
                  </a:cubicBezTo>
                  <a:cubicBezTo>
                    <a:pt x="919785" y="1150738"/>
                    <a:pt x="919785" y="1158397"/>
                    <a:pt x="919647" y="1165720"/>
                  </a:cubicBezTo>
                  <a:cubicBezTo>
                    <a:pt x="919510" y="1173983"/>
                    <a:pt x="919143" y="1182246"/>
                    <a:pt x="918638" y="1190241"/>
                  </a:cubicBezTo>
                  <a:cubicBezTo>
                    <a:pt x="910886" y="1307740"/>
                    <a:pt x="864644" y="1398030"/>
                    <a:pt x="780832" y="1451103"/>
                  </a:cubicBezTo>
                  <a:cubicBezTo>
                    <a:pt x="782255" y="1430815"/>
                    <a:pt x="781750" y="1410593"/>
                    <a:pt x="779319" y="1390775"/>
                  </a:cubicBezTo>
                  <a:cubicBezTo>
                    <a:pt x="777529" y="1376533"/>
                    <a:pt x="774869" y="1362693"/>
                    <a:pt x="771199" y="1348854"/>
                  </a:cubicBezTo>
                  <a:cubicBezTo>
                    <a:pt x="768538" y="1338979"/>
                    <a:pt x="765602" y="1329170"/>
                    <a:pt x="761932" y="1319429"/>
                  </a:cubicBezTo>
                  <a:cubicBezTo>
                    <a:pt x="741977" y="1265953"/>
                    <a:pt x="707067" y="1215635"/>
                    <a:pt x="657660" y="1169818"/>
                  </a:cubicBezTo>
                  <a:cubicBezTo>
                    <a:pt x="644311" y="1157322"/>
                    <a:pt x="629952" y="1145431"/>
                    <a:pt x="614585" y="1133876"/>
                  </a:cubicBezTo>
                  <a:cubicBezTo>
                    <a:pt x="608759" y="1129308"/>
                    <a:pt x="602520" y="1124941"/>
                    <a:pt x="596327" y="1120641"/>
                  </a:cubicBezTo>
                  <a:cubicBezTo>
                    <a:pt x="590592" y="1116745"/>
                    <a:pt x="584766" y="1112781"/>
                    <a:pt x="578803" y="1108952"/>
                  </a:cubicBezTo>
                  <a:cubicBezTo>
                    <a:pt x="475036" y="1041301"/>
                    <a:pt x="334294" y="989706"/>
                    <a:pt x="165110" y="957930"/>
                  </a:cubicBezTo>
                  <a:cubicBezTo>
                    <a:pt x="141485" y="953496"/>
                    <a:pt x="117768" y="949801"/>
                    <a:pt x="94280" y="946912"/>
                  </a:cubicBezTo>
                  <a:cubicBezTo>
                    <a:pt x="-71096" y="521054"/>
                    <a:pt x="25928" y="97412"/>
                    <a:pt x="52214" y="0"/>
                  </a:cubicBezTo>
                  <a:close/>
                </a:path>
              </a:pathLst>
            </a:custGeom>
            <a:solidFill>
              <a:srgbClr val="C0BFC3"/>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1" name="Freeform: Shape 100">
              <a:extLst>
                <a:ext uri="{FF2B5EF4-FFF2-40B4-BE49-F238E27FC236}">
                  <a16:creationId xmlns:a16="http://schemas.microsoft.com/office/drawing/2014/main" id="{7AB6B51F-4F12-0646-7E24-94D034860E0E}"/>
                </a:ext>
              </a:extLst>
            </p:cNvPr>
            <p:cNvSpPr/>
            <p:nvPr/>
          </p:nvSpPr>
          <p:spPr>
            <a:xfrm>
              <a:off x="4389533" y="1401843"/>
              <a:ext cx="1552554" cy="2937773"/>
            </a:xfrm>
            <a:custGeom>
              <a:avLst/>
              <a:gdLst>
                <a:gd name="connsiteX0" fmla="*/ 745490 w 772487"/>
                <a:gd name="connsiteY0" fmla="*/ 0 h 1461715"/>
                <a:gd name="connsiteX1" fmla="*/ 650091 w 772487"/>
                <a:gd name="connsiteY1" fmla="*/ 943369 h 1461715"/>
                <a:gd name="connsiteX2" fmla="*/ 640950 w 772487"/>
                <a:gd name="connsiteY2" fmla="*/ 962997 h 1461715"/>
                <a:gd name="connsiteX3" fmla="*/ 631579 w 772487"/>
                <a:gd name="connsiteY3" fmla="*/ 982975 h 1461715"/>
                <a:gd name="connsiteX4" fmla="*/ 609611 w 772487"/>
                <a:gd name="connsiteY4" fmla="*/ 1025395 h 1461715"/>
                <a:gd name="connsiteX5" fmla="*/ 0 w 772487"/>
                <a:gd name="connsiteY5" fmla="*/ 1442279 h 1461715"/>
                <a:gd name="connsiteX6" fmla="*/ 158231 w 772487"/>
                <a:gd name="connsiteY6" fmla="*/ 1121632 h 1461715"/>
                <a:gd name="connsiteX7" fmla="*/ 158231 w 772487"/>
                <a:gd name="connsiteY7" fmla="*/ 1099050 h 1461715"/>
                <a:gd name="connsiteX8" fmla="*/ 157617 w 772487"/>
                <a:gd name="connsiteY8" fmla="*/ 1077945 h 1461715"/>
                <a:gd name="connsiteX9" fmla="*/ 36946 w 772487"/>
                <a:gd name="connsiteY9" fmla="*/ 654449 h 1461715"/>
                <a:gd name="connsiteX10" fmla="*/ 4186 w 772487"/>
                <a:gd name="connsiteY10" fmla="*/ 590503 h 1461715"/>
                <a:gd name="connsiteX11" fmla="*/ 745490 w 772487"/>
                <a:gd name="connsiteY11" fmla="*/ 0 h 146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487" h="1461715">
                  <a:moveTo>
                    <a:pt x="745490" y="0"/>
                  </a:moveTo>
                  <a:cubicBezTo>
                    <a:pt x="764040" y="100950"/>
                    <a:pt x="829560" y="542666"/>
                    <a:pt x="650091" y="943369"/>
                  </a:cubicBezTo>
                  <a:cubicBezTo>
                    <a:pt x="647172" y="949912"/>
                    <a:pt x="644023" y="956384"/>
                    <a:pt x="640950" y="962997"/>
                  </a:cubicBezTo>
                  <a:cubicBezTo>
                    <a:pt x="637916" y="969609"/>
                    <a:pt x="634882" y="976363"/>
                    <a:pt x="631579" y="982975"/>
                  </a:cubicBezTo>
                  <a:cubicBezTo>
                    <a:pt x="624589" y="997186"/>
                    <a:pt x="617216" y="1011255"/>
                    <a:pt x="609611" y="1025395"/>
                  </a:cubicBezTo>
                  <a:cubicBezTo>
                    <a:pt x="424958" y="1363700"/>
                    <a:pt x="194678" y="1519521"/>
                    <a:pt x="0" y="1442279"/>
                  </a:cubicBezTo>
                  <a:cubicBezTo>
                    <a:pt x="102735" y="1378403"/>
                    <a:pt x="155965" y="1266690"/>
                    <a:pt x="158231" y="1121632"/>
                  </a:cubicBezTo>
                  <a:cubicBezTo>
                    <a:pt x="158385" y="1114175"/>
                    <a:pt x="158385" y="1106648"/>
                    <a:pt x="158231" y="1099050"/>
                  </a:cubicBezTo>
                  <a:cubicBezTo>
                    <a:pt x="158116" y="1092015"/>
                    <a:pt x="158001" y="1085051"/>
                    <a:pt x="157617" y="1077945"/>
                  </a:cubicBezTo>
                  <a:cubicBezTo>
                    <a:pt x="151241" y="955047"/>
                    <a:pt x="111376" y="811255"/>
                    <a:pt x="36946" y="654449"/>
                  </a:cubicBezTo>
                  <a:cubicBezTo>
                    <a:pt x="26538" y="632571"/>
                    <a:pt x="15631" y="611396"/>
                    <a:pt x="4186" y="590503"/>
                  </a:cubicBezTo>
                  <a:cubicBezTo>
                    <a:pt x="251441" y="206472"/>
                    <a:pt x="651243" y="36089"/>
                    <a:pt x="745490" y="0"/>
                  </a:cubicBezTo>
                  <a:close/>
                </a:path>
              </a:pathLst>
            </a:custGeom>
            <a:solidFill>
              <a:srgbClr val="FFCC4C"/>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2" name="Freeform: Shape 101">
              <a:extLst>
                <a:ext uri="{FF2B5EF4-FFF2-40B4-BE49-F238E27FC236}">
                  <a16:creationId xmlns:a16="http://schemas.microsoft.com/office/drawing/2014/main" id="{F29FFD00-4B73-5B5E-0EF8-B8185D8DBD23}"/>
                </a:ext>
              </a:extLst>
            </p:cNvPr>
            <p:cNvSpPr/>
            <p:nvPr/>
          </p:nvSpPr>
          <p:spPr>
            <a:xfrm>
              <a:off x="1071335" y="3290661"/>
              <a:ext cx="3221084" cy="1559916"/>
            </a:xfrm>
            <a:custGeom>
              <a:avLst/>
              <a:gdLst>
                <a:gd name="connsiteX0" fmla="*/ 765077 w 1602679"/>
                <a:gd name="connsiteY0" fmla="*/ 270 h 776150"/>
                <a:gd name="connsiteX1" fmla="*/ 926466 w 1602679"/>
                <a:gd name="connsiteY1" fmla="*/ 7061 h 776150"/>
                <a:gd name="connsiteX2" fmla="*/ 948217 w 1602679"/>
                <a:gd name="connsiteY2" fmla="*/ 9733 h 776150"/>
                <a:gd name="connsiteX3" fmla="*/ 970043 w 1602679"/>
                <a:gd name="connsiteY3" fmla="*/ 12524 h 776150"/>
                <a:gd name="connsiteX4" fmla="*/ 1017257 w 1602679"/>
                <a:gd name="connsiteY4" fmla="*/ 20259 h 776150"/>
                <a:gd name="connsiteX5" fmla="*/ 1434686 w 1602679"/>
                <a:gd name="connsiteY5" fmla="*/ 177485 h 776150"/>
                <a:gd name="connsiteX6" fmla="*/ 1453022 w 1602679"/>
                <a:gd name="connsiteY6" fmla="*/ 190684 h 776150"/>
                <a:gd name="connsiteX7" fmla="*/ 1472175 w 1602679"/>
                <a:gd name="connsiteY7" fmla="*/ 205956 h 776150"/>
                <a:gd name="connsiteX8" fmla="*/ 1490957 w 1602679"/>
                <a:gd name="connsiteY8" fmla="*/ 222464 h 776150"/>
                <a:gd name="connsiteX9" fmla="*/ 1599787 w 1602679"/>
                <a:gd name="connsiteY9" fmla="*/ 413942 h 776150"/>
                <a:gd name="connsiteX10" fmla="*/ 1601494 w 1602679"/>
                <a:gd name="connsiteY10" fmla="*/ 479098 h 776150"/>
                <a:gd name="connsiteX11" fmla="*/ 1599193 w 1602679"/>
                <a:gd name="connsiteY11" fmla="*/ 497400 h 776150"/>
                <a:gd name="connsiteX12" fmla="*/ 1598822 w 1602679"/>
                <a:gd name="connsiteY12" fmla="*/ 500311 h 776150"/>
                <a:gd name="connsiteX13" fmla="*/ 1597783 w 1602679"/>
                <a:gd name="connsiteY13" fmla="*/ 507169 h 776150"/>
                <a:gd name="connsiteX14" fmla="*/ 1597263 w 1602679"/>
                <a:gd name="connsiteY14" fmla="*/ 509482 h 776150"/>
                <a:gd name="connsiteX15" fmla="*/ 1594962 w 1602679"/>
                <a:gd name="connsiteY15" fmla="*/ 519889 h 776150"/>
                <a:gd name="connsiteX16" fmla="*/ 1594962 w 1602679"/>
                <a:gd name="connsiteY16" fmla="*/ 520129 h 776150"/>
                <a:gd name="connsiteX17" fmla="*/ 1588874 w 1602679"/>
                <a:gd name="connsiteY17" fmla="*/ 542618 h 776150"/>
                <a:gd name="connsiteX18" fmla="*/ 880365 w 1602679"/>
                <a:gd name="connsiteY18" fmla="*/ 750644 h 776150"/>
                <a:gd name="connsiteX19" fmla="*/ 0 w 1602679"/>
                <a:gd name="connsiteY19" fmla="*/ 207990 h 776150"/>
                <a:gd name="connsiteX20" fmla="*/ 765077 w 1602679"/>
                <a:gd name="connsiteY20" fmla="*/ 270 h 77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2679" h="776150">
                  <a:moveTo>
                    <a:pt x="765077" y="270"/>
                  </a:moveTo>
                  <a:cubicBezTo>
                    <a:pt x="817947" y="-787"/>
                    <a:pt x="871921" y="1220"/>
                    <a:pt x="926466" y="7061"/>
                  </a:cubicBezTo>
                  <a:cubicBezTo>
                    <a:pt x="933667" y="7819"/>
                    <a:pt x="940942" y="8855"/>
                    <a:pt x="948217" y="9733"/>
                  </a:cubicBezTo>
                  <a:cubicBezTo>
                    <a:pt x="955418" y="10610"/>
                    <a:pt x="962693" y="11527"/>
                    <a:pt x="970043" y="12524"/>
                  </a:cubicBezTo>
                  <a:cubicBezTo>
                    <a:pt x="985781" y="14797"/>
                    <a:pt x="1001519" y="17349"/>
                    <a:pt x="1017257" y="20259"/>
                  </a:cubicBezTo>
                  <a:cubicBezTo>
                    <a:pt x="1191489" y="52917"/>
                    <a:pt x="1334022" y="106867"/>
                    <a:pt x="1434686" y="177485"/>
                  </a:cubicBezTo>
                  <a:cubicBezTo>
                    <a:pt x="1440922" y="181792"/>
                    <a:pt x="1447158" y="186258"/>
                    <a:pt x="1453022" y="190684"/>
                  </a:cubicBezTo>
                  <a:cubicBezTo>
                    <a:pt x="1459629" y="195668"/>
                    <a:pt x="1465939" y="200732"/>
                    <a:pt x="1472175" y="205956"/>
                  </a:cubicBezTo>
                  <a:cubicBezTo>
                    <a:pt x="1478634" y="211419"/>
                    <a:pt x="1485018" y="216842"/>
                    <a:pt x="1490957" y="222464"/>
                  </a:cubicBezTo>
                  <a:cubicBezTo>
                    <a:pt x="1552944" y="279963"/>
                    <a:pt x="1589691" y="344999"/>
                    <a:pt x="1599787" y="413942"/>
                  </a:cubicBezTo>
                  <a:cubicBezTo>
                    <a:pt x="1602979" y="435435"/>
                    <a:pt x="1603499" y="457127"/>
                    <a:pt x="1601494" y="479098"/>
                  </a:cubicBezTo>
                  <a:cubicBezTo>
                    <a:pt x="1600826" y="485198"/>
                    <a:pt x="1600084" y="491299"/>
                    <a:pt x="1599193" y="497400"/>
                  </a:cubicBezTo>
                  <a:cubicBezTo>
                    <a:pt x="1599045" y="498397"/>
                    <a:pt x="1598896" y="499314"/>
                    <a:pt x="1598822" y="500311"/>
                  </a:cubicBezTo>
                  <a:cubicBezTo>
                    <a:pt x="1598451" y="502624"/>
                    <a:pt x="1598154" y="504897"/>
                    <a:pt x="1597783" y="507169"/>
                  </a:cubicBezTo>
                  <a:cubicBezTo>
                    <a:pt x="1597634" y="507927"/>
                    <a:pt x="1597411" y="508685"/>
                    <a:pt x="1597263" y="509482"/>
                  </a:cubicBezTo>
                  <a:cubicBezTo>
                    <a:pt x="1596669" y="513031"/>
                    <a:pt x="1595778" y="516460"/>
                    <a:pt x="1594962" y="519889"/>
                  </a:cubicBezTo>
                  <a:cubicBezTo>
                    <a:pt x="1594962" y="520009"/>
                    <a:pt x="1594962" y="520009"/>
                    <a:pt x="1594962" y="520129"/>
                  </a:cubicBezTo>
                  <a:cubicBezTo>
                    <a:pt x="1593180" y="527864"/>
                    <a:pt x="1591176" y="535241"/>
                    <a:pt x="1588874" y="542618"/>
                  </a:cubicBezTo>
                  <a:cubicBezTo>
                    <a:pt x="1525254" y="741992"/>
                    <a:pt x="1259044" y="821621"/>
                    <a:pt x="880365" y="750644"/>
                  </a:cubicBezTo>
                  <a:cubicBezTo>
                    <a:pt x="387883" y="658175"/>
                    <a:pt x="67555" y="291647"/>
                    <a:pt x="0" y="207990"/>
                  </a:cubicBezTo>
                  <a:cubicBezTo>
                    <a:pt x="78987" y="165179"/>
                    <a:pt x="394985" y="7671"/>
                    <a:pt x="765077" y="270"/>
                  </a:cubicBezTo>
                  <a:close/>
                </a:path>
              </a:pathLst>
            </a:custGeom>
            <a:solidFill>
              <a:srgbClr val="FFE600"/>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3" name="Freeform: Shape 102">
              <a:extLst>
                <a:ext uri="{FF2B5EF4-FFF2-40B4-BE49-F238E27FC236}">
                  <a16:creationId xmlns:a16="http://schemas.microsoft.com/office/drawing/2014/main" id="{4F3B6606-1882-EB50-F05C-0A9E1541A7FB}"/>
                </a:ext>
              </a:extLst>
            </p:cNvPr>
            <p:cNvSpPr/>
            <p:nvPr/>
          </p:nvSpPr>
          <p:spPr>
            <a:xfrm>
              <a:off x="4364009" y="3367238"/>
              <a:ext cx="3226058" cy="1527888"/>
            </a:xfrm>
            <a:custGeom>
              <a:avLst/>
              <a:gdLst>
                <a:gd name="connsiteX0" fmla="*/ 764678 w 1605154"/>
                <a:gd name="connsiteY0" fmla="*/ 0 h 760214"/>
                <a:gd name="connsiteX1" fmla="*/ 1605154 w 1605154"/>
                <a:gd name="connsiteY1" fmla="*/ 254646 h 760214"/>
                <a:gd name="connsiteX2" fmla="*/ 695567 w 1605154"/>
                <a:gd name="connsiteY2" fmla="*/ 747265 h 760214"/>
                <a:gd name="connsiteX3" fmla="*/ 0 w 1605154"/>
                <a:gd name="connsiteY3" fmla="*/ 499369 h 760214"/>
                <a:gd name="connsiteX4" fmla="*/ 117340 w 1605154"/>
                <a:gd name="connsiteY4" fmla="*/ 522610 h 760214"/>
                <a:gd name="connsiteX5" fmla="*/ 659154 w 1605154"/>
                <a:gd name="connsiteY5" fmla="*/ 66032 h 760214"/>
                <a:gd name="connsiteX6" fmla="*/ 691480 w 1605154"/>
                <a:gd name="connsiteY6" fmla="*/ 2177 h 760214"/>
                <a:gd name="connsiteX7" fmla="*/ 764678 w 1605154"/>
                <a:gd name="connsiteY7" fmla="*/ 0 h 76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5154" h="760214">
                  <a:moveTo>
                    <a:pt x="764678" y="0"/>
                  </a:moveTo>
                  <a:cubicBezTo>
                    <a:pt x="1187071" y="0"/>
                    <a:pt x="1525119" y="202559"/>
                    <a:pt x="1605154" y="254646"/>
                  </a:cubicBezTo>
                  <a:cubicBezTo>
                    <a:pt x="1529355" y="334143"/>
                    <a:pt x="1170053" y="686066"/>
                    <a:pt x="695567" y="747265"/>
                  </a:cubicBezTo>
                  <a:cubicBezTo>
                    <a:pt x="313451" y="796807"/>
                    <a:pt x="52093" y="702076"/>
                    <a:pt x="0" y="499369"/>
                  </a:cubicBezTo>
                  <a:cubicBezTo>
                    <a:pt x="38123" y="514974"/>
                    <a:pt x="77434" y="522610"/>
                    <a:pt x="117340" y="522610"/>
                  </a:cubicBezTo>
                  <a:cubicBezTo>
                    <a:pt x="301338" y="522610"/>
                    <a:pt x="498341" y="360555"/>
                    <a:pt x="659154" y="66032"/>
                  </a:cubicBezTo>
                  <a:cubicBezTo>
                    <a:pt x="670672" y="44968"/>
                    <a:pt x="681448" y="23609"/>
                    <a:pt x="691480" y="2177"/>
                  </a:cubicBezTo>
                  <a:cubicBezTo>
                    <a:pt x="716152" y="775"/>
                    <a:pt x="740526" y="0"/>
                    <a:pt x="764678" y="0"/>
                  </a:cubicBezTo>
                  <a:close/>
                </a:path>
              </a:pathLst>
            </a:custGeom>
            <a:solidFill>
              <a:srgbClr val="A2B969"/>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4" name="Freeform: Shape 103">
              <a:extLst>
                <a:ext uri="{FF2B5EF4-FFF2-40B4-BE49-F238E27FC236}">
                  <a16:creationId xmlns:a16="http://schemas.microsoft.com/office/drawing/2014/main" id="{CC173004-A19B-9456-7E2F-853D537C48BB}"/>
                </a:ext>
              </a:extLst>
            </p:cNvPr>
            <p:cNvSpPr/>
            <p:nvPr/>
          </p:nvSpPr>
          <p:spPr>
            <a:xfrm>
              <a:off x="4389533" y="2450782"/>
              <a:ext cx="479669" cy="1888835"/>
            </a:xfrm>
            <a:custGeom>
              <a:avLst/>
              <a:gdLst>
                <a:gd name="connsiteX0" fmla="*/ 103670 w 479669"/>
                <a:gd name="connsiteY0" fmla="*/ 0 h 1888835"/>
                <a:gd name="connsiteX1" fmla="*/ 110670 w 479669"/>
                <a:gd name="connsiteY1" fmla="*/ 12658 h 1888835"/>
                <a:gd name="connsiteX2" fmla="*/ 136653 w 479669"/>
                <a:gd name="connsiteY2" fmla="*/ 60141 h 1888835"/>
                <a:gd name="connsiteX3" fmla="*/ 189187 w 479669"/>
                <a:gd name="connsiteY3" fmla="*/ 166192 h 1888835"/>
                <a:gd name="connsiteX4" fmla="*/ 479414 w 479669"/>
                <a:gd name="connsiteY4" fmla="*/ 1225864 h 1888835"/>
                <a:gd name="connsiteX5" fmla="*/ 479414 w 479669"/>
                <a:gd name="connsiteY5" fmla="*/ 1281454 h 1888835"/>
                <a:gd name="connsiteX6" fmla="*/ 476930 w 479669"/>
                <a:gd name="connsiteY6" fmla="*/ 1341842 h 1888835"/>
                <a:gd name="connsiteX7" fmla="*/ 274975 w 479669"/>
                <a:gd name="connsiteY7" fmla="*/ 1869436 h 1888835"/>
                <a:gd name="connsiteX8" fmla="*/ 258834 w 479669"/>
                <a:gd name="connsiteY8" fmla="*/ 1884877 h 1888835"/>
                <a:gd name="connsiteX9" fmla="*/ 226558 w 479669"/>
                <a:gd name="connsiteY9" fmla="*/ 1888363 h 1888835"/>
                <a:gd name="connsiteX10" fmla="*/ 0 w 479669"/>
                <a:gd name="connsiteY10" fmla="*/ 1849772 h 1888835"/>
                <a:gd name="connsiteX11" fmla="*/ 318015 w 479669"/>
                <a:gd name="connsiteY11" fmla="*/ 1205332 h 1888835"/>
                <a:gd name="connsiteX12" fmla="*/ 318015 w 479669"/>
                <a:gd name="connsiteY12" fmla="*/ 1159946 h 1888835"/>
                <a:gd name="connsiteX13" fmla="*/ 316781 w 479669"/>
                <a:gd name="connsiteY13" fmla="*/ 1117529 h 1888835"/>
                <a:gd name="connsiteX14" fmla="*/ 74255 w 479669"/>
                <a:gd name="connsiteY14" fmla="*/ 266382 h 1888835"/>
                <a:gd name="connsiteX15" fmla="*/ 8413 w 479669"/>
                <a:gd name="connsiteY15" fmla="*/ 137862 h 188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669" h="1888835">
                  <a:moveTo>
                    <a:pt x="103670" y="0"/>
                  </a:moveTo>
                  <a:lnTo>
                    <a:pt x="110670" y="12658"/>
                  </a:lnTo>
                  <a:cubicBezTo>
                    <a:pt x="119484" y="28210"/>
                    <a:pt x="128182" y="44257"/>
                    <a:pt x="136653" y="60141"/>
                  </a:cubicBezTo>
                  <a:cubicBezTo>
                    <a:pt x="154843" y="94885"/>
                    <a:pt x="172579" y="129958"/>
                    <a:pt x="189187" y="166192"/>
                  </a:cubicBezTo>
                  <a:cubicBezTo>
                    <a:pt x="378078" y="564582"/>
                    <a:pt x="474105" y="925582"/>
                    <a:pt x="479414" y="1225864"/>
                  </a:cubicBezTo>
                  <a:cubicBezTo>
                    <a:pt x="479754" y="1244558"/>
                    <a:pt x="479754" y="1263420"/>
                    <a:pt x="479414" y="1281454"/>
                  </a:cubicBezTo>
                  <a:cubicBezTo>
                    <a:pt x="479077" y="1301804"/>
                    <a:pt x="478173" y="1322153"/>
                    <a:pt x="476930" y="1341842"/>
                  </a:cubicBezTo>
                  <a:cubicBezTo>
                    <a:pt x="462612" y="1558864"/>
                    <a:pt x="394975" y="1738194"/>
                    <a:pt x="274975" y="1869436"/>
                  </a:cubicBezTo>
                  <a:lnTo>
                    <a:pt x="258834" y="1884877"/>
                  </a:lnTo>
                  <a:lnTo>
                    <a:pt x="226558" y="1888363"/>
                  </a:lnTo>
                  <a:cubicBezTo>
                    <a:pt x="149241" y="1891520"/>
                    <a:pt x="73363" y="1878880"/>
                    <a:pt x="0" y="1849772"/>
                  </a:cubicBezTo>
                  <a:cubicBezTo>
                    <a:pt x="206478" y="1721394"/>
                    <a:pt x="313461" y="1496871"/>
                    <a:pt x="318015" y="1205332"/>
                  </a:cubicBezTo>
                  <a:cubicBezTo>
                    <a:pt x="318324" y="1190345"/>
                    <a:pt x="318324" y="1175217"/>
                    <a:pt x="318015" y="1159946"/>
                  </a:cubicBezTo>
                  <a:cubicBezTo>
                    <a:pt x="317784" y="1145807"/>
                    <a:pt x="317553" y="1131811"/>
                    <a:pt x="316781" y="1117529"/>
                  </a:cubicBezTo>
                  <a:cubicBezTo>
                    <a:pt x="303966" y="870528"/>
                    <a:pt x="223845" y="581533"/>
                    <a:pt x="74255" y="266382"/>
                  </a:cubicBezTo>
                  <a:cubicBezTo>
                    <a:pt x="53337" y="222411"/>
                    <a:pt x="31416" y="179853"/>
                    <a:pt x="8413" y="137862"/>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5" name="Freeform: Shape 104">
              <a:extLst>
                <a:ext uri="{FF2B5EF4-FFF2-40B4-BE49-F238E27FC236}">
                  <a16:creationId xmlns:a16="http://schemas.microsoft.com/office/drawing/2014/main" id="{632CDBCA-9A1B-21DE-0B56-B911001A5A17}"/>
                </a:ext>
              </a:extLst>
            </p:cNvPr>
            <p:cNvSpPr/>
            <p:nvPr/>
          </p:nvSpPr>
          <p:spPr>
            <a:xfrm>
              <a:off x="4364009" y="3367239"/>
              <a:ext cx="1583264" cy="1268643"/>
            </a:xfrm>
            <a:custGeom>
              <a:avLst/>
              <a:gdLst>
                <a:gd name="connsiteX0" fmla="*/ 1536859 w 1583264"/>
                <a:gd name="connsiteY0" fmla="*/ 0 h 1268643"/>
                <a:gd name="connsiteX1" fmla="*/ 1583264 w 1583264"/>
                <a:gd name="connsiteY1" fmla="*/ 1358 h 1268643"/>
                <a:gd name="connsiteX2" fmla="*/ 1522505 w 1583264"/>
                <a:gd name="connsiteY2" fmla="*/ 150088 h 1268643"/>
                <a:gd name="connsiteX3" fmla="*/ 1502780 w 1583264"/>
                <a:gd name="connsiteY3" fmla="*/ 192444 h 1268643"/>
                <a:gd name="connsiteX4" fmla="*/ 1482558 w 1583264"/>
                <a:gd name="connsiteY4" fmla="*/ 235555 h 1268643"/>
                <a:gd name="connsiteX5" fmla="*/ 1435152 w 1583264"/>
                <a:gd name="connsiteY5" fmla="*/ 327095 h 1268643"/>
                <a:gd name="connsiteX6" fmla="*/ 119654 w 1583264"/>
                <a:gd name="connsiteY6" fmla="*/ 1226701 h 1268643"/>
                <a:gd name="connsiteX7" fmla="*/ 118435 w 1583264"/>
                <a:gd name="connsiteY7" fmla="*/ 1227474 h 1268643"/>
                <a:gd name="connsiteX8" fmla="*/ 102078 w 1583264"/>
                <a:gd name="connsiteY8" fmla="*/ 1209434 h 1268643"/>
                <a:gd name="connsiteX9" fmla="*/ 0 w 1583264"/>
                <a:gd name="connsiteY9" fmla="*/ 1003639 h 1268643"/>
                <a:gd name="connsiteX10" fmla="*/ 235832 w 1583264"/>
                <a:gd name="connsiteY10" fmla="*/ 1050349 h 1268643"/>
                <a:gd name="connsiteX11" fmla="*/ 1324776 w 1583264"/>
                <a:gd name="connsiteY11" fmla="*/ 132712 h 1268643"/>
                <a:gd name="connsiteX12" fmla="*/ 1389745 w 1583264"/>
                <a:gd name="connsiteY12" fmla="*/ 4375 h 1268643"/>
                <a:gd name="connsiteX13" fmla="*/ 1536859 w 1583264"/>
                <a:gd name="connsiteY13" fmla="*/ 0 h 12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83264" h="1268643">
                  <a:moveTo>
                    <a:pt x="1536859" y="0"/>
                  </a:moveTo>
                  <a:lnTo>
                    <a:pt x="1583264" y="1358"/>
                  </a:lnTo>
                  <a:lnTo>
                    <a:pt x="1522505" y="150088"/>
                  </a:lnTo>
                  <a:cubicBezTo>
                    <a:pt x="1516206" y="164208"/>
                    <a:pt x="1509411" y="178174"/>
                    <a:pt x="1502780" y="192444"/>
                  </a:cubicBezTo>
                  <a:cubicBezTo>
                    <a:pt x="1496232" y="206712"/>
                    <a:pt x="1489685" y="221287"/>
                    <a:pt x="1482558" y="235555"/>
                  </a:cubicBezTo>
                  <a:cubicBezTo>
                    <a:pt x="1467474" y="266222"/>
                    <a:pt x="1451563" y="296581"/>
                    <a:pt x="1435152" y="327095"/>
                  </a:cubicBezTo>
                  <a:cubicBezTo>
                    <a:pt x="1036684" y="1057133"/>
                    <a:pt x="539756" y="1393384"/>
                    <a:pt x="119654" y="1226701"/>
                  </a:cubicBezTo>
                  <a:lnTo>
                    <a:pt x="118435" y="1227474"/>
                  </a:lnTo>
                  <a:lnTo>
                    <a:pt x="102078" y="1209434"/>
                  </a:lnTo>
                  <a:cubicBezTo>
                    <a:pt x="54048" y="1148786"/>
                    <a:pt x="19631" y="1080027"/>
                    <a:pt x="0" y="1003639"/>
                  </a:cubicBezTo>
                  <a:cubicBezTo>
                    <a:pt x="76620" y="1035002"/>
                    <a:pt x="155628" y="1050349"/>
                    <a:pt x="235832" y="1050349"/>
                  </a:cubicBezTo>
                  <a:cubicBezTo>
                    <a:pt x="605633" y="1050349"/>
                    <a:pt x="1001572" y="724648"/>
                    <a:pt x="1324776" y="132712"/>
                  </a:cubicBezTo>
                  <a:cubicBezTo>
                    <a:pt x="1347925" y="90377"/>
                    <a:pt x="1369583" y="47450"/>
                    <a:pt x="1389745" y="4375"/>
                  </a:cubicBezTo>
                  <a:cubicBezTo>
                    <a:pt x="1439331" y="1558"/>
                    <a:pt x="1488318" y="0"/>
                    <a:pt x="1536859" y="0"/>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sp>
          <p:nvSpPr>
            <p:cNvPr id="106" name="Freeform: Shape 105">
              <a:extLst>
                <a:ext uri="{FF2B5EF4-FFF2-40B4-BE49-F238E27FC236}">
                  <a16:creationId xmlns:a16="http://schemas.microsoft.com/office/drawing/2014/main" id="{4D43ACC8-18AF-89CC-F3AE-E499D549F772}"/>
                </a:ext>
              </a:extLst>
            </p:cNvPr>
            <p:cNvSpPr/>
            <p:nvPr/>
          </p:nvSpPr>
          <p:spPr>
            <a:xfrm>
              <a:off x="2918790" y="3079912"/>
              <a:ext cx="1544861" cy="1161805"/>
            </a:xfrm>
            <a:custGeom>
              <a:avLst/>
              <a:gdLst>
                <a:gd name="connsiteX0" fmla="*/ 0 w 1544861"/>
                <a:gd name="connsiteY0" fmla="*/ 0 h 1161805"/>
                <a:gd name="connsiteX1" fmla="*/ 85640 w 1544861"/>
                <a:gd name="connsiteY1" fmla="*/ 6300 h 1161805"/>
                <a:gd name="connsiteX2" fmla="*/ 132578 w 1544861"/>
                <a:gd name="connsiteY2" fmla="*/ 12066 h 1161805"/>
                <a:gd name="connsiteX3" fmla="*/ 179677 w 1544861"/>
                <a:gd name="connsiteY3" fmla="*/ 18089 h 1161805"/>
                <a:gd name="connsiteX4" fmla="*/ 281561 w 1544861"/>
                <a:gd name="connsiteY4" fmla="*/ 34781 h 1161805"/>
                <a:gd name="connsiteX5" fmla="*/ 1182344 w 1544861"/>
                <a:gd name="connsiteY5" fmla="*/ 374063 h 1161805"/>
                <a:gd name="connsiteX6" fmla="*/ 1221912 w 1544861"/>
                <a:gd name="connsiteY6" fmla="*/ 402546 h 1161805"/>
                <a:gd name="connsiteX7" fmla="*/ 1263243 w 1544861"/>
                <a:gd name="connsiteY7" fmla="*/ 435502 h 1161805"/>
                <a:gd name="connsiteX8" fmla="*/ 1303773 w 1544861"/>
                <a:gd name="connsiteY8" fmla="*/ 471125 h 1161805"/>
                <a:gd name="connsiteX9" fmla="*/ 1538620 w 1544861"/>
                <a:gd name="connsiteY9" fmla="*/ 884321 h 1161805"/>
                <a:gd name="connsiteX10" fmla="*/ 1542304 w 1544861"/>
                <a:gd name="connsiteY10" fmla="*/ 1024923 h 1161805"/>
                <a:gd name="connsiteX11" fmla="*/ 1537339 w 1544861"/>
                <a:gd name="connsiteY11" fmla="*/ 1064418 h 1161805"/>
                <a:gd name="connsiteX12" fmla="*/ 1536538 w 1544861"/>
                <a:gd name="connsiteY12" fmla="*/ 1070700 h 1161805"/>
                <a:gd name="connsiteX13" fmla="*/ 1535887 w 1544861"/>
                <a:gd name="connsiteY13" fmla="*/ 1074998 h 1161805"/>
                <a:gd name="connsiteX14" fmla="*/ 1432001 w 1544861"/>
                <a:gd name="connsiteY14" fmla="*/ 1161805 h 1161805"/>
                <a:gd name="connsiteX15" fmla="*/ 1428960 w 1544861"/>
                <a:gd name="connsiteY15" fmla="*/ 1040557 h 1161805"/>
                <a:gd name="connsiteX16" fmla="*/ 1412641 w 1544861"/>
                <a:gd name="connsiteY16" fmla="*/ 956304 h 1161805"/>
                <a:gd name="connsiteX17" fmla="*/ 1394016 w 1544861"/>
                <a:gd name="connsiteY17" fmla="*/ 897165 h 1161805"/>
                <a:gd name="connsiteX18" fmla="*/ 1184448 w 1544861"/>
                <a:gd name="connsiteY18" fmla="*/ 596475 h 1161805"/>
                <a:gd name="connsiteX19" fmla="*/ 1097876 w 1544861"/>
                <a:gd name="connsiteY19" fmla="*/ 524238 h 1161805"/>
                <a:gd name="connsiteX20" fmla="*/ 1061181 w 1544861"/>
                <a:gd name="connsiteY20" fmla="*/ 497638 h 1161805"/>
                <a:gd name="connsiteX21" fmla="*/ 1025961 w 1544861"/>
                <a:gd name="connsiteY21" fmla="*/ 474146 h 1161805"/>
                <a:gd name="connsiteX22" fmla="*/ 194515 w 1544861"/>
                <a:gd name="connsiteY22" fmla="*/ 170620 h 1161805"/>
                <a:gd name="connsiteX23" fmla="*/ 52160 w 1544861"/>
                <a:gd name="connsiteY23" fmla="*/ 148476 h 116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44861" h="1161805">
                  <a:moveTo>
                    <a:pt x="0" y="0"/>
                  </a:moveTo>
                  <a:lnTo>
                    <a:pt x="85640" y="6300"/>
                  </a:lnTo>
                  <a:cubicBezTo>
                    <a:pt x="101180" y="7936"/>
                    <a:pt x="116879" y="10172"/>
                    <a:pt x="132578" y="12066"/>
                  </a:cubicBezTo>
                  <a:cubicBezTo>
                    <a:pt x="148117" y="13959"/>
                    <a:pt x="163816" y="15938"/>
                    <a:pt x="179677" y="18089"/>
                  </a:cubicBezTo>
                  <a:cubicBezTo>
                    <a:pt x="213638" y="22994"/>
                    <a:pt x="247600" y="28501"/>
                    <a:pt x="281561" y="34781"/>
                  </a:cubicBezTo>
                  <a:cubicBezTo>
                    <a:pt x="657542" y="105254"/>
                    <a:pt x="965118" y="221675"/>
                    <a:pt x="1182344" y="374063"/>
                  </a:cubicBezTo>
                  <a:cubicBezTo>
                    <a:pt x="1195801" y="383358"/>
                    <a:pt x="1209258" y="392995"/>
                    <a:pt x="1221912" y="402546"/>
                  </a:cubicBezTo>
                  <a:cubicBezTo>
                    <a:pt x="1236169" y="413301"/>
                    <a:pt x="1249786" y="424229"/>
                    <a:pt x="1263243" y="435502"/>
                  </a:cubicBezTo>
                  <a:cubicBezTo>
                    <a:pt x="1277181" y="447291"/>
                    <a:pt x="1290957" y="458993"/>
                    <a:pt x="1303773" y="471125"/>
                  </a:cubicBezTo>
                  <a:cubicBezTo>
                    <a:pt x="1437536" y="595204"/>
                    <a:pt x="1516834" y="735547"/>
                    <a:pt x="1538620" y="884321"/>
                  </a:cubicBezTo>
                  <a:cubicBezTo>
                    <a:pt x="1545509" y="930702"/>
                    <a:pt x="1546631" y="977512"/>
                    <a:pt x="1542304" y="1024923"/>
                  </a:cubicBezTo>
                  <a:cubicBezTo>
                    <a:pt x="1540862" y="1038087"/>
                    <a:pt x="1539261" y="1051252"/>
                    <a:pt x="1537339" y="1064418"/>
                  </a:cubicBezTo>
                  <a:cubicBezTo>
                    <a:pt x="1537019" y="1066569"/>
                    <a:pt x="1536698" y="1068548"/>
                    <a:pt x="1536538" y="1070700"/>
                  </a:cubicBezTo>
                  <a:lnTo>
                    <a:pt x="1535887" y="1074998"/>
                  </a:lnTo>
                  <a:lnTo>
                    <a:pt x="1432001" y="1161805"/>
                  </a:lnTo>
                  <a:cubicBezTo>
                    <a:pt x="1434861" y="1121030"/>
                    <a:pt x="1433846" y="1080388"/>
                    <a:pt x="1428960" y="1040557"/>
                  </a:cubicBezTo>
                  <a:cubicBezTo>
                    <a:pt x="1425363" y="1011933"/>
                    <a:pt x="1420017" y="984118"/>
                    <a:pt x="1412641" y="956304"/>
                  </a:cubicBezTo>
                  <a:cubicBezTo>
                    <a:pt x="1407292" y="936457"/>
                    <a:pt x="1401392" y="916743"/>
                    <a:pt x="1394016" y="897165"/>
                  </a:cubicBezTo>
                  <a:cubicBezTo>
                    <a:pt x="1353910" y="789688"/>
                    <a:pt x="1283747" y="688559"/>
                    <a:pt x="1184448" y="596475"/>
                  </a:cubicBezTo>
                  <a:cubicBezTo>
                    <a:pt x="1157619" y="571360"/>
                    <a:pt x="1128761" y="547462"/>
                    <a:pt x="1097876" y="524238"/>
                  </a:cubicBezTo>
                  <a:cubicBezTo>
                    <a:pt x="1086167" y="515058"/>
                    <a:pt x="1073627" y="506281"/>
                    <a:pt x="1061181" y="497638"/>
                  </a:cubicBezTo>
                  <a:cubicBezTo>
                    <a:pt x="1049654" y="489808"/>
                    <a:pt x="1037945" y="481841"/>
                    <a:pt x="1025961" y="474146"/>
                  </a:cubicBezTo>
                  <a:cubicBezTo>
                    <a:pt x="817408" y="338180"/>
                    <a:pt x="534543" y="234484"/>
                    <a:pt x="194515" y="170620"/>
                  </a:cubicBezTo>
                  <a:cubicBezTo>
                    <a:pt x="147033" y="161708"/>
                    <a:pt x="99367" y="154282"/>
                    <a:pt x="52160" y="148476"/>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lang="en-US" sz="1349" kern="0">
                <a:solidFill>
                  <a:prstClr val="white"/>
                </a:solidFill>
                <a:latin typeface="Calibri" panose="020F0502020204030204"/>
              </a:endParaRPr>
            </a:p>
          </p:txBody>
        </p:sp>
      </p:grpSp>
      <p:pic>
        <p:nvPicPr>
          <p:cNvPr id="107" name="Graphic 106" descr="Users">
            <a:extLst>
              <a:ext uri="{FF2B5EF4-FFF2-40B4-BE49-F238E27FC236}">
                <a16:creationId xmlns:a16="http://schemas.microsoft.com/office/drawing/2014/main" id="{A67F53FE-A3BB-564B-9145-5AB7EA6E9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694" y="2547522"/>
            <a:ext cx="543112" cy="543112"/>
          </a:xfrm>
          <a:prstGeom prst="rect">
            <a:avLst/>
          </a:prstGeom>
        </p:spPr>
      </p:pic>
      <p:pic>
        <p:nvPicPr>
          <p:cNvPr id="108" name="Graphic 107" descr="Puzzle">
            <a:extLst>
              <a:ext uri="{FF2B5EF4-FFF2-40B4-BE49-F238E27FC236}">
                <a16:creationId xmlns:a16="http://schemas.microsoft.com/office/drawing/2014/main" id="{148F91C2-8CB9-976B-D964-9E8D4A2F7A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4104" y="3701378"/>
            <a:ext cx="543112" cy="543112"/>
          </a:xfrm>
          <a:prstGeom prst="rect">
            <a:avLst/>
          </a:prstGeom>
        </p:spPr>
      </p:pic>
      <p:pic>
        <p:nvPicPr>
          <p:cNvPr id="109" name="Graphic 108" descr="Lightbulb">
            <a:extLst>
              <a:ext uri="{FF2B5EF4-FFF2-40B4-BE49-F238E27FC236}">
                <a16:creationId xmlns:a16="http://schemas.microsoft.com/office/drawing/2014/main" id="{87BFE887-754E-F131-2062-EC10F1FD68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9108" y="3619500"/>
            <a:ext cx="543112" cy="543112"/>
          </a:xfrm>
          <a:prstGeom prst="rect">
            <a:avLst/>
          </a:prstGeom>
        </p:spPr>
      </p:pic>
      <p:pic>
        <p:nvPicPr>
          <p:cNvPr id="110" name="Graphic 109" descr="Rocket">
            <a:extLst>
              <a:ext uri="{FF2B5EF4-FFF2-40B4-BE49-F238E27FC236}">
                <a16:creationId xmlns:a16="http://schemas.microsoft.com/office/drawing/2014/main" id="{7B899B09-7E87-6197-6A7C-CE2719F86A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14785" y="2538628"/>
            <a:ext cx="543112" cy="543112"/>
          </a:xfrm>
          <a:prstGeom prst="rect">
            <a:avLst/>
          </a:prstGeom>
        </p:spPr>
      </p:pic>
      <p:grpSp>
        <p:nvGrpSpPr>
          <p:cNvPr id="111" name="Group 110">
            <a:extLst>
              <a:ext uri="{FF2B5EF4-FFF2-40B4-BE49-F238E27FC236}">
                <a16:creationId xmlns:a16="http://schemas.microsoft.com/office/drawing/2014/main" id="{E7267BB4-3771-4B0D-1DDA-A8B7A6B8DFF2}"/>
              </a:ext>
            </a:extLst>
          </p:cNvPr>
          <p:cNvGrpSpPr/>
          <p:nvPr/>
        </p:nvGrpSpPr>
        <p:grpSpPr>
          <a:xfrm>
            <a:off x="6163331" y="4233945"/>
            <a:ext cx="2201669" cy="1359322"/>
            <a:chOff x="8921977" y="3919498"/>
            <a:chExt cx="2937088" cy="1813372"/>
          </a:xfrm>
        </p:grpSpPr>
        <p:sp>
          <p:nvSpPr>
            <p:cNvPr id="112" name="TextBox 111">
              <a:extLst>
                <a:ext uri="{FF2B5EF4-FFF2-40B4-BE49-F238E27FC236}">
                  <a16:creationId xmlns:a16="http://schemas.microsoft.com/office/drawing/2014/main" id="{34F83787-5AE6-643A-F7E6-03BE7145835C}"/>
                </a:ext>
              </a:extLst>
            </p:cNvPr>
            <p:cNvSpPr txBox="1"/>
            <p:nvPr/>
          </p:nvSpPr>
          <p:spPr>
            <a:xfrm>
              <a:off x="8921977" y="3919498"/>
              <a:ext cx="2937088" cy="615553"/>
            </a:xfrm>
            <a:prstGeom prst="rect">
              <a:avLst/>
            </a:prstGeom>
            <a:noFill/>
          </p:spPr>
          <p:txBody>
            <a:bodyPr wrap="square" lIns="0" rIns="0" rtlCol="0" anchor="b">
              <a:spAutoFit/>
            </a:bodyPr>
            <a:lstStyle/>
            <a:p>
              <a:pPr defTabSz="913943"/>
              <a:r>
                <a:rPr lang="en-US" sz="2399" b="1" cap="all">
                  <a:solidFill>
                    <a:srgbClr val="A2B969"/>
                  </a:solidFill>
                  <a:latin typeface="Calibri" panose="020F0502020204030204"/>
                </a:rPr>
                <a:t>Lorem Ipsum</a:t>
              </a:r>
            </a:p>
          </p:txBody>
        </p:sp>
        <p:sp>
          <p:nvSpPr>
            <p:cNvPr id="113" name="TextBox 112">
              <a:extLst>
                <a:ext uri="{FF2B5EF4-FFF2-40B4-BE49-F238E27FC236}">
                  <a16:creationId xmlns:a16="http://schemas.microsoft.com/office/drawing/2014/main" id="{69E8A4CF-E70F-77D7-D7E4-922429A6678A}"/>
                </a:ext>
              </a:extLst>
            </p:cNvPr>
            <p:cNvSpPr txBox="1"/>
            <p:nvPr/>
          </p:nvSpPr>
          <p:spPr>
            <a:xfrm>
              <a:off x="8929772" y="4532543"/>
              <a:ext cx="2929293" cy="1200327"/>
            </a:xfrm>
            <a:prstGeom prst="rect">
              <a:avLst/>
            </a:prstGeom>
            <a:noFill/>
          </p:spPr>
          <p:txBody>
            <a:bodyPr wrap="square" lIns="0" rIns="0" rtlCol="0" anchor="t">
              <a:spAutoFit/>
            </a:bodyPr>
            <a:lstStyle/>
            <a:p>
              <a:pPr algn="just" defTabSz="913943"/>
              <a:r>
                <a:rPr lang="en-US" sz="1049">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114" name="Group 113">
            <a:extLst>
              <a:ext uri="{FF2B5EF4-FFF2-40B4-BE49-F238E27FC236}">
                <a16:creationId xmlns:a16="http://schemas.microsoft.com/office/drawing/2014/main" id="{F0DAD91D-F351-912F-8C6E-FB9B6BD7B041}"/>
              </a:ext>
            </a:extLst>
          </p:cNvPr>
          <p:cNvGrpSpPr/>
          <p:nvPr/>
        </p:nvGrpSpPr>
        <p:grpSpPr>
          <a:xfrm>
            <a:off x="354581" y="4627889"/>
            <a:ext cx="4426704" cy="1287673"/>
            <a:chOff x="340730" y="4132367"/>
            <a:chExt cx="5905346" cy="1717792"/>
          </a:xfrm>
        </p:grpSpPr>
        <p:sp>
          <p:nvSpPr>
            <p:cNvPr id="115" name="TextBox 114">
              <a:extLst>
                <a:ext uri="{FF2B5EF4-FFF2-40B4-BE49-F238E27FC236}">
                  <a16:creationId xmlns:a16="http://schemas.microsoft.com/office/drawing/2014/main" id="{D8A3A5DC-39DF-A90C-14CE-8911D114D282}"/>
                </a:ext>
              </a:extLst>
            </p:cNvPr>
            <p:cNvSpPr txBox="1"/>
            <p:nvPr/>
          </p:nvSpPr>
          <p:spPr>
            <a:xfrm>
              <a:off x="794432" y="4132367"/>
              <a:ext cx="5451644" cy="1107996"/>
            </a:xfrm>
            <a:prstGeom prst="rect">
              <a:avLst/>
            </a:prstGeom>
            <a:noFill/>
          </p:spPr>
          <p:txBody>
            <a:bodyPr wrap="square" lIns="0" rIns="0" rtlCol="0" anchor="b">
              <a:spAutoFit/>
            </a:bodyPr>
            <a:lstStyle/>
            <a:p>
              <a:pPr defTabSz="913943">
                <a:spcAft>
                  <a:spcPts val="300"/>
                </a:spcAft>
                <a:buClr>
                  <a:srgbClr val="000000"/>
                </a:buClr>
                <a:buSzPct val="100000"/>
                <a:defRPr/>
              </a:pPr>
              <a:r>
                <a:rPr lang="en-GB" sz="2399" b="1" kern="0">
                  <a:solidFill>
                    <a:srgbClr val="F7931F"/>
                  </a:solidFill>
                  <a:latin typeface="EYInterstate Light"/>
                  <a:cs typeface="Arial"/>
                </a:rPr>
                <a:t>Knowledge Transfer &amp; Documentation Review</a:t>
              </a:r>
            </a:p>
          </p:txBody>
        </p:sp>
        <p:sp>
          <p:nvSpPr>
            <p:cNvPr id="116" name="TextBox 115">
              <a:extLst>
                <a:ext uri="{FF2B5EF4-FFF2-40B4-BE49-F238E27FC236}">
                  <a16:creationId xmlns:a16="http://schemas.microsoft.com/office/drawing/2014/main" id="{77A8A247-F8FF-ECDA-7D35-850D04C19869}"/>
                </a:ext>
              </a:extLst>
            </p:cNvPr>
            <p:cNvSpPr txBox="1"/>
            <p:nvPr/>
          </p:nvSpPr>
          <p:spPr>
            <a:xfrm>
              <a:off x="340730" y="5111495"/>
              <a:ext cx="4981889" cy="738664"/>
            </a:xfrm>
            <a:prstGeom prst="rect">
              <a:avLst/>
            </a:prstGeom>
            <a:noFill/>
          </p:spPr>
          <p:txBody>
            <a:bodyPr wrap="square" lIns="0" rIns="0" rtlCol="0" anchor="t">
              <a:spAutoFit/>
            </a:bodyPr>
            <a:lstStyle/>
            <a:p>
              <a:pPr marL="171364" indent="-171364" algn="just" defTabSz="913943">
                <a:buFont typeface="Arial" panose="020B0604020202020204" pitchFamily="34" charset="0"/>
                <a:buChar char="•"/>
              </a:pPr>
              <a:r>
                <a:rPr lang="en-GB" sz="999">
                  <a:solidFill>
                    <a:prstClr val="white"/>
                  </a:solidFill>
                  <a:latin typeface="Calibri" panose="020F0502020204030204"/>
                </a:rPr>
                <a:t>Conduct discovery workshops with NWC &amp; vendors</a:t>
              </a:r>
            </a:p>
            <a:p>
              <a:pPr marL="171364" indent="-171364" algn="just" defTabSz="913943">
                <a:buFont typeface="Arial" panose="020B0604020202020204" pitchFamily="34" charset="0"/>
                <a:buChar char="•"/>
              </a:pPr>
              <a:r>
                <a:rPr lang="en-GB" sz="999">
                  <a:solidFill>
                    <a:prstClr val="white"/>
                  </a:solidFill>
                  <a:latin typeface="Calibri" panose="020F0502020204030204"/>
                </a:rPr>
                <a:t>Review/validate artefacts (HLDs, LLDs, configs, access lists)</a:t>
              </a:r>
            </a:p>
            <a:p>
              <a:pPr marL="171364" indent="-171364" algn="just" defTabSz="913943">
                <a:buFont typeface="Arial" panose="020B0604020202020204" pitchFamily="34" charset="0"/>
                <a:buChar char="•"/>
              </a:pPr>
              <a:r>
                <a:rPr lang="en-GB" sz="999">
                  <a:solidFill>
                    <a:prstClr val="white"/>
                  </a:solidFill>
                  <a:latin typeface="Calibri" panose="020F0502020204030204"/>
                </a:rPr>
                <a:t>Shadowing &amp; reverse-shadowing for operational continuity</a:t>
              </a:r>
              <a:endParaRPr lang="en-US" sz="999">
                <a:solidFill>
                  <a:prstClr val="white"/>
                </a:solidFill>
                <a:latin typeface="Calibri" panose="020F0502020204030204"/>
              </a:endParaRPr>
            </a:p>
          </p:txBody>
        </p:sp>
      </p:grpSp>
      <p:grpSp>
        <p:nvGrpSpPr>
          <p:cNvPr id="117" name="Group 116">
            <a:extLst>
              <a:ext uri="{FF2B5EF4-FFF2-40B4-BE49-F238E27FC236}">
                <a16:creationId xmlns:a16="http://schemas.microsoft.com/office/drawing/2014/main" id="{B2B392D3-275B-F740-B00A-8ADF30191747}"/>
              </a:ext>
            </a:extLst>
          </p:cNvPr>
          <p:cNvGrpSpPr/>
          <p:nvPr/>
        </p:nvGrpSpPr>
        <p:grpSpPr>
          <a:xfrm>
            <a:off x="5597216" y="1238780"/>
            <a:ext cx="2201669" cy="1359322"/>
            <a:chOff x="8921977" y="3919498"/>
            <a:chExt cx="2937088" cy="1813372"/>
          </a:xfrm>
        </p:grpSpPr>
        <p:sp>
          <p:nvSpPr>
            <p:cNvPr id="118" name="TextBox 117">
              <a:extLst>
                <a:ext uri="{FF2B5EF4-FFF2-40B4-BE49-F238E27FC236}">
                  <a16:creationId xmlns:a16="http://schemas.microsoft.com/office/drawing/2014/main" id="{5E3E1C82-3152-AF72-07B7-3026D3F8BAB9}"/>
                </a:ext>
              </a:extLst>
            </p:cNvPr>
            <p:cNvSpPr txBox="1"/>
            <p:nvPr/>
          </p:nvSpPr>
          <p:spPr>
            <a:xfrm>
              <a:off x="8921977" y="3919498"/>
              <a:ext cx="2937088" cy="615553"/>
            </a:xfrm>
            <a:prstGeom prst="rect">
              <a:avLst/>
            </a:prstGeom>
            <a:noFill/>
          </p:spPr>
          <p:txBody>
            <a:bodyPr wrap="square" lIns="0" rIns="0" rtlCol="0" anchor="b">
              <a:spAutoFit/>
            </a:bodyPr>
            <a:lstStyle/>
            <a:p>
              <a:pPr defTabSz="913943"/>
              <a:r>
                <a:rPr lang="en-US" sz="2399" b="1" cap="all">
                  <a:solidFill>
                    <a:srgbClr val="FFCC4C"/>
                  </a:solidFill>
                  <a:latin typeface="Calibri" panose="020F0502020204030204"/>
                </a:rPr>
                <a:t>Lorem Ipsum</a:t>
              </a:r>
            </a:p>
          </p:txBody>
        </p:sp>
        <p:sp>
          <p:nvSpPr>
            <p:cNvPr id="119" name="TextBox 118">
              <a:extLst>
                <a:ext uri="{FF2B5EF4-FFF2-40B4-BE49-F238E27FC236}">
                  <a16:creationId xmlns:a16="http://schemas.microsoft.com/office/drawing/2014/main" id="{CDD9815F-3931-3785-5FD4-4FF7EB775DED}"/>
                </a:ext>
              </a:extLst>
            </p:cNvPr>
            <p:cNvSpPr txBox="1"/>
            <p:nvPr/>
          </p:nvSpPr>
          <p:spPr>
            <a:xfrm>
              <a:off x="8929772" y="4532543"/>
              <a:ext cx="2929293" cy="1200327"/>
            </a:xfrm>
            <a:prstGeom prst="rect">
              <a:avLst/>
            </a:prstGeom>
            <a:noFill/>
          </p:spPr>
          <p:txBody>
            <a:bodyPr wrap="square" lIns="0" rIns="0" rtlCol="0" anchor="t">
              <a:spAutoFit/>
            </a:bodyPr>
            <a:lstStyle/>
            <a:p>
              <a:pPr algn="just" defTabSz="913943"/>
              <a:r>
                <a:rPr lang="en-US" sz="1049">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120" name="Group 119">
            <a:extLst>
              <a:ext uri="{FF2B5EF4-FFF2-40B4-BE49-F238E27FC236}">
                <a16:creationId xmlns:a16="http://schemas.microsoft.com/office/drawing/2014/main" id="{0CBCC62B-5C15-C690-2849-12871F62563F}"/>
              </a:ext>
            </a:extLst>
          </p:cNvPr>
          <p:cNvGrpSpPr/>
          <p:nvPr/>
        </p:nvGrpSpPr>
        <p:grpSpPr>
          <a:xfrm>
            <a:off x="345429" y="1244580"/>
            <a:ext cx="2201669" cy="1359322"/>
            <a:chOff x="332936" y="4498450"/>
            <a:chExt cx="2937088" cy="1813372"/>
          </a:xfrm>
        </p:grpSpPr>
        <p:sp>
          <p:nvSpPr>
            <p:cNvPr id="122" name="TextBox 121">
              <a:extLst>
                <a:ext uri="{FF2B5EF4-FFF2-40B4-BE49-F238E27FC236}">
                  <a16:creationId xmlns:a16="http://schemas.microsoft.com/office/drawing/2014/main" id="{90098118-4A00-7338-79E6-9DD5423E258E}"/>
                </a:ext>
              </a:extLst>
            </p:cNvPr>
            <p:cNvSpPr txBox="1"/>
            <p:nvPr/>
          </p:nvSpPr>
          <p:spPr>
            <a:xfrm>
              <a:off x="332936" y="4498450"/>
              <a:ext cx="2937088" cy="615553"/>
            </a:xfrm>
            <a:prstGeom prst="rect">
              <a:avLst/>
            </a:prstGeom>
            <a:noFill/>
          </p:spPr>
          <p:txBody>
            <a:bodyPr wrap="square" lIns="0" rIns="0" rtlCol="0" anchor="b">
              <a:spAutoFit/>
            </a:bodyPr>
            <a:lstStyle/>
            <a:p>
              <a:pPr algn="r" defTabSz="913943"/>
              <a:r>
                <a:rPr lang="en-US" sz="2399" b="1" cap="all">
                  <a:solidFill>
                    <a:srgbClr val="4CC1EF"/>
                  </a:solidFill>
                  <a:latin typeface="Calibri" panose="020F0502020204030204"/>
                </a:rPr>
                <a:t>Lorem Ipsum</a:t>
              </a:r>
            </a:p>
          </p:txBody>
        </p:sp>
        <p:sp>
          <p:nvSpPr>
            <p:cNvPr id="123" name="TextBox 122">
              <a:extLst>
                <a:ext uri="{FF2B5EF4-FFF2-40B4-BE49-F238E27FC236}">
                  <a16:creationId xmlns:a16="http://schemas.microsoft.com/office/drawing/2014/main" id="{57757F2A-DCF9-FB17-1611-2B2D86E17F8C}"/>
                </a:ext>
              </a:extLst>
            </p:cNvPr>
            <p:cNvSpPr txBox="1"/>
            <p:nvPr/>
          </p:nvSpPr>
          <p:spPr>
            <a:xfrm>
              <a:off x="340731" y="5111495"/>
              <a:ext cx="2929293" cy="1200327"/>
            </a:xfrm>
            <a:prstGeom prst="rect">
              <a:avLst/>
            </a:prstGeom>
            <a:noFill/>
          </p:spPr>
          <p:txBody>
            <a:bodyPr wrap="square" lIns="0" rIns="0" rtlCol="0" anchor="t">
              <a:spAutoFit/>
            </a:bodyPr>
            <a:lstStyle/>
            <a:p>
              <a:pPr algn="just" defTabSz="913943"/>
              <a:r>
                <a:rPr lang="en-US" sz="1049">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pic>
        <p:nvPicPr>
          <p:cNvPr id="124" name="Graphic 123" descr="Users">
            <a:extLst>
              <a:ext uri="{FF2B5EF4-FFF2-40B4-BE49-F238E27FC236}">
                <a16:creationId xmlns:a16="http://schemas.microsoft.com/office/drawing/2014/main" id="{16314816-C126-652E-27A9-F6FAB6FC67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0459" y="1284535"/>
            <a:ext cx="435402" cy="435402"/>
          </a:xfrm>
          <a:prstGeom prst="rect">
            <a:avLst/>
          </a:prstGeom>
        </p:spPr>
      </p:pic>
      <p:pic>
        <p:nvPicPr>
          <p:cNvPr id="125" name="Graphic 124" descr="Puzzle">
            <a:extLst>
              <a:ext uri="{FF2B5EF4-FFF2-40B4-BE49-F238E27FC236}">
                <a16:creationId xmlns:a16="http://schemas.microsoft.com/office/drawing/2014/main" id="{70C6DB42-07F2-5C97-EF49-55CF29B444B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35313" y="4246823"/>
            <a:ext cx="435402" cy="435402"/>
          </a:xfrm>
          <a:prstGeom prst="rect">
            <a:avLst/>
          </a:prstGeom>
        </p:spPr>
      </p:pic>
      <p:pic>
        <p:nvPicPr>
          <p:cNvPr id="126" name="Graphic 125" descr="Lightbulb">
            <a:extLst>
              <a:ext uri="{FF2B5EF4-FFF2-40B4-BE49-F238E27FC236}">
                <a16:creationId xmlns:a16="http://schemas.microsoft.com/office/drawing/2014/main" id="{DDE0D735-6CB6-2204-160D-368793D25CD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9277" y="4805367"/>
            <a:ext cx="435402" cy="435402"/>
          </a:xfrm>
          <a:prstGeom prst="rect">
            <a:avLst/>
          </a:prstGeom>
        </p:spPr>
      </p:pic>
      <p:pic>
        <p:nvPicPr>
          <p:cNvPr id="127" name="Graphic 126" descr="Rocket">
            <a:extLst>
              <a:ext uri="{FF2B5EF4-FFF2-40B4-BE49-F238E27FC236}">
                <a16:creationId xmlns:a16="http://schemas.microsoft.com/office/drawing/2014/main" id="{9804EA9E-0732-A77B-5953-B8C867C36E1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8454" y="1278081"/>
            <a:ext cx="435402" cy="435402"/>
          </a:xfrm>
          <a:prstGeom prst="rect">
            <a:avLst/>
          </a:prstGeom>
        </p:spPr>
      </p:pic>
      <p:grpSp>
        <p:nvGrpSpPr>
          <p:cNvPr id="3" name="Group 2">
            <a:extLst>
              <a:ext uri="{FF2B5EF4-FFF2-40B4-BE49-F238E27FC236}">
                <a16:creationId xmlns:a16="http://schemas.microsoft.com/office/drawing/2014/main" id="{78D15738-1461-037E-15EA-6A897B712B7D}"/>
              </a:ext>
            </a:extLst>
          </p:cNvPr>
          <p:cNvGrpSpPr/>
          <p:nvPr/>
        </p:nvGrpSpPr>
        <p:grpSpPr>
          <a:xfrm>
            <a:off x="4846876" y="5070281"/>
            <a:ext cx="6795191" cy="1194830"/>
            <a:chOff x="3244851" y="1906877"/>
            <a:chExt cx="7201476" cy="1120776"/>
          </a:xfrm>
        </p:grpSpPr>
        <p:sp>
          <p:nvSpPr>
            <p:cNvPr id="4" name="Rectangle 3">
              <a:extLst>
                <a:ext uri="{FF2B5EF4-FFF2-40B4-BE49-F238E27FC236}">
                  <a16:creationId xmlns:a16="http://schemas.microsoft.com/office/drawing/2014/main" id="{3D48E690-D37C-00FA-9525-A0BB80CA8EC5}"/>
                </a:ext>
              </a:extLst>
            </p:cNvPr>
            <p:cNvSpPr/>
            <p:nvPr/>
          </p:nvSpPr>
          <p:spPr>
            <a:xfrm>
              <a:off x="3764279" y="2131984"/>
              <a:ext cx="6682048" cy="6629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endParaRPr lang="en-US" sz="1349">
                <a:solidFill>
                  <a:prstClr val="white"/>
                </a:solidFill>
                <a:latin typeface="Calibri" panose="020F0502020204030204"/>
              </a:endParaRPr>
            </a:p>
          </p:txBody>
        </p:sp>
        <p:sp>
          <p:nvSpPr>
            <p:cNvPr id="14" name="Freeform: Shape 13">
              <a:extLst>
                <a:ext uri="{FF2B5EF4-FFF2-40B4-BE49-F238E27FC236}">
                  <a16:creationId xmlns:a16="http://schemas.microsoft.com/office/drawing/2014/main" id="{2A4C0EEA-AFFE-AE7A-C9FF-7B69A135FC97}"/>
                </a:ext>
              </a:extLst>
            </p:cNvPr>
            <p:cNvSpPr/>
            <p:nvPr/>
          </p:nvSpPr>
          <p:spPr>
            <a:xfrm>
              <a:off x="3244851" y="1906877"/>
              <a:ext cx="5532438" cy="1120776"/>
            </a:xfrm>
            <a:custGeom>
              <a:avLst/>
              <a:gdLst>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51604 w 5532438"/>
                <a:gd name="connsiteY8" fmla="*/ 731837 h 1120776"/>
                <a:gd name="connsiteX9" fmla="*/ 1146174 w 5532438"/>
                <a:gd name="connsiteY9" fmla="*/ 731837 h 1120776"/>
                <a:gd name="connsiteX10" fmla="*/ 1146174 w 5532438"/>
                <a:gd name="connsiteY10" fmla="*/ 760525 h 1120776"/>
                <a:gd name="connsiteX11" fmla="*/ 785923 w 5532438"/>
                <a:gd name="connsiteY11" fmla="*/ 1120776 h 1120776"/>
                <a:gd name="connsiteX12" fmla="*/ 360251 w 5532438"/>
                <a:gd name="connsiteY12" fmla="*/ 1120776 h 1120776"/>
                <a:gd name="connsiteX13" fmla="*/ 0 w 5532438"/>
                <a:gd name="connsiteY13" fmla="*/ 760525 h 1120776"/>
                <a:gd name="connsiteX14" fmla="*/ 0 w 5532438"/>
                <a:gd name="connsiteY14" fmla="*/ 360251 h 1120776"/>
                <a:gd name="connsiteX15" fmla="*/ 360251 w 5532438"/>
                <a:gd name="connsiteY15" fmla="*/ 0 h 1120776"/>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51604 w 5532438"/>
                <a:gd name="connsiteY8" fmla="*/ 731837 h 1120776"/>
                <a:gd name="connsiteX9" fmla="*/ 1146174 w 5532438"/>
                <a:gd name="connsiteY9" fmla="*/ 760525 h 1120776"/>
                <a:gd name="connsiteX10" fmla="*/ 785923 w 5532438"/>
                <a:gd name="connsiteY10" fmla="*/ 1120776 h 1120776"/>
                <a:gd name="connsiteX11" fmla="*/ 360251 w 5532438"/>
                <a:gd name="connsiteY11" fmla="*/ 1120776 h 1120776"/>
                <a:gd name="connsiteX12" fmla="*/ 0 w 5532438"/>
                <a:gd name="connsiteY12" fmla="*/ 760525 h 1120776"/>
                <a:gd name="connsiteX13" fmla="*/ 0 w 5532438"/>
                <a:gd name="connsiteY13" fmla="*/ 360251 h 1120776"/>
                <a:gd name="connsiteX14" fmla="*/ 360251 w 5532438"/>
                <a:gd name="connsiteY14" fmla="*/ 0 h 1120776"/>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46174 w 5532438"/>
                <a:gd name="connsiteY8" fmla="*/ 760525 h 1120776"/>
                <a:gd name="connsiteX9" fmla="*/ 785923 w 5532438"/>
                <a:gd name="connsiteY9" fmla="*/ 1120776 h 1120776"/>
                <a:gd name="connsiteX10" fmla="*/ 360251 w 5532438"/>
                <a:gd name="connsiteY10" fmla="*/ 1120776 h 1120776"/>
                <a:gd name="connsiteX11" fmla="*/ 0 w 5532438"/>
                <a:gd name="connsiteY11" fmla="*/ 760525 h 1120776"/>
                <a:gd name="connsiteX12" fmla="*/ 0 w 5532438"/>
                <a:gd name="connsiteY12" fmla="*/ 360251 h 1120776"/>
                <a:gd name="connsiteX13" fmla="*/ 360251 w 5532438"/>
                <a:gd name="connsiteY13" fmla="*/ 0 h 112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8" h="1120776">
                  <a:moveTo>
                    <a:pt x="360251" y="0"/>
                  </a:moveTo>
                  <a:lnTo>
                    <a:pt x="384174" y="0"/>
                  </a:lnTo>
                  <a:lnTo>
                    <a:pt x="785923" y="0"/>
                  </a:lnTo>
                  <a:lnTo>
                    <a:pt x="5532438" y="0"/>
                  </a:lnTo>
                  <a:lnTo>
                    <a:pt x="5532438" y="425450"/>
                  </a:lnTo>
                  <a:lnTo>
                    <a:pt x="1719261" y="425450"/>
                  </a:lnTo>
                  <a:lnTo>
                    <a:pt x="1506425" y="425450"/>
                  </a:lnTo>
                  <a:cubicBezTo>
                    <a:pt x="1332334" y="425450"/>
                    <a:pt x="1187085" y="548938"/>
                    <a:pt x="1153493" y="713098"/>
                  </a:cubicBezTo>
                  <a:lnTo>
                    <a:pt x="1146174" y="760525"/>
                  </a:lnTo>
                  <a:cubicBezTo>
                    <a:pt x="1146174" y="959486"/>
                    <a:pt x="984884" y="1120776"/>
                    <a:pt x="785923" y="1120776"/>
                  </a:cubicBezTo>
                  <a:lnTo>
                    <a:pt x="360251" y="1120776"/>
                  </a:lnTo>
                  <a:cubicBezTo>
                    <a:pt x="161290" y="1120776"/>
                    <a:pt x="0" y="959486"/>
                    <a:pt x="0" y="760525"/>
                  </a:cubicBezTo>
                  <a:lnTo>
                    <a:pt x="0" y="360251"/>
                  </a:lnTo>
                  <a:cubicBezTo>
                    <a:pt x="0" y="161290"/>
                    <a:pt x="161290" y="0"/>
                    <a:pt x="36025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endParaRPr lang="en-US" sz="1349">
                <a:solidFill>
                  <a:prstClr val="white"/>
                </a:solidFill>
                <a:latin typeface="Calibri" panose="020F0502020204030204"/>
              </a:endParaRPr>
            </a:p>
          </p:txBody>
        </p:sp>
        <p:sp>
          <p:nvSpPr>
            <p:cNvPr id="16" name="Rectangle 15">
              <a:extLst>
                <a:ext uri="{FF2B5EF4-FFF2-40B4-BE49-F238E27FC236}">
                  <a16:creationId xmlns:a16="http://schemas.microsoft.com/office/drawing/2014/main" id="{00E5C53F-BF42-FC81-908F-982181CF20B4}"/>
                </a:ext>
              </a:extLst>
            </p:cNvPr>
            <p:cNvSpPr/>
            <p:nvPr/>
          </p:nvSpPr>
          <p:spPr>
            <a:xfrm>
              <a:off x="3629025" y="1906877"/>
              <a:ext cx="6817302" cy="425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endParaRPr lang="en-US" sz="1349">
                <a:solidFill>
                  <a:prstClr val="white"/>
                </a:solidFill>
                <a:latin typeface="Calibri" panose="020F0502020204030204"/>
              </a:endParaRPr>
            </a:p>
          </p:txBody>
        </p:sp>
      </p:grpSp>
      <p:sp>
        <p:nvSpPr>
          <p:cNvPr id="26" name="Freeform: Shape 25">
            <a:extLst>
              <a:ext uri="{FF2B5EF4-FFF2-40B4-BE49-F238E27FC236}">
                <a16:creationId xmlns:a16="http://schemas.microsoft.com/office/drawing/2014/main" id="{9F3A9563-5548-F5BF-0179-EDC753B2DA90}"/>
              </a:ext>
            </a:extLst>
          </p:cNvPr>
          <p:cNvSpPr/>
          <p:nvPr/>
        </p:nvSpPr>
        <p:spPr>
          <a:xfrm>
            <a:off x="11453219" y="5070283"/>
            <a:ext cx="392189" cy="944999"/>
          </a:xfrm>
          <a:custGeom>
            <a:avLst/>
            <a:gdLst>
              <a:gd name="connsiteX0" fmla="*/ 192520 w 415637"/>
              <a:gd name="connsiteY0" fmla="*/ 0 h 886429"/>
              <a:gd name="connsiteX1" fmla="*/ 231079 w 415637"/>
              <a:gd name="connsiteY1" fmla="*/ 3887 h 886429"/>
              <a:gd name="connsiteX2" fmla="*/ 415637 w 415637"/>
              <a:gd name="connsiteY2" fmla="*/ 230332 h 886429"/>
              <a:gd name="connsiteX3" fmla="*/ 415637 w 415637"/>
              <a:gd name="connsiteY3" fmla="*/ 656097 h 886429"/>
              <a:gd name="connsiteX4" fmla="*/ 231079 w 415637"/>
              <a:gd name="connsiteY4" fmla="*/ 882542 h 886429"/>
              <a:gd name="connsiteX5" fmla="*/ 192520 w 415637"/>
              <a:gd name="connsiteY5" fmla="*/ 886429 h 886429"/>
              <a:gd name="connsiteX6" fmla="*/ 192520 w 415637"/>
              <a:gd name="connsiteY6" fmla="*/ 650557 h 886429"/>
              <a:gd name="connsiteX7" fmla="*/ 192520 w 415637"/>
              <a:gd name="connsiteY7" fmla="*/ 616489 h 886429"/>
              <a:gd name="connsiteX8" fmla="*/ 37643 w 415637"/>
              <a:gd name="connsiteY8" fmla="*/ 426462 h 886429"/>
              <a:gd name="connsiteX9" fmla="*/ 0 w 415637"/>
              <a:gd name="connsiteY9" fmla="*/ 422667 h 886429"/>
              <a:gd name="connsiteX10" fmla="*/ 0 w 415637"/>
              <a:gd name="connsiteY10" fmla="*/ 223489 h 886429"/>
              <a:gd name="connsiteX11" fmla="*/ 192520 w 415637"/>
              <a:gd name="connsiteY11" fmla="*/ 223489 h 8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5637" h="886429">
                <a:moveTo>
                  <a:pt x="192520" y="0"/>
                </a:moveTo>
                <a:lnTo>
                  <a:pt x="231079" y="3887"/>
                </a:lnTo>
                <a:cubicBezTo>
                  <a:pt x="336406" y="25440"/>
                  <a:pt x="415637" y="118633"/>
                  <a:pt x="415637" y="230332"/>
                </a:cubicBezTo>
                <a:lnTo>
                  <a:pt x="415637" y="656097"/>
                </a:lnTo>
                <a:cubicBezTo>
                  <a:pt x="415637" y="767796"/>
                  <a:pt x="336406" y="860989"/>
                  <a:pt x="231079" y="882542"/>
                </a:cubicBezTo>
                <a:lnTo>
                  <a:pt x="192520" y="886429"/>
                </a:lnTo>
                <a:lnTo>
                  <a:pt x="192520" y="650557"/>
                </a:lnTo>
                <a:lnTo>
                  <a:pt x="192520" y="616489"/>
                </a:lnTo>
                <a:cubicBezTo>
                  <a:pt x="192520" y="522754"/>
                  <a:pt x="126032" y="444549"/>
                  <a:pt x="37643" y="426462"/>
                </a:cubicBezTo>
                <a:lnTo>
                  <a:pt x="0" y="422667"/>
                </a:lnTo>
                <a:lnTo>
                  <a:pt x="0" y="223489"/>
                </a:lnTo>
                <a:lnTo>
                  <a:pt x="192520" y="2234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endParaRPr lang="en-US" sz="1349">
              <a:solidFill>
                <a:prstClr val="white"/>
              </a:solidFill>
              <a:latin typeface="Calibri" panose="020F0502020204030204"/>
            </a:endParaRPr>
          </a:p>
        </p:txBody>
      </p:sp>
      <p:sp>
        <p:nvSpPr>
          <p:cNvPr id="27" name="Rectangle 26">
            <a:extLst>
              <a:ext uri="{FF2B5EF4-FFF2-40B4-BE49-F238E27FC236}">
                <a16:creationId xmlns:a16="http://schemas.microsoft.com/office/drawing/2014/main" id="{9DB681E0-2DF3-42A2-1318-DCCF815F2685}"/>
              </a:ext>
            </a:extLst>
          </p:cNvPr>
          <p:cNvSpPr/>
          <p:nvPr/>
        </p:nvSpPr>
        <p:spPr>
          <a:xfrm>
            <a:off x="6130602" y="5040294"/>
            <a:ext cx="3598792" cy="461425"/>
          </a:xfrm>
          <a:prstGeom prst="rect">
            <a:avLst/>
          </a:prstGeom>
        </p:spPr>
        <p:txBody>
          <a:bodyPr wrap="none" lIns="0" anchor="ctr">
            <a:spAutoFit/>
          </a:bodyPr>
          <a:lstStyle/>
          <a:p>
            <a:pPr defTabSz="913943"/>
            <a:r>
              <a:rPr lang="da-DK" sz="2399" b="1">
                <a:solidFill>
                  <a:prstClr val="black"/>
                </a:solidFill>
                <a:latin typeface="Calibri" panose="020F0502020204030204"/>
              </a:rPr>
              <a:t>Lorem ipsum dolor sit amet</a:t>
            </a:r>
            <a:endParaRPr lang="en-US" sz="2399" b="1">
              <a:solidFill>
                <a:prstClr val="black"/>
              </a:solidFill>
              <a:latin typeface="Calibri" panose="020F0502020204030204"/>
            </a:endParaRPr>
          </a:p>
        </p:txBody>
      </p:sp>
      <p:sp>
        <p:nvSpPr>
          <p:cNvPr id="29" name="Rectangle 28">
            <a:extLst>
              <a:ext uri="{FF2B5EF4-FFF2-40B4-BE49-F238E27FC236}">
                <a16:creationId xmlns:a16="http://schemas.microsoft.com/office/drawing/2014/main" id="{9BEDA2FB-E532-2EE0-7495-C5A0FADC318D}"/>
              </a:ext>
            </a:extLst>
          </p:cNvPr>
          <p:cNvSpPr/>
          <p:nvPr/>
        </p:nvSpPr>
        <p:spPr>
          <a:xfrm>
            <a:off x="6130605" y="5492455"/>
            <a:ext cx="5511464" cy="399902"/>
          </a:xfrm>
          <a:prstGeom prst="rect">
            <a:avLst/>
          </a:prstGeom>
        </p:spPr>
        <p:txBody>
          <a:bodyPr wrap="square" lIns="0">
            <a:spAutoFit/>
          </a:bodyPr>
          <a:lstStyle/>
          <a:p>
            <a:pPr defTabSz="913943"/>
            <a:r>
              <a:rPr lang="en-US" sz="999">
                <a:solidFill>
                  <a:prstClr val="black">
                    <a:lumMod val="75000"/>
                    <a:lumOff val="25000"/>
                  </a:prstClr>
                </a:solidFill>
                <a:latin typeface="Calibri" panose="020F0502020204030204"/>
              </a:rPr>
              <a:t>Lorem ipsum dolor sit </a:t>
            </a:r>
            <a:r>
              <a:rPr lang="en-US" sz="999" err="1">
                <a:solidFill>
                  <a:prstClr val="black">
                    <a:lumMod val="75000"/>
                    <a:lumOff val="25000"/>
                  </a:prstClr>
                </a:solidFill>
                <a:latin typeface="Calibri" panose="020F0502020204030204"/>
              </a:rPr>
              <a:t>amet</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nibh</a:t>
            </a:r>
            <a:r>
              <a:rPr lang="en-US" sz="999">
                <a:solidFill>
                  <a:prstClr val="black">
                    <a:lumMod val="75000"/>
                    <a:lumOff val="25000"/>
                  </a:prstClr>
                </a:solidFill>
                <a:latin typeface="Calibri" panose="020F0502020204030204"/>
              </a:rPr>
              <a:t> est. A magna </a:t>
            </a:r>
            <a:r>
              <a:rPr lang="en-US" sz="999" err="1">
                <a:solidFill>
                  <a:prstClr val="black">
                    <a:lumMod val="75000"/>
                    <a:lumOff val="25000"/>
                  </a:prstClr>
                </a:solidFill>
                <a:latin typeface="Calibri" panose="020F0502020204030204"/>
              </a:rPr>
              <a:t>maecenas</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quam</a:t>
            </a:r>
            <a:r>
              <a:rPr lang="en-US" sz="999">
                <a:solidFill>
                  <a:prstClr val="black">
                    <a:lumMod val="75000"/>
                    <a:lumOff val="25000"/>
                  </a:prstClr>
                </a:solidFill>
                <a:latin typeface="Calibri" panose="020F0502020204030204"/>
              </a:rPr>
              <a:t> magna nec </a:t>
            </a:r>
            <a:r>
              <a:rPr lang="en-US" sz="999" err="1">
                <a:solidFill>
                  <a:prstClr val="black">
                    <a:lumMod val="75000"/>
                    <a:lumOff val="25000"/>
                  </a:prstClr>
                </a:solidFill>
                <a:latin typeface="Calibri" panose="020F0502020204030204"/>
              </a:rPr>
              <a:t>quis</a:t>
            </a:r>
            <a:r>
              <a:rPr lang="en-US" sz="999">
                <a:solidFill>
                  <a:prstClr val="black">
                    <a:lumMod val="75000"/>
                    <a:lumOff val="25000"/>
                  </a:prstClr>
                </a:solidFill>
                <a:latin typeface="Calibri" panose="020F0502020204030204"/>
              </a:rPr>
              <a:t>, lorem </a:t>
            </a:r>
            <a:r>
              <a:rPr lang="en-US" sz="999" err="1">
                <a:solidFill>
                  <a:prstClr val="black">
                    <a:lumMod val="75000"/>
                    <a:lumOff val="25000"/>
                  </a:prstClr>
                </a:solidFill>
                <a:latin typeface="Calibri" panose="020F0502020204030204"/>
              </a:rPr>
              <a:t>nunc</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Suspendisse</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viverra</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sodales</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mauris</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cras</a:t>
            </a:r>
            <a:r>
              <a:rPr lang="en-US" sz="999">
                <a:solidFill>
                  <a:prstClr val="black">
                    <a:lumMod val="75000"/>
                    <a:lumOff val="25000"/>
                  </a:prstClr>
                </a:solidFill>
                <a:latin typeface="Calibri" panose="020F0502020204030204"/>
              </a:rPr>
              <a:t> pharetra </a:t>
            </a:r>
            <a:r>
              <a:rPr lang="en-US" sz="999" err="1">
                <a:solidFill>
                  <a:prstClr val="black">
                    <a:lumMod val="75000"/>
                    <a:lumOff val="25000"/>
                  </a:prstClr>
                </a:solidFill>
                <a:latin typeface="Calibri" panose="020F0502020204030204"/>
              </a:rPr>
              <a:t>proin</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egestas</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arcu</a:t>
            </a:r>
            <a:r>
              <a:rPr lang="en-US" sz="999">
                <a:solidFill>
                  <a:prstClr val="black">
                    <a:lumMod val="75000"/>
                    <a:lumOff val="25000"/>
                  </a:prstClr>
                </a:solidFill>
                <a:latin typeface="Calibri" panose="020F0502020204030204"/>
              </a:rPr>
              <a:t> </a:t>
            </a:r>
            <a:r>
              <a:rPr lang="en-US" sz="999" err="1">
                <a:solidFill>
                  <a:prstClr val="black">
                    <a:lumMod val="75000"/>
                    <a:lumOff val="25000"/>
                  </a:prstClr>
                </a:solidFill>
                <a:latin typeface="Calibri" panose="020F0502020204030204"/>
              </a:rPr>
              <a:t>erat</a:t>
            </a:r>
            <a:r>
              <a:rPr lang="en-US" sz="999">
                <a:solidFill>
                  <a:prstClr val="black">
                    <a:lumMod val="75000"/>
                    <a:lumOff val="25000"/>
                  </a:prstClr>
                </a:solidFill>
                <a:latin typeface="Calibri" panose="020F0502020204030204"/>
              </a:rPr>
              <a:t> dolor, at </a:t>
            </a:r>
            <a:r>
              <a:rPr lang="en-US" sz="999" err="1">
                <a:solidFill>
                  <a:prstClr val="black">
                    <a:lumMod val="75000"/>
                    <a:lumOff val="25000"/>
                  </a:prstClr>
                </a:solidFill>
                <a:latin typeface="Calibri" panose="020F0502020204030204"/>
              </a:rPr>
              <a:t>amet</a:t>
            </a:r>
            <a:r>
              <a:rPr lang="en-US" sz="999">
                <a:solidFill>
                  <a:prstClr val="black">
                    <a:lumMod val="75000"/>
                    <a:lumOff val="25000"/>
                  </a:prstClr>
                </a:solidFill>
                <a:latin typeface="Calibri" panose="020F0502020204030204"/>
              </a:rPr>
              <a:t>. </a:t>
            </a:r>
          </a:p>
        </p:txBody>
      </p:sp>
      <p:pic>
        <p:nvPicPr>
          <p:cNvPr id="30" name="Picture 29" descr="A black background with a black square&#10;&#10;AI-generated content may be incorrect.">
            <a:extLst>
              <a:ext uri="{FF2B5EF4-FFF2-40B4-BE49-F238E27FC236}">
                <a16:creationId xmlns:a16="http://schemas.microsoft.com/office/drawing/2014/main" id="{8345E21C-207C-E106-7B22-FE7EB86F2CA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41481" y="5277476"/>
            <a:ext cx="726081" cy="733460"/>
          </a:xfrm>
          <a:prstGeom prst="rect">
            <a:avLst/>
          </a:prstGeom>
        </p:spPr>
      </p:pic>
    </p:spTree>
    <p:extLst>
      <p:ext uri="{BB962C8B-B14F-4D97-AF65-F5344CB8AC3E}">
        <p14:creationId xmlns:p14="http://schemas.microsoft.com/office/powerpoint/2010/main" val="3749178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96277C-CCB0-CFA9-9EC0-24F8C50812C2}"/>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BBD3012-C61B-63F2-3C66-C9247C66378F}"/>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26" name="Group 25">
            <a:extLst>
              <a:ext uri="{FF2B5EF4-FFF2-40B4-BE49-F238E27FC236}">
                <a16:creationId xmlns:a16="http://schemas.microsoft.com/office/drawing/2014/main" id="{7D578405-11A1-93AD-D237-779CFFEAF7E9}"/>
              </a:ext>
            </a:extLst>
          </p:cNvPr>
          <p:cNvGrpSpPr/>
          <p:nvPr/>
        </p:nvGrpSpPr>
        <p:grpSpPr>
          <a:xfrm>
            <a:off x="2100652" y="2368749"/>
            <a:ext cx="4889493" cy="2943513"/>
            <a:chOff x="2101746" y="2368197"/>
            <a:chExt cx="4892040" cy="2945046"/>
          </a:xfrm>
        </p:grpSpPr>
        <p:sp>
          <p:nvSpPr>
            <p:cNvPr id="27" name="Shape">
              <a:extLst>
                <a:ext uri="{FF2B5EF4-FFF2-40B4-BE49-F238E27FC236}">
                  <a16:creationId xmlns:a16="http://schemas.microsoft.com/office/drawing/2014/main" id="{92F176C0-0EC2-EF5E-7DE7-ABA12AD8B94B}"/>
                </a:ext>
              </a:extLst>
            </p:cNvPr>
            <p:cNvSpPr/>
            <p:nvPr/>
          </p:nvSpPr>
          <p:spPr>
            <a:xfrm>
              <a:off x="4593977" y="4031779"/>
              <a:ext cx="2399809" cy="1281464"/>
            </a:xfrm>
            <a:custGeom>
              <a:avLst/>
              <a:gdLst/>
              <a:ahLst/>
              <a:cxnLst>
                <a:cxn ang="0">
                  <a:pos x="wd2" y="hd2"/>
                </a:cxn>
                <a:cxn ang="5400000">
                  <a:pos x="wd2" y="hd2"/>
                </a:cxn>
                <a:cxn ang="10800000">
                  <a:pos x="wd2" y="hd2"/>
                </a:cxn>
                <a:cxn ang="16200000">
                  <a:pos x="wd2" y="hd2"/>
                </a:cxn>
              </a:cxnLst>
              <a:rect l="0" t="0" r="r" b="b"/>
              <a:pathLst>
                <a:path w="21600" h="20392" extrusionOk="0">
                  <a:moveTo>
                    <a:pt x="12438" y="0"/>
                  </a:moveTo>
                  <a:cubicBezTo>
                    <a:pt x="12397" y="0"/>
                    <a:pt x="12353" y="3"/>
                    <a:pt x="12310" y="3"/>
                  </a:cubicBezTo>
                  <a:cubicBezTo>
                    <a:pt x="11706" y="2655"/>
                    <a:pt x="10901" y="5316"/>
                    <a:pt x="9828" y="7777"/>
                  </a:cubicBezTo>
                  <a:cubicBezTo>
                    <a:pt x="7206" y="13790"/>
                    <a:pt x="4406" y="16995"/>
                    <a:pt x="1994" y="16995"/>
                  </a:cubicBezTo>
                  <a:cubicBezTo>
                    <a:pt x="1292" y="16995"/>
                    <a:pt x="622" y="16718"/>
                    <a:pt x="0" y="16164"/>
                  </a:cubicBezTo>
                  <a:cubicBezTo>
                    <a:pt x="1317" y="20493"/>
                    <a:pt x="5057" y="21600"/>
                    <a:pt x="10054" y="19009"/>
                  </a:cubicBezTo>
                  <a:cubicBezTo>
                    <a:pt x="16494" y="15667"/>
                    <a:pt x="20702" y="5693"/>
                    <a:pt x="21600" y="3395"/>
                  </a:cubicBezTo>
                  <a:cubicBezTo>
                    <a:pt x="20572" y="2588"/>
                    <a:pt x="16937" y="0"/>
                    <a:pt x="12438" y="0"/>
                  </a:cubicBezTo>
                  <a:close/>
                </a:path>
              </a:pathLst>
            </a:custGeom>
            <a:solidFill>
              <a:srgbClr val="F7931F"/>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8" name="Shape">
              <a:extLst>
                <a:ext uri="{FF2B5EF4-FFF2-40B4-BE49-F238E27FC236}">
                  <a16:creationId xmlns:a16="http://schemas.microsoft.com/office/drawing/2014/main" id="{A5C783A9-CEE2-5851-67A1-1B28158CE38D}"/>
                </a:ext>
              </a:extLst>
            </p:cNvPr>
            <p:cNvSpPr/>
            <p:nvPr/>
          </p:nvSpPr>
          <p:spPr>
            <a:xfrm>
              <a:off x="4614934" y="2942005"/>
              <a:ext cx="1470431" cy="2102065"/>
            </a:xfrm>
            <a:custGeom>
              <a:avLst/>
              <a:gdLst/>
              <a:ahLst/>
              <a:cxnLst>
                <a:cxn ang="0">
                  <a:pos x="wd2" y="hd2"/>
                </a:cxn>
                <a:cxn ang="5400000">
                  <a:pos x="wd2" y="hd2"/>
                </a:cxn>
                <a:cxn ang="10800000">
                  <a:pos x="wd2" y="hd2"/>
                </a:cxn>
                <a:cxn ang="16200000">
                  <a:pos x="wd2" y="hd2"/>
                </a:cxn>
              </a:cxnLst>
              <a:rect l="0" t="0" r="r" b="b"/>
              <a:pathLst>
                <a:path w="21564" h="20697" extrusionOk="0">
                  <a:moveTo>
                    <a:pt x="8231" y="11607"/>
                  </a:moveTo>
                  <a:cubicBezTo>
                    <a:pt x="8212" y="11724"/>
                    <a:pt x="8191" y="11838"/>
                    <a:pt x="8172" y="11953"/>
                  </a:cubicBezTo>
                  <a:cubicBezTo>
                    <a:pt x="8151" y="12071"/>
                    <a:pt x="8129" y="12189"/>
                    <a:pt x="8108" y="12304"/>
                  </a:cubicBezTo>
                  <a:cubicBezTo>
                    <a:pt x="7656" y="14551"/>
                    <a:pt x="6731" y="16415"/>
                    <a:pt x="5372" y="17772"/>
                  </a:cubicBezTo>
                  <a:cubicBezTo>
                    <a:pt x="3952" y="19192"/>
                    <a:pt x="2115" y="20042"/>
                    <a:pt x="0" y="20279"/>
                  </a:cubicBezTo>
                  <a:cubicBezTo>
                    <a:pt x="4082" y="21600"/>
                    <a:pt x="9611" y="19751"/>
                    <a:pt x="14795" y="15238"/>
                  </a:cubicBezTo>
                  <a:cubicBezTo>
                    <a:pt x="16403" y="13839"/>
                    <a:pt x="17629" y="12329"/>
                    <a:pt x="18567" y="10821"/>
                  </a:cubicBezTo>
                  <a:cubicBezTo>
                    <a:pt x="18631" y="10715"/>
                    <a:pt x="18699" y="10608"/>
                    <a:pt x="18760" y="10503"/>
                  </a:cubicBezTo>
                  <a:cubicBezTo>
                    <a:pt x="18822" y="10400"/>
                    <a:pt x="18880" y="10297"/>
                    <a:pt x="18941" y="10195"/>
                  </a:cubicBezTo>
                  <a:cubicBezTo>
                    <a:pt x="21532" y="5656"/>
                    <a:pt x="21600" y="1255"/>
                    <a:pt x="21557" y="0"/>
                  </a:cubicBezTo>
                  <a:cubicBezTo>
                    <a:pt x="19744" y="258"/>
                    <a:pt x="13452" y="1321"/>
                    <a:pt x="7471" y="4275"/>
                  </a:cubicBezTo>
                  <a:cubicBezTo>
                    <a:pt x="8111" y="5990"/>
                    <a:pt x="8492" y="7839"/>
                    <a:pt x="8412" y="9762"/>
                  </a:cubicBezTo>
                  <a:cubicBezTo>
                    <a:pt x="8378" y="10400"/>
                    <a:pt x="8320" y="11015"/>
                    <a:pt x="8231" y="11607"/>
                  </a:cubicBezTo>
                  <a:close/>
                </a:path>
              </a:pathLst>
            </a:custGeom>
            <a:solidFill>
              <a:srgbClr val="A2B969"/>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9" name="Shape">
              <a:extLst>
                <a:ext uri="{FF2B5EF4-FFF2-40B4-BE49-F238E27FC236}">
                  <a16:creationId xmlns:a16="http://schemas.microsoft.com/office/drawing/2014/main" id="{265C664A-4343-078F-24FD-65C499803B93}"/>
                </a:ext>
              </a:extLst>
            </p:cNvPr>
            <p:cNvSpPr/>
            <p:nvPr/>
          </p:nvSpPr>
          <p:spPr>
            <a:xfrm>
              <a:off x="4050766" y="2368197"/>
              <a:ext cx="1059041" cy="2529744"/>
            </a:xfrm>
            <a:custGeom>
              <a:avLst/>
              <a:gdLst/>
              <a:ahLst/>
              <a:cxnLst>
                <a:cxn ang="0">
                  <a:pos x="wd2" y="hd2"/>
                </a:cxn>
                <a:cxn ang="5400000">
                  <a:pos x="wd2" y="hd2"/>
                </a:cxn>
                <a:cxn ang="10800000">
                  <a:pos x="wd2" y="hd2"/>
                </a:cxn>
                <a:cxn ang="16200000">
                  <a:pos x="wd2" y="hd2"/>
                </a:cxn>
              </a:cxnLst>
              <a:rect l="0" t="0" r="r" b="b"/>
              <a:pathLst>
                <a:path w="21512" h="21600" extrusionOk="0">
                  <a:moveTo>
                    <a:pt x="7701" y="11347"/>
                  </a:moveTo>
                  <a:cubicBezTo>
                    <a:pt x="8446" y="11805"/>
                    <a:pt x="9127" y="12257"/>
                    <a:pt x="9744" y="12703"/>
                  </a:cubicBezTo>
                  <a:cubicBezTo>
                    <a:pt x="9863" y="12791"/>
                    <a:pt x="9978" y="12878"/>
                    <a:pt x="10093" y="12964"/>
                  </a:cubicBezTo>
                  <a:cubicBezTo>
                    <a:pt x="10213" y="13054"/>
                    <a:pt x="10332" y="13143"/>
                    <a:pt x="10447" y="13233"/>
                  </a:cubicBezTo>
                  <a:cubicBezTo>
                    <a:pt x="11988" y="14437"/>
                    <a:pt x="13048" y="15589"/>
                    <a:pt x="13593" y="16656"/>
                  </a:cubicBezTo>
                  <a:cubicBezTo>
                    <a:pt x="13644" y="16754"/>
                    <a:pt x="13691" y="16854"/>
                    <a:pt x="13733" y="16951"/>
                  </a:cubicBezTo>
                  <a:cubicBezTo>
                    <a:pt x="13776" y="17057"/>
                    <a:pt x="13822" y="17160"/>
                    <a:pt x="13857" y="17264"/>
                  </a:cubicBezTo>
                  <a:cubicBezTo>
                    <a:pt x="13942" y="17517"/>
                    <a:pt x="13993" y="17763"/>
                    <a:pt x="14014" y="18005"/>
                  </a:cubicBezTo>
                  <a:cubicBezTo>
                    <a:pt x="14142" y="19483"/>
                    <a:pt x="13124" y="20709"/>
                    <a:pt x="11047" y="21600"/>
                  </a:cubicBezTo>
                  <a:cubicBezTo>
                    <a:pt x="13576" y="21403"/>
                    <a:pt x="15781" y="20748"/>
                    <a:pt x="17505" y="19667"/>
                  </a:cubicBezTo>
                  <a:cubicBezTo>
                    <a:pt x="19182" y="18619"/>
                    <a:pt x="20357" y="17189"/>
                    <a:pt x="20987" y="15462"/>
                  </a:cubicBezTo>
                  <a:cubicBezTo>
                    <a:pt x="21025" y="15359"/>
                    <a:pt x="21059" y="15255"/>
                    <a:pt x="21093" y="15149"/>
                  </a:cubicBezTo>
                  <a:cubicBezTo>
                    <a:pt x="21127" y="15049"/>
                    <a:pt x="21157" y="14947"/>
                    <a:pt x="21183" y="14843"/>
                  </a:cubicBezTo>
                  <a:cubicBezTo>
                    <a:pt x="21345" y="14260"/>
                    <a:pt x="21455" y="13646"/>
                    <a:pt x="21498" y="13004"/>
                  </a:cubicBezTo>
                  <a:cubicBezTo>
                    <a:pt x="21600" y="11472"/>
                    <a:pt x="21144" y="9994"/>
                    <a:pt x="20365" y="8614"/>
                  </a:cubicBezTo>
                  <a:cubicBezTo>
                    <a:pt x="20310" y="8516"/>
                    <a:pt x="20255" y="8419"/>
                    <a:pt x="20195" y="8323"/>
                  </a:cubicBezTo>
                  <a:cubicBezTo>
                    <a:pt x="20140" y="8230"/>
                    <a:pt x="20085" y="8138"/>
                    <a:pt x="20025" y="8047"/>
                  </a:cubicBezTo>
                  <a:cubicBezTo>
                    <a:pt x="17420" y="3976"/>
                    <a:pt x="12162" y="864"/>
                    <a:pt x="10596" y="0"/>
                  </a:cubicBezTo>
                  <a:cubicBezTo>
                    <a:pt x="8876" y="802"/>
                    <a:pt x="3116" y="3699"/>
                    <a:pt x="0" y="7818"/>
                  </a:cubicBezTo>
                  <a:cubicBezTo>
                    <a:pt x="2793" y="8802"/>
                    <a:pt x="5462" y="9971"/>
                    <a:pt x="7701" y="11347"/>
                  </a:cubicBezTo>
                  <a:close/>
                </a:path>
              </a:pathLst>
            </a:custGeom>
            <a:solidFill>
              <a:srgbClr val="C13018"/>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30" name="Shape">
              <a:extLst>
                <a:ext uri="{FF2B5EF4-FFF2-40B4-BE49-F238E27FC236}">
                  <a16:creationId xmlns:a16="http://schemas.microsoft.com/office/drawing/2014/main" id="{7678218E-04E7-155F-73AD-8EF4DD7523F3}"/>
                </a:ext>
              </a:extLst>
            </p:cNvPr>
            <p:cNvSpPr/>
            <p:nvPr/>
          </p:nvSpPr>
          <p:spPr>
            <a:xfrm>
              <a:off x="3044820" y="2837221"/>
              <a:ext cx="1641136" cy="2040605"/>
            </a:xfrm>
            <a:custGeom>
              <a:avLst/>
              <a:gdLst/>
              <a:ahLst/>
              <a:cxnLst>
                <a:cxn ang="0">
                  <a:pos x="wd2" y="hd2"/>
                </a:cxn>
                <a:cxn ang="5400000">
                  <a:pos x="wd2" y="hd2"/>
                </a:cxn>
                <a:cxn ang="10800000">
                  <a:pos x="wd2" y="hd2"/>
                </a:cxn>
                <a:cxn ang="16200000">
                  <a:pos x="wd2" y="hd2"/>
                </a:cxn>
              </a:cxnLst>
              <a:rect l="0" t="0" r="r" b="b"/>
              <a:pathLst>
                <a:path w="21122" h="21600" extrusionOk="0">
                  <a:moveTo>
                    <a:pt x="12444" y="5408"/>
                  </a:moveTo>
                  <a:cubicBezTo>
                    <a:pt x="12333" y="5333"/>
                    <a:pt x="12220" y="5257"/>
                    <a:pt x="12109" y="5182"/>
                  </a:cubicBezTo>
                  <a:cubicBezTo>
                    <a:pt x="7168" y="1894"/>
                    <a:pt x="1714" y="386"/>
                    <a:pt x="144" y="0"/>
                  </a:cubicBezTo>
                  <a:cubicBezTo>
                    <a:pt x="-26" y="1324"/>
                    <a:pt x="-409" y="5970"/>
                    <a:pt x="1619" y="11036"/>
                  </a:cubicBezTo>
                  <a:cubicBezTo>
                    <a:pt x="3998" y="11214"/>
                    <a:pt x="6483" y="11629"/>
                    <a:pt x="8916" y="12412"/>
                  </a:cubicBezTo>
                  <a:cubicBezTo>
                    <a:pt x="9633" y="12642"/>
                    <a:pt x="10318" y="12886"/>
                    <a:pt x="10974" y="13139"/>
                  </a:cubicBezTo>
                  <a:cubicBezTo>
                    <a:pt x="11114" y="13192"/>
                    <a:pt x="11251" y="13248"/>
                    <a:pt x="11389" y="13303"/>
                  </a:cubicBezTo>
                  <a:cubicBezTo>
                    <a:pt x="11529" y="13361"/>
                    <a:pt x="11672" y="13417"/>
                    <a:pt x="11810" y="13474"/>
                  </a:cubicBezTo>
                  <a:cubicBezTo>
                    <a:pt x="13639" y="14242"/>
                    <a:pt x="15176" y="15098"/>
                    <a:pt x="16379" y="16019"/>
                  </a:cubicBezTo>
                  <a:cubicBezTo>
                    <a:pt x="16492" y="16105"/>
                    <a:pt x="16600" y="16192"/>
                    <a:pt x="16708" y="16278"/>
                  </a:cubicBezTo>
                  <a:cubicBezTo>
                    <a:pt x="16827" y="16376"/>
                    <a:pt x="16940" y="16473"/>
                    <a:pt x="17051" y="16571"/>
                  </a:cubicBezTo>
                  <a:cubicBezTo>
                    <a:pt x="17353" y="16837"/>
                    <a:pt x="17631" y="17108"/>
                    <a:pt x="17876" y="17381"/>
                  </a:cubicBezTo>
                  <a:cubicBezTo>
                    <a:pt x="18264" y="17813"/>
                    <a:pt x="18580" y="18255"/>
                    <a:pt x="18828" y="18698"/>
                  </a:cubicBezTo>
                  <a:cubicBezTo>
                    <a:pt x="18906" y="18840"/>
                    <a:pt x="18979" y="18982"/>
                    <a:pt x="19044" y="19127"/>
                  </a:cubicBezTo>
                  <a:cubicBezTo>
                    <a:pt x="19122" y="19297"/>
                    <a:pt x="19184" y="19468"/>
                    <a:pt x="19241" y="19639"/>
                  </a:cubicBezTo>
                  <a:cubicBezTo>
                    <a:pt x="19457" y="20291"/>
                    <a:pt x="19521" y="20948"/>
                    <a:pt x="19432" y="21600"/>
                  </a:cubicBezTo>
                  <a:cubicBezTo>
                    <a:pt x="20611" y="20624"/>
                    <a:pt x="21191" y="19262"/>
                    <a:pt x="21115" y="17609"/>
                  </a:cubicBezTo>
                  <a:cubicBezTo>
                    <a:pt x="21110" y="17485"/>
                    <a:pt x="21099" y="17361"/>
                    <a:pt x="21086" y="17234"/>
                  </a:cubicBezTo>
                  <a:cubicBezTo>
                    <a:pt x="21072" y="17095"/>
                    <a:pt x="21053" y="16950"/>
                    <a:pt x="21029" y="16808"/>
                  </a:cubicBezTo>
                  <a:cubicBezTo>
                    <a:pt x="21008" y="16675"/>
                    <a:pt x="20981" y="16542"/>
                    <a:pt x="20954" y="16407"/>
                  </a:cubicBezTo>
                  <a:cubicBezTo>
                    <a:pt x="20681" y="15147"/>
                    <a:pt x="20085" y="13774"/>
                    <a:pt x="19176" y="12325"/>
                  </a:cubicBezTo>
                  <a:cubicBezTo>
                    <a:pt x="19103" y="12210"/>
                    <a:pt x="19028" y="12094"/>
                    <a:pt x="18952" y="11979"/>
                  </a:cubicBezTo>
                  <a:cubicBezTo>
                    <a:pt x="18879" y="11868"/>
                    <a:pt x="18807" y="11759"/>
                    <a:pt x="18731" y="11649"/>
                  </a:cubicBezTo>
                  <a:cubicBezTo>
                    <a:pt x="18297" y="11012"/>
                    <a:pt x="17809" y="10364"/>
                    <a:pt x="17261" y="9705"/>
                  </a:cubicBezTo>
                  <a:cubicBezTo>
                    <a:pt x="15958" y="8137"/>
                    <a:pt x="14413" y="6795"/>
                    <a:pt x="12794" y="5648"/>
                  </a:cubicBezTo>
                  <a:cubicBezTo>
                    <a:pt x="12673" y="5568"/>
                    <a:pt x="12560" y="5488"/>
                    <a:pt x="12444" y="5408"/>
                  </a:cubicBezTo>
                  <a:close/>
                </a:path>
              </a:pathLst>
            </a:custGeom>
            <a:solidFill>
              <a:srgbClr val="4CC1EF"/>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31" name="Shape">
              <a:extLst>
                <a:ext uri="{FF2B5EF4-FFF2-40B4-BE49-F238E27FC236}">
                  <a16:creationId xmlns:a16="http://schemas.microsoft.com/office/drawing/2014/main" id="{3EAE5677-41C8-4B85-62B0-BB22DD523779}"/>
                </a:ext>
              </a:extLst>
            </p:cNvPr>
            <p:cNvSpPr/>
            <p:nvPr/>
          </p:nvSpPr>
          <p:spPr>
            <a:xfrm>
              <a:off x="2101746" y="3947950"/>
              <a:ext cx="2394257" cy="1353367"/>
            </a:xfrm>
            <a:custGeom>
              <a:avLst/>
              <a:gdLst/>
              <a:ahLst/>
              <a:cxnLst>
                <a:cxn ang="0">
                  <a:pos x="wd2" y="hd2"/>
                </a:cxn>
                <a:cxn ang="5400000">
                  <a:pos x="wd2" y="hd2"/>
                </a:cxn>
                <a:cxn ang="10800000">
                  <a:pos x="wd2" y="hd2"/>
                </a:cxn>
                <a:cxn ang="16200000">
                  <a:pos x="wd2" y="hd2"/>
                </a:cxn>
              </a:cxnLst>
              <a:rect l="0" t="0" r="r" b="b"/>
              <a:pathLst>
                <a:path w="21590" h="19961" extrusionOk="0">
                  <a:moveTo>
                    <a:pt x="0" y="1880"/>
                  </a:moveTo>
                  <a:cubicBezTo>
                    <a:pt x="733" y="4115"/>
                    <a:pt x="4205" y="13734"/>
                    <a:pt x="10757" y="17925"/>
                  </a:cubicBezTo>
                  <a:cubicBezTo>
                    <a:pt x="15838" y="21174"/>
                    <a:pt x="19746" y="20491"/>
                    <a:pt x="21126" y="16188"/>
                  </a:cubicBezTo>
                  <a:cubicBezTo>
                    <a:pt x="21192" y="15981"/>
                    <a:pt x="21254" y="15768"/>
                    <a:pt x="21307" y="15545"/>
                  </a:cubicBezTo>
                  <a:cubicBezTo>
                    <a:pt x="21309" y="15536"/>
                    <a:pt x="21313" y="15527"/>
                    <a:pt x="21315" y="15517"/>
                  </a:cubicBezTo>
                  <a:cubicBezTo>
                    <a:pt x="21317" y="15511"/>
                    <a:pt x="21317" y="15508"/>
                    <a:pt x="21318" y="15502"/>
                  </a:cubicBezTo>
                  <a:cubicBezTo>
                    <a:pt x="21337" y="15425"/>
                    <a:pt x="21352" y="15351"/>
                    <a:pt x="21368" y="15273"/>
                  </a:cubicBezTo>
                  <a:cubicBezTo>
                    <a:pt x="21381" y="15215"/>
                    <a:pt x="21394" y="15156"/>
                    <a:pt x="21405" y="15097"/>
                  </a:cubicBezTo>
                  <a:cubicBezTo>
                    <a:pt x="21405" y="15094"/>
                    <a:pt x="21407" y="15091"/>
                    <a:pt x="21407" y="15091"/>
                  </a:cubicBezTo>
                  <a:cubicBezTo>
                    <a:pt x="21422" y="15011"/>
                    <a:pt x="21436" y="14927"/>
                    <a:pt x="21449" y="14847"/>
                  </a:cubicBezTo>
                  <a:cubicBezTo>
                    <a:pt x="21453" y="14828"/>
                    <a:pt x="21454" y="14810"/>
                    <a:pt x="21458" y="14791"/>
                  </a:cubicBezTo>
                  <a:cubicBezTo>
                    <a:pt x="21466" y="14742"/>
                    <a:pt x="21475" y="14692"/>
                    <a:pt x="21483" y="14643"/>
                  </a:cubicBezTo>
                  <a:cubicBezTo>
                    <a:pt x="21502" y="14519"/>
                    <a:pt x="21517" y="14392"/>
                    <a:pt x="21530" y="14269"/>
                  </a:cubicBezTo>
                  <a:cubicBezTo>
                    <a:pt x="21541" y="14164"/>
                    <a:pt x="21551" y="14058"/>
                    <a:pt x="21558" y="13950"/>
                  </a:cubicBezTo>
                  <a:cubicBezTo>
                    <a:pt x="21600" y="13422"/>
                    <a:pt x="21600" y="12893"/>
                    <a:pt x="21558" y="12362"/>
                  </a:cubicBezTo>
                  <a:cubicBezTo>
                    <a:pt x="21528" y="11978"/>
                    <a:pt x="21479" y="11595"/>
                    <a:pt x="21407" y="11212"/>
                  </a:cubicBezTo>
                  <a:cubicBezTo>
                    <a:pt x="21243" y="10337"/>
                    <a:pt x="20969" y="9468"/>
                    <a:pt x="20585" y="8615"/>
                  </a:cubicBezTo>
                  <a:cubicBezTo>
                    <a:pt x="20510" y="8448"/>
                    <a:pt x="20430" y="8281"/>
                    <a:pt x="20347" y="8118"/>
                  </a:cubicBezTo>
                  <a:cubicBezTo>
                    <a:pt x="20266" y="7957"/>
                    <a:pt x="20183" y="7799"/>
                    <a:pt x="20094" y="7642"/>
                  </a:cubicBezTo>
                  <a:cubicBezTo>
                    <a:pt x="20016" y="7502"/>
                    <a:pt x="19935" y="7363"/>
                    <a:pt x="19852" y="7227"/>
                  </a:cubicBezTo>
                  <a:cubicBezTo>
                    <a:pt x="19083" y="5966"/>
                    <a:pt x="18072" y="4785"/>
                    <a:pt x="16851" y="3719"/>
                  </a:cubicBezTo>
                  <a:cubicBezTo>
                    <a:pt x="16751" y="3632"/>
                    <a:pt x="16651" y="3543"/>
                    <a:pt x="16547" y="3456"/>
                  </a:cubicBezTo>
                  <a:cubicBezTo>
                    <a:pt x="16450" y="3376"/>
                    <a:pt x="16350" y="3296"/>
                    <a:pt x="16252" y="3218"/>
                  </a:cubicBezTo>
                  <a:cubicBezTo>
                    <a:pt x="15721" y="2792"/>
                    <a:pt x="15158" y="2387"/>
                    <a:pt x="14561" y="2004"/>
                  </a:cubicBezTo>
                  <a:cubicBezTo>
                    <a:pt x="12998" y="1002"/>
                    <a:pt x="11399" y="446"/>
                    <a:pt x="9859" y="186"/>
                  </a:cubicBezTo>
                  <a:cubicBezTo>
                    <a:pt x="9753" y="167"/>
                    <a:pt x="9647" y="155"/>
                    <a:pt x="9540" y="140"/>
                  </a:cubicBezTo>
                  <a:cubicBezTo>
                    <a:pt x="9437" y="124"/>
                    <a:pt x="9337" y="109"/>
                    <a:pt x="9235" y="96"/>
                  </a:cubicBezTo>
                  <a:cubicBezTo>
                    <a:pt x="4874" y="-426"/>
                    <a:pt x="1081" y="1320"/>
                    <a:pt x="0" y="1880"/>
                  </a:cubicBezTo>
                  <a:close/>
                </a:path>
              </a:pathLst>
            </a:custGeom>
            <a:solidFill>
              <a:srgbClr val="FFCC4C"/>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32" name="Freeform: Shape 31">
              <a:extLst>
                <a:ext uri="{FF2B5EF4-FFF2-40B4-BE49-F238E27FC236}">
                  <a16:creationId xmlns:a16="http://schemas.microsoft.com/office/drawing/2014/main" id="{59D5AFA9-01A5-2F9D-E955-0186BF93967D}"/>
                </a:ext>
              </a:extLst>
            </p:cNvPr>
            <p:cNvSpPr/>
            <p:nvPr/>
          </p:nvSpPr>
          <p:spPr>
            <a:xfrm>
              <a:off x="4593977" y="4031779"/>
              <a:ext cx="1554116" cy="1111820"/>
            </a:xfrm>
            <a:custGeom>
              <a:avLst/>
              <a:gdLst>
                <a:gd name="connsiteX0" fmla="*/ 1579255 w 1776077"/>
                <a:gd name="connsiteY0" fmla="*/ 0 h 1270612"/>
                <a:gd name="connsiteX1" fmla="*/ 1776077 w 1776077"/>
                <a:gd name="connsiteY1" fmla="*/ 7641 h 1270612"/>
                <a:gd name="connsiteX2" fmla="*/ 1714095 w 1776077"/>
                <a:gd name="connsiteY2" fmla="*/ 137937 h 1270612"/>
                <a:gd name="connsiteX3" fmla="*/ 1496396 w 1776077"/>
                <a:gd name="connsiteY3" fmla="*/ 469515 h 1270612"/>
                <a:gd name="connsiteX4" fmla="*/ 292725 w 1776077"/>
                <a:gd name="connsiteY4" fmla="*/ 1270612 h 1270612"/>
                <a:gd name="connsiteX5" fmla="*/ 59373 w 1776077"/>
                <a:gd name="connsiteY5" fmla="*/ 1229989 h 1270612"/>
                <a:gd name="connsiteX6" fmla="*/ 46103 w 1776077"/>
                <a:gd name="connsiteY6" fmla="*/ 1224247 h 1270612"/>
                <a:gd name="connsiteX7" fmla="*/ 0 w 1776077"/>
                <a:gd name="connsiteY7" fmla="*/ 1160845 h 1270612"/>
                <a:gd name="connsiteX8" fmla="*/ 253179 w 1776077"/>
                <a:gd name="connsiteY8" fmla="*/ 1220525 h 1270612"/>
                <a:gd name="connsiteX9" fmla="*/ 1247863 w 1776077"/>
                <a:gd name="connsiteY9" fmla="*/ 558519 h 1270612"/>
                <a:gd name="connsiteX10" fmla="*/ 1563003 w 1776077"/>
                <a:gd name="connsiteY10" fmla="*/ 216 h 1270612"/>
                <a:gd name="connsiteX11" fmla="*/ 1579255 w 1776077"/>
                <a:gd name="connsiteY11" fmla="*/ 0 h 127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6077" h="1270612">
                  <a:moveTo>
                    <a:pt x="1579255" y="0"/>
                  </a:moveTo>
                  <a:lnTo>
                    <a:pt x="1776077" y="7641"/>
                  </a:lnTo>
                  <a:lnTo>
                    <a:pt x="1714095" y="137937"/>
                  </a:lnTo>
                  <a:cubicBezTo>
                    <a:pt x="1650965" y="251295"/>
                    <a:pt x="1578828" y="362577"/>
                    <a:pt x="1496396" y="469515"/>
                  </a:cubicBezTo>
                  <a:cubicBezTo>
                    <a:pt x="1093533" y="992079"/>
                    <a:pt x="663321" y="1270612"/>
                    <a:pt x="292725" y="1270612"/>
                  </a:cubicBezTo>
                  <a:cubicBezTo>
                    <a:pt x="211829" y="1270612"/>
                    <a:pt x="133700" y="1257071"/>
                    <a:pt x="59373" y="1229989"/>
                  </a:cubicBezTo>
                  <a:lnTo>
                    <a:pt x="46103" y="1224247"/>
                  </a:lnTo>
                  <a:lnTo>
                    <a:pt x="0" y="1160845"/>
                  </a:lnTo>
                  <a:cubicBezTo>
                    <a:pt x="78976" y="1200632"/>
                    <a:pt x="164046" y="1220525"/>
                    <a:pt x="253179" y="1220525"/>
                  </a:cubicBezTo>
                  <a:cubicBezTo>
                    <a:pt x="559431" y="1220525"/>
                    <a:pt x="914947" y="990352"/>
                    <a:pt x="1247863" y="558519"/>
                  </a:cubicBezTo>
                  <a:cubicBezTo>
                    <a:pt x="1384102" y="381778"/>
                    <a:pt x="1486313" y="190673"/>
                    <a:pt x="1563003" y="216"/>
                  </a:cubicBezTo>
                  <a:cubicBezTo>
                    <a:pt x="1568462" y="216"/>
                    <a:pt x="1574049" y="0"/>
                    <a:pt x="1579255" y="0"/>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sp>
          <p:nvSpPr>
            <p:cNvPr id="33" name="Freeform: Shape 32">
              <a:extLst>
                <a:ext uri="{FF2B5EF4-FFF2-40B4-BE49-F238E27FC236}">
                  <a16:creationId xmlns:a16="http://schemas.microsoft.com/office/drawing/2014/main" id="{2B286CFB-1BFC-957A-A458-1F5DA8433648}"/>
                </a:ext>
              </a:extLst>
            </p:cNvPr>
            <p:cNvSpPr/>
            <p:nvPr/>
          </p:nvSpPr>
          <p:spPr>
            <a:xfrm>
              <a:off x="4614934" y="3272000"/>
              <a:ext cx="703893" cy="1761851"/>
            </a:xfrm>
            <a:custGeom>
              <a:avLst/>
              <a:gdLst>
                <a:gd name="connsiteX0" fmla="*/ 758328 w 804424"/>
                <a:gd name="connsiteY0" fmla="*/ 0 h 2013481"/>
                <a:gd name="connsiteX1" fmla="*/ 784522 w 804424"/>
                <a:gd name="connsiteY1" fmla="*/ 169327 h 2013481"/>
                <a:gd name="connsiteX2" fmla="*/ 803430 w 804424"/>
                <a:gd name="connsiteY2" fmla="*/ 565623 h 2013481"/>
                <a:gd name="connsiteX3" fmla="*/ 786361 w 804424"/>
                <a:gd name="connsiteY3" fmla="*/ 824765 h 2013481"/>
                <a:gd name="connsiteX4" fmla="*/ 780797 w 804424"/>
                <a:gd name="connsiteY4" fmla="*/ 873362 h 2013481"/>
                <a:gd name="connsiteX5" fmla="*/ 774762 w 804424"/>
                <a:gd name="connsiteY5" fmla="*/ 922662 h 2013481"/>
                <a:gd name="connsiteX6" fmla="*/ 516755 w 804424"/>
                <a:gd name="connsiteY6" fmla="*/ 1690675 h 2013481"/>
                <a:gd name="connsiteX7" fmla="*/ 154634 w 804424"/>
                <a:gd name="connsiteY7" fmla="*/ 2001783 h 2013481"/>
                <a:gd name="connsiteX8" fmla="*/ 113432 w 804424"/>
                <a:gd name="connsiteY8" fmla="*/ 2013481 h 2013481"/>
                <a:gd name="connsiteX9" fmla="*/ 0 w 804424"/>
                <a:gd name="connsiteY9" fmla="*/ 1976645 h 2013481"/>
                <a:gd name="connsiteX10" fmla="*/ 418630 w 804424"/>
                <a:gd name="connsiteY10" fmla="*/ 1685660 h 2013481"/>
                <a:gd name="connsiteX11" fmla="*/ 631841 w 804424"/>
                <a:gd name="connsiteY11" fmla="*/ 1050993 h 2013481"/>
                <a:gd name="connsiteX12" fmla="*/ 636828 w 804424"/>
                <a:gd name="connsiteY12" fmla="*/ 1010252 h 2013481"/>
                <a:gd name="connsiteX13" fmla="*/ 641426 w 804424"/>
                <a:gd name="connsiteY13" fmla="*/ 970092 h 2013481"/>
                <a:gd name="connsiteX14" fmla="*/ 655531 w 804424"/>
                <a:gd name="connsiteY14" fmla="*/ 755945 h 2013481"/>
                <a:gd name="connsiteX15" fmla="*/ 582201 w 804424"/>
                <a:gd name="connsiteY15" fmla="*/ 119072 h 2013481"/>
                <a:gd name="connsiteX16" fmla="*/ 757391 w 804424"/>
                <a:gd name="connsiteY16" fmla="*/ 539 h 201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4424" h="2013481">
                  <a:moveTo>
                    <a:pt x="758328" y="0"/>
                  </a:moveTo>
                  <a:lnTo>
                    <a:pt x="784522" y="169327"/>
                  </a:lnTo>
                  <a:cubicBezTo>
                    <a:pt x="800106" y="298125"/>
                    <a:pt x="807202" y="430575"/>
                    <a:pt x="803430" y="565623"/>
                  </a:cubicBezTo>
                  <a:cubicBezTo>
                    <a:pt x="800223" y="655234"/>
                    <a:pt x="794754" y="741615"/>
                    <a:pt x="786361" y="824765"/>
                  </a:cubicBezTo>
                  <a:cubicBezTo>
                    <a:pt x="784570" y="841198"/>
                    <a:pt x="782589" y="857210"/>
                    <a:pt x="780797" y="873362"/>
                  </a:cubicBezTo>
                  <a:cubicBezTo>
                    <a:pt x="778817" y="889936"/>
                    <a:pt x="776743" y="906510"/>
                    <a:pt x="774762" y="922662"/>
                  </a:cubicBezTo>
                  <a:cubicBezTo>
                    <a:pt x="732138" y="1238267"/>
                    <a:pt x="644910" y="1500077"/>
                    <a:pt x="516755" y="1690675"/>
                  </a:cubicBezTo>
                  <a:cubicBezTo>
                    <a:pt x="416324" y="1840261"/>
                    <a:pt x="293774" y="1944813"/>
                    <a:pt x="154634" y="2001783"/>
                  </a:cubicBezTo>
                  <a:lnTo>
                    <a:pt x="113432" y="2013481"/>
                  </a:lnTo>
                  <a:lnTo>
                    <a:pt x="0" y="1976645"/>
                  </a:lnTo>
                  <a:cubicBezTo>
                    <a:pt x="164818" y="1949137"/>
                    <a:pt x="307972" y="1850478"/>
                    <a:pt x="418630" y="1685660"/>
                  </a:cubicBezTo>
                  <a:cubicBezTo>
                    <a:pt x="524534" y="1528154"/>
                    <a:pt x="596617" y="1311800"/>
                    <a:pt x="631841" y="1050993"/>
                  </a:cubicBezTo>
                  <a:cubicBezTo>
                    <a:pt x="633477" y="1037645"/>
                    <a:pt x="635192" y="1023949"/>
                    <a:pt x="636828" y="1010252"/>
                  </a:cubicBezTo>
                  <a:cubicBezTo>
                    <a:pt x="638309" y="996904"/>
                    <a:pt x="639945" y="983672"/>
                    <a:pt x="641426" y="970092"/>
                  </a:cubicBezTo>
                  <a:cubicBezTo>
                    <a:pt x="648361" y="901379"/>
                    <a:pt x="652881" y="829997"/>
                    <a:pt x="655531" y="755945"/>
                  </a:cubicBezTo>
                  <a:cubicBezTo>
                    <a:pt x="661765" y="532743"/>
                    <a:pt x="632074" y="318131"/>
                    <a:pt x="582201" y="119072"/>
                  </a:cubicBezTo>
                  <a:cubicBezTo>
                    <a:pt x="640462" y="76214"/>
                    <a:pt x="699101" y="36785"/>
                    <a:pt x="757391" y="539"/>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sp>
          <p:nvSpPr>
            <p:cNvPr id="34" name="Freeform: Shape 33">
              <a:extLst>
                <a:ext uri="{FF2B5EF4-FFF2-40B4-BE49-F238E27FC236}">
                  <a16:creationId xmlns:a16="http://schemas.microsoft.com/office/drawing/2014/main" id="{4418A968-D8B1-B9BA-7820-19B6E0AF433C}"/>
                </a:ext>
              </a:extLst>
            </p:cNvPr>
            <p:cNvSpPr/>
            <p:nvPr/>
          </p:nvSpPr>
          <p:spPr>
            <a:xfrm>
              <a:off x="4050767" y="3064500"/>
              <a:ext cx="779934" cy="1833441"/>
            </a:xfrm>
            <a:custGeom>
              <a:avLst/>
              <a:gdLst>
                <a:gd name="connsiteX0" fmla="*/ 95165 w 891325"/>
                <a:gd name="connsiteY0" fmla="*/ 0 h 2095296"/>
                <a:gd name="connsiteX1" fmla="*/ 212786 w 891325"/>
                <a:gd name="connsiteY1" fmla="*/ 111528 h 2095296"/>
                <a:gd name="connsiteX2" fmla="*/ 460792 w 891325"/>
                <a:gd name="connsiteY2" fmla="*/ 421126 h 2095296"/>
                <a:gd name="connsiteX3" fmla="*/ 599884 w 891325"/>
                <a:gd name="connsiteY3" fmla="*/ 640752 h 2095296"/>
                <a:gd name="connsiteX4" fmla="*/ 623644 w 891325"/>
                <a:gd name="connsiteY4" fmla="*/ 683025 h 2095296"/>
                <a:gd name="connsiteX5" fmla="*/ 647745 w 891325"/>
                <a:gd name="connsiteY5" fmla="*/ 726594 h 2095296"/>
                <a:gd name="connsiteX6" fmla="*/ 861932 w 891325"/>
                <a:gd name="connsiteY6" fmla="*/ 1281004 h 2095296"/>
                <a:gd name="connsiteX7" fmla="*/ 871463 w 891325"/>
                <a:gd name="connsiteY7" fmla="*/ 1328784 h 2095296"/>
                <a:gd name="connsiteX8" fmla="*/ 879905 w 891325"/>
                <a:gd name="connsiteY8" fmla="*/ 1379480 h 2095296"/>
                <a:gd name="connsiteX9" fmla="*/ 890594 w 891325"/>
                <a:gd name="connsiteY9" fmla="*/ 1499497 h 2095296"/>
                <a:gd name="connsiteX10" fmla="*/ 781039 w 891325"/>
                <a:gd name="connsiteY10" fmla="*/ 1963568 h 2095296"/>
                <a:gd name="connsiteX11" fmla="*/ 695518 w 891325"/>
                <a:gd name="connsiteY11" fmla="*/ 2072914 h 2095296"/>
                <a:gd name="connsiteX12" fmla="*/ 621520 w 891325"/>
                <a:gd name="connsiteY12" fmla="*/ 2095296 h 2095296"/>
                <a:gd name="connsiteX13" fmla="*/ 788447 w 891325"/>
                <a:gd name="connsiteY13" fmla="*/ 1614124 h 2095296"/>
                <a:gd name="connsiteX14" fmla="*/ 779614 w 891325"/>
                <a:gd name="connsiteY14" fmla="*/ 1514945 h 2095296"/>
                <a:gd name="connsiteX15" fmla="*/ 772638 w 891325"/>
                <a:gd name="connsiteY15" fmla="*/ 1473052 h 2095296"/>
                <a:gd name="connsiteX16" fmla="*/ 764761 w 891325"/>
                <a:gd name="connsiteY16" fmla="*/ 1433568 h 2095296"/>
                <a:gd name="connsiteX17" fmla="*/ 587763 w 891325"/>
                <a:gd name="connsiteY17" fmla="*/ 975417 h 2095296"/>
                <a:gd name="connsiteX18" fmla="*/ 567846 w 891325"/>
                <a:gd name="connsiteY18" fmla="*/ 939413 h 2095296"/>
                <a:gd name="connsiteX19" fmla="*/ 548211 w 891325"/>
                <a:gd name="connsiteY19" fmla="*/ 904479 h 2095296"/>
                <a:gd name="connsiteX20" fmla="*/ 433269 w 891325"/>
                <a:gd name="connsiteY20" fmla="*/ 722986 h 2095296"/>
                <a:gd name="connsiteX21" fmla="*/ 0 w 891325"/>
                <a:gd name="connsiteY21" fmla="*/ 250648 h 2095296"/>
                <a:gd name="connsiteX22" fmla="*/ 71980 w 891325"/>
                <a:gd name="connsiteY22" fmla="*/ 51803 h 209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1325" h="2095296">
                  <a:moveTo>
                    <a:pt x="95165" y="0"/>
                  </a:moveTo>
                  <a:lnTo>
                    <a:pt x="212786" y="111528"/>
                  </a:lnTo>
                  <a:cubicBezTo>
                    <a:pt x="301037" y="206642"/>
                    <a:pt x="384574" y="309693"/>
                    <a:pt x="460792" y="421126"/>
                  </a:cubicBezTo>
                  <a:cubicBezTo>
                    <a:pt x="511513" y="495307"/>
                    <a:pt x="557877" y="568515"/>
                    <a:pt x="599884" y="640752"/>
                  </a:cubicBezTo>
                  <a:cubicBezTo>
                    <a:pt x="607985" y="655005"/>
                    <a:pt x="615815" y="669096"/>
                    <a:pt x="623644" y="683025"/>
                  </a:cubicBezTo>
                  <a:cubicBezTo>
                    <a:pt x="631814" y="697602"/>
                    <a:pt x="639916" y="712017"/>
                    <a:pt x="647745" y="726594"/>
                  </a:cubicBezTo>
                  <a:cubicBezTo>
                    <a:pt x="752660" y="921602"/>
                    <a:pt x="824827" y="1108187"/>
                    <a:pt x="861932" y="1281004"/>
                  </a:cubicBezTo>
                  <a:cubicBezTo>
                    <a:pt x="865404" y="1296877"/>
                    <a:pt x="868604" y="1313074"/>
                    <a:pt x="871463" y="1328784"/>
                  </a:cubicBezTo>
                  <a:cubicBezTo>
                    <a:pt x="874391" y="1345953"/>
                    <a:pt x="877523" y="1362635"/>
                    <a:pt x="879905" y="1379480"/>
                  </a:cubicBezTo>
                  <a:cubicBezTo>
                    <a:pt x="885692" y="1420457"/>
                    <a:pt x="889165" y="1460301"/>
                    <a:pt x="890594" y="1499497"/>
                  </a:cubicBezTo>
                  <a:cubicBezTo>
                    <a:pt x="897130" y="1679037"/>
                    <a:pt x="859779" y="1835617"/>
                    <a:pt x="781039" y="1963568"/>
                  </a:cubicBezTo>
                  <a:lnTo>
                    <a:pt x="695518" y="2072914"/>
                  </a:lnTo>
                  <a:lnTo>
                    <a:pt x="621520" y="2095296"/>
                  </a:lnTo>
                  <a:cubicBezTo>
                    <a:pt x="738375" y="1976040"/>
                    <a:pt x="795649" y="1811947"/>
                    <a:pt x="788447" y="1614124"/>
                  </a:cubicBezTo>
                  <a:cubicBezTo>
                    <a:pt x="787266" y="1581734"/>
                    <a:pt x="784397" y="1548808"/>
                    <a:pt x="779614" y="1514945"/>
                  </a:cubicBezTo>
                  <a:cubicBezTo>
                    <a:pt x="777645" y="1501025"/>
                    <a:pt x="775057" y="1487239"/>
                    <a:pt x="772638" y="1473052"/>
                  </a:cubicBezTo>
                  <a:cubicBezTo>
                    <a:pt x="770275" y="1460069"/>
                    <a:pt x="767631" y="1446684"/>
                    <a:pt x="764761" y="1433568"/>
                  </a:cubicBezTo>
                  <a:cubicBezTo>
                    <a:pt x="734099" y="1290755"/>
                    <a:pt x="674462" y="1136566"/>
                    <a:pt x="587763" y="975417"/>
                  </a:cubicBezTo>
                  <a:cubicBezTo>
                    <a:pt x="581293" y="963371"/>
                    <a:pt x="574598" y="951459"/>
                    <a:pt x="567846" y="939413"/>
                  </a:cubicBezTo>
                  <a:cubicBezTo>
                    <a:pt x="561376" y="927902"/>
                    <a:pt x="554906" y="916258"/>
                    <a:pt x="548211" y="904479"/>
                  </a:cubicBezTo>
                  <a:cubicBezTo>
                    <a:pt x="513498" y="844785"/>
                    <a:pt x="475184" y="784287"/>
                    <a:pt x="433269" y="722986"/>
                  </a:cubicBezTo>
                  <a:cubicBezTo>
                    <a:pt x="307300" y="538815"/>
                    <a:pt x="157138" y="382351"/>
                    <a:pt x="0" y="250648"/>
                  </a:cubicBezTo>
                  <a:cubicBezTo>
                    <a:pt x="21914" y="181734"/>
                    <a:pt x="46152" y="115377"/>
                    <a:pt x="71980" y="51803"/>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sp>
          <p:nvSpPr>
            <p:cNvPr id="35" name="Freeform: Shape 34">
              <a:extLst>
                <a:ext uri="{FF2B5EF4-FFF2-40B4-BE49-F238E27FC236}">
                  <a16:creationId xmlns:a16="http://schemas.microsoft.com/office/drawing/2014/main" id="{2FF6288F-E265-8E66-F2CF-B2E85451D8F3}"/>
                </a:ext>
              </a:extLst>
            </p:cNvPr>
            <p:cNvSpPr/>
            <p:nvPr/>
          </p:nvSpPr>
          <p:spPr>
            <a:xfrm>
              <a:off x="3115593" y="3682082"/>
              <a:ext cx="1499419" cy="1195744"/>
            </a:xfrm>
            <a:custGeom>
              <a:avLst/>
              <a:gdLst>
                <a:gd name="connsiteX0" fmla="*/ 0 w 1713569"/>
                <a:gd name="connsiteY0" fmla="*/ 0 h 1366522"/>
                <a:gd name="connsiteX1" fmla="*/ 187374 w 1713569"/>
                <a:gd name="connsiteY1" fmla="*/ 35066 h 1366522"/>
                <a:gd name="connsiteX2" fmla="*/ 581585 w 1713569"/>
                <a:gd name="connsiteY2" fmla="*/ 154594 h 1366522"/>
                <a:gd name="connsiteX3" fmla="*/ 802719 w 1713569"/>
                <a:gd name="connsiteY3" fmla="*/ 249576 h 1366522"/>
                <a:gd name="connsiteX4" fmla="*/ 847312 w 1713569"/>
                <a:gd name="connsiteY4" fmla="*/ 271002 h 1366522"/>
                <a:gd name="connsiteX5" fmla="*/ 892549 w 1713569"/>
                <a:gd name="connsiteY5" fmla="*/ 293343 h 1366522"/>
                <a:gd name="connsiteX6" fmla="*/ 1383493 w 1713569"/>
                <a:gd name="connsiteY6" fmla="*/ 625845 h 1366522"/>
                <a:gd name="connsiteX7" fmla="*/ 1418844 w 1713569"/>
                <a:gd name="connsiteY7" fmla="*/ 659683 h 1366522"/>
                <a:gd name="connsiteX8" fmla="*/ 1455700 w 1713569"/>
                <a:gd name="connsiteY8" fmla="*/ 697963 h 1366522"/>
                <a:gd name="connsiteX9" fmla="*/ 1544347 w 1713569"/>
                <a:gd name="connsiteY9" fmla="*/ 803789 h 1366522"/>
                <a:gd name="connsiteX10" fmla="*/ 1646640 w 1713569"/>
                <a:gd name="connsiteY10" fmla="*/ 975854 h 1366522"/>
                <a:gd name="connsiteX11" fmla="*/ 1669850 w 1713569"/>
                <a:gd name="connsiteY11" fmla="*/ 1031903 h 1366522"/>
                <a:gd name="connsiteX12" fmla="*/ 1691018 w 1713569"/>
                <a:gd name="connsiteY12" fmla="*/ 1098795 h 1366522"/>
                <a:gd name="connsiteX13" fmla="*/ 1713569 w 1713569"/>
                <a:gd name="connsiteY13" fmla="*/ 1226897 h 1366522"/>
                <a:gd name="connsiteX14" fmla="*/ 1712724 w 1713569"/>
                <a:gd name="connsiteY14" fmla="*/ 1280248 h 1366522"/>
                <a:gd name="connsiteX15" fmla="*/ 1644583 w 1713569"/>
                <a:gd name="connsiteY15" fmla="*/ 1366522 h 1366522"/>
                <a:gd name="connsiteX16" fmla="*/ 1627623 w 1713569"/>
                <a:gd name="connsiteY16" fmla="*/ 1154802 h 1366522"/>
                <a:gd name="connsiteX17" fmla="*/ 1610130 w 1713569"/>
                <a:gd name="connsiteY17" fmla="*/ 1099524 h 1366522"/>
                <a:gd name="connsiteX18" fmla="*/ 1590951 w 1713569"/>
                <a:gd name="connsiteY18" fmla="*/ 1053207 h 1366522"/>
                <a:gd name="connsiteX19" fmla="*/ 1506418 w 1713569"/>
                <a:gd name="connsiteY19" fmla="*/ 911017 h 1366522"/>
                <a:gd name="connsiteX20" fmla="*/ 1433162 w 1713569"/>
                <a:gd name="connsiteY20" fmla="*/ 823565 h 1366522"/>
                <a:gd name="connsiteX21" fmla="*/ 1402705 w 1713569"/>
                <a:gd name="connsiteY21" fmla="*/ 791931 h 1366522"/>
                <a:gd name="connsiteX22" fmla="*/ 1373492 w 1713569"/>
                <a:gd name="connsiteY22" fmla="*/ 763968 h 1366522"/>
                <a:gd name="connsiteX23" fmla="*/ 967788 w 1713569"/>
                <a:gd name="connsiteY23" fmla="*/ 489197 h 1366522"/>
                <a:gd name="connsiteX24" fmla="*/ 930405 w 1713569"/>
                <a:gd name="connsiteY24" fmla="*/ 470735 h 1366522"/>
                <a:gd name="connsiteX25" fmla="*/ 893556 w 1713569"/>
                <a:gd name="connsiteY25" fmla="*/ 453029 h 1366522"/>
                <a:gd name="connsiteX26" fmla="*/ 710816 w 1713569"/>
                <a:gd name="connsiteY26" fmla="*/ 374538 h 1366522"/>
                <a:gd name="connsiteX27" fmla="*/ 62879 w 1713569"/>
                <a:gd name="connsiteY27" fmla="*/ 225978 h 1366522"/>
                <a:gd name="connsiteX28" fmla="*/ 4931 w 1713569"/>
                <a:gd name="connsiteY28" fmla="*/ 23609 h 136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13569" h="1366522">
                  <a:moveTo>
                    <a:pt x="0" y="0"/>
                  </a:moveTo>
                  <a:lnTo>
                    <a:pt x="187374" y="35066"/>
                  </a:lnTo>
                  <a:cubicBezTo>
                    <a:pt x="318760" y="64315"/>
                    <a:pt x="450871" y="103444"/>
                    <a:pt x="581585" y="154594"/>
                  </a:cubicBezTo>
                  <a:cubicBezTo>
                    <a:pt x="658628" y="184643"/>
                    <a:pt x="732232" y="216521"/>
                    <a:pt x="802719" y="249576"/>
                  </a:cubicBezTo>
                  <a:cubicBezTo>
                    <a:pt x="817763" y="256500"/>
                    <a:pt x="832483" y="263816"/>
                    <a:pt x="847312" y="271002"/>
                  </a:cubicBezTo>
                  <a:cubicBezTo>
                    <a:pt x="862355" y="278580"/>
                    <a:pt x="877720" y="285896"/>
                    <a:pt x="892549" y="293343"/>
                  </a:cubicBezTo>
                  <a:cubicBezTo>
                    <a:pt x="1089077" y="393682"/>
                    <a:pt x="1254229" y="505517"/>
                    <a:pt x="1383493" y="625845"/>
                  </a:cubicBezTo>
                  <a:cubicBezTo>
                    <a:pt x="1395635" y="637081"/>
                    <a:pt x="1407239" y="648447"/>
                    <a:pt x="1418844" y="659683"/>
                  </a:cubicBezTo>
                  <a:cubicBezTo>
                    <a:pt x="1431631" y="672487"/>
                    <a:pt x="1443773" y="685160"/>
                    <a:pt x="1455700" y="697963"/>
                  </a:cubicBezTo>
                  <a:cubicBezTo>
                    <a:pt x="1488150" y="732716"/>
                    <a:pt x="1518021" y="768122"/>
                    <a:pt x="1544347" y="803789"/>
                  </a:cubicBezTo>
                  <a:cubicBezTo>
                    <a:pt x="1586038" y="860230"/>
                    <a:pt x="1619993" y="917977"/>
                    <a:pt x="1646640" y="975854"/>
                  </a:cubicBezTo>
                  <a:cubicBezTo>
                    <a:pt x="1655022" y="994406"/>
                    <a:pt x="1662865" y="1012959"/>
                    <a:pt x="1669850" y="1031903"/>
                  </a:cubicBezTo>
                  <a:cubicBezTo>
                    <a:pt x="1678231" y="1054113"/>
                    <a:pt x="1684893" y="1076454"/>
                    <a:pt x="1691018" y="1098795"/>
                  </a:cubicBezTo>
                  <a:cubicBezTo>
                    <a:pt x="1702622" y="1141387"/>
                    <a:pt x="1710144" y="1184142"/>
                    <a:pt x="1713569" y="1226897"/>
                  </a:cubicBezTo>
                  <a:lnTo>
                    <a:pt x="1712724" y="1280248"/>
                  </a:lnTo>
                  <a:lnTo>
                    <a:pt x="1644583" y="1366522"/>
                  </a:lnTo>
                  <a:cubicBezTo>
                    <a:pt x="1652486" y="1296129"/>
                    <a:pt x="1646803" y="1225196"/>
                    <a:pt x="1627623" y="1154802"/>
                  </a:cubicBezTo>
                  <a:cubicBezTo>
                    <a:pt x="1622562" y="1136340"/>
                    <a:pt x="1617056" y="1117878"/>
                    <a:pt x="1610130" y="1099524"/>
                  </a:cubicBezTo>
                  <a:cubicBezTo>
                    <a:pt x="1604359" y="1083869"/>
                    <a:pt x="1597877" y="1068538"/>
                    <a:pt x="1590951" y="1053207"/>
                  </a:cubicBezTo>
                  <a:cubicBezTo>
                    <a:pt x="1568930" y="1005379"/>
                    <a:pt x="1540870" y="957658"/>
                    <a:pt x="1506418" y="911017"/>
                  </a:cubicBezTo>
                  <a:cubicBezTo>
                    <a:pt x="1484663" y="881543"/>
                    <a:pt x="1459978" y="852284"/>
                    <a:pt x="1433162" y="823565"/>
                  </a:cubicBezTo>
                  <a:cubicBezTo>
                    <a:pt x="1423306" y="812985"/>
                    <a:pt x="1413272" y="802512"/>
                    <a:pt x="1402705" y="791931"/>
                  </a:cubicBezTo>
                  <a:cubicBezTo>
                    <a:pt x="1393116" y="782646"/>
                    <a:pt x="1383526" y="773253"/>
                    <a:pt x="1373492" y="763968"/>
                  </a:cubicBezTo>
                  <a:cubicBezTo>
                    <a:pt x="1266672" y="664533"/>
                    <a:pt x="1130194" y="572114"/>
                    <a:pt x="967788" y="489197"/>
                  </a:cubicBezTo>
                  <a:cubicBezTo>
                    <a:pt x="955534" y="483043"/>
                    <a:pt x="942837" y="476997"/>
                    <a:pt x="930405" y="470735"/>
                  </a:cubicBezTo>
                  <a:cubicBezTo>
                    <a:pt x="918152" y="464797"/>
                    <a:pt x="905987" y="458751"/>
                    <a:pt x="893556" y="453029"/>
                  </a:cubicBezTo>
                  <a:cubicBezTo>
                    <a:pt x="835306" y="425714"/>
                    <a:pt x="774482" y="399370"/>
                    <a:pt x="710816" y="374538"/>
                  </a:cubicBezTo>
                  <a:cubicBezTo>
                    <a:pt x="494778" y="290001"/>
                    <a:pt x="274122" y="245196"/>
                    <a:pt x="62879" y="225978"/>
                  </a:cubicBezTo>
                  <a:cubicBezTo>
                    <a:pt x="40370" y="157609"/>
                    <a:pt x="21205" y="89948"/>
                    <a:pt x="4931" y="23609"/>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grpSp>
      <p:grpSp>
        <p:nvGrpSpPr>
          <p:cNvPr id="36" name="Group 35">
            <a:extLst>
              <a:ext uri="{FF2B5EF4-FFF2-40B4-BE49-F238E27FC236}">
                <a16:creationId xmlns:a16="http://schemas.microsoft.com/office/drawing/2014/main" id="{41846F8E-874E-DCB2-02AF-4455EB805DCD}"/>
              </a:ext>
            </a:extLst>
          </p:cNvPr>
          <p:cNvGrpSpPr/>
          <p:nvPr/>
        </p:nvGrpSpPr>
        <p:grpSpPr>
          <a:xfrm>
            <a:off x="6688000" y="4755780"/>
            <a:ext cx="2201669" cy="1259346"/>
            <a:chOff x="8921977" y="4001571"/>
            <a:chExt cx="2937088" cy="1680003"/>
          </a:xfrm>
        </p:grpSpPr>
        <p:sp>
          <p:nvSpPr>
            <p:cNvPr id="37" name="TextBox 36">
              <a:extLst>
                <a:ext uri="{FF2B5EF4-FFF2-40B4-BE49-F238E27FC236}">
                  <a16:creationId xmlns:a16="http://schemas.microsoft.com/office/drawing/2014/main" id="{B07F16E4-799F-8200-E1E6-C4EED52F9873}"/>
                </a:ext>
              </a:extLst>
            </p:cNvPr>
            <p:cNvSpPr txBox="1"/>
            <p:nvPr/>
          </p:nvSpPr>
          <p:spPr>
            <a:xfrm>
              <a:off x="8921977" y="4001571"/>
              <a:ext cx="2937088" cy="533480"/>
            </a:xfrm>
            <a:prstGeom prst="rect">
              <a:avLst/>
            </a:prstGeom>
            <a:noFill/>
          </p:spPr>
          <p:txBody>
            <a:bodyPr wrap="square" lIns="0" rIns="0" rtlCol="0" anchor="b">
              <a:spAutoFit/>
            </a:bodyPr>
            <a:lstStyle/>
            <a:p>
              <a:r>
                <a:rPr lang="en-US" sz="1999" b="1" cap="all" noProof="1">
                  <a:solidFill>
                    <a:srgbClr val="F7931F"/>
                  </a:solidFill>
                  <a:latin typeface="Calibri" panose="020F0502020204030204"/>
                </a:rPr>
                <a:t>Lorem Ipsum</a:t>
              </a:r>
            </a:p>
          </p:txBody>
        </p:sp>
        <p:sp>
          <p:nvSpPr>
            <p:cNvPr id="38" name="TextBox 37">
              <a:extLst>
                <a:ext uri="{FF2B5EF4-FFF2-40B4-BE49-F238E27FC236}">
                  <a16:creationId xmlns:a16="http://schemas.microsoft.com/office/drawing/2014/main" id="{8F2DC81F-CA2B-1FBB-EB92-BABC7A92FE95}"/>
                </a:ext>
              </a:extLst>
            </p:cNvPr>
            <p:cNvSpPr txBox="1"/>
            <p:nvPr/>
          </p:nvSpPr>
          <p:spPr>
            <a:xfrm>
              <a:off x="8929772" y="4532543"/>
              <a:ext cx="2929293" cy="1149031"/>
            </a:xfrm>
            <a:prstGeom prst="rect">
              <a:avLst/>
            </a:prstGeom>
            <a:noFill/>
          </p:spPr>
          <p:txBody>
            <a:bodyPr wrap="square" lIns="0" rIns="0" rtlCol="0" anchor="t">
              <a:spAutoFit/>
            </a:bodyPr>
            <a:lstStyle/>
            <a:p>
              <a:pPr algn="just"/>
              <a:r>
                <a:rPr lang="en-US" sz="999"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39" name="Group 38">
            <a:extLst>
              <a:ext uri="{FF2B5EF4-FFF2-40B4-BE49-F238E27FC236}">
                <a16:creationId xmlns:a16="http://schemas.microsoft.com/office/drawing/2014/main" id="{778AFF54-3C48-9E00-F9CA-4B2925DC82B0}"/>
              </a:ext>
            </a:extLst>
          </p:cNvPr>
          <p:cNvGrpSpPr/>
          <p:nvPr/>
        </p:nvGrpSpPr>
        <p:grpSpPr>
          <a:xfrm>
            <a:off x="249572" y="4755779"/>
            <a:ext cx="2201669" cy="1259346"/>
            <a:chOff x="332936" y="4580523"/>
            <a:chExt cx="2937088" cy="1680003"/>
          </a:xfrm>
        </p:grpSpPr>
        <p:sp>
          <p:nvSpPr>
            <p:cNvPr id="40" name="TextBox 39">
              <a:extLst>
                <a:ext uri="{FF2B5EF4-FFF2-40B4-BE49-F238E27FC236}">
                  <a16:creationId xmlns:a16="http://schemas.microsoft.com/office/drawing/2014/main" id="{A5714271-B314-6AAE-3910-33BFB780D77E}"/>
                </a:ext>
              </a:extLst>
            </p:cNvPr>
            <p:cNvSpPr txBox="1"/>
            <p:nvPr/>
          </p:nvSpPr>
          <p:spPr>
            <a:xfrm>
              <a:off x="332936" y="4580523"/>
              <a:ext cx="2937088" cy="533480"/>
            </a:xfrm>
            <a:prstGeom prst="rect">
              <a:avLst/>
            </a:prstGeom>
            <a:noFill/>
          </p:spPr>
          <p:txBody>
            <a:bodyPr wrap="square" lIns="0" rIns="0" rtlCol="0" anchor="b">
              <a:spAutoFit/>
            </a:bodyPr>
            <a:lstStyle/>
            <a:p>
              <a:pPr algn="r"/>
              <a:r>
                <a:rPr lang="en-US" sz="1999" b="1" cap="all" noProof="1">
                  <a:solidFill>
                    <a:srgbClr val="FFCC4C"/>
                  </a:solidFill>
                  <a:latin typeface="Calibri" panose="020F0502020204030204"/>
                </a:rPr>
                <a:t>Lorem Ipsum</a:t>
              </a:r>
            </a:p>
          </p:txBody>
        </p:sp>
        <p:sp>
          <p:nvSpPr>
            <p:cNvPr id="41" name="TextBox 40">
              <a:extLst>
                <a:ext uri="{FF2B5EF4-FFF2-40B4-BE49-F238E27FC236}">
                  <a16:creationId xmlns:a16="http://schemas.microsoft.com/office/drawing/2014/main" id="{72038DC3-0B4D-956E-4009-BA282B7C44A0}"/>
                </a:ext>
              </a:extLst>
            </p:cNvPr>
            <p:cNvSpPr txBox="1"/>
            <p:nvPr/>
          </p:nvSpPr>
          <p:spPr>
            <a:xfrm>
              <a:off x="340731" y="5111495"/>
              <a:ext cx="2929293" cy="1149031"/>
            </a:xfrm>
            <a:prstGeom prst="rect">
              <a:avLst/>
            </a:prstGeom>
            <a:noFill/>
          </p:spPr>
          <p:txBody>
            <a:bodyPr wrap="square" lIns="0" rIns="0" rtlCol="0" anchor="t">
              <a:spAutoFit/>
            </a:bodyPr>
            <a:lstStyle/>
            <a:p>
              <a:pPr algn="just"/>
              <a:r>
                <a:rPr lang="en-US" sz="999"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pic>
        <p:nvPicPr>
          <p:cNvPr id="42" name="Graphic 41" descr="Users">
            <a:extLst>
              <a:ext uri="{FF2B5EF4-FFF2-40B4-BE49-F238E27FC236}">
                <a16:creationId xmlns:a16="http://schemas.microsoft.com/office/drawing/2014/main" id="{18C643C3-5ACF-281A-31F0-8A70149F19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68778" y="2271001"/>
            <a:ext cx="435402" cy="435402"/>
          </a:xfrm>
          <a:prstGeom prst="rect">
            <a:avLst/>
          </a:prstGeom>
        </p:spPr>
      </p:pic>
      <p:pic>
        <p:nvPicPr>
          <p:cNvPr id="43" name="Graphic 42" descr="Puzzle">
            <a:extLst>
              <a:ext uri="{FF2B5EF4-FFF2-40B4-BE49-F238E27FC236}">
                <a16:creationId xmlns:a16="http://schemas.microsoft.com/office/drawing/2014/main" id="{ECD553A7-E4B2-0699-953C-CAF7A7D765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54267" y="4707139"/>
            <a:ext cx="435402" cy="435402"/>
          </a:xfrm>
          <a:prstGeom prst="rect">
            <a:avLst/>
          </a:prstGeom>
        </p:spPr>
      </p:pic>
      <p:pic>
        <p:nvPicPr>
          <p:cNvPr id="44" name="Graphic 43" descr="Lightbulb">
            <a:extLst>
              <a:ext uri="{FF2B5EF4-FFF2-40B4-BE49-F238E27FC236}">
                <a16:creationId xmlns:a16="http://schemas.microsoft.com/office/drawing/2014/main" id="{9EB6C860-6DB8-E179-8F1F-7ACF6E7719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9573" y="4707139"/>
            <a:ext cx="435402" cy="435402"/>
          </a:xfrm>
          <a:prstGeom prst="rect">
            <a:avLst/>
          </a:prstGeom>
        </p:spPr>
      </p:pic>
      <p:pic>
        <p:nvPicPr>
          <p:cNvPr id="45" name="Graphic 44" descr="Rocket">
            <a:extLst>
              <a:ext uri="{FF2B5EF4-FFF2-40B4-BE49-F238E27FC236}">
                <a16:creationId xmlns:a16="http://schemas.microsoft.com/office/drawing/2014/main" id="{E56CBAAC-23AA-541A-5CB1-8E826D1D4F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5061" y="2271001"/>
            <a:ext cx="435402" cy="435402"/>
          </a:xfrm>
          <a:prstGeom prst="rect">
            <a:avLst/>
          </a:prstGeom>
        </p:spPr>
      </p:pic>
      <p:pic>
        <p:nvPicPr>
          <p:cNvPr id="46" name="Graphic 45" descr="Magnifying glass">
            <a:extLst>
              <a:ext uri="{FF2B5EF4-FFF2-40B4-BE49-F238E27FC236}">
                <a16:creationId xmlns:a16="http://schemas.microsoft.com/office/drawing/2014/main" id="{9ED0874D-B629-1131-CE00-FD27B14EFD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68785" y="1211561"/>
            <a:ext cx="438684" cy="438684"/>
          </a:xfrm>
          <a:prstGeom prst="rect">
            <a:avLst/>
          </a:prstGeom>
        </p:spPr>
      </p:pic>
      <p:grpSp>
        <p:nvGrpSpPr>
          <p:cNvPr id="47" name="Group 46">
            <a:extLst>
              <a:ext uri="{FF2B5EF4-FFF2-40B4-BE49-F238E27FC236}">
                <a16:creationId xmlns:a16="http://schemas.microsoft.com/office/drawing/2014/main" id="{99687409-0346-8954-5295-7DB0C3BF6399}"/>
              </a:ext>
            </a:extLst>
          </p:cNvPr>
          <p:cNvGrpSpPr/>
          <p:nvPr/>
        </p:nvGrpSpPr>
        <p:grpSpPr>
          <a:xfrm>
            <a:off x="3468785" y="1204973"/>
            <a:ext cx="2201669" cy="1105539"/>
            <a:chOff x="332936" y="4580523"/>
            <a:chExt cx="2937088" cy="1474820"/>
          </a:xfrm>
        </p:grpSpPr>
        <p:sp>
          <p:nvSpPr>
            <p:cNvPr id="48" name="TextBox 47">
              <a:extLst>
                <a:ext uri="{FF2B5EF4-FFF2-40B4-BE49-F238E27FC236}">
                  <a16:creationId xmlns:a16="http://schemas.microsoft.com/office/drawing/2014/main" id="{391DAC54-6619-02A1-C60D-D293B6EBB057}"/>
                </a:ext>
              </a:extLst>
            </p:cNvPr>
            <p:cNvSpPr txBox="1"/>
            <p:nvPr/>
          </p:nvSpPr>
          <p:spPr>
            <a:xfrm>
              <a:off x="332936" y="4580523"/>
              <a:ext cx="2937088" cy="533480"/>
            </a:xfrm>
            <a:prstGeom prst="rect">
              <a:avLst/>
            </a:prstGeom>
            <a:noFill/>
          </p:spPr>
          <p:txBody>
            <a:bodyPr wrap="square" lIns="479810" rIns="0" rtlCol="0" anchor="b">
              <a:spAutoFit/>
            </a:bodyPr>
            <a:lstStyle/>
            <a:p>
              <a:r>
                <a:rPr lang="en-US" sz="1999" b="1" cap="all" noProof="1">
                  <a:solidFill>
                    <a:srgbClr val="C13018"/>
                  </a:solidFill>
                  <a:latin typeface="Calibri" panose="020F0502020204030204"/>
                </a:rPr>
                <a:t>Lorem Ipsum</a:t>
              </a:r>
            </a:p>
          </p:txBody>
        </p:sp>
        <p:sp>
          <p:nvSpPr>
            <p:cNvPr id="49" name="TextBox 48">
              <a:extLst>
                <a:ext uri="{FF2B5EF4-FFF2-40B4-BE49-F238E27FC236}">
                  <a16:creationId xmlns:a16="http://schemas.microsoft.com/office/drawing/2014/main" id="{DB821FF6-A1D7-003A-812C-965501B5E989}"/>
                </a:ext>
              </a:extLst>
            </p:cNvPr>
            <p:cNvSpPr txBox="1"/>
            <p:nvPr/>
          </p:nvSpPr>
          <p:spPr>
            <a:xfrm>
              <a:off x="340731" y="5111495"/>
              <a:ext cx="2929293" cy="943848"/>
            </a:xfrm>
            <a:prstGeom prst="rect">
              <a:avLst/>
            </a:prstGeom>
            <a:noFill/>
          </p:spPr>
          <p:txBody>
            <a:bodyPr wrap="square" lIns="0" rIns="0" rtlCol="0" anchor="t">
              <a:spAutoFit/>
            </a:bodyPr>
            <a:lstStyle/>
            <a:p>
              <a:pPr algn="just"/>
              <a:r>
                <a:rPr lang="en-US" sz="999" noProof="1">
                  <a:solidFill>
                    <a:prstClr val="white">
                      <a:lumMod val="75000"/>
                    </a:prstClr>
                  </a:solidFill>
                  <a:latin typeface="Calibri" panose="020F0502020204030204"/>
                </a:rPr>
                <a:t>Lorem ipsum dolor sit amet, nibh est. A magna maecenas, quam magna nec quis, lorem nunc. Suspendisse viverra sodales mauris, cras phare. </a:t>
              </a:r>
            </a:p>
          </p:txBody>
        </p:sp>
      </p:grpSp>
      <p:pic>
        <p:nvPicPr>
          <p:cNvPr id="50" name="Graphic 49" descr="Puzzle">
            <a:extLst>
              <a:ext uri="{FF2B5EF4-FFF2-40B4-BE49-F238E27FC236}">
                <a16:creationId xmlns:a16="http://schemas.microsoft.com/office/drawing/2014/main" id="{10D9F7F8-E6D5-4DCD-02A3-8D2F3A489B8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76426" y="4152546"/>
            <a:ext cx="522440" cy="522440"/>
          </a:xfrm>
          <a:prstGeom prst="rect">
            <a:avLst/>
          </a:prstGeom>
        </p:spPr>
      </p:pic>
      <p:pic>
        <p:nvPicPr>
          <p:cNvPr id="51" name="Graphic 50" descr="Lightbulb">
            <a:extLst>
              <a:ext uri="{FF2B5EF4-FFF2-40B4-BE49-F238E27FC236}">
                <a16:creationId xmlns:a16="http://schemas.microsoft.com/office/drawing/2014/main" id="{12F08648-A6EC-8D61-A8E2-EC6BE431DD6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55803" y="4064645"/>
            <a:ext cx="522440" cy="522440"/>
          </a:xfrm>
          <a:prstGeom prst="rect">
            <a:avLst/>
          </a:prstGeom>
        </p:spPr>
      </p:pic>
      <p:pic>
        <p:nvPicPr>
          <p:cNvPr id="52" name="Graphic 51" descr="Users">
            <a:extLst>
              <a:ext uri="{FF2B5EF4-FFF2-40B4-BE49-F238E27FC236}">
                <a16:creationId xmlns:a16="http://schemas.microsoft.com/office/drawing/2014/main" id="{81378501-11BA-A8F2-CE55-DEAA86F45AF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09801" y="3243146"/>
            <a:ext cx="522440" cy="522440"/>
          </a:xfrm>
          <a:prstGeom prst="rect">
            <a:avLst/>
          </a:prstGeom>
        </p:spPr>
      </p:pic>
      <p:pic>
        <p:nvPicPr>
          <p:cNvPr id="53" name="Graphic 52" descr="Rocket">
            <a:extLst>
              <a:ext uri="{FF2B5EF4-FFF2-40B4-BE49-F238E27FC236}">
                <a16:creationId xmlns:a16="http://schemas.microsoft.com/office/drawing/2014/main" id="{D453672C-AEF4-E86D-AA1B-D85A4AA4B35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127719" y="3145660"/>
            <a:ext cx="522440" cy="522440"/>
          </a:xfrm>
          <a:prstGeom prst="rect">
            <a:avLst/>
          </a:prstGeom>
        </p:spPr>
      </p:pic>
      <p:pic>
        <p:nvPicPr>
          <p:cNvPr id="54" name="Graphic 53" descr="Magnifying glass">
            <a:extLst>
              <a:ext uri="{FF2B5EF4-FFF2-40B4-BE49-F238E27FC236}">
                <a16:creationId xmlns:a16="http://schemas.microsoft.com/office/drawing/2014/main" id="{0DFFB130-84AE-327A-CCD0-F64FDAB355E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07708" y="2667693"/>
            <a:ext cx="519810" cy="519810"/>
          </a:xfrm>
          <a:prstGeom prst="rect">
            <a:avLst/>
          </a:prstGeom>
        </p:spPr>
      </p:pic>
      <p:grpSp>
        <p:nvGrpSpPr>
          <p:cNvPr id="55" name="Group 54">
            <a:extLst>
              <a:ext uri="{FF2B5EF4-FFF2-40B4-BE49-F238E27FC236}">
                <a16:creationId xmlns:a16="http://schemas.microsoft.com/office/drawing/2014/main" id="{68FCEFA1-A0F6-635E-0559-2F3A51F1D46D}"/>
              </a:ext>
            </a:extLst>
          </p:cNvPr>
          <p:cNvGrpSpPr/>
          <p:nvPr/>
        </p:nvGrpSpPr>
        <p:grpSpPr>
          <a:xfrm>
            <a:off x="535060" y="2288748"/>
            <a:ext cx="2201669" cy="1259346"/>
            <a:chOff x="332936" y="4580523"/>
            <a:chExt cx="2937088" cy="1680003"/>
          </a:xfrm>
        </p:grpSpPr>
        <p:sp>
          <p:nvSpPr>
            <p:cNvPr id="56" name="TextBox 55">
              <a:extLst>
                <a:ext uri="{FF2B5EF4-FFF2-40B4-BE49-F238E27FC236}">
                  <a16:creationId xmlns:a16="http://schemas.microsoft.com/office/drawing/2014/main" id="{1BEC85AA-97E9-E640-169C-946EE76CF89D}"/>
                </a:ext>
              </a:extLst>
            </p:cNvPr>
            <p:cNvSpPr txBox="1"/>
            <p:nvPr/>
          </p:nvSpPr>
          <p:spPr>
            <a:xfrm>
              <a:off x="332936" y="4580523"/>
              <a:ext cx="2937088" cy="533480"/>
            </a:xfrm>
            <a:prstGeom prst="rect">
              <a:avLst/>
            </a:prstGeom>
            <a:noFill/>
          </p:spPr>
          <p:txBody>
            <a:bodyPr wrap="square" lIns="0" rIns="0" rtlCol="0" anchor="b">
              <a:spAutoFit/>
            </a:bodyPr>
            <a:lstStyle/>
            <a:p>
              <a:pPr algn="r"/>
              <a:r>
                <a:rPr lang="en-US" sz="1999" b="1" cap="all" noProof="1">
                  <a:solidFill>
                    <a:srgbClr val="4CC1EF"/>
                  </a:solidFill>
                  <a:latin typeface="Calibri" panose="020F0502020204030204"/>
                </a:rPr>
                <a:t>Lorem Ipsum</a:t>
              </a:r>
            </a:p>
          </p:txBody>
        </p:sp>
        <p:sp>
          <p:nvSpPr>
            <p:cNvPr id="57" name="TextBox 56">
              <a:extLst>
                <a:ext uri="{FF2B5EF4-FFF2-40B4-BE49-F238E27FC236}">
                  <a16:creationId xmlns:a16="http://schemas.microsoft.com/office/drawing/2014/main" id="{78D6B331-E4BF-CC74-9996-64B39E29A9B6}"/>
                </a:ext>
              </a:extLst>
            </p:cNvPr>
            <p:cNvSpPr txBox="1"/>
            <p:nvPr/>
          </p:nvSpPr>
          <p:spPr>
            <a:xfrm>
              <a:off x="340731" y="5111495"/>
              <a:ext cx="2929293" cy="1149031"/>
            </a:xfrm>
            <a:prstGeom prst="rect">
              <a:avLst/>
            </a:prstGeom>
            <a:noFill/>
          </p:spPr>
          <p:txBody>
            <a:bodyPr wrap="square" lIns="0" rIns="0" rtlCol="0" anchor="t">
              <a:spAutoFit/>
            </a:bodyPr>
            <a:lstStyle/>
            <a:p>
              <a:pPr algn="just"/>
              <a:r>
                <a:rPr lang="en-US" sz="999"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58" name="Group 57">
            <a:extLst>
              <a:ext uri="{FF2B5EF4-FFF2-40B4-BE49-F238E27FC236}">
                <a16:creationId xmlns:a16="http://schemas.microsoft.com/office/drawing/2014/main" id="{89E57419-152F-33CC-4D60-4FBE1B4D7B50}"/>
              </a:ext>
            </a:extLst>
          </p:cNvPr>
          <p:cNvGrpSpPr/>
          <p:nvPr/>
        </p:nvGrpSpPr>
        <p:grpSpPr>
          <a:xfrm>
            <a:off x="6402511" y="2288748"/>
            <a:ext cx="2201669" cy="1259346"/>
            <a:chOff x="332936" y="4580523"/>
            <a:chExt cx="2937088" cy="1680003"/>
          </a:xfrm>
        </p:grpSpPr>
        <p:sp>
          <p:nvSpPr>
            <p:cNvPr id="59" name="TextBox 58">
              <a:extLst>
                <a:ext uri="{FF2B5EF4-FFF2-40B4-BE49-F238E27FC236}">
                  <a16:creationId xmlns:a16="http://schemas.microsoft.com/office/drawing/2014/main" id="{8BCDAA53-792A-5373-EDDE-606E94876CAE}"/>
                </a:ext>
              </a:extLst>
            </p:cNvPr>
            <p:cNvSpPr txBox="1"/>
            <p:nvPr/>
          </p:nvSpPr>
          <p:spPr>
            <a:xfrm>
              <a:off x="332936" y="4580523"/>
              <a:ext cx="2937088" cy="533480"/>
            </a:xfrm>
            <a:prstGeom prst="rect">
              <a:avLst/>
            </a:prstGeom>
            <a:noFill/>
          </p:spPr>
          <p:txBody>
            <a:bodyPr wrap="square" lIns="0" rIns="0" rtlCol="0" anchor="b">
              <a:spAutoFit/>
            </a:bodyPr>
            <a:lstStyle/>
            <a:p>
              <a:r>
                <a:rPr lang="en-US" sz="1999" b="1" cap="all" noProof="1">
                  <a:solidFill>
                    <a:srgbClr val="A2B969"/>
                  </a:solidFill>
                  <a:latin typeface="Calibri" panose="020F0502020204030204"/>
                </a:rPr>
                <a:t>Lorem Ipsum</a:t>
              </a:r>
            </a:p>
          </p:txBody>
        </p:sp>
        <p:sp>
          <p:nvSpPr>
            <p:cNvPr id="60" name="TextBox 59">
              <a:extLst>
                <a:ext uri="{FF2B5EF4-FFF2-40B4-BE49-F238E27FC236}">
                  <a16:creationId xmlns:a16="http://schemas.microsoft.com/office/drawing/2014/main" id="{1864124D-4093-3208-0A2B-876722BE26E9}"/>
                </a:ext>
              </a:extLst>
            </p:cNvPr>
            <p:cNvSpPr txBox="1"/>
            <p:nvPr/>
          </p:nvSpPr>
          <p:spPr>
            <a:xfrm>
              <a:off x="340731" y="5111495"/>
              <a:ext cx="2929293" cy="1149031"/>
            </a:xfrm>
            <a:prstGeom prst="rect">
              <a:avLst/>
            </a:prstGeom>
            <a:noFill/>
          </p:spPr>
          <p:txBody>
            <a:bodyPr wrap="square" lIns="0" rIns="0" rtlCol="0" anchor="t">
              <a:spAutoFit/>
            </a:bodyPr>
            <a:lstStyle/>
            <a:p>
              <a:pPr algn="just"/>
              <a:r>
                <a:rPr lang="en-US" sz="999"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sp>
        <p:nvSpPr>
          <p:cNvPr id="62" name="Rectangle: Rounded Corners 61">
            <a:extLst>
              <a:ext uri="{FF2B5EF4-FFF2-40B4-BE49-F238E27FC236}">
                <a16:creationId xmlns:a16="http://schemas.microsoft.com/office/drawing/2014/main" id="{8F9E03CD-C737-AF7A-4468-F03191B037B8}"/>
              </a:ext>
            </a:extLst>
          </p:cNvPr>
          <p:cNvSpPr/>
          <p:nvPr/>
        </p:nvSpPr>
        <p:spPr>
          <a:xfrm>
            <a:off x="7791428" y="978595"/>
            <a:ext cx="2879813" cy="801609"/>
          </a:xfrm>
          <a:prstGeom prst="roundRect">
            <a:avLst>
              <a:gd name="adj" fmla="val 50000"/>
            </a:avLst>
          </a:prstGeom>
          <a:solidFill>
            <a:sysClr val="window" lastClr="FFFFFF"/>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13943">
              <a:defRPr/>
            </a:pPr>
            <a:r>
              <a:rPr lang="en-US" sz="2399" b="1" kern="0" cap="all" noProof="1">
                <a:solidFill>
                  <a:prstClr val="black"/>
                </a:solidFill>
                <a:latin typeface="Calibri" panose="020F0502020204030204"/>
              </a:rPr>
              <a:t>Lorem Ipsum</a:t>
            </a:r>
          </a:p>
        </p:txBody>
      </p:sp>
      <p:sp>
        <p:nvSpPr>
          <p:cNvPr id="63" name="Rectangle: Rounded Corners 62">
            <a:extLst>
              <a:ext uri="{FF2B5EF4-FFF2-40B4-BE49-F238E27FC236}">
                <a16:creationId xmlns:a16="http://schemas.microsoft.com/office/drawing/2014/main" id="{253E6EF6-F8E6-522A-19C2-9F0C8F1F67EB}"/>
              </a:ext>
            </a:extLst>
          </p:cNvPr>
          <p:cNvSpPr/>
          <p:nvPr/>
        </p:nvSpPr>
        <p:spPr>
          <a:xfrm>
            <a:off x="9728755" y="2327112"/>
            <a:ext cx="2118210" cy="451816"/>
          </a:xfrm>
          <a:prstGeom prst="roundRect">
            <a:avLst>
              <a:gd name="adj" fmla="val 50000"/>
            </a:avLst>
          </a:prstGeom>
          <a:solidFill>
            <a:srgbClr val="A2B969">
              <a:lumMod val="5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white"/>
                </a:solidFill>
                <a:latin typeface="Calibri" panose="020F0502020204030204"/>
              </a:rPr>
              <a:t>Lorem Ipsum</a:t>
            </a:r>
          </a:p>
        </p:txBody>
      </p:sp>
      <p:sp>
        <p:nvSpPr>
          <p:cNvPr id="64" name="Rectangle: Rounded Corners 63">
            <a:extLst>
              <a:ext uri="{FF2B5EF4-FFF2-40B4-BE49-F238E27FC236}">
                <a16:creationId xmlns:a16="http://schemas.microsoft.com/office/drawing/2014/main" id="{9691C800-FE37-C2CD-EB5F-85F5FCE3DDA2}"/>
              </a:ext>
            </a:extLst>
          </p:cNvPr>
          <p:cNvSpPr/>
          <p:nvPr/>
        </p:nvSpPr>
        <p:spPr>
          <a:xfrm>
            <a:off x="9728755" y="3246765"/>
            <a:ext cx="2118210" cy="451816"/>
          </a:xfrm>
          <a:prstGeom prst="roundRect">
            <a:avLst>
              <a:gd name="adj" fmla="val 50000"/>
            </a:avLst>
          </a:prstGeom>
          <a:solidFill>
            <a:srgbClr val="A2B969">
              <a:lumMod val="75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white"/>
                </a:solidFill>
                <a:latin typeface="Calibri" panose="020F0502020204030204"/>
              </a:rPr>
              <a:t>Lorem Ipsum</a:t>
            </a:r>
          </a:p>
        </p:txBody>
      </p:sp>
      <p:sp>
        <p:nvSpPr>
          <p:cNvPr id="65" name="Rectangle: Rounded Corners 64">
            <a:extLst>
              <a:ext uri="{FF2B5EF4-FFF2-40B4-BE49-F238E27FC236}">
                <a16:creationId xmlns:a16="http://schemas.microsoft.com/office/drawing/2014/main" id="{BB2F89EB-0D6E-9C11-D694-917D38B7446C}"/>
              </a:ext>
            </a:extLst>
          </p:cNvPr>
          <p:cNvSpPr/>
          <p:nvPr/>
        </p:nvSpPr>
        <p:spPr>
          <a:xfrm>
            <a:off x="9728755" y="4166418"/>
            <a:ext cx="2118210" cy="451816"/>
          </a:xfrm>
          <a:prstGeom prst="roundRect">
            <a:avLst>
              <a:gd name="adj" fmla="val 50000"/>
            </a:avLst>
          </a:prstGeom>
          <a:solidFill>
            <a:srgbClr val="A2B969"/>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black">
                    <a:lumMod val="85000"/>
                    <a:lumOff val="15000"/>
                  </a:prstClr>
                </a:solidFill>
                <a:latin typeface="Calibri" panose="020F0502020204030204"/>
              </a:rPr>
              <a:t>Lorem Ipsum</a:t>
            </a:r>
          </a:p>
        </p:txBody>
      </p:sp>
      <p:sp>
        <p:nvSpPr>
          <p:cNvPr id="66" name="Rectangle: Rounded Corners 65">
            <a:extLst>
              <a:ext uri="{FF2B5EF4-FFF2-40B4-BE49-F238E27FC236}">
                <a16:creationId xmlns:a16="http://schemas.microsoft.com/office/drawing/2014/main" id="{A4806785-73F6-AD4B-50D7-53ADED790C90}"/>
              </a:ext>
            </a:extLst>
          </p:cNvPr>
          <p:cNvSpPr/>
          <p:nvPr/>
        </p:nvSpPr>
        <p:spPr>
          <a:xfrm>
            <a:off x="9728755" y="5086071"/>
            <a:ext cx="2118210" cy="451816"/>
          </a:xfrm>
          <a:prstGeom prst="roundRect">
            <a:avLst>
              <a:gd name="adj" fmla="val 50000"/>
            </a:avLst>
          </a:prstGeom>
          <a:solidFill>
            <a:srgbClr val="A2B969">
              <a:lumMod val="60000"/>
              <a:lumOff val="40000"/>
            </a:srgb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r" defTabSz="913943">
              <a:defRPr/>
            </a:pPr>
            <a:r>
              <a:rPr lang="en-US" sz="1799" b="1" kern="0" noProof="1">
                <a:solidFill>
                  <a:prstClr val="black">
                    <a:lumMod val="85000"/>
                    <a:lumOff val="15000"/>
                  </a:prstClr>
                </a:solidFill>
                <a:latin typeface="Calibri" panose="020F0502020204030204"/>
              </a:rPr>
              <a:t>Lorem Ipsum</a:t>
            </a:r>
          </a:p>
        </p:txBody>
      </p:sp>
      <p:cxnSp>
        <p:nvCxnSpPr>
          <p:cNvPr id="67" name="Connector: Elbow 66">
            <a:extLst>
              <a:ext uri="{FF2B5EF4-FFF2-40B4-BE49-F238E27FC236}">
                <a16:creationId xmlns:a16="http://schemas.microsoft.com/office/drawing/2014/main" id="{734FA9F9-1CD1-1B98-DEF7-FA8388F0E9C4}"/>
              </a:ext>
            </a:extLst>
          </p:cNvPr>
          <p:cNvCxnSpPr>
            <a:cxnSpLocks/>
            <a:stCxn id="62" idx="2"/>
            <a:endCxn id="63" idx="1"/>
          </p:cNvCxnSpPr>
          <p:nvPr/>
        </p:nvCxnSpPr>
        <p:spPr>
          <a:xfrm rot="16200000" flipH="1">
            <a:off x="9093637" y="1917901"/>
            <a:ext cx="772816" cy="497421"/>
          </a:xfrm>
          <a:prstGeom prst="bentConnector2">
            <a:avLst/>
          </a:prstGeom>
          <a:noFill/>
          <a:ln w="19050" cap="flat" cmpd="sng" algn="ctr">
            <a:solidFill>
              <a:srgbClr val="D3D3D3">
                <a:lumMod val="75000"/>
              </a:srgbClr>
            </a:solidFill>
            <a:prstDash val="solid"/>
            <a:miter lim="800000"/>
          </a:ln>
          <a:effectLst/>
        </p:spPr>
      </p:cxnSp>
      <p:cxnSp>
        <p:nvCxnSpPr>
          <p:cNvPr id="68" name="Connector: Elbow 67">
            <a:extLst>
              <a:ext uri="{FF2B5EF4-FFF2-40B4-BE49-F238E27FC236}">
                <a16:creationId xmlns:a16="http://schemas.microsoft.com/office/drawing/2014/main" id="{15F153CA-BE79-A669-8CDD-D0DABBBD61E8}"/>
              </a:ext>
            </a:extLst>
          </p:cNvPr>
          <p:cNvCxnSpPr>
            <a:cxnSpLocks/>
            <a:stCxn id="62" idx="2"/>
            <a:endCxn id="64" idx="1"/>
          </p:cNvCxnSpPr>
          <p:nvPr/>
        </p:nvCxnSpPr>
        <p:spPr>
          <a:xfrm rot="16200000" flipH="1">
            <a:off x="8633810" y="2377728"/>
            <a:ext cx="1692470" cy="497421"/>
          </a:xfrm>
          <a:prstGeom prst="bentConnector2">
            <a:avLst/>
          </a:prstGeom>
          <a:noFill/>
          <a:ln w="19050" cap="flat" cmpd="sng" algn="ctr">
            <a:solidFill>
              <a:srgbClr val="D3D3D3">
                <a:lumMod val="75000"/>
              </a:srgbClr>
            </a:solidFill>
            <a:prstDash val="solid"/>
            <a:miter lim="800000"/>
          </a:ln>
          <a:effectLst/>
        </p:spPr>
      </p:cxnSp>
      <p:cxnSp>
        <p:nvCxnSpPr>
          <p:cNvPr id="69" name="Connector: Elbow 68">
            <a:extLst>
              <a:ext uri="{FF2B5EF4-FFF2-40B4-BE49-F238E27FC236}">
                <a16:creationId xmlns:a16="http://schemas.microsoft.com/office/drawing/2014/main" id="{29AF2D75-356B-24D2-F235-D38A5EC7E93D}"/>
              </a:ext>
            </a:extLst>
          </p:cNvPr>
          <p:cNvCxnSpPr>
            <a:cxnSpLocks/>
            <a:stCxn id="62" idx="2"/>
            <a:endCxn id="65" idx="1"/>
          </p:cNvCxnSpPr>
          <p:nvPr/>
        </p:nvCxnSpPr>
        <p:spPr>
          <a:xfrm rot="16200000" flipH="1">
            <a:off x="8173984" y="2837554"/>
            <a:ext cx="2612123" cy="497421"/>
          </a:xfrm>
          <a:prstGeom prst="bentConnector2">
            <a:avLst/>
          </a:prstGeom>
          <a:noFill/>
          <a:ln w="19050" cap="flat" cmpd="sng" algn="ctr">
            <a:solidFill>
              <a:srgbClr val="D3D3D3">
                <a:lumMod val="75000"/>
              </a:srgbClr>
            </a:solidFill>
            <a:prstDash val="solid"/>
            <a:miter lim="800000"/>
          </a:ln>
          <a:effectLst/>
        </p:spPr>
      </p:cxnSp>
      <p:cxnSp>
        <p:nvCxnSpPr>
          <p:cNvPr id="70" name="Connector: Elbow 69">
            <a:extLst>
              <a:ext uri="{FF2B5EF4-FFF2-40B4-BE49-F238E27FC236}">
                <a16:creationId xmlns:a16="http://schemas.microsoft.com/office/drawing/2014/main" id="{7EC2279E-5710-645A-D2E7-DA6F1950AD40}"/>
              </a:ext>
            </a:extLst>
          </p:cNvPr>
          <p:cNvCxnSpPr>
            <a:cxnSpLocks/>
            <a:stCxn id="62" idx="2"/>
            <a:endCxn id="66" idx="1"/>
          </p:cNvCxnSpPr>
          <p:nvPr/>
        </p:nvCxnSpPr>
        <p:spPr>
          <a:xfrm rot="16200000" flipH="1">
            <a:off x="7714157" y="3297381"/>
            <a:ext cx="3531776" cy="497421"/>
          </a:xfrm>
          <a:prstGeom prst="bentConnector2">
            <a:avLst/>
          </a:prstGeom>
          <a:noFill/>
          <a:ln w="19050" cap="flat" cmpd="sng" algn="ctr">
            <a:solidFill>
              <a:srgbClr val="D3D3D3">
                <a:lumMod val="75000"/>
              </a:srgbClr>
            </a:solidFill>
            <a:prstDash val="solid"/>
            <a:miter lim="800000"/>
          </a:ln>
          <a:effectLst/>
        </p:spPr>
      </p:cxnSp>
      <p:grpSp>
        <p:nvGrpSpPr>
          <p:cNvPr id="71" name="Graphic 4" descr="Database">
            <a:extLst>
              <a:ext uri="{FF2B5EF4-FFF2-40B4-BE49-F238E27FC236}">
                <a16:creationId xmlns:a16="http://schemas.microsoft.com/office/drawing/2014/main" id="{50E363DD-E73E-AC69-BFAD-8773E96FC4F3}"/>
              </a:ext>
            </a:extLst>
          </p:cNvPr>
          <p:cNvGrpSpPr/>
          <p:nvPr/>
        </p:nvGrpSpPr>
        <p:grpSpPr>
          <a:xfrm>
            <a:off x="9923608" y="2433126"/>
            <a:ext cx="181716" cy="246615"/>
            <a:chOff x="3530187" y="2890592"/>
            <a:chExt cx="242414" cy="328990"/>
          </a:xfrm>
          <a:solidFill>
            <a:sysClr val="window" lastClr="FFFFFF"/>
          </a:solidFill>
        </p:grpSpPr>
        <p:sp>
          <p:nvSpPr>
            <p:cNvPr id="72" name="Freeform: Shape 71">
              <a:extLst>
                <a:ext uri="{FF2B5EF4-FFF2-40B4-BE49-F238E27FC236}">
                  <a16:creationId xmlns:a16="http://schemas.microsoft.com/office/drawing/2014/main" id="{FC89C811-73B4-0703-92AC-ECAF3FCA92F1}"/>
                </a:ext>
              </a:extLst>
            </p:cNvPr>
            <p:cNvSpPr/>
            <p:nvPr/>
          </p:nvSpPr>
          <p:spPr>
            <a:xfrm>
              <a:off x="3530187" y="2890592"/>
              <a:ext cx="242414" cy="69261"/>
            </a:xfrm>
            <a:custGeom>
              <a:avLst/>
              <a:gdLst>
                <a:gd name="connsiteX0" fmla="*/ 242414 w 242414"/>
                <a:gd name="connsiteY0" fmla="*/ 34631 h 69261"/>
                <a:gd name="connsiteX1" fmla="*/ 121207 w 242414"/>
                <a:gd name="connsiteY1" fmla="*/ 69261 h 69261"/>
                <a:gd name="connsiteX2" fmla="*/ 0 w 242414"/>
                <a:gd name="connsiteY2" fmla="*/ 34631 h 69261"/>
                <a:gd name="connsiteX3" fmla="*/ 121207 w 242414"/>
                <a:gd name="connsiteY3" fmla="*/ 0 h 69261"/>
                <a:gd name="connsiteX4" fmla="*/ 242414 w 242414"/>
                <a:gd name="connsiteY4" fmla="*/ 34631 h 69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14" h="69261">
                  <a:moveTo>
                    <a:pt x="242414" y="34631"/>
                  </a:moveTo>
                  <a:cubicBezTo>
                    <a:pt x="242414" y="53757"/>
                    <a:pt x="188148" y="69261"/>
                    <a:pt x="121207" y="69261"/>
                  </a:cubicBezTo>
                  <a:cubicBezTo>
                    <a:pt x="54266" y="69261"/>
                    <a:pt x="0" y="53757"/>
                    <a:pt x="0" y="34631"/>
                  </a:cubicBezTo>
                  <a:cubicBezTo>
                    <a:pt x="0" y="15505"/>
                    <a:pt x="54266" y="0"/>
                    <a:pt x="121207" y="0"/>
                  </a:cubicBezTo>
                  <a:cubicBezTo>
                    <a:pt x="188148" y="0"/>
                    <a:pt x="242414" y="15505"/>
                    <a:pt x="242414"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73" name="Freeform: Shape 72">
              <a:extLst>
                <a:ext uri="{FF2B5EF4-FFF2-40B4-BE49-F238E27FC236}">
                  <a16:creationId xmlns:a16="http://schemas.microsoft.com/office/drawing/2014/main" id="{7C5A6C5F-F1BF-C15C-59EA-3B10B25FD3EA}"/>
                </a:ext>
              </a:extLst>
            </p:cNvPr>
            <p:cNvSpPr/>
            <p:nvPr/>
          </p:nvSpPr>
          <p:spPr>
            <a:xfrm>
              <a:off x="3530187" y="2942538"/>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74" name="Freeform: Shape 73">
              <a:extLst>
                <a:ext uri="{FF2B5EF4-FFF2-40B4-BE49-F238E27FC236}">
                  <a16:creationId xmlns:a16="http://schemas.microsoft.com/office/drawing/2014/main" id="{3578BBCB-C872-68CD-9258-65936929C150}"/>
                </a:ext>
              </a:extLst>
            </p:cNvPr>
            <p:cNvSpPr/>
            <p:nvPr/>
          </p:nvSpPr>
          <p:spPr>
            <a:xfrm>
              <a:off x="3530187" y="3029114"/>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75" name="Freeform: Shape 74">
              <a:extLst>
                <a:ext uri="{FF2B5EF4-FFF2-40B4-BE49-F238E27FC236}">
                  <a16:creationId xmlns:a16="http://schemas.microsoft.com/office/drawing/2014/main" id="{5F6FCD92-1C3D-5488-2B7C-CCC608D80FAD}"/>
                </a:ext>
              </a:extLst>
            </p:cNvPr>
            <p:cNvSpPr/>
            <p:nvPr/>
          </p:nvSpPr>
          <p:spPr>
            <a:xfrm>
              <a:off x="3530187" y="3115691"/>
              <a:ext cx="242414" cy="103891"/>
            </a:xfrm>
            <a:custGeom>
              <a:avLst/>
              <a:gdLst>
                <a:gd name="connsiteX0" fmla="*/ 207784 w 242414"/>
                <a:gd name="connsiteY0" fmla="*/ 69261 h 103891"/>
                <a:gd name="connsiteX1" fmla="*/ 199126 w 242414"/>
                <a:gd name="connsiteY1" fmla="*/ 60604 h 103891"/>
                <a:gd name="connsiteX2" fmla="*/ 207784 w 242414"/>
                <a:gd name="connsiteY2" fmla="*/ 51946 h 103891"/>
                <a:gd name="connsiteX3" fmla="*/ 216441 w 242414"/>
                <a:gd name="connsiteY3" fmla="*/ 60604 h 103891"/>
                <a:gd name="connsiteX4" fmla="*/ 207784 w 242414"/>
                <a:gd name="connsiteY4" fmla="*/ 69261 h 103891"/>
                <a:gd name="connsiteX5" fmla="*/ 121207 w 242414"/>
                <a:gd name="connsiteY5" fmla="*/ 34631 h 103891"/>
                <a:gd name="connsiteX6" fmla="*/ 0 w 242414"/>
                <a:gd name="connsiteY6" fmla="*/ 0 h 103891"/>
                <a:gd name="connsiteX7" fmla="*/ 0 w 242414"/>
                <a:gd name="connsiteY7" fmla="*/ 69261 h 103891"/>
                <a:gd name="connsiteX8" fmla="*/ 121207 w 242414"/>
                <a:gd name="connsiteY8" fmla="*/ 103892 h 103891"/>
                <a:gd name="connsiteX9" fmla="*/ 242414 w 242414"/>
                <a:gd name="connsiteY9" fmla="*/ 69261 h 103891"/>
                <a:gd name="connsiteX10" fmla="*/ 242414 w 242414"/>
                <a:gd name="connsiteY10" fmla="*/ 0 h 103891"/>
                <a:gd name="connsiteX11" fmla="*/ 121207 w 242414"/>
                <a:gd name="connsiteY11" fmla="*/ 34631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14" h="103891">
                  <a:moveTo>
                    <a:pt x="207784" y="69261"/>
                  </a:moveTo>
                  <a:cubicBezTo>
                    <a:pt x="202589" y="69261"/>
                    <a:pt x="199126" y="65798"/>
                    <a:pt x="199126" y="60604"/>
                  </a:cubicBezTo>
                  <a:cubicBezTo>
                    <a:pt x="199126" y="55409"/>
                    <a:pt x="202589" y="51946"/>
                    <a:pt x="207784" y="51946"/>
                  </a:cubicBezTo>
                  <a:cubicBezTo>
                    <a:pt x="212978" y="51946"/>
                    <a:pt x="216441" y="55409"/>
                    <a:pt x="216441" y="60604"/>
                  </a:cubicBezTo>
                  <a:cubicBezTo>
                    <a:pt x="216441" y="65798"/>
                    <a:pt x="212978" y="69261"/>
                    <a:pt x="207784" y="69261"/>
                  </a:cubicBezTo>
                  <a:close/>
                  <a:moveTo>
                    <a:pt x="121207" y="34631"/>
                  </a:moveTo>
                  <a:cubicBezTo>
                    <a:pt x="54543" y="34631"/>
                    <a:pt x="0" y="19047"/>
                    <a:pt x="0" y="0"/>
                  </a:cubicBezTo>
                  <a:lnTo>
                    <a:pt x="0" y="69261"/>
                  </a:lnTo>
                  <a:cubicBezTo>
                    <a:pt x="0" y="88308"/>
                    <a:pt x="54543" y="103892"/>
                    <a:pt x="121207" y="103892"/>
                  </a:cubicBezTo>
                  <a:cubicBezTo>
                    <a:pt x="187871" y="103892"/>
                    <a:pt x="242414" y="88308"/>
                    <a:pt x="242414" y="69261"/>
                  </a:cubicBezTo>
                  <a:lnTo>
                    <a:pt x="242414" y="0"/>
                  </a:lnTo>
                  <a:cubicBezTo>
                    <a:pt x="242414" y="19047"/>
                    <a:pt x="187871" y="34631"/>
                    <a:pt x="121207" y="34631"/>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76" name="Graphic 6" descr="Research">
            <a:extLst>
              <a:ext uri="{FF2B5EF4-FFF2-40B4-BE49-F238E27FC236}">
                <a16:creationId xmlns:a16="http://schemas.microsoft.com/office/drawing/2014/main" id="{BB2D325D-C329-DC58-3522-F31FD9E06D84}"/>
              </a:ext>
            </a:extLst>
          </p:cNvPr>
          <p:cNvGrpSpPr/>
          <p:nvPr/>
        </p:nvGrpSpPr>
        <p:grpSpPr>
          <a:xfrm>
            <a:off x="9858710" y="3316916"/>
            <a:ext cx="311513" cy="311513"/>
            <a:chOff x="3443611" y="3602485"/>
            <a:chExt cx="415567" cy="415567"/>
          </a:xfrm>
          <a:solidFill>
            <a:sysClr val="window" lastClr="FFFFFF"/>
          </a:solidFill>
        </p:grpSpPr>
        <p:sp>
          <p:nvSpPr>
            <p:cNvPr id="77" name="Freeform: Shape 76">
              <a:extLst>
                <a:ext uri="{FF2B5EF4-FFF2-40B4-BE49-F238E27FC236}">
                  <a16:creationId xmlns:a16="http://schemas.microsoft.com/office/drawing/2014/main" id="{EAF33264-5D31-0409-DE57-EC243D240C31}"/>
                </a:ext>
              </a:extLst>
            </p:cNvPr>
            <p:cNvSpPr/>
            <p:nvPr/>
          </p:nvSpPr>
          <p:spPr>
            <a:xfrm>
              <a:off x="3477373" y="3638411"/>
              <a:ext cx="342520" cy="342953"/>
            </a:xfrm>
            <a:custGeom>
              <a:avLst/>
              <a:gdLst>
                <a:gd name="connsiteX0" fmla="*/ 280077 w 342520"/>
                <a:gd name="connsiteY0" fmla="*/ 237222 h 342953"/>
                <a:gd name="connsiteX1" fmla="*/ 253239 w 342520"/>
                <a:gd name="connsiteY1" fmla="*/ 228997 h 342953"/>
                <a:gd name="connsiteX2" fmla="*/ 233759 w 342520"/>
                <a:gd name="connsiteY2" fmla="*/ 209950 h 342953"/>
                <a:gd name="connsiteX3" fmla="*/ 260598 w 342520"/>
                <a:gd name="connsiteY3" fmla="*/ 131166 h 342953"/>
                <a:gd name="connsiteX4" fmla="*/ 130733 w 342520"/>
                <a:gd name="connsiteY4" fmla="*/ 2 h 342953"/>
                <a:gd name="connsiteX5" fmla="*/ 2 w 342520"/>
                <a:gd name="connsiteY5" fmla="*/ 129867 h 342953"/>
                <a:gd name="connsiteX6" fmla="*/ 129867 w 342520"/>
                <a:gd name="connsiteY6" fmla="*/ 260598 h 342953"/>
                <a:gd name="connsiteX7" fmla="*/ 209517 w 342520"/>
                <a:gd name="connsiteY7" fmla="*/ 233759 h 342953"/>
                <a:gd name="connsiteX8" fmla="*/ 228564 w 342520"/>
                <a:gd name="connsiteY8" fmla="*/ 252806 h 342953"/>
                <a:gd name="connsiteX9" fmla="*/ 236789 w 342520"/>
                <a:gd name="connsiteY9" fmla="*/ 280077 h 342953"/>
                <a:gd name="connsiteX10" fmla="*/ 290899 w 342520"/>
                <a:gd name="connsiteY10" fmla="*/ 334188 h 342953"/>
                <a:gd name="connsiteX11" fmla="*/ 333755 w 342520"/>
                <a:gd name="connsiteY11" fmla="*/ 334188 h 342953"/>
                <a:gd name="connsiteX12" fmla="*/ 333755 w 342520"/>
                <a:gd name="connsiteY12" fmla="*/ 291332 h 342953"/>
                <a:gd name="connsiteX13" fmla="*/ 280077 w 342520"/>
                <a:gd name="connsiteY13" fmla="*/ 237222 h 342953"/>
                <a:gd name="connsiteX14" fmla="*/ 130733 w 342520"/>
                <a:gd name="connsiteY14" fmla="*/ 234625 h 342953"/>
                <a:gd name="connsiteX15" fmla="*/ 26841 w 342520"/>
                <a:gd name="connsiteY15" fmla="*/ 130733 h 342953"/>
                <a:gd name="connsiteX16" fmla="*/ 130733 w 342520"/>
                <a:gd name="connsiteY16" fmla="*/ 26841 h 342953"/>
                <a:gd name="connsiteX17" fmla="*/ 234625 w 342520"/>
                <a:gd name="connsiteY17" fmla="*/ 130733 h 342953"/>
                <a:gd name="connsiteX18" fmla="*/ 130733 w 342520"/>
                <a:gd name="connsiteY18" fmla="*/ 234625 h 34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520" h="342953">
                  <a:moveTo>
                    <a:pt x="280077" y="237222"/>
                  </a:moveTo>
                  <a:cubicBezTo>
                    <a:pt x="273151" y="230296"/>
                    <a:pt x="262762" y="226833"/>
                    <a:pt x="253239" y="228997"/>
                  </a:cubicBezTo>
                  <a:lnTo>
                    <a:pt x="233759" y="209950"/>
                  </a:lnTo>
                  <a:cubicBezTo>
                    <a:pt x="251074" y="187440"/>
                    <a:pt x="260598" y="159736"/>
                    <a:pt x="260598" y="131166"/>
                  </a:cubicBezTo>
                  <a:cubicBezTo>
                    <a:pt x="261030" y="58874"/>
                    <a:pt x="202591" y="435"/>
                    <a:pt x="130733" y="2"/>
                  </a:cubicBezTo>
                  <a:cubicBezTo>
                    <a:pt x="58874" y="-430"/>
                    <a:pt x="435" y="58009"/>
                    <a:pt x="2" y="129867"/>
                  </a:cubicBezTo>
                  <a:cubicBezTo>
                    <a:pt x="-430" y="201726"/>
                    <a:pt x="58009" y="260165"/>
                    <a:pt x="129867" y="260598"/>
                  </a:cubicBezTo>
                  <a:cubicBezTo>
                    <a:pt x="158437" y="260598"/>
                    <a:pt x="186575" y="251074"/>
                    <a:pt x="209517" y="233759"/>
                  </a:cubicBezTo>
                  <a:lnTo>
                    <a:pt x="228564" y="252806"/>
                  </a:lnTo>
                  <a:cubicBezTo>
                    <a:pt x="226833" y="262762"/>
                    <a:pt x="229863" y="272718"/>
                    <a:pt x="236789" y="280077"/>
                  </a:cubicBezTo>
                  <a:lnTo>
                    <a:pt x="290899" y="334188"/>
                  </a:lnTo>
                  <a:cubicBezTo>
                    <a:pt x="302587" y="345875"/>
                    <a:pt x="322067" y="345875"/>
                    <a:pt x="333755" y="334188"/>
                  </a:cubicBezTo>
                  <a:cubicBezTo>
                    <a:pt x="345442" y="322500"/>
                    <a:pt x="345442" y="303020"/>
                    <a:pt x="333755" y="291332"/>
                  </a:cubicBezTo>
                  <a:lnTo>
                    <a:pt x="280077" y="237222"/>
                  </a:lnTo>
                  <a:close/>
                  <a:moveTo>
                    <a:pt x="130733" y="234625"/>
                  </a:moveTo>
                  <a:cubicBezTo>
                    <a:pt x="73160" y="234625"/>
                    <a:pt x="26841" y="188306"/>
                    <a:pt x="26841" y="130733"/>
                  </a:cubicBezTo>
                  <a:cubicBezTo>
                    <a:pt x="26841" y="73160"/>
                    <a:pt x="73160" y="26841"/>
                    <a:pt x="130733" y="26841"/>
                  </a:cubicBezTo>
                  <a:cubicBezTo>
                    <a:pt x="188306" y="26841"/>
                    <a:pt x="234625" y="73160"/>
                    <a:pt x="234625" y="130733"/>
                  </a:cubicBezTo>
                  <a:cubicBezTo>
                    <a:pt x="234625" y="187873"/>
                    <a:pt x="187873" y="234625"/>
                    <a:pt x="130733" y="234625"/>
                  </a:cubicBez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78" name="Freeform: Shape 77">
              <a:extLst>
                <a:ext uri="{FF2B5EF4-FFF2-40B4-BE49-F238E27FC236}">
                  <a16:creationId xmlns:a16="http://schemas.microsoft.com/office/drawing/2014/main" id="{A0773E76-5074-2DD6-5975-C6752F870C8D}"/>
                </a:ext>
              </a:extLst>
            </p:cNvPr>
            <p:cNvSpPr/>
            <p:nvPr/>
          </p:nvSpPr>
          <p:spPr>
            <a:xfrm>
              <a:off x="3515036" y="3702747"/>
              <a:ext cx="186572" cy="136956"/>
            </a:xfrm>
            <a:custGeom>
              <a:avLst/>
              <a:gdLst>
                <a:gd name="connsiteX0" fmla="*/ 186139 w 186572"/>
                <a:gd name="connsiteY0" fmla="*/ 59904 h 136956"/>
                <a:gd name="connsiteX1" fmla="*/ 161465 w 186572"/>
                <a:gd name="connsiteY1" fmla="*/ 59904 h 136956"/>
                <a:gd name="connsiteX2" fmla="*/ 155838 w 186572"/>
                <a:gd name="connsiteY2" fmla="*/ 63367 h 136956"/>
                <a:gd name="connsiteX3" fmla="*/ 139388 w 186572"/>
                <a:gd name="connsiteY3" fmla="*/ 81115 h 136956"/>
                <a:gd name="connsiteX4" fmla="*/ 125536 w 186572"/>
                <a:gd name="connsiteY4" fmla="*/ 33065 h 136956"/>
                <a:gd name="connsiteX5" fmla="*/ 116012 w 186572"/>
                <a:gd name="connsiteY5" fmla="*/ 27870 h 136956"/>
                <a:gd name="connsiteX6" fmla="*/ 110818 w 186572"/>
                <a:gd name="connsiteY6" fmla="*/ 32632 h 136956"/>
                <a:gd name="connsiteX7" fmla="*/ 84845 w 186572"/>
                <a:gd name="connsiteY7" fmla="*/ 101460 h 136956"/>
                <a:gd name="connsiteX8" fmla="*/ 67097 w 186572"/>
                <a:gd name="connsiteY8" fmla="*/ 6226 h 136956"/>
                <a:gd name="connsiteX9" fmla="*/ 58439 w 186572"/>
                <a:gd name="connsiteY9" fmla="*/ 166 h 136956"/>
                <a:gd name="connsiteX10" fmla="*/ 52379 w 186572"/>
                <a:gd name="connsiteY10" fmla="*/ 5360 h 136956"/>
                <a:gd name="connsiteX11" fmla="*/ 33765 w 186572"/>
                <a:gd name="connsiteY11" fmla="*/ 59904 h 136956"/>
                <a:gd name="connsiteX12" fmla="*/ 0 w 186572"/>
                <a:gd name="connsiteY12" fmla="*/ 59904 h 136956"/>
                <a:gd name="connsiteX13" fmla="*/ 0 w 186572"/>
                <a:gd name="connsiteY13" fmla="*/ 77219 h 136956"/>
                <a:gd name="connsiteX14" fmla="*/ 39392 w 186572"/>
                <a:gd name="connsiteY14" fmla="*/ 77219 h 136956"/>
                <a:gd name="connsiteX15" fmla="*/ 46751 w 186572"/>
                <a:gd name="connsiteY15" fmla="*/ 70726 h 136956"/>
                <a:gd name="connsiteX16" fmla="*/ 57573 w 186572"/>
                <a:gd name="connsiteY16" fmla="*/ 37827 h 136956"/>
                <a:gd name="connsiteX17" fmla="*/ 74889 w 186572"/>
                <a:gd name="connsiteY17" fmla="*/ 130896 h 136956"/>
                <a:gd name="connsiteX18" fmla="*/ 81815 w 186572"/>
                <a:gd name="connsiteY18" fmla="*/ 136957 h 136956"/>
                <a:gd name="connsiteX19" fmla="*/ 82681 w 186572"/>
                <a:gd name="connsiteY19" fmla="*/ 136957 h 136956"/>
                <a:gd name="connsiteX20" fmla="*/ 90040 w 186572"/>
                <a:gd name="connsiteY20" fmla="*/ 132195 h 136956"/>
                <a:gd name="connsiteX21" fmla="*/ 117744 w 186572"/>
                <a:gd name="connsiteY21" fmla="*/ 59471 h 136956"/>
                <a:gd name="connsiteX22" fmla="*/ 128999 w 186572"/>
                <a:gd name="connsiteY22" fmla="*/ 98430 h 136956"/>
                <a:gd name="connsiteX23" fmla="*/ 138522 w 186572"/>
                <a:gd name="connsiteY23" fmla="*/ 103625 h 136956"/>
                <a:gd name="connsiteX24" fmla="*/ 141985 w 186572"/>
                <a:gd name="connsiteY24" fmla="*/ 101460 h 136956"/>
                <a:gd name="connsiteX25" fmla="*/ 165361 w 186572"/>
                <a:gd name="connsiteY25" fmla="*/ 77219 h 136956"/>
                <a:gd name="connsiteX26" fmla="*/ 186572 w 186572"/>
                <a:gd name="connsiteY26" fmla="*/ 77219 h 136956"/>
                <a:gd name="connsiteX27" fmla="*/ 186572 w 186572"/>
                <a:gd name="connsiteY27" fmla="*/ 59904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6572" h="136956">
                  <a:moveTo>
                    <a:pt x="186139" y="59904"/>
                  </a:moveTo>
                  <a:lnTo>
                    <a:pt x="161465" y="59904"/>
                  </a:lnTo>
                  <a:cubicBezTo>
                    <a:pt x="159301" y="60337"/>
                    <a:pt x="157136" y="61635"/>
                    <a:pt x="155838" y="63367"/>
                  </a:cubicBezTo>
                  <a:lnTo>
                    <a:pt x="139388" y="81115"/>
                  </a:lnTo>
                  <a:lnTo>
                    <a:pt x="125536" y="33065"/>
                  </a:lnTo>
                  <a:cubicBezTo>
                    <a:pt x="124237" y="29169"/>
                    <a:pt x="119908" y="26572"/>
                    <a:pt x="116012" y="27870"/>
                  </a:cubicBezTo>
                  <a:cubicBezTo>
                    <a:pt x="113848" y="28736"/>
                    <a:pt x="111684" y="30035"/>
                    <a:pt x="110818" y="32632"/>
                  </a:cubicBezTo>
                  <a:lnTo>
                    <a:pt x="84845" y="101460"/>
                  </a:lnTo>
                  <a:lnTo>
                    <a:pt x="67097" y="6226"/>
                  </a:lnTo>
                  <a:cubicBezTo>
                    <a:pt x="66231" y="1897"/>
                    <a:pt x="62335" y="-700"/>
                    <a:pt x="58439" y="166"/>
                  </a:cubicBezTo>
                  <a:cubicBezTo>
                    <a:pt x="55842" y="599"/>
                    <a:pt x="53677" y="2763"/>
                    <a:pt x="52379" y="5360"/>
                  </a:cubicBezTo>
                  <a:lnTo>
                    <a:pt x="33765" y="59904"/>
                  </a:lnTo>
                  <a:lnTo>
                    <a:pt x="0" y="59904"/>
                  </a:lnTo>
                  <a:lnTo>
                    <a:pt x="0" y="77219"/>
                  </a:lnTo>
                  <a:lnTo>
                    <a:pt x="39392" y="77219"/>
                  </a:lnTo>
                  <a:cubicBezTo>
                    <a:pt x="42855" y="76786"/>
                    <a:pt x="45886" y="74189"/>
                    <a:pt x="46751" y="70726"/>
                  </a:cubicBezTo>
                  <a:lnTo>
                    <a:pt x="57573" y="37827"/>
                  </a:lnTo>
                  <a:lnTo>
                    <a:pt x="74889" y="130896"/>
                  </a:lnTo>
                  <a:cubicBezTo>
                    <a:pt x="75322" y="134359"/>
                    <a:pt x="78352" y="136957"/>
                    <a:pt x="81815" y="136957"/>
                  </a:cubicBezTo>
                  <a:lnTo>
                    <a:pt x="82681" y="136957"/>
                  </a:lnTo>
                  <a:cubicBezTo>
                    <a:pt x="85711" y="136957"/>
                    <a:pt x="88741" y="135225"/>
                    <a:pt x="90040" y="132195"/>
                  </a:cubicBezTo>
                  <a:lnTo>
                    <a:pt x="117744" y="59471"/>
                  </a:lnTo>
                  <a:lnTo>
                    <a:pt x="128999" y="98430"/>
                  </a:lnTo>
                  <a:cubicBezTo>
                    <a:pt x="130298" y="102326"/>
                    <a:pt x="134194" y="104923"/>
                    <a:pt x="138522" y="103625"/>
                  </a:cubicBezTo>
                  <a:cubicBezTo>
                    <a:pt x="139821" y="103192"/>
                    <a:pt x="141120" y="102326"/>
                    <a:pt x="141985" y="101460"/>
                  </a:cubicBezTo>
                  <a:lnTo>
                    <a:pt x="165361" y="77219"/>
                  </a:lnTo>
                  <a:lnTo>
                    <a:pt x="186572" y="77219"/>
                  </a:lnTo>
                  <a:lnTo>
                    <a:pt x="186572" y="59904"/>
                  </a:lnTo>
                  <a:close/>
                </a:path>
              </a:pathLst>
            </a:custGeom>
            <a:grp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79" name="Graphic 8" descr="Stopwatch">
            <a:extLst>
              <a:ext uri="{FF2B5EF4-FFF2-40B4-BE49-F238E27FC236}">
                <a16:creationId xmlns:a16="http://schemas.microsoft.com/office/drawing/2014/main" id="{5FD8BF99-079D-196D-B477-E5BCBC60A527}"/>
              </a:ext>
            </a:extLst>
          </p:cNvPr>
          <p:cNvGrpSpPr/>
          <p:nvPr/>
        </p:nvGrpSpPr>
        <p:grpSpPr>
          <a:xfrm>
            <a:off x="9858710" y="4236569"/>
            <a:ext cx="311513" cy="311513"/>
            <a:chOff x="3443611" y="4357666"/>
            <a:chExt cx="415567" cy="415567"/>
          </a:xfrm>
        </p:grpSpPr>
        <p:sp>
          <p:nvSpPr>
            <p:cNvPr id="80" name="Freeform: Shape 79">
              <a:extLst>
                <a:ext uri="{FF2B5EF4-FFF2-40B4-BE49-F238E27FC236}">
                  <a16:creationId xmlns:a16="http://schemas.microsoft.com/office/drawing/2014/main" id="{1C516EE2-97D6-D6A0-83BF-EEA6DA0D7CB3}"/>
                </a:ext>
              </a:extLst>
            </p:cNvPr>
            <p:cNvSpPr/>
            <p:nvPr/>
          </p:nvSpPr>
          <p:spPr>
            <a:xfrm>
              <a:off x="3642736" y="4491859"/>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1" name="Freeform: Shape 80">
              <a:extLst>
                <a:ext uri="{FF2B5EF4-FFF2-40B4-BE49-F238E27FC236}">
                  <a16:creationId xmlns:a16="http://schemas.microsoft.com/office/drawing/2014/main" id="{16612B99-FDAF-C699-0373-4B1C9B76B5FE}"/>
                </a:ext>
              </a:extLst>
            </p:cNvPr>
            <p:cNvSpPr/>
            <p:nvPr/>
          </p:nvSpPr>
          <p:spPr>
            <a:xfrm>
              <a:off x="3642736" y="4665012"/>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2" name="Freeform: Shape 81">
              <a:extLst>
                <a:ext uri="{FF2B5EF4-FFF2-40B4-BE49-F238E27FC236}">
                  <a16:creationId xmlns:a16="http://schemas.microsoft.com/office/drawing/2014/main" id="{CF5ECD45-65C4-AD8B-B6F6-A39B279B0981}"/>
                </a:ext>
              </a:extLst>
            </p:cNvPr>
            <p:cNvSpPr/>
            <p:nvPr/>
          </p:nvSpPr>
          <p:spPr>
            <a:xfrm>
              <a:off x="3729313" y="4574107"/>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3" name="Freeform: Shape 82">
              <a:extLst>
                <a:ext uri="{FF2B5EF4-FFF2-40B4-BE49-F238E27FC236}">
                  <a16:creationId xmlns:a16="http://schemas.microsoft.com/office/drawing/2014/main" id="{47300897-E5A5-A5CF-B325-C6700EB0D7CA}"/>
                </a:ext>
              </a:extLst>
            </p:cNvPr>
            <p:cNvSpPr/>
            <p:nvPr/>
          </p:nvSpPr>
          <p:spPr>
            <a:xfrm>
              <a:off x="3556160" y="4574107"/>
              <a:ext cx="17315" cy="17315"/>
            </a:xfrm>
            <a:custGeom>
              <a:avLst/>
              <a:gdLst>
                <a:gd name="connsiteX0" fmla="*/ 17315 w 17315"/>
                <a:gd name="connsiteY0" fmla="*/ 8658 h 17315"/>
                <a:gd name="connsiteX1" fmla="*/ 8658 w 17315"/>
                <a:gd name="connsiteY1" fmla="*/ 17315 h 17315"/>
                <a:gd name="connsiteX2" fmla="*/ 0 w 17315"/>
                <a:gd name="connsiteY2" fmla="*/ 8658 h 17315"/>
                <a:gd name="connsiteX3" fmla="*/ 8658 w 17315"/>
                <a:gd name="connsiteY3" fmla="*/ 0 h 17315"/>
                <a:gd name="connsiteX4" fmla="*/ 17315 w 17315"/>
                <a:gd name="connsiteY4" fmla="*/ 8658 h 17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15" h="17315">
                  <a:moveTo>
                    <a:pt x="17315" y="8658"/>
                  </a:moveTo>
                  <a:cubicBezTo>
                    <a:pt x="17315" y="13439"/>
                    <a:pt x="13439" y="17315"/>
                    <a:pt x="8658" y="17315"/>
                  </a:cubicBezTo>
                  <a:cubicBezTo>
                    <a:pt x="3876" y="17315"/>
                    <a:pt x="0" y="13439"/>
                    <a:pt x="0" y="8658"/>
                  </a:cubicBezTo>
                  <a:cubicBezTo>
                    <a:pt x="0" y="3876"/>
                    <a:pt x="3876" y="0"/>
                    <a:pt x="8658" y="0"/>
                  </a:cubicBezTo>
                  <a:cubicBezTo>
                    <a:pt x="13439" y="0"/>
                    <a:pt x="17315" y="3876"/>
                    <a:pt x="17315" y="8658"/>
                  </a:cubicBez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4" name="Freeform: Shape 83">
              <a:extLst>
                <a:ext uri="{FF2B5EF4-FFF2-40B4-BE49-F238E27FC236}">
                  <a16:creationId xmlns:a16="http://schemas.microsoft.com/office/drawing/2014/main" id="{1EC4E9EA-D1A9-B21F-E07E-A7D1C21E4962}"/>
                </a:ext>
              </a:extLst>
            </p:cNvPr>
            <p:cNvSpPr/>
            <p:nvPr/>
          </p:nvSpPr>
          <p:spPr>
            <a:xfrm>
              <a:off x="3642736" y="4522161"/>
              <a:ext cx="57573" cy="109519"/>
            </a:xfrm>
            <a:custGeom>
              <a:avLst/>
              <a:gdLst>
                <a:gd name="connsiteX0" fmla="*/ 17315 w 57573"/>
                <a:gd name="connsiteY0" fmla="*/ 0 h 109519"/>
                <a:gd name="connsiteX1" fmla="*/ 0 w 57573"/>
                <a:gd name="connsiteY1" fmla="*/ 0 h 109519"/>
                <a:gd name="connsiteX2" fmla="*/ 0 w 57573"/>
                <a:gd name="connsiteY2" fmla="*/ 60604 h 109519"/>
                <a:gd name="connsiteX3" fmla="*/ 2597 w 57573"/>
                <a:gd name="connsiteY3" fmla="*/ 66664 h 109519"/>
                <a:gd name="connsiteX4" fmla="*/ 45453 w 57573"/>
                <a:gd name="connsiteY4" fmla="*/ 109519 h 109519"/>
                <a:gd name="connsiteX5" fmla="*/ 57573 w 57573"/>
                <a:gd name="connsiteY5" fmla="*/ 97399 h 109519"/>
                <a:gd name="connsiteX6" fmla="*/ 17315 w 57573"/>
                <a:gd name="connsiteY6" fmla="*/ 57140 h 109519"/>
                <a:gd name="connsiteX7" fmla="*/ 17315 w 57573"/>
                <a:gd name="connsiteY7" fmla="*/ 0 h 10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73" h="109519">
                  <a:moveTo>
                    <a:pt x="17315" y="0"/>
                  </a:moveTo>
                  <a:lnTo>
                    <a:pt x="0" y="0"/>
                  </a:lnTo>
                  <a:lnTo>
                    <a:pt x="0" y="60604"/>
                  </a:lnTo>
                  <a:cubicBezTo>
                    <a:pt x="0" y="62768"/>
                    <a:pt x="866" y="64932"/>
                    <a:pt x="2597" y="66664"/>
                  </a:cubicBezTo>
                  <a:lnTo>
                    <a:pt x="45453" y="109519"/>
                  </a:lnTo>
                  <a:lnTo>
                    <a:pt x="57573" y="97399"/>
                  </a:lnTo>
                  <a:lnTo>
                    <a:pt x="17315" y="57140"/>
                  </a:lnTo>
                  <a:lnTo>
                    <a:pt x="17315" y="0"/>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5" name="Freeform: Shape 84">
              <a:extLst>
                <a:ext uri="{FF2B5EF4-FFF2-40B4-BE49-F238E27FC236}">
                  <a16:creationId xmlns:a16="http://schemas.microsoft.com/office/drawing/2014/main" id="{E4E160E4-F7F5-CEE3-DFBB-5FF28EC1C51D}"/>
                </a:ext>
              </a:extLst>
            </p:cNvPr>
            <p:cNvSpPr/>
            <p:nvPr/>
          </p:nvSpPr>
          <p:spPr>
            <a:xfrm>
              <a:off x="3504346" y="4396625"/>
              <a:ext cx="294617" cy="337412"/>
            </a:xfrm>
            <a:custGeom>
              <a:avLst/>
              <a:gdLst>
                <a:gd name="connsiteX0" fmla="*/ 147048 w 294617"/>
                <a:gd name="connsiteY0" fmla="*/ 311675 h 337412"/>
                <a:gd name="connsiteX1" fmla="*/ 25841 w 294617"/>
                <a:gd name="connsiteY1" fmla="*/ 190468 h 337412"/>
                <a:gd name="connsiteX2" fmla="*/ 147048 w 294617"/>
                <a:gd name="connsiteY2" fmla="*/ 69261 h 337412"/>
                <a:gd name="connsiteX3" fmla="*/ 268255 w 294617"/>
                <a:gd name="connsiteY3" fmla="*/ 190468 h 337412"/>
                <a:gd name="connsiteX4" fmla="*/ 147048 w 294617"/>
                <a:gd name="connsiteY4" fmla="*/ 311675 h 337412"/>
                <a:gd name="connsiteX5" fmla="*/ 147048 w 294617"/>
                <a:gd name="connsiteY5" fmla="*/ 311675 h 337412"/>
                <a:gd name="connsiteX6" fmla="*/ 249641 w 294617"/>
                <a:gd name="connsiteY6" fmla="*/ 84845 h 337412"/>
                <a:gd name="connsiteX7" fmla="*/ 262627 w 294617"/>
                <a:gd name="connsiteY7" fmla="*/ 71858 h 337412"/>
                <a:gd name="connsiteX8" fmla="*/ 262194 w 294617"/>
                <a:gd name="connsiteY8" fmla="*/ 53677 h 337412"/>
                <a:gd name="connsiteX9" fmla="*/ 244013 w 294617"/>
                <a:gd name="connsiteY9" fmla="*/ 53245 h 337412"/>
                <a:gd name="connsiteX10" fmla="*/ 229295 w 294617"/>
                <a:gd name="connsiteY10" fmla="*/ 68395 h 337412"/>
                <a:gd name="connsiteX11" fmla="*/ 160034 w 294617"/>
                <a:gd name="connsiteY11" fmla="*/ 44154 h 337412"/>
                <a:gd name="connsiteX12" fmla="*/ 160034 w 294617"/>
                <a:gd name="connsiteY12" fmla="*/ 25973 h 337412"/>
                <a:gd name="connsiteX13" fmla="*/ 198994 w 294617"/>
                <a:gd name="connsiteY13" fmla="*/ 25973 h 337412"/>
                <a:gd name="connsiteX14" fmla="*/ 198994 w 294617"/>
                <a:gd name="connsiteY14" fmla="*/ 0 h 337412"/>
                <a:gd name="connsiteX15" fmla="*/ 95102 w 294617"/>
                <a:gd name="connsiteY15" fmla="*/ 0 h 337412"/>
                <a:gd name="connsiteX16" fmla="*/ 95102 w 294617"/>
                <a:gd name="connsiteY16" fmla="*/ 25973 h 337412"/>
                <a:gd name="connsiteX17" fmla="*/ 134061 w 294617"/>
                <a:gd name="connsiteY17" fmla="*/ 25973 h 337412"/>
                <a:gd name="connsiteX18" fmla="*/ 134061 w 294617"/>
                <a:gd name="connsiteY18" fmla="*/ 43721 h 337412"/>
                <a:gd name="connsiteX19" fmla="*/ 1166 w 294617"/>
                <a:gd name="connsiteY19" fmla="*/ 171854 h 337412"/>
                <a:gd name="connsiteX20" fmla="*/ 98132 w 294617"/>
                <a:gd name="connsiteY20" fmla="*/ 328991 h 337412"/>
                <a:gd name="connsiteX21" fmla="*/ 272584 w 294617"/>
                <a:gd name="connsiteY21" fmla="*/ 267954 h 337412"/>
                <a:gd name="connsiteX22" fmla="*/ 249641 w 294617"/>
                <a:gd name="connsiteY22" fmla="*/ 84845 h 337412"/>
                <a:gd name="connsiteX23" fmla="*/ 249641 w 294617"/>
                <a:gd name="connsiteY23" fmla="*/ 84845 h 33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4617" h="337412">
                  <a:moveTo>
                    <a:pt x="147048" y="311675"/>
                  </a:moveTo>
                  <a:cubicBezTo>
                    <a:pt x="79951" y="311675"/>
                    <a:pt x="25841" y="257565"/>
                    <a:pt x="25841" y="190468"/>
                  </a:cubicBezTo>
                  <a:cubicBezTo>
                    <a:pt x="25841" y="123371"/>
                    <a:pt x="79951" y="69261"/>
                    <a:pt x="147048" y="69261"/>
                  </a:cubicBezTo>
                  <a:cubicBezTo>
                    <a:pt x="214144" y="69261"/>
                    <a:pt x="268255" y="123371"/>
                    <a:pt x="268255" y="190468"/>
                  </a:cubicBezTo>
                  <a:cubicBezTo>
                    <a:pt x="268255" y="257565"/>
                    <a:pt x="214144" y="311675"/>
                    <a:pt x="147048" y="311675"/>
                  </a:cubicBezTo>
                  <a:lnTo>
                    <a:pt x="147048" y="311675"/>
                  </a:lnTo>
                  <a:close/>
                  <a:moveTo>
                    <a:pt x="249641" y="84845"/>
                  </a:moveTo>
                  <a:lnTo>
                    <a:pt x="262627" y="71858"/>
                  </a:lnTo>
                  <a:cubicBezTo>
                    <a:pt x="267389" y="66664"/>
                    <a:pt x="267389" y="58872"/>
                    <a:pt x="262194" y="53677"/>
                  </a:cubicBezTo>
                  <a:cubicBezTo>
                    <a:pt x="257433" y="48916"/>
                    <a:pt x="249208" y="48483"/>
                    <a:pt x="244013" y="53245"/>
                  </a:cubicBezTo>
                  <a:lnTo>
                    <a:pt x="229295" y="68395"/>
                  </a:lnTo>
                  <a:cubicBezTo>
                    <a:pt x="208517" y="54543"/>
                    <a:pt x="184708" y="45886"/>
                    <a:pt x="160034" y="44154"/>
                  </a:cubicBezTo>
                  <a:lnTo>
                    <a:pt x="160034" y="25973"/>
                  </a:lnTo>
                  <a:lnTo>
                    <a:pt x="198994" y="25973"/>
                  </a:lnTo>
                  <a:lnTo>
                    <a:pt x="198994" y="0"/>
                  </a:lnTo>
                  <a:lnTo>
                    <a:pt x="95102" y="0"/>
                  </a:lnTo>
                  <a:lnTo>
                    <a:pt x="95102" y="25973"/>
                  </a:lnTo>
                  <a:lnTo>
                    <a:pt x="134061" y="25973"/>
                  </a:lnTo>
                  <a:lnTo>
                    <a:pt x="134061" y="43721"/>
                  </a:lnTo>
                  <a:cubicBezTo>
                    <a:pt x="65233" y="49781"/>
                    <a:pt x="9824" y="103026"/>
                    <a:pt x="1166" y="171854"/>
                  </a:cubicBezTo>
                  <a:cubicBezTo>
                    <a:pt x="-7491" y="240683"/>
                    <a:pt x="32767" y="306048"/>
                    <a:pt x="98132" y="328991"/>
                  </a:cubicBezTo>
                  <a:cubicBezTo>
                    <a:pt x="163497" y="351933"/>
                    <a:pt x="235789" y="326826"/>
                    <a:pt x="272584" y="267954"/>
                  </a:cubicBezTo>
                  <a:cubicBezTo>
                    <a:pt x="309379" y="209082"/>
                    <a:pt x="298989" y="132895"/>
                    <a:pt x="249641" y="84845"/>
                  </a:cubicBezTo>
                  <a:lnTo>
                    <a:pt x="249641" y="84845"/>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grpSp>
      <p:grpSp>
        <p:nvGrpSpPr>
          <p:cNvPr id="86" name="Graphic 10" descr="Bar graph with upward trend">
            <a:extLst>
              <a:ext uri="{FF2B5EF4-FFF2-40B4-BE49-F238E27FC236}">
                <a16:creationId xmlns:a16="http://schemas.microsoft.com/office/drawing/2014/main" id="{04F5AD91-F6DE-B6EF-EBE7-0ABDE379DEEF}"/>
              </a:ext>
            </a:extLst>
          </p:cNvPr>
          <p:cNvGrpSpPr/>
          <p:nvPr/>
        </p:nvGrpSpPr>
        <p:grpSpPr>
          <a:xfrm>
            <a:off x="9858710" y="5156222"/>
            <a:ext cx="311513" cy="311513"/>
            <a:chOff x="3443611" y="5112846"/>
            <a:chExt cx="415567" cy="415567"/>
          </a:xfrm>
        </p:grpSpPr>
        <p:sp>
          <p:nvSpPr>
            <p:cNvPr id="87" name="Freeform: Shape 86">
              <a:extLst>
                <a:ext uri="{FF2B5EF4-FFF2-40B4-BE49-F238E27FC236}">
                  <a16:creationId xmlns:a16="http://schemas.microsoft.com/office/drawing/2014/main" id="{B1A45532-EA09-EFDB-E4C8-EA626D6C930A}"/>
                </a:ext>
              </a:extLst>
            </p:cNvPr>
            <p:cNvSpPr/>
            <p:nvPr/>
          </p:nvSpPr>
          <p:spPr>
            <a:xfrm>
              <a:off x="3504214" y="5169120"/>
              <a:ext cx="298688" cy="303017"/>
            </a:xfrm>
            <a:custGeom>
              <a:avLst/>
              <a:gdLst>
                <a:gd name="connsiteX0" fmla="*/ 25973 w 298688"/>
                <a:gd name="connsiteY0" fmla="*/ 0 h 303017"/>
                <a:gd name="connsiteX1" fmla="*/ 0 w 298688"/>
                <a:gd name="connsiteY1" fmla="*/ 0 h 303017"/>
                <a:gd name="connsiteX2" fmla="*/ 0 w 298688"/>
                <a:gd name="connsiteY2" fmla="*/ 303018 h 303017"/>
                <a:gd name="connsiteX3" fmla="*/ 298689 w 298688"/>
                <a:gd name="connsiteY3" fmla="*/ 303018 h 303017"/>
                <a:gd name="connsiteX4" fmla="*/ 298689 w 298688"/>
                <a:gd name="connsiteY4" fmla="*/ 277045 h 303017"/>
                <a:gd name="connsiteX5" fmla="*/ 25973 w 298688"/>
                <a:gd name="connsiteY5" fmla="*/ 277045 h 303017"/>
                <a:gd name="connsiteX6" fmla="*/ 25973 w 298688"/>
                <a:gd name="connsiteY6" fmla="*/ 0 h 30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688" h="303017">
                  <a:moveTo>
                    <a:pt x="25973" y="0"/>
                  </a:moveTo>
                  <a:lnTo>
                    <a:pt x="0" y="0"/>
                  </a:lnTo>
                  <a:lnTo>
                    <a:pt x="0" y="303018"/>
                  </a:lnTo>
                  <a:lnTo>
                    <a:pt x="298689" y="303018"/>
                  </a:lnTo>
                  <a:lnTo>
                    <a:pt x="298689" y="277045"/>
                  </a:lnTo>
                  <a:lnTo>
                    <a:pt x="25973" y="277045"/>
                  </a:lnTo>
                  <a:lnTo>
                    <a:pt x="25973" y="0"/>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8" name="Freeform: Shape 87">
              <a:extLst>
                <a:ext uri="{FF2B5EF4-FFF2-40B4-BE49-F238E27FC236}">
                  <a16:creationId xmlns:a16="http://schemas.microsoft.com/office/drawing/2014/main" id="{8A09469B-1922-2B31-8177-E83AE2920B13}"/>
                </a:ext>
              </a:extLst>
            </p:cNvPr>
            <p:cNvSpPr/>
            <p:nvPr/>
          </p:nvSpPr>
          <p:spPr>
            <a:xfrm rot="-10800000">
              <a:off x="3737970" y="5169120"/>
              <a:ext cx="64932" cy="251071"/>
            </a:xfrm>
            <a:custGeom>
              <a:avLst/>
              <a:gdLst>
                <a:gd name="connsiteX0" fmla="*/ 0 w 64932"/>
                <a:gd name="connsiteY0" fmla="*/ 0 h 251071"/>
                <a:gd name="connsiteX1" fmla="*/ 64932 w 64932"/>
                <a:gd name="connsiteY1" fmla="*/ 0 h 251071"/>
                <a:gd name="connsiteX2" fmla="*/ 64932 w 64932"/>
                <a:gd name="connsiteY2" fmla="*/ 251072 h 251071"/>
                <a:gd name="connsiteX3" fmla="*/ 0 w 64932"/>
                <a:gd name="connsiteY3" fmla="*/ 251072 h 251071"/>
              </a:gdLst>
              <a:ahLst/>
              <a:cxnLst>
                <a:cxn ang="0">
                  <a:pos x="connsiteX0" y="connsiteY0"/>
                </a:cxn>
                <a:cxn ang="0">
                  <a:pos x="connsiteX1" y="connsiteY1"/>
                </a:cxn>
                <a:cxn ang="0">
                  <a:pos x="connsiteX2" y="connsiteY2"/>
                </a:cxn>
                <a:cxn ang="0">
                  <a:pos x="connsiteX3" y="connsiteY3"/>
                </a:cxn>
              </a:cxnLst>
              <a:rect l="l" t="t" r="r" b="b"/>
              <a:pathLst>
                <a:path w="64932" h="251071">
                  <a:moveTo>
                    <a:pt x="0" y="0"/>
                  </a:moveTo>
                  <a:lnTo>
                    <a:pt x="64932" y="0"/>
                  </a:lnTo>
                  <a:lnTo>
                    <a:pt x="64932" y="251072"/>
                  </a:lnTo>
                  <a:lnTo>
                    <a:pt x="0" y="251072"/>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89" name="Freeform: Shape 88">
              <a:extLst>
                <a:ext uri="{FF2B5EF4-FFF2-40B4-BE49-F238E27FC236}">
                  <a16:creationId xmlns:a16="http://schemas.microsoft.com/office/drawing/2014/main" id="{F991DE8C-28A2-C54F-3D36-85D64CF1EA7A}"/>
                </a:ext>
              </a:extLst>
            </p:cNvPr>
            <p:cNvSpPr/>
            <p:nvPr/>
          </p:nvSpPr>
          <p:spPr>
            <a:xfrm rot="-10800000">
              <a:off x="3647065" y="5255697"/>
              <a:ext cx="64932" cy="164495"/>
            </a:xfrm>
            <a:custGeom>
              <a:avLst/>
              <a:gdLst>
                <a:gd name="connsiteX0" fmla="*/ 0 w 64932"/>
                <a:gd name="connsiteY0" fmla="*/ 0 h 164495"/>
                <a:gd name="connsiteX1" fmla="*/ 64932 w 64932"/>
                <a:gd name="connsiteY1" fmla="*/ 0 h 164495"/>
                <a:gd name="connsiteX2" fmla="*/ 64932 w 64932"/>
                <a:gd name="connsiteY2" fmla="*/ 164495 h 164495"/>
                <a:gd name="connsiteX3" fmla="*/ 0 w 64932"/>
                <a:gd name="connsiteY3" fmla="*/ 164495 h 164495"/>
              </a:gdLst>
              <a:ahLst/>
              <a:cxnLst>
                <a:cxn ang="0">
                  <a:pos x="connsiteX0" y="connsiteY0"/>
                </a:cxn>
                <a:cxn ang="0">
                  <a:pos x="connsiteX1" y="connsiteY1"/>
                </a:cxn>
                <a:cxn ang="0">
                  <a:pos x="connsiteX2" y="connsiteY2"/>
                </a:cxn>
                <a:cxn ang="0">
                  <a:pos x="connsiteX3" y="connsiteY3"/>
                </a:cxn>
              </a:cxnLst>
              <a:rect l="l" t="t" r="r" b="b"/>
              <a:pathLst>
                <a:path w="64932" h="164495">
                  <a:moveTo>
                    <a:pt x="0" y="0"/>
                  </a:moveTo>
                  <a:lnTo>
                    <a:pt x="64932" y="0"/>
                  </a:lnTo>
                  <a:lnTo>
                    <a:pt x="64932" y="164495"/>
                  </a:lnTo>
                  <a:lnTo>
                    <a:pt x="0" y="164495"/>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90" name="Freeform: Shape 89">
              <a:extLst>
                <a:ext uri="{FF2B5EF4-FFF2-40B4-BE49-F238E27FC236}">
                  <a16:creationId xmlns:a16="http://schemas.microsoft.com/office/drawing/2014/main" id="{5CE2B6C4-98EF-FC5F-3F15-BE849D5599D7}"/>
                </a:ext>
              </a:extLst>
            </p:cNvPr>
            <p:cNvSpPr/>
            <p:nvPr/>
          </p:nvSpPr>
          <p:spPr>
            <a:xfrm rot="-10800000">
              <a:off x="3556160" y="5333615"/>
              <a:ext cx="64932" cy="86576"/>
            </a:xfrm>
            <a:custGeom>
              <a:avLst/>
              <a:gdLst>
                <a:gd name="connsiteX0" fmla="*/ 0 w 64932"/>
                <a:gd name="connsiteY0" fmla="*/ 0 h 86576"/>
                <a:gd name="connsiteX1" fmla="*/ 64932 w 64932"/>
                <a:gd name="connsiteY1" fmla="*/ 0 h 86576"/>
                <a:gd name="connsiteX2" fmla="*/ 64932 w 64932"/>
                <a:gd name="connsiteY2" fmla="*/ 86576 h 86576"/>
                <a:gd name="connsiteX3" fmla="*/ 0 w 64932"/>
                <a:gd name="connsiteY3" fmla="*/ 86576 h 86576"/>
              </a:gdLst>
              <a:ahLst/>
              <a:cxnLst>
                <a:cxn ang="0">
                  <a:pos x="connsiteX0" y="connsiteY0"/>
                </a:cxn>
                <a:cxn ang="0">
                  <a:pos x="connsiteX1" y="connsiteY1"/>
                </a:cxn>
                <a:cxn ang="0">
                  <a:pos x="connsiteX2" y="connsiteY2"/>
                </a:cxn>
                <a:cxn ang="0">
                  <a:pos x="connsiteX3" y="connsiteY3"/>
                </a:cxn>
              </a:cxnLst>
              <a:rect l="l" t="t" r="r" b="b"/>
              <a:pathLst>
                <a:path w="64932" h="86576">
                  <a:moveTo>
                    <a:pt x="0" y="0"/>
                  </a:moveTo>
                  <a:lnTo>
                    <a:pt x="64932" y="0"/>
                  </a:lnTo>
                  <a:lnTo>
                    <a:pt x="64932" y="86576"/>
                  </a:lnTo>
                  <a:lnTo>
                    <a:pt x="0" y="86576"/>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sp>
          <p:nvSpPr>
            <p:cNvPr id="91" name="Freeform: Shape 90">
              <a:extLst>
                <a:ext uri="{FF2B5EF4-FFF2-40B4-BE49-F238E27FC236}">
                  <a16:creationId xmlns:a16="http://schemas.microsoft.com/office/drawing/2014/main" id="{418B42D1-9072-53F1-4B2C-A7D54203985F}"/>
                </a:ext>
              </a:extLst>
            </p:cNvPr>
            <p:cNvSpPr/>
            <p:nvPr/>
          </p:nvSpPr>
          <p:spPr>
            <a:xfrm>
              <a:off x="3554385" y="5169120"/>
              <a:ext cx="140297" cy="140297"/>
            </a:xfrm>
            <a:custGeom>
              <a:avLst/>
              <a:gdLst>
                <a:gd name="connsiteX0" fmla="*/ 140297 w 140297"/>
                <a:gd name="connsiteY0" fmla="*/ 59478 h 140297"/>
                <a:gd name="connsiteX1" fmla="*/ 140297 w 140297"/>
                <a:gd name="connsiteY1" fmla="*/ 0 h 140297"/>
                <a:gd name="connsiteX2" fmla="*/ 80819 w 140297"/>
                <a:gd name="connsiteY2" fmla="*/ 0 h 140297"/>
                <a:gd name="connsiteX3" fmla="*/ 104455 w 140297"/>
                <a:gd name="connsiteY3" fmla="*/ 23635 h 140297"/>
                <a:gd name="connsiteX4" fmla="*/ 0 w 140297"/>
                <a:gd name="connsiteY4" fmla="*/ 128090 h 140297"/>
                <a:gd name="connsiteX5" fmla="*/ 12207 w 140297"/>
                <a:gd name="connsiteY5" fmla="*/ 140297 h 140297"/>
                <a:gd name="connsiteX6" fmla="*/ 116662 w 140297"/>
                <a:gd name="connsiteY6" fmla="*/ 35886 h 140297"/>
                <a:gd name="connsiteX7" fmla="*/ 140297 w 140297"/>
                <a:gd name="connsiteY7" fmla="*/ 59478 h 14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297" h="140297">
                  <a:moveTo>
                    <a:pt x="140297" y="59478"/>
                  </a:moveTo>
                  <a:lnTo>
                    <a:pt x="140297" y="0"/>
                  </a:lnTo>
                  <a:lnTo>
                    <a:pt x="80819" y="0"/>
                  </a:lnTo>
                  <a:lnTo>
                    <a:pt x="104455" y="23635"/>
                  </a:lnTo>
                  <a:lnTo>
                    <a:pt x="0" y="128090"/>
                  </a:lnTo>
                  <a:lnTo>
                    <a:pt x="12207" y="140297"/>
                  </a:lnTo>
                  <a:lnTo>
                    <a:pt x="116662" y="35886"/>
                  </a:lnTo>
                  <a:lnTo>
                    <a:pt x="140297" y="59478"/>
                  </a:lnTo>
                  <a:close/>
                </a:path>
              </a:pathLst>
            </a:custGeom>
            <a:solidFill>
              <a:srgbClr val="000000"/>
            </a:solidFill>
            <a:ln w="4266"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endParaRPr lang="en-US" sz="1349">
                <a:solidFill>
                  <a:prstClr val="black"/>
                </a:solidFill>
                <a:latin typeface="Calibri" panose="020F0502020204030204"/>
              </a:endParaRPr>
            </a:p>
          </p:txBody>
        </p:sp>
      </p:grpSp>
    </p:spTree>
    <p:extLst>
      <p:ext uri="{BB962C8B-B14F-4D97-AF65-F5344CB8AC3E}">
        <p14:creationId xmlns:p14="http://schemas.microsoft.com/office/powerpoint/2010/main" val="606374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7614C-9D94-CF5D-4902-6A2BC7A53A2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79763415-BB0A-8E2A-C652-6444065EFE6F}"/>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77" name="Group 76">
            <a:extLst>
              <a:ext uri="{FF2B5EF4-FFF2-40B4-BE49-F238E27FC236}">
                <a16:creationId xmlns:a16="http://schemas.microsoft.com/office/drawing/2014/main" id="{F1C63A4D-1113-32D0-1DE0-C572D6AA344E}"/>
              </a:ext>
            </a:extLst>
          </p:cNvPr>
          <p:cNvGrpSpPr/>
          <p:nvPr/>
        </p:nvGrpSpPr>
        <p:grpSpPr>
          <a:xfrm>
            <a:off x="7550492" y="3550887"/>
            <a:ext cx="1448326" cy="1720772"/>
            <a:chOff x="8921977" y="1394910"/>
            <a:chExt cx="2926080" cy="2295557"/>
          </a:xfrm>
        </p:grpSpPr>
        <p:sp>
          <p:nvSpPr>
            <p:cNvPr id="78" name="TextBox 77">
              <a:extLst>
                <a:ext uri="{FF2B5EF4-FFF2-40B4-BE49-F238E27FC236}">
                  <a16:creationId xmlns:a16="http://schemas.microsoft.com/office/drawing/2014/main" id="{85F31727-3614-707D-A1F3-EE372CB7EBCC}"/>
                </a:ext>
              </a:extLst>
            </p:cNvPr>
            <p:cNvSpPr txBox="1"/>
            <p:nvPr/>
          </p:nvSpPr>
          <p:spPr>
            <a:xfrm>
              <a:off x="8921977" y="1394910"/>
              <a:ext cx="2926080" cy="533480"/>
            </a:xfrm>
            <a:prstGeom prst="rect">
              <a:avLst/>
            </a:prstGeom>
            <a:noFill/>
          </p:spPr>
          <p:txBody>
            <a:bodyPr wrap="square" lIns="0" rIns="0" rtlCol="0" anchor="b">
              <a:spAutoFit/>
            </a:bodyPr>
            <a:lstStyle/>
            <a:p>
              <a:r>
                <a:rPr lang="en-US" sz="1999" b="1" noProof="1">
                  <a:solidFill>
                    <a:prstClr val="black"/>
                  </a:solidFill>
                  <a:latin typeface="Calibri" panose="020F0502020204030204"/>
                </a:rPr>
                <a:t>Lorem Ipsum</a:t>
              </a:r>
            </a:p>
          </p:txBody>
        </p:sp>
        <p:sp>
          <p:nvSpPr>
            <p:cNvPr id="79" name="TextBox 78">
              <a:extLst>
                <a:ext uri="{FF2B5EF4-FFF2-40B4-BE49-F238E27FC236}">
                  <a16:creationId xmlns:a16="http://schemas.microsoft.com/office/drawing/2014/main" id="{CA292920-F7E8-4230-13DD-9912676E2141}"/>
                </a:ext>
              </a:extLst>
            </p:cNvPr>
            <p:cNvSpPr txBox="1"/>
            <p:nvPr/>
          </p:nvSpPr>
          <p:spPr>
            <a:xfrm>
              <a:off x="8921977" y="1925882"/>
              <a:ext cx="2926080" cy="1764585"/>
            </a:xfrm>
            <a:prstGeom prst="rect">
              <a:avLst/>
            </a:prstGeom>
            <a:noFill/>
          </p:spPr>
          <p:txBody>
            <a:bodyPr wrap="square" lIns="0" rIns="0" rtlCol="0" anchor="t">
              <a:spAutoFit/>
            </a:bodyPr>
            <a:lstStyle/>
            <a:p>
              <a:pPr algn="just"/>
              <a:r>
                <a:rPr lang="en-US" sz="999" noProof="1">
                  <a:solidFill>
                    <a:prstClr val="black">
                      <a:lumMod val="65000"/>
                      <a:lumOff val="3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80" name="Group 79">
            <a:extLst>
              <a:ext uri="{FF2B5EF4-FFF2-40B4-BE49-F238E27FC236}">
                <a16:creationId xmlns:a16="http://schemas.microsoft.com/office/drawing/2014/main" id="{A71298A9-E429-0340-F26E-57D1B8094D0D}"/>
              </a:ext>
            </a:extLst>
          </p:cNvPr>
          <p:cNvGrpSpPr/>
          <p:nvPr/>
        </p:nvGrpSpPr>
        <p:grpSpPr>
          <a:xfrm>
            <a:off x="411135" y="1374926"/>
            <a:ext cx="1448326" cy="1720772"/>
            <a:chOff x="8921977" y="1394910"/>
            <a:chExt cx="2926080" cy="2295557"/>
          </a:xfrm>
        </p:grpSpPr>
        <p:sp>
          <p:nvSpPr>
            <p:cNvPr id="81" name="TextBox 80">
              <a:extLst>
                <a:ext uri="{FF2B5EF4-FFF2-40B4-BE49-F238E27FC236}">
                  <a16:creationId xmlns:a16="http://schemas.microsoft.com/office/drawing/2014/main" id="{DF56A48F-0982-63C2-3FEB-1C2EF1DDC1E5}"/>
                </a:ext>
              </a:extLst>
            </p:cNvPr>
            <p:cNvSpPr txBox="1"/>
            <p:nvPr/>
          </p:nvSpPr>
          <p:spPr>
            <a:xfrm>
              <a:off x="8921977" y="1394910"/>
              <a:ext cx="2926080" cy="533480"/>
            </a:xfrm>
            <a:prstGeom prst="rect">
              <a:avLst/>
            </a:prstGeom>
            <a:noFill/>
          </p:spPr>
          <p:txBody>
            <a:bodyPr wrap="square" lIns="0" rIns="0" rtlCol="0" anchor="b">
              <a:spAutoFit/>
            </a:bodyPr>
            <a:lstStyle/>
            <a:p>
              <a:pPr algn="r"/>
              <a:r>
                <a:rPr lang="en-US" sz="1999" b="1" noProof="1">
                  <a:solidFill>
                    <a:prstClr val="black"/>
                  </a:solidFill>
                  <a:latin typeface="Calibri" panose="020F0502020204030204"/>
                </a:rPr>
                <a:t>Lorem Ipsum</a:t>
              </a:r>
            </a:p>
          </p:txBody>
        </p:sp>
        <p:sp>
          <p:nvSpPr>
            <p:cNvPr id="82" name="TextBox 81">
              <a:extLst>
                <a:ext uri="{FF2B5EF4-FFF2-40B4-BE49-F238E27FC236}">
                  <a16:creationId xmlns:a16="http://schemas.microsoft.com/office/drawing/2014/main" id="{98F04152-57E2-72AF-CA5F-E53837DC7658}"/>
                </a:ext>
              </a:extLst>
            </p:cNvPr>
            <p:cNvSpPr txBox="1"/>
            <p:nvPr/>
          </p:nvSpPr>
          <p:spPr>
            <a:xfrm>
              <a:off x="8921977" y="1925882"/>
              <a:ext cx="2926080" cy="1764585"/>
            </a:xfrm>
            <a:prstGeom prst="rect">
              <a:avLst/>
            </a:prstGeom>
            <a:noFill/>
          </p:spPr>
          <p:txBody>
            <a:bodyPr wrap="square" lIns="0" rIns="0" rtlCol="0" anchor="t">
              <a:spAutoFit/>
            </a:bodyPr>
            <a:lstStyle/>
            <a:p>
              <a:pPr algn="just"/>
              <a:r>
                <a:rPr lang="en-US" sz="999" noProof="1">
                  <a:solidFill>
                    <a:prstClr val="black">
                      <a:lumMod val="65000"/>
                      <a:lumOff val="3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83" name="Group 82">
            <a:extLst>
              <a:ext uri="{FF2B5EF4-FFF2-40B4-BE49-F238E27FC236}">
                <a16:creationId xmlns:a16="http://schemas.microsoft.com/office/drawing/2014/main" id="{44A70B67-6466-2344-08F8-57D5EADD0479}"/>
              </a:ext>
            </a:extLst>
          </p:cNvPr>
          <p:cNvGrpSpPr/>
          <p:nvPr/>
        </p:nvGrpSpPr>
        <p:grpSpPr>
          <a:xfrm>
            <a:off x="296280" y="3948909"/>
            <a:ext cx="1448326" cy="1720772"/>
            <a:chOff x="8921977" y="1394910"/>
            <a:chExt cx="2926080" cy="2295557"/>
          </a:xfrm>
        </p:grpSpPr>
        <p:sp>
          <p:nvSpPr>
            <p:cNvPr id="84" name="TextBox 83">
              <a:extLst>
                <a:ext uri="{FF2B5EF4-FFF2-40B4-BE49-F238E27FC236}">
                  <a16:creationId xmlns:a16="http://schemas.microsoft.com/office/drawing/2014/main" id="{8912887E-1795-17D0-0D0C-46F805053D42}"/>
                </a:ext>
              </a:extLst>
            </p:cNvPr>
            <p:cNvSpPr txBox="1"/>
            <p:nvPr/>
          </p:nvSpPr>
          <p:spPr>
            <a:xfrm>
              <a:off x="8921977" y="1394910"/>
              <a:ext cx="2926080" cy="533480"/>
            </a:xfrm>
            <a:prstGeom prst="rect">
              <a:avLst/>
            </a:prstGeom>
            <a:noFill/>
          </p:spPr>
          <p:txBody>
            <a:bodyPr wrap="square" lIns="0" rIns="0" rtlCol="0" anchor="b">
              <a:spAutoFit/>
            </a:bodyPr>
            <a:lstStyle/>
            <a:p>
              <a:pPr algn="r"/>
              <a:r>
                <a:rPr lang="en-US" sz="1999" b="1" noProof="1">
                  <a:solidFill>
                    <a:prstClr val="black"/>
                  </a:solidFill>
                  <a:latin typeface="Calibri" panose="020F0502020204030204"/>
                </a:rPr>
                <a:t>Lorem Ipsum</a:t>
              </a:r>
            </a:p>
          </p:txBody>
        </p:sp>
        <p:sp>
          <p:nvSpPr>
            <p:cNvPr id="85" name="TextBox 84">
              <a:extLst>
                <a:ext uri="{FF2B5EF4-FFF2-40B4-BE49-F238E27FC236}">
                  <a16:creationId xmlns:a16="http://schemas.microsoft.com/office/drawing/2014/main" id="{7328D4F9-BC42-BBA3-E620-DB23778B76A7}"/>
                </a:ext>
              </a:extLst>
            </p:cNvPr>
            <p:cNvSpPr txBox="1"/>
            <p:nvPr/>
          </p:nvSpPr>
          <p:spPr>
            <a:xfrm>
              <a:off x="8921977" y="1925882"/>
              <a:ext cx="2926080" cy="1764585"/>
            </a:xfrm>
            <a:prstGeom prst="rect">
              <a:avLst/>
            </a:prstGeom>
            <a:noFill/>
          </p:spPr>
          <p:txBody>
            <a:bodyPr wrap="square" lIns="0" rIns="0" rtlCol="0" anchor="t">
              <a:spAutoFit/>
            </a:bodyPr>
            <a:lstStyle/>
            <a:p>
              <a:pPr algn="just"/>
              <a:r>
                <a:rPr lang="en-US" sz="999" noProof="1">
                  <a:solidFill>
                    <a:prstClr val="black">
                      <a:lumMod val="65000"/>
                      <a:lumOff val="3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sp>
        <p:nvSpPr>
          <p:cNvPr id="86" name="Freeform: Shape 85">
            <a:extLst>
              <a:ext uri="{FF2B5EF4-FFF2-40B4-BE49-F238E27FC236}">
                <a16:creationId xmlns:a16="http://schemas.microsoft.com/office/drawing/2014/main" id="{2B8303F8-054A-950B-E5DD-60A69E923CD2}"/>
              </a:ext>
            </a:extLst>
          </p:cNvPr>
          <p:cNvSpPr/>
          <p:nvPr/>
        </p:nvSpPr>
        <p:spPr>
          <a:xfrm>
            <a:off x="2068568" y="4292379"/>
            <a:ext cx="2595414" cy="1435336"/>
          </a:xfrm>
          <a:custGeom>
            <a:avLst/>
            <a:gdLst>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421942 w 3462355"/>
              <a:gd name="connsiteY4" fmla="*/ 952021 h 1914779"/>
              <a:gd name="connsiteX5" fmla="*/ 1448190 w 3462355"/>
              <a:gd name="connsiteY5" fmla="*/ 974798 h 1914779"/>
              <a:gd name="connsiteX6" fmla="*/ 1435120 w 3462355"/>
              <a:gd name="connsiteY6" fmla="*/ 961631 h 1914779"/>
              <a:gd name="connsiteX7" fmla="*/ 1435190 w 3462355"/>
              <a:gd name="connsiteY7" fmla="*/ 961673 h 1914779"/>
              <a:gd name="connsiteX8" fmla="*/ 1448258 w 3462355"/>
              <a:gd name="connsiteY8" fmla="*/ 974765 h 1914779"/>
              <a:gd name="connsiteX9" fmla="*/ 1206695 w 3462355"/>
              <a:gd name="connsiteY9" fmla="*/ 1204348 h 1914779"/>
              <a:gd name="connsiteX10" fmla="*/ 1313130 w 3462355"/>
              <a:gd name="connsiteY10" fmla="*/ 1486600 h 1914779"/>
              <a:gd name="connsiteX11" fmla="*/ 884985 w 3462355"/>
              <a:gd name="connsiteY11" fmla="*/ 1914779 h 1914779"/>
              <a:gd name="connsiteX12" fmla="*/ 456839 w 3462355"/>
              <a:gd name="connsiteY12" fmla="*/ 1486600 h 1914779"/>
              <a:gd name="connsiteX13" fmla="*/ 884985 w 3462355"/>
              <a:gd name="connsiteY13" fmla="*/ 1058420 h 1914779"/>
              <a:gd name="connsiteX14" fmla="*/ 1182811 w 3462355"/>
              <a:gd name="connsiteY14" fmla="*/ 1179202 h 1914779"/>
              <a:gd name="connsiteX15" fmla="*/ 2303806 w 3462355"/>
              <a:gd name="connsiteY15" fmla="*/ 851373 h 1914779"/>
              <a:gd name="connsiteX16" fmla="*/ 2297702 w 3462355"/>
              <a:gd name="connsiteY16" fmla="*/ 860060 h 1914779"/>
              <a:gd name="connsiteX17" fmla="*/ 2297329 w 3462355"/>
              <a:gd name="connsiteY17" fmla="*/ 859135 h 1914779"/>
              <a:gd name="connsiteX18" fmla="*/ 3033087 w 3462355"/>
              <a:gd name="connsiteY18" fmla="*/ 631528 h 1914779"/>
              <a:gd name="connsiteX19" fmla="*/ 3462355 w 3462355"/>
              <a:gd name="connsiteY19" fmla="*/ 1059608 h 1914779"/>
              <a:gd name="connsiteX20" fmla="*/ 3034209 w 3462355"/>
              <a:gd name="connsiteY20" fmla="*/ 1487788 h 1914779"/>
              <a:gd name="connsiteX21" fmla="*/ 2606063 w 3462355"/>
              <a:gd name="connsiteY21" fmla="*/ 1059608 h 1914779"/>
              <a:gd name="connsiteX22" fmla="*/ 2644374 w 3462355"/>
              <a:gd name="connsiteY22" fmla="*/ 882694 h 1914779"/>
              <a:gd name="connsiteX23" fmla="*/ 2383575 w 3462355"/>
              <a:gd name="connsiteY23" fmla="*/ 737954 h 1914779"/>
              <a:gd name="connsiteX24" fmla="*/ 2337491 w 3462355"/>
              <a:gd name="connsiteY24" fmla="*/ 811006 h 1914779"/>
              <a:gd name="connsiteX25" fmla="*/ 2303806 w 3462355"/>
              <a:gd name="connsiteY25" fmla="*/ 851373 h 1914779"/>
              <a:gd name="connsiteX26" fmla="*/ 2383514 w 3462355"/>
              <a:gd name="connsiteY26" fmla="*/ 737926 h 1914779"/>
              <a:gd name="connsiteX27" fmla="*/ 2399137 w 3462355"/>
              <a:gd name="connsiteY27" fmla="*/ 705725 h 1914779"/>
              <a:gd name="connsiteX28" fmla="*/ 2399148 w 3462355"/>
              <a:gd name="connsiteY28" fmla="*/ 705693 h 1914779"/>
              <a:gd name="connsiteX29" fmla="*/ 2659922 w 3462355"/>
              <a:gd name="connsiteY29" fmla="*/ 850320 h 1914779"/>
              <a:gd name="connsiteX30" fmla="*/ 3033087 w 3462355"/>
              <a:gd name="connsiteY30" fmla="*/ 631528 h 1914779"/>
              <a:gd name="connsiteX31" fmla="*/ 2446121 w 3462355"/>
              <a:gd name="connsiteY31" fmla="*/ 562483 h 1914779"/>
              <a:gd name="connsiteX32" fmla="*/ 2445008 w 3462355"/>
              <a:gd name="connsiteY32" fmla="*/ 572313 h 1914779"/>
              <a:gd name="connsiteX33" fmla="*/ 2435513 w 3462355"/>
              <a:gd name="connsiteY33" fmla="*/ 599910 h 1914779"/>
              <a:gd name="connsiteX34" fmla="*/ 2444995 w 3462355"/>
              <a:gd name="connsiteY34" fmla="*/ 572330 h 1914779"/>
              <a:gd name="connsiteX35" fmla="*/ 2446110 w 3462355"/>
              <a:gd name="connsiteY35" fmla="*/ 562495 h 1914779"/>
              <a:gd name="connsiteX36" fmla="*/ 1216751 w 3462355"/>
              <a:gd name="connsiteY36" fmla="*/ 382312 h 1914779"/>
              <a:gd name="connsiteX37" fmla="*/ 1216752 w 3462355"/>
              <a:gd name="connsiteY37" fmla="*/ 382319 h 1914779"/>
              <a:gd name="connsiteX38" fmla="*/ 1212786 w 3462355"/>
              <a:gd name="connsiteY38" fmla="*/ 429368 h 1914779"/>
              <a:gd name="connsiteX39" fmla="*/ 1215578 w 3462355"/>
              <a:gd name="connsiteY39" fmla="*/ 462494 h 1914779"/>
              <a:gd name="connsiteX40" fmla="*/ 1215578 w 3462355"/>
              <a:gd name="connsiteY40" fmla="*/ 462500 h 1914779"/>
              <a:gd name="connsiteX41" fmla="*/ 1212781 w 3462355"/>
              <a:gd name="connsiteY41" fmla="*/ 429353 h 1914779"/>
              <a:gd name="connsiteX42" fmla="*/ 1181719 w 3462355"/>
              <a:gd name="connsiteY42" fmla="*/ 251505 h 1914779"/>
              <a:gd name="connsiteX43" fmla="*/ 1157663 w 3462355"/>
              <a:gd name="connsiteY43" fmla="*/ 410145 h 1914779"/>
              <a:gd name="connsiteX44" fmla="*/ 1164902 w 3462355"/>
              <a:gd name="connsiteY44" fmla="*/ 329258 h 1914779"/>
              <a:gd name="connsiteX45" fmla="*/ 1187699 w 3462355"/>
              <a:gd name="connsiteY45" fmla="*/ 237054 h 1914779"/>
              <a:gd name="connsiteX46" fmla="*/ 1187705 w 3462355"/>
              <a:gd name="connsiteY46" fmla="*/ 237083 h 1914779"/>
              <a:gd name="connsiteX47" fmla="*/ 1181752 w 3462355"/>
              <a:gd name="connsiteY47" fmla="*/ 251350 h 1914779"/>
              <a:gd name="connsiteX48" fmla="*/ 1181719 w 3462355"/>
              <a:gd name="connsiteY48" fmla="*/ 251505 h 1914779"/>
              <a:gd name="connsiteX49" fmla="*/ 1181747 w 3462355"/>
              <a:gd name="connsiteY49" fmla="*/ 251320 h 1914779"/>
              <a:gd name="connsiteX50" fmla="*/ 428146 w 3462355"/>
              <a:gd name="connsiteY50" fmla="*/ 0 h 1914779"/>
              <a:gd name="connsiteX51" fmla="*/ 856292 w 3462355"/>
              <a:gd name="connsiteY51" fmla="*/ 410261 h 1914779"/>
              <a:gd name="connsiteX52" fmla="*/ 1157645 w 3462355"/>
              <a:gd name="connsiteY52" fmla="*/ 410261 h 1914779"/>
              <a:gd name="connsiteX53" fmla="*/ 1157663 w 3462355"/>
              <a:gd name="connsiteY53" fmla="*/ 410145 h 1914779"/>
              <a:gd name="connsiteX54" fmla="*/ 1157647 w 3462355"/>
              <a:gd name="connsiteY54" fmla="*/ 410319 h 1914779"/>
              <a:gd name="connsiteX55" fmla="*/ 1158849 w 3462355"/>
              <a:gd name="connsiteY55" fmla="*/ 446039 h 1914779"/>
              <a:gd name="connsiteX56" fmla="*/ 1158858 w 3462355"/>
              <a:gd name="connsiteY56" fmla="*/ 446099 h 1914779"/>
              <a:gd name="connsiteX57" fmla="*/ 856292 w 3462355"/>
              <a:gd name="connsiteY57" fmla="*/ 446099 h 1914779"/>
              <a:gd name="connsiteX58" fmla="*/ 428146 w 3462355"/>
              <a:gd name="connsiteY58" fmla="*/ 856359 h 1914779"/>
              <a:gd name="connsiteX59" fmla="*/ 0 w 3462355"/>
              <a:gd name="connsiteY59" fmla="*/ 428180 h 1914779"/>
              <a:gd name="connsiteX60" fmla="*/ 428146 w 3462355"/>
              <a:gd name="connsiteY60"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7699 w 3462355"/>
              <a:gd name="connsiteY50" fmla="*/ 237054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1181747 w 3462355"/>
              <a:gd name="connsiteY54" fmla="*/ 251320 h 1914779"/>
              <a:gd name="connsiteX55" fmla="*/ 1187699 w 3462355"/>
              <a:gd name="connsiteY55" fmla="*/ 237054 h 1914779"/>
              <a:gd name="connsiteX56" fmla="*/ 428146 w 3462355"/>
              <a:gd name="connsiteY56" fmla="*/ 0 h 1914779"/>
              <a:gd name="connsiteX57" fmla="*/ 856292 w 3462355"/>
              <a:gd name="connsiteY57" fmla="*/ 410261 h 1914779"/>
              <a:gd name="connsiteX58" fmla="*/ 1157645 w 3462355"/>
              <a:gd name="connsiteY58" fmla="*/ 410261 h 1914779"/>
              <a:gd name="connsiteX59" fmla="*/ 1157663 w 3462355"/>
              <a:gd name="connsiteY59" fmla="*/ 410145 h 1914779"/>
              <a:gd name="connsiteX60" fmla="*/ 1157647 w 3462355"/>
              <a:gd name="connsiteY60" fmla="*/ 410319 h 1914779"/>
              <a:gd name="connsiteX61" fmla="*/ 1158849 w 3462355"/>
              <a:gd name="connsiteY61" fmla="*/ 446039 h 1914779"/>
              <a:gd name="connsiteX62" fmla="*/ 1158858 w 3462355"/>
              <a:gd name="connsiteY62" fmla="*/ 446099 h 1914779"/>
              <a:gd name="connsiteX63" fmla="*/ 856292 w 3462355"/>
              <a:gd name="connsiteY63" fmla="*/ 446099 h 1914779"/>
              <a:gd name="connsiteX64" fmla="*/ 428146 w 3462355"/>
              <a:gd name="connsiteY64" fmla="*/ 856359 h 1914779"/>
              <a:gd name="connsiteX65" fmla="*/ 0 w 3462355"/>
              <a:gd name="connsiteY65" fmla="*/ 428180 h 1914779"/>
              <a:gd name="connsiteX66" fmla="*/ 428146 w 3462355"/>
              <a:gd name="connsiteY66"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47 w 3462355"/>
              <a:gd name="connsiteY50" fmla="*/ 251320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1181747 w 3462355"/>
              <a:gd name="connsiteY54" fmla="*/ 251320 h 1914779"/>
              <a:gd name="connsiteX55" fmla="*/ 428146 w 3462355"/>
              <a:gd name="connsiteY55" fmla="*/ 0 h 1914779"/>
              <a:gd name="connsiteX56" fmla="*/ 856292 w 3462355"/>
              <a:gd name="connsiteY56" fmla="*/ 410261 h 1914779"/>
              <a:gd name="connsiteX57" fmla="*/ 1157645 w 3462355"/>
              <a:gd name="connsiteY57" fmla="*/ 410261 h 1914779"/>
              <a:gd name="connsiteX58" fmla="*/ 1157663 w 3462355"/>
              <a:gd name="connsiteY58" fmla="*/ 410145 h 1914779"/>
              <a:gd name="connsiteX59" fmla="*/ 1157647 w 3462355"/>
              <a:gd name="connsiteY59" fmla="*/ 410319 h 1914779"/>
              <a:gd name="connsiteX60" fmla="*/ 1158849 w 3462355"/>
              <a:gd name="connsiteY60" fmla="*/ 446039 h 1914779"/>
              <a:gd name="connsiteX61" fmla="*/ 1158858 w 3462355"/>
              <a:gd name="connsiteY61" fmla="*/ 446099 h 1914779"/>
              <a:gd name="connsiteX62" fmla="*/ 856292 w 3462355"/>
              <a:gd name="connsiteY62" fmla="*/ 446099 h 1914779"/>
              <a:gd name="connsiteX63" fmla="*/ 428146 w 3462355"/>
              <a:gd name="connsiteY63" fmla="*/ 856359 h 1914779"/>
              <a:gd name="connsiteX64" fmla="*/ 0 w 3462355"/>
              <a:gd name="connsiteY64" fmla="*/ 428180 h 1914779"/>
              <a:gd name="connsiteX65" fmla="*/ 428146 w 3462355"/>
              <a:gd name="connsiteY65"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19 w 3462355"/>
              <a:gd name="connsiteY50" fmla="*/ 251505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428146 w 3462355"/>
              <a:gd name="connsiteY54" fmla="*/ 0 h 1914779"/>
              <a:gd name="connsiteX55" fmla="*/ 856292 w 3462355"/>
              <a:gd name="connsiteY55" fmla="*/ 410261 h 1914779"/>
              <a:gd name="connsiteX56" fmla="*/ 1157645 w 3462355"/>
              <a:gd name="connsiteY56" fmla="*/ 410261 h 1914779"/>
              <a:gd name="connsiteX57" fmla="*/ 1157663 w 3462355"/>
              <a:gd name="connsiteY57" fmla="*/ 410145 h 1914779"/>
              <a:gd name="connsiteX58" fmla="*/ 1157647 w 3462355"/>
              <a:gd name="connsiteY58" fmla="*/ 410319 h 1914779"/>
              <a:gd name="connsiteX59" fmla="*/ 1158849 w 3462355"/>
              <a:gd name="connsiteY59" fmla="*/ 446039 h 1914779"/>
              <a:gd name="connsiteX60" fmla="*/ 1158858 w 3462355"/>
              <a:gd name="connsiteY60" fmla="*/ 446099 h 1914779"/>
              <a:gd name="connsiteX61" fmla="*/ 856292 w 3462355"/>
              <a:gd name="connsiteY61" fmla="*/ 446099 h 1914779"/>
              <a:gd name="connsiteX62" fmla="*/ 428146 w 3462355"/>
              <a:gd name="connsiteY62" fmla="*/ 856359 h 1914779"/>
              <a:gd name="connsiteX63" fmla="*/ 0 w 3462355"/>
              <a:gd name="connsiteY63" fmla="*/ 428180 h 1914779"/>
              <a:gd name="connsiteX64" fmla="*/ 428146 w 3462355"/>
              <a:gd name="connsiteY64"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52 w 3462355"/>
              <a:gd name="connsiteY50" fmla="*/ 251350 h 1914779"/>
              <a:gd name="connsiteX51" fmla="*/ 1187705 w 3462355"/>
              <a:gd name="connsiteY51" fmla="*/ 237083 h 1914779"/>
              <a:gd name="connsiteX52" fmla="*/ 1181752 w 3462355"/>
              <a:gd name="connsiteY52" fmla="*/ 251350 h 1914779"/>
              <a:gd name="connsiteX53" fmla="*/ 428146 w 3462355"/>
              <a:gd name="connsiteY53" fmla="*/ 0 h 1914779"/>
              <a:gd name="connsiteX54" fmla="*/ 856292 w 3462355"/>
              <a:gd name="connsiteY54" fmla="*/ 410261 h 1914779"/>
              <a:gd name="connsiteX55" fmla="*/ 1157645 w 3462355"/>
              <a:gd name="connsiteY55" fmla="*/ 410261 h 1914779"/>
              <a:gd name="connsiteX56" fmla="*/ 1157663 w 3462355"/>
              <a:gd name="connsiteY56" fmla="*/ 410145 h 1914779"/>
              <a:gd name="connsiteX57" fmla="*/ 1157647 w 3462355"/>
              <a:gd name="connsiteY57" fmla="*/ 410319 h 1914779"/>
              <a:gd name="connsiteX58" fmla="*/ 1158849 w 3462355"/>
              <a:gd name="connsiteY58" fmla="*/ 446039 h 1914779"/>
              <a:gd name="connsiteX59" fmla="*/ 1158858 w 3462355"/>
              <a:gd name="connsiteY59" fmla="*/ 446099 h 1914779"/>
              <a:gd name="connsiteX60" fmla="*/ 856292 w 3462355"/>
              <a:gd name="connsiteY60" fmla="*/ 446099 h 1914779"/>
              <a:gd name="connsiteX61" fmla="*/ 428146 w 3462355"/>
              <a:gd name="connsiteY61" fmla="*/ 856359 h 1914779"/>
              <a:gd name="connsiteX62" fmla="*/ 0 w 3462355"/>
              <a:gd name="connsiteY62" fmla="*/ 428180 h 1914779"/>
              <a:gd name="connsiteX63" fmla="*/ 428146 w 3462355"/>
              <a:gd name="connsiteY63"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428146 w 3462355"/>
              <a:gd name="connsiteY50" fmla="*/ 0 h 1914779"/>
              <a:gd name="connsiteX51" fmla="*/ 856292 w 3462355"/>
              <a:gd name="connsiteY51" fmla="*/ 410261 h 1914779"/>
              <a:gd name="connsiteX52" fmla="*/ 1157645 w 3462355"/>
              <a:gd name="connsiteY52" fmla="*/ 410261 h 1914779"/>
              <a:gd name="connsiteX53" fmla="*/ 1157663 w 3462355"/>
              <a:gd name="connsiteY53" fmla="*/ 410145 h 1914779"/>
              <a:gd name="connsiteX54" fmla="*/ 1157647 w 3462355"/>
              <a:gd name="connsiteY54" fmla="*/ 410319 h 1914779"/>
              <a:gd name="connsiteX55" fmla="*/ 1158849 w 3462355"/>
              <a:gd name="connsiteY55" fmla="*/ 446039 h 1914779"/>
              <a:gd name="connsiteX56" fmla="*/ 1158858 w 3462355"/>
              <a:gd name="connsiteY56" fmla="*/ 446099 h 1914779"/>
              <a:gd name="connsiteX57" fmla="*/ 856292 w 3462355"/>
              <a:gd name="connsiteY57" fmla="*/ 446099 h 1914779"/>
              <a:gd name="connsiteX58" fmla="*/ 428146 w 3462355"/>
              <a:gd name="connsiteY58" fmla="*/ 856359 h 1914779"/>
              <a:gd name="connsiteX59" fmla="*/ 0 w 3462355"/>
              <a:gd name="connsiteY59" fmla="*/ 428180 h 1914779"/>
              <a:gd name="connsiteX60" fmla="*/ 428146 w 3462355"/>
              <a:gd name="connsiteY60"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64902 w 3462355"/>
              <a:gd name="connsiteY46" fmla="*/ 329258 h 1914779"/>
              <a:gd name="connsiteX47" fmla="*/ 1157663 w 3462355"/>
              <a:gd name="connsiteY47" fmla="*/ 410145 h 1914779"/>
              <a:gd name="connsiteX48" fmla="*/ 1164902 w 3462355"/>
              <a:gd name="connsiteY48" fmla="*/ 329258 h 1914779"/>
              <a:gd name="connsiteX49" fmla="*/ 428146 w 3462355"/>
              <a:gd name="connsiteY49" fmla="*/ 0 h 1914779"/>
              <a:gd name="connsiteX50" fmla="*/ 856292 w 3462355"/>
              <a:gd name="connsiteY50" fmla="*/ 410261 h 1914779"/>
              <a:gd name="connsiteX51" fmla="*/ 1157645 w 3462355"/>
              <a:gd name="connsiteY51" fmla="*/ 410261 h 1914779"/>
              <a:gd name="connsiteX52" fmla="*/ 1157663 w 3462355"/>
              <a:gd name="connsiteY52" fmla="*/ 410145 h 1914779"/>
              <a:gd name="connsiteX53" fmla="*/ 1157647 w 3462355"/>
              <a:gd name="connsiteY53" fmla="*/ 410319 h 1914779"/>
              <a:gd name="connsiteX54" fmla="*/ 1158849 w 3462355"/>
              <a:gd name="connsiteY54" fmla="*/ 446039 h 1914779"/>
              <a:gd name="connsiteX55" fmla="*/ 1158858 w 3462355"/>
              <a:gd name="connsiteY55" fmla="*/ 446099 h 1914779"/>
              <a:gd name="connsiteX56" fmla="*/ 856292 w 3462355"/>
              <a:gd name="connsiteY56" fmla="*/ 446099 h 1914779"/>
              <a:gd name="connsiteX57" fmla="*/ 428146 w 3462355"/>
              <a:gd name="connsiteY57" fmla="*/ 856359 h 1914779"/>
              <a:gd name="connsiteX58" fmla="*/ 0 w 3462355"/>
              <a:gd name="connsiteY58" fmla="*/ 428180 h 1914779"/>
              <a:gd name="connsiteX59" fmla="*/ 428146 w 3462355"/>
              <a:gd name="connsiteY59"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428146 w 3462355"/>
              <a:gd name="connsiteY46" fmla="*/ 0 h 1914779"/>
              <a:gd name="connsiteX47" fmla="*/ 856292 w 3462355"/>
              <a:gd name="connsiteY47" fmla="*/ 410261 h 1914779"/>
              <a:gd name="connsiteX48" fmla="*/ 1157645 w 3462355"/>
              <a:gd name="connsiteY48" fmla="*/ 410261 h 1914779"/>
              <a:gd name="connsiteX49" fmla="*/ 1157663 w 3462355"/>
              <a:gd name="connsiteY49" fmla="*/ 410145 h 1914779"/>
              <a:gd name="connsiteX50" fmla="*/ 1157647 w 3462355"/>
              <a:gd name="connsiteY50" fmla="*/ 410319 h 1914779"/>
              <a:gd name="connsiteX51" fmla="*/ 1158849 w 3462355"/>
              <a:gd name="connsiteY51" fmla="*/ 446039 h 1914779"/>
              <a:gd name="connsiteX52" fmla="*/ 1158858 w 3462355"/>
              <a:gd name="connsiteY52" fmla="*/ 446099 h 1914779"/>
              <a:gd name="connsiteX53" fmla="*/ 856292 w 3462355"/>
              <a:gd name="connsiteY53" fmla="*/ 446099 h 1914779"/>
              <a:gd name="connsiteX54" fmla="*/ 428146 w 3462355"/>
              <a:gd name="connsiteY54" fmla="*/ 856359 h 1914779"/>
              <a:gd name="connsiteX55" fmla="*/ 0 w 3462355"/>
              <a:gd name="connsiteY55" fmla="*/ 428180 h 1914779"/>
              <a:gd name="connsiteX56" fmla="*/ 428146 w 3462355"/>
              <a:gd name="connsiteY56"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2781 w 3462355"/>
              <a:gd name="connsiteY40" fmla="*/ 429353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428146 w 3462355"/>
              <a:gd name="connsiteY45" fmla="*/ 0 h 1914779"/>
              <a:gd name="connsiteX46" fmla="*/ 856292 w 3462355"/>
              <a:gd name="connsiteY46" fmla="*/ 410261 h 1914779"/>
              <a:gd name="connsiteX47" fmla="*/ 1157645 w 3462355"/>
              <a:gd name="connsiteY47" fmla="*/ 410261 h 1914779"/>
              <a:gd name="connsiteX48" fmla="*/ 1157663 w 3462355"/>
              <a:gd name="connsiteY48" fmla="*/ 410145 h 1914779"/>
              <a:gd name="connsiteX49" fmla="*/ 1157647 w 3462355"/>
              <a:gd name="connsiteY49" fmla="*/ 410319 h 1914779"/>
              <a:gd name="connsiteX50" fmla="*/ 1158849 w 3462355"/>
              <a:gd name="connsiteY50" fmla="*/ 446039 h 1914779"/>
              <a:gd name="connsiteX51" fmla="*/ 1158858 w 3462355"/>
              <a:gd name="connsiteY51" fmla="*/ 446099 h 1914779"/>
              <a:gd name="connsiteX52" fmla="*/ 856292 w 3462355"/>
              <a:gd name="connsiteY52" fmla="*/ 446099 h 1914779"/>
              <a:gd name="connsiteX53" fmla="*/ 428146 w 3462355"/>
              <a:gd name="connsiteY53" fmla="*/ 856359 h 1914779"/>
              <a:gd name="connsiteX54" fmla="*/ 0 w 3462355"/>
              <a:gd name="connsiteY54" fmla="*/ 428180 h 1914779"/>
              <a:gd name="connsiteX55" fmla="*/ 428146 w 3462355"/>
              <a:gd name="connsiteY55"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5578 w 3462355"/>
              <a:gd name="connsiteY40" fmla="*/ 462494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428146 w 3462355"/>
              <a:gd name="connsiteY44" fmla="*/ 0 h 1914779"/>
              <a:gd name="connsiteX45" fmla="*/ 856292 w 3462355"/>
              <a:gd name="connsiteY45" fmla="*/ 410261 h 1914779"/>
              <a:gd name="connsiteX46" fmla="*/ 1157645 w 3462355"/>
              <a:gd name="connsiteY46" fmla="*/ 410261 h 1914779"/>
              <a:gd name="connsiteX47" fmla="*/ 1157663 w 3462355"/>
              <a:gd name="connsiteY47" fmla="*/ 410145 h 1914779"/>
              <a:gd name="connsiteX48" fmla="*/ 1157647 w 3462355"/>
              <a:gd name="connsiteY48" fmla="*/ 410319 h 1914779"/>
              <a:gd name="connsiteX49" fmla="*/ 1158849 w 3462355"/>
              <a:gd name="connsiteY49" fmla="*/ 446039 h 1914779"/>
              <a:gd name="connsiteX50" fmla="*/ 1158858 w 3462355"/>
              <a:gd name="connsiteY50" fmla="*/ 446099 h 1914779"/>
              <a:gd name="connsiteX51" fmla="*/ 856292 w 3462355"/>
              <a:gd name="connsiteY51" fmla="*/ 446099 h 1914779"/>
              <a:gd name="connsiteX52" fmla="*/ 428146 w 3462355"/>
              <a:gd name="connsiteY52" fmla="*/ 856359 h 1914779"/>
              <a:gd name="connsiteX53" fmla="*/ 0 w 3462355"/>
              <a:gd name="connsiteY53" fmla="*/ 428180 h 1914779"/>
              <a:gd name="connsiteX54" fmla="*/ 428146 w 3462355"/>
              <a:gd name="connsiteY54"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2786 w 3462355"/>
              <a:gd name="connsiteY40" fmla="*/ 429368 h 1914779"/>
              <a:gd name="connsiteX41" fmla="*/ 1216752 w 3462355"/>
              <a:gd name="connsiteY41" fmla="*/ 382319 h 1914779"/>
              <a:gd name="connsiteX42" fmla="*/ 1212786 w 3462355"/>
              <a:gd name="connsiteY42" fmla="*/ 429368 h 1914779"/>
              <a:gd name="connsiteX43" fmla="*/ 428146 w 3462355"/>
              <a:gd name="connsiteY43" fmla="*/ 0 h 1914779"/>
              <a:gd name="connsiteX44" fmla="*/ 856292 w 3462355"/>
              <a:gd name="connsiteY44" fmla="*/ 410261 h 1914779"/>
              <a:gd name="connsiteX45" fmla="*/ 1157645 w 3462355"/>
              <a:gd name="connsiteY45" fmla="*/ 410261 h 1914779"/>
              <a:gd name="connsiteX46" fmla="*/ 1157663 w 3462355"/>
              <a:gd name="connsiteY46" fmla="*/ 410145 h 1914779"/>
              <a:gd name="connsiteX47" fmla="*/ 1157647 w 3462355"/>
              <a:gd name="connsiteY47" fmla="*/ 410319 h 1914779"/>
              <a:gd name="connsiteX48" fmla="*/ 1158849 w 3462355"/>
              <a:gd name="connsiteY48" fmla="*/ 446039 h 1914779"/>
              <a:gd name="connsiteX49" fmla="*/ 1158858 w 3462355"/>
              <a:gd name="connsiteY49" fmla="*/ 446099 h 1914779"/>
              <a:gd name="connsiteX50" fmla="*/ 856292 w 3462355"/>
              <a:gd name="connsiteY50" fmla="*/ 446099 h 1914779"/>
              <a:gd name="connsiteX51" fmla="*/ 428146 w 3462355"/>
              <a:gd name="connsiteY51" fmla="*/ 856359 h 1914779"/>
              <a:gd name="connsiteX52" fmla="*/ 0 w 3462355"/>
              <a:gd name="connsiteY52" fmla="*/ 428180 h 1914779"/>
              <a:gd name="connsiteX53" fmla="*/ 428146 w 3462355"/>
              <a:gd name="connsiteY53"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428146 w 3462355"/>
              <a:gd name="connsiteY40" fmla="*/ 0 h 1914779"/>
              <a:gd name="connsiteX41" fmla="*/ 856292 w 3462355"/>
              <a:gd name="connsiteY41" fmla="*/ 410261 h 1914779"/>
              <a:gd name="connsiteX42" fmla="*/ 1157645 w 3462355"/>
              <a:gd name="connsiteY42" fmla="*/ 410261 h 1914779"/>
              <a:gd name="connsiteX43" fmla="*/ 1157663 w 3462355"/>
              <a:gd name="connsiteY43" fmla="*/ 410145 h 1914779"/>
              <a:gd name="connsiteX44" fmla="*/ 1157647 w 3462355"/>
              <a:gd name="connsiteY44" fmla="*/ 410319 h 1914779"/>
              <a:gd name="connsiteX45" fmla="*/ 1158849 w 3462355"/>
              <a:gd name="connsiteY45" fmla="*/ 446039 h 1914779"/>
              <a:gd name="connsiteX46" fmla="*/ 1158858 w 3462355"/>
              <a:gd name="connsiteY46" fmla="*/ 446099 h 1914779"/>
              <a:gd name="connsiteX47" fmla="*/ 856292 w 3462355"/>
              <a:gd name="connsiteY47" fmla="*/ 446099 h 1914779"/>
              <a:gd name="connsiteX48" fmla="*/ 428146 w 3462355"/>
              <a:gd name="connsiteY48" fmla="*/ 856359 h 1914779"/>
              <a:gd name="connsiteX49" fmla="*/ 0 w 3462355"/>
              <a:gd name="connsiteY49" fmla="*/ 428180 h 1914779"/>
              <a:gd name="connsiteX50" fmla="*/ 428146 w 3462355"/>
              <a:gd name="connsiteY50" fmla="*/ 0 h 1914779"/>
              <a:gd name="connsiteX0" fmla="*/ 1809525 w 3462355"/>
              <a:gd name="connsiteY0" fmla="*/ 1080000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421942 w 3462355"/>
              <a:gd name="connsiteY4" fmla="*/ 952021 h 1914779"/>
              <a:gd name="connsiteX5" fmla="*/ 1448190 w 3462355"/>
              <a:gd name="connsiteY5" fmla="*/ 974798 h 1914779"/>
              <a:gd name="connsiteX6" fmla="*/ 1435120 w 3462355"/>
              <a:gd name="connsiteY6" fmla="*/ 961631 h 1914779"/>
              <a:gd name="connsiteX7" fmla="*/ 1435190 w 3462355"/>
              <a:gd name="connsiteY7" fmla="*/ 961673 h 1914779"/>
              <a:gd name="connsiteX8" fmla="*/ 1448258 w 3462355"/>
              <a:gd name="connsiteY8" fmla="*/ 974765 h 1914779"/>
              <a:gd name="connsiteX9" fmla="*/ 1206695 w 3462355"/>
              <a:gd name="connsiteY9" fmla="*/ 1204348 h 1914779"/>
              <a:gd name="connsiteX10" fmla="*/ 1313130 w 3462355"/>
              <a:gd name="connsiteY10" fmla="*/ 1486600 h 1914779"/>
              <a:gd name="connsiteX11" fmla="*/ 884985 w 3462355"/>
              <a:gd name="connsiteY11" fmla="*/ 1914779 h 1914779"/>
              <a:gd name="connsiteX12" fmla="*/ 456839 w 3462355"/>
              <a:gd name="connsiteY12" fmla="*/ 1486600 h 1914779"/>
              <a:gd name="connsiteX13" fmla="*/ 884985 w 3462355"/>
              <a:gd name="connsiteY13" fmla="*/ 1058420 h 1914779"/>
              <a:gd name="connsiteX14" fmla="*/ 1182811 w 3462355"/>
              <a:gd name="connsiteY14" fmla="*/ 1179202 h 1914779"/>
              <a:gd name="connsiteX15" fmla="*/ 1421942 w 3462355"/>
              <a:gd name="connsiteY15" fmla="*/ 952021 h 1914779"/>
              <a:gd name="connsiteX16" fmla="*/ 2303806 w 3462355"/>
              <a:gd name="connsiteY16" fmla="*/ 851373 h 1914779"/>
              <a:gd name="connsiteX17" fmla="*/ 2297702 w 3462355"/>
              <a:gd name="connsiteY17" fmla="*/ 860060 h 1914779"/>
              <a:gd name="connsiteX18" fmla="*/ 2297329 w 3462355"/>
              <a:gd name="connsiteY18" fmla="*/ 859135 h 1914779"/>
              <a:gd name="connsiteX19" fmla="*/ 2303806 w 3462355"/>
              <a:gd name="connsiteY19" fmla="*/ 851373 h 1914779"/>
              <a:gd name="connsiteX20" fmla="*/ 3033087 w 3462355"/>
              <a:gd name="connsiteY20" fmla="*/ 631528 h 1914779"/>
              <a:gd name="connsiteX21" fmla="*/ 3462355 w 3462355"/>
              <a:gd name="connsiteY21" fmla="*/ 1059608 h 1914779"/>
              <a:gd name="connsiteX22" fmla="*/ 3034209 w 3462355"/>
              <a:gd name="connsiteY22" fmla="*/ 1487788 h 1914779"/>
              <a:gd name="connsiteX23" fmla="*/ 2606063 w 3462355"/>
              <a:gd name="connsiteY23" fmla="*/ 1059608 h 1914779"/>
              <a:gd name="connsiteX24" fmla="*/ 2644374 w 3462355"/>
              <a:gd name="connsiteY24" fmla="*/ 882694 h 1914779"/>
              <a:gd name="connsiteX25" fmla="*/ 2383575 w 3462355"/>
              <a:gd name="connsiteY25" fmla="*/ 737954 h 1914779"/>
              <a:gd name="connsiteX26" fmla="*/ 2337491 w 3462355"/>
              <a:gd name="connsiteY26" fmla="*/ 811006 h 1914779"/>
              <a:gd name="connsiteX27" fmla="*/ 2303806 w 3462355"/>
              <a:gd name="connsiteY27" fmla="*/ 851373 h 1914779"/>
              <a:gd name="connsiteX28" fmla="*/ 2383514 w 3462355"/>
              <a:gd name="connsiteY28" fmla="*/ 737926 h 1914779"/>
              <a:gd name="connsiteX29" fmla="*/ 2399137 w 3462355"/>
              <a:gd name="connsiteY29" fmla="*/ 705725 h 1914779"/>
              <a:gd name="connsiteX30" fmla="*/ 2399148 w 3462355"/>
              <a:gd name="connsiteY30" fmla="*/ 705693 h 1914779"/>
              <a:gd name="connsiteX31" fmla="*/ 2659922 w 3462355"/>
              <a:gd name="connsiteY31" fmla="*/ 850320 h 1914779"/>
              <a:gd name="connsiteX32" fmla="*/ 3033087 w 3462355"/>
              <a:gd name="connsiteY32" fmla="*/ 631528 h 1914779"/>
              <a:gd name="connsiteX33" fmla="*/ 2446121 w 3462355"/>
              <a:gd name="connsiteY33" fmla="*/ 562483 h 1914779"/>
              <a:gd name="connsiteX34" fmla="*/ 2445008 w 3462355"/>
              <a:gd name="connsiteY34" fmla="*/ 572313 h 1914779"/>
              <a:gd name="connsiteX35" fmla="*/ 2435513 w 3462355"/>
              <a:gd name="connsiteY35" fmla="*/ 599910 h 1914779"/>
              <a:gd name="connsiteX36" fmla="*/ 2444995 w 3462355"/>
              <a:gd name="connsiteY36" fmla="*/ 572330 h 1914779"/>
              <a:gd name="connsiteX37" fmla="*/ 2446110 w 3462355"/>
              <a:gd name="connsiteY37" fmla="*/ 562495 h 1914779"/>
              <a:gd name="connsiteX38" fmla="*/ 2446121 w 3462355"/>
              <a:gd name="connsiteY38" fmla="*/ 562483 h 1914779"/>
              <a:gd name="connsiteX39" fmla="*/ 428146 w 3462355"/>
              <a:gd name="connsiteY39" fmla="*/ 0 h 1914779"/>
              <a:gd name="connsiteX40" fmla="*/ 856292 w 3462355"/>
              <a:gd name="connsiteY40" fmla="*/ 410261 h 1914779"/>
              <a:gd name="connsiteX41" fmla="*/ 1157645 w 3462355"/>
              <a:gd name="connsiteY41" fmla="*/ 410261 h 1914779"/>
              <a:gd name="connsiteX42" fmla="*/ 1157663 w 3462355"/>
              <a:gd name="connsiteY42" fmla="*/ 410145 h 1914779"/>
              <a:gd name="connsiteX43" fmla="*/ 1157647 w 3462355"/>
              <a:gd name="connsiteY43" fmla="*/ 410319 h 1914779"/>
              <a:gd name="connsiteX44" fmla="*/ 1158849 w 3462355"/>
              <a:gd name="connsiteY44" fmla="*/ 446039 h 1914779"/>
              <a:gd name="connsiteX45" fmla="*/ 1158858 w 3462355"/>
              <a:gd name="connsiteY45" fmla="*/ 446099 h 1914779"/>
              <a:gd name="connsiteX46" fmla="*/ 856292 w 3462355"/>
              <a:gd name="connsiteY46" fmla="*/ 446099 h 1914779"/>
              <a:gd name="connsiteX47" fmla="*/ 428146 w 3462355"/>
              <a:gd name="connsiteY47" fmla="*/ 856359 h 1914779"/>
              <a:gd name="connsiteX48" fmla="*/ 0 w 3462355"/>
              <a:gd name="connsiteY48" fmla="*/ 428180 h 1914779"/>
              <a:gd name="connsiteX49" fmla="*/ 428146 w 3462355"/>
              <a:gd name="connsiteY49" fmla="*/ 0 h 1914779"/>
              <a:gd name="connsiteX0" fmla="*/ 1809562 w 3462355"/>
              <a:gd name="connsiteY0" fmla="*/ 1080003 h 1914779"/>
              <a:gd name="connsiteX1" fmla="*/ 1816846 w 3462355"/>
              <a:gd name="connsiteY1" fmla="*/ 1079495 h 1914779"/>
              <a:gd name="connsiteX2" fmla="*/ 1809562 w 3462355"/>
              <a:gd name="connsiteY2" fmla="*/ 1080003 h 1914779"/>
              <a:gd name="connsiteX3" fmla="*/ 1421942 w 3462355"/>
              <a:gd name="connsiteY3" fmla="*/ 952021 h 1914779"/>
              <a:gd name="connsiteX4" fmla="*/ 1448190 w 3462355"/>
              <a:gd name="connsiteY4" fmla="*/ 974798 h 1914779"/>
              <a:gd name="connsiteX5" fmla="*/ 1435120 w 3462355"/>
              <a:gd name="connsiteY5" fmla="*/ 961631 h 1914779"/>
              <a:gd name="connsiteX6" fmla="*/ 1435190 w 3462355"/>
              <a:gd name="connsiteY6" fmla="*/ 961673 h 1914779"/>
              <a:gd name="connsiteX7" fmla="*/ 1448258 w 3462355"/>
              <a:gd name="connsiteY7" fmla="*/ 974765 h 1914779"/>
              <a:gd name="connsiteX8" fmla="*/ 1206695 w 3462355"/>
              <a:gd name="connsiteY8" fmla="*/ 1204348 h 1914779"/>
              <a:gd name="connsiteX9" fmla="*/ 1313130 w 3462355"/>
              <a:gd name="connsiteY9" fmla="*/ 1486600 h 1914779"/>
              <a:gd name="connsiteX10" fmla="*/ 884985 w 3462355"/>
              <a:gd name="connsiteY10" fmla="*/ 1914779 h 1914779"/>
              <a:gd name="connsiteX11" fmla="*/ 456839 w 3462355"/>
              <a:gd name="connsiteY11" fmla="*/ 1486600 h 1914779"/>
              <a:gd name="connsiteX12" fmla="*/ 884985 w 3462355"/>
              <a:gd name="connsiteY12" fmla="*/ 1058420 h 1914779"/>
              <a:gd name="connsiteX13" fmla="*/ 1182811 w 3462355"/>
              <a:gd name="connsiteY13" fmla="*/ 1179202 h 1914779"/>
              <a:gd name="connsiteX14" fmla="*/ 1421942 w 3462355"/>
              <a:gd name="connsiteY14" fmla="*/ 952021 h 1914779"/>
              <a:gd name="connsiteX15" fmla="*/ 2303806 w 3462355"/>
              <a:gd name="connsiteY15" fmla="*/ 851373 h 1914779"/>
              <a:gd name="connsiteX16" fmla="*/ 2297702 w 3462355"/>
              <a:gd name="connsiteY16" fmla="*/ 860060 h 1914779"/>
              <a:gd name="connsiteX17" fmla="*/ 2297329 w 3462355"/>
              <a:gd name="connsiteY17" fmla="*/ 859135 h 1914779"/>
              <a:gd name="connsiteX18" fmla="*/ 2303806 w 3462355"/>
              <a:gd name="connsiteY18" fmla="*/ 851373 h 1914779"/>
              <a:gd name="connsiteX19" fmla="*/ 3033087 w 3462355"/>
              <a:gd name="connsiteY19" fmla="*/ 631528 h 1914779"/>
              <a:gd name="connsiteX20" fmla="*/ 3462355 w 3462355"/>
              <a:gd name="connsiteY20" fmla="*/ 1059608 h 1914779"/>
              <a:gd name="connsiteX21" fmla="*/ 3034209 w 3462355"/>
              <a:gd name="connsiteY21" fmla="*/ 1487788 h 1914779"/>
              <a:gd name="connsiteX22" fmla="*/ 2606063 w 3462355"/>
              <a:gd name="connsiteY22" fmla="*/ 1059608 h 1914779"/>
              <a:gd name="connsiteX23" fmla="*/ 2644374 w 3462355"/>
              <a:gd name="connsiteY23" fmla="*/ 882694 h 1914779"/>
              <a:gd name="connsiteX24" fmla="*/ 2383575 w 3462355"/>
              <a:gd name="connsiteY24" fmla="*/ 737954 h 1914779"/>
              <a:gd name="connsiteX25" fmla="*/ 2337491 w 3462355"/>
              <a:gd name="connsiteY25" fmla="*/ 811006 h 1914779"/>
              <a:gd name="connsiteX26" fmla="*/ 2303806 w 3462355"/>
              <a:gd name="connsiteY26" fmla="*/ 851373 h 1914779"/>
              <a:gd name="connsiteX27" fmla="*/ 2383514 w 3462355"/>
              <a:gd name="connsiteY27" fmla="*/ 737926 h 1914779"/>
              <a:gd name="connsiteX28" fmla="*/ 2399137 w 3462355"/>
              <a:gd name="connsiteY28" fmla="*/ 705725 h 1914779"/>
              <a:gd name="connsiteX29" fmla="*/ 2399148 w 3462355"/>
              <a:gd name="connsiteY29" fmla="*/ 705693 h 1914779"/>
              <a:gd name="connsiteX30" fmla="*/ 2659922 w 3462355"/>
              <a:gd name="connsiteY30" fmla="*/ 850320 h 1914779"/>
              <a:gd name="connsiteX31" fmla="*/ 3033087 w 3462355"/>
              <a:gd name="connsiteY31" fmla="*/ 631528 h 1914779"/>
              <a:gd name="connsiteX32" fmla="*/ 2446121 w 3462355"/>
              <a:gd name="connsiteY32" fmla="*/ 562483 h 1914779"/>
              <a:gd name="connsiteX33" fmla="*/ 2445008 w 3462355"/>
              <a:gd name="connsiteY33" fmla="*/ 572313 h 1914779"/>
              <a:gd name="connsiteX34" fmla="*/ 2435513 w 3462355"/>
              <a:gd name="connsiteY34" fmla="*/ 599910 h 1914779"/>
              <a:gd name="connsiteX35" fmla="*/ 2444995 w 3462355"/>
              <a:gd name="connsiteY35" fmla="*/ 572330 h 1914779"/>
              <a:gd name="connsiteX36" fmla="*/ 2446110 w 3462355"/>
              <a:gd name="connsiteY36" fmla="*/ 562495 h 1914779"/>
              <a:gd name="connsiteX37" fmla="*/ 2446121 w 3462355"/>
              <a:gd name="connsiteY37" fmla="*/ 562483 h 1914779"/>
              <a:gd name="connsiteX38" fmla="*/ 428146 w 3462355"/>
              <a:gd name="connsiteY38" fmla="*/ 0 h 1914779"/>
              <a:gd name="connsiteX39" fmla="*/ 856292 w 3462355"/>
              <a:gd name="connsiteY39" fmla="*/ 410261 h 1914779"/>
              <a:gd name="connsiteX40" fmla="*/ 1157645 w 3462355"/>
              <a:gd name="connsiteY40" fmla="*/ 410261 h 1914779"/>
              <a:gd name="connsiteX41" fmla="*/ 1157663 w 3462355"/>
              <a:gd name="connsiteY41" fmla="*/ 410145 h 1914779"/>
              <a:gd name="connsiteX42" fmla="*/ 1157647 w 3462355"/>
              <a:gd name="connsiteY42" fmla="*/ 410319 h 1914779"/>
              <a:gd name="connsiteX43" fmla="*/ 1158849 w 3462355"/>
              <a:gd name="connsiteY43" fmla="*/ 446039 h 1914779"/>
              <a:gd name="connsiteX44" fmla="*/ 1158858 w 3462355"/>
              <a:gd name="connsiteY44" fmla="*/ 446099 h 1914779"/>
              <a:gd name="connsiteX45" fmla="*/ 856292 w 3462355"/>
              <a:gd name="connsiteY45" fmla="*/ 446099 h 1914779"/>
              <a:gd name="connsiteX46" fmla="*/ 428146 w 3462355"/>
              <a:gd name="connsiteY46" fmla="*/ 856359 h 1914779"/>
              <a:gd name="connsiteX47" fmla="*/ 0 w 3462355"/>
              <a:gd name="connsiteY47" fmla="*/ 428180 h 1914779"/>
              <a:gd name="connsiteX48" fmla="*/ 428146 w 3462355"/>
              <a:gd name="connsiteY48"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303806 w 3462355"/>
              <a:gd name="connsiteY12" fmla="*/ 851373 h 1914779"/>
              <a:gd name="connsiteX13" fmla="*/ 2297702 w 3462355"/>
              <a:gd name="connsiteY13" fmla="*/ 860060 h 1914779"/>
              <a:gd name="connsiteX14" fmla="*/ 2297329 w 3462355"/>
              <a:gd name="connsiteY14" fmla="*/ 859135 h 1914779"/>
              <a:gd name="connsiteX15" fmla="*/ 2303806 w 3462355"/>
              <a:gd name="connsiteY15" fmla="*/ 851373 h 1914779"/>
              <a:gd name="connsiteX16" fmla="*/ 3033087 w 3462355"/>
              <a:gd name="connsiteY16" fmla="*/ 631528 h 1914779"/>
              <a:gd name="connsiteX17" fmla="*/ 3462355 w 3462355"/>
              <a:gd name="connsiteY17" fmla="*/ 1059608 h 1914779"/>
              <a:gd name="connsiteX18" fmla="*/ 3034209 w 3462355"/>
              <a:gd name="connsiteY18" fmla="*/ 1487788 h 1914779"/>
              <a:gd name="connsiteX19" fmla="*/ 2606063 w 3462355"/>
              <a:gd name="connsiteY19" fmla="*/ 1059608 h 1914779"/>
              <a:gd name="connsiteX20" fmla="*/ 2644374 w 3462355"/>
              <a:gd name="connsiteY20" fmla="*/ 882694 h 1914779"/>
              <a:gd name="connsiteX21" fmla="*/ 2383575 w 3462355"/>
              <a:gd name="connsiteY21" fmla="*/ 737954 h 1914779"/>
              <a:gd name="connsiteX22" fmla="*/ 2337491 w 3462355"/>
              <a:gd name="connsiteY22" fmla="*/ 811006 h 1914779"/>
              <a:gd name="connsiteX23" fmla="*/ 2303806 w 3462355"/>
              <a:gd name="connsiteY23" fmla="*/ 851373 h 1914779"/>
              <a:gd name="connsiteX24" fmla="*/ 2383514 w 3462355"/>
              <a:gd name="connsiteY24" fmla="*/ 737926 h 1914779"/>
              <a:gd name="connsiteX25" fmla="*/ 2399137 w 3462355"/>
              <a:gd name="connsiteY25" fmla="*/ 705725 h 1914779"/>
              <a:gd name="connsiteX26" fmla="*/ 2399148 w 3462355"/>
              <a:gd name="connsiteY26" fmla="*/ 705693 h 1914779"/>
              <a:gd name="connsiteX27" fmla="*/ 2659922 w 3462355"/>
              <a:gd name="connsiteY27" fmla="*/ 850320 h 1914779"/>
              <a:gd name="connsiteX28" fmla="*/ 3033087 w 3462355"/>
              <a:gd name="connsiteY28" fmla="*/ 631528 h 1914779"/>
              <a:gd name="connsiteX29" fmla="*/ 2446121 w 3462355"/>
              <a:gd name="connsiteY29" fmla="*/ 562483 h 1914779"/>
              <a:gd name="connsiteX30" fmla="*/ 2445008 w 3462355"/>
              <a:gd name="connsiteY30" fmla="*/ 572313 h 1914779"/>
              <a:gd name="connsiteX31" fmla="*/ 2435513 w 3462355"/>
              <a:gd name="connsiteY31" fmla="*/ 599910 h 1914779"/>
              <a:gd name="connsiteX32" fmla="*/ 2444995 w 3462355"/>
              <a:gd name="connsiteY32" fmla="*/ 572330 h 1914779"/>
              <a:gd name="connsiteX33" fmla="*/ 2446110 w 3462355"/>
              <a:gd name="connsiteY33" fmla="*/ 562495 h 1914779"/>
              <a:gd name="connsiteX34" fmla="*/ 2446121 w 3462355"/>
              <a:gd name="connsiteY34" fmla="*/ 562483 h 1914779"/>
              <a:gd name="connsiteX35" fmla="*/ 428146 w 3462355"/>
              <a:gd name="connsiteY35" fmla="*/ 0 h 1914779"/>
              <a:gd name="connsiteX36" fmla="*/ 856292 w 3462355"/>
              <a:gd name="connsiteY36" fmla="*/ 410261 h 1914779"/>
              <a:gd name="connsiteX37" fmla="*/ 1157645 w 3462355"/>
              <a:gd name="connsiteY37" fmla="*/ 410261 h 1914779"/>
              <a:gd name="connsiteX38" fmla="*/ 1157663 w 3462355"/>
              <a:gd name="connsiteY38" fmla="*/ 410145 h 1914779"/>
              <a:gd name="connsiteX39" fmla="*/ 1157647 w 3462355"/>
              <a:gd name="connsiteY39" fmla="*/ 410319 h 1914779"/>
              <a:gd name="connsiteX40" fmla="*/ 1158849 w 3462355"/>
              <a:gd name="connsiteY40" fmla="*/ 446039 h 1914779"/>
              <a:gd name="connsiteX41" fmla="*/ 1158858 w 3462355"/>
              <a:gd name="connsiteY41" fmla="*/ 446099 h 1914779"/>
              <a:gd name="connsiteX42" fmla="*/ 856292 w 3462355"/>
              <a:gd name="connsiteY42" fmla="*/ 446099 h 1914779"/>
              <a:gd name="connsiteX43" fmla="*/ 428146 w 3462355"/>
              <a:gd name="connsiteY43" fmla="*/ 856359 h 1914779"/>
              <a:gd name="connsiteX44" fmla="*/ 0 w 3462355"/>
              <a:gd name="connsiteY44" fmla="*/ 428180 h 1914779"/>
              <a:gd name="connsiteX45" fmla="*/ 428146 w 3462355"/>
              <a:gd name="connsiteY45"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303806 w 3462355"/>
              <a:gd name="connsiteY12" fmla="*/ 851373 h 1914779"/>
              <a:gd name="connsiteX13" fmla="*/ 2297702 w 3462355"/>
              <a:gd name="connsiteY13" fmla="*/ 860060 h 1914779"/>
              <a:gd name="connsiteX14" fmla="*/ 2297329 w 3462355"/>
              <a:gd name="connsiteY14" fmla="*/ 859135 h 1914779"/>
              <a:gd name="connsiteX15" fmla="*/ 2303806 w 3462355"/>
              <a:gd name="connsiteY15" fmla="*/ 851373 h 1914779"/>
              <a:gd name="connsiteX16" fmla="*/ 3033087 w 3462355"/>
              <a:gd name="connsiteY16" fmla="*/ 631528 h 1914779"/>
              <a:gd name="connsiteX17" fmla="*/ 3462355 w 3462355"/>
              <a:gd name="connsiteY17" fmla="*/ 1059608 h 1914779"/>
              <a:gd name="connsiteX18" fmla="*/ 3034209 w 3462355"/>
              <a:gd name="connsiteY18" fmla="*/ 1487788 h 1914779"/>
              <a:gd name="connsiteX19" fmla="*/ 2606063 w 3462355"/>
              <a:gd name="connsiteY19" fmla="*/ 1059608 h 1914779"/>
              <a:gd name="connsiteX20" fmla="*/ 2644374 w 3462355"/>
              <a:gd name="connsiteY20" fmla="*/ 882694 h 1914779"/>
              <a:gd name="connsiteX21" fmla="*/ 2383575 w 3462355"/>
              <a:gd name="connsiteY21" fmla="*/ 737954 h 1914779"/>
              <a:gd name="connsiteX22" fmla="*/ 2337491 w 3462355"/>
              <a:gd name="connsiteY22" fmla="*/ 811006 h 1914779"/>
              <a:gd name="connsiteX23" fmla="*/ 2383514 w 3462355"/>
              <a:gd name="connsiteY23" fmla="*/ 737926 h 1914779"/>
              <a:gd name="connsiteX24" fmla="*/ 2399137 w 3462355"/>
              <a:gd name="connsiteY24" fmla="*/ 705725 h 1914779"/>
              <a:gd name="connsiteX25" fmla="*/ 2399148 w 3462355"/>
              <a:gd name="connsiteY25" fmla="*/ 705693 h 1914779"/>
              <a:gd name="connsiteX26" fmla="*/ 2659922 w 3462355"/>
              <a:gd name="connsiteY26" fmla="*/ 850320 h 1914779"/>
              <a:gd name="connsiteX27" fmla="*/ 3033087 w 3462355"/>
              <a:gd name="connsiteY27" fmla="*/ 631528 h 1914779"/>
              <a:gd name="connsiteX28" fmla="*/ 2446121 w 3462355"/>
              <a:gd name="connsiteY28" fmla="*/ 562483 h 1914779"/>
              <a:gd name="connsiteX29" fmla="*/ 2445008 w 3462355"/>
              <a:gd name="connsiteY29" fmla="*/ 572313 h 1914779"/>
              <a:gd name="connsiteX30" fmla="*/ 2435513 w 3462355"/>
              <a:gd name="connsiteY30" fmla="*/ 599910 h 1914779"/>
              <a:gd name="connsiteX31" fmla="*/ 2444995 w 3462355"/>
              <a:gd name="connsiteY31" fmla="*/ 572330 h 1914779"/>
              <a:gd name="connsiteX32" fmla="*/ 2446110 w 3462355"/>
              <a:gd name="connsiteY32" fmla="*/ 562495 h 1914779"/>
              <a:gd name="connsiteX33" fmla="*/ 2446121 w 3462355"/>
              <a:gd name="connsiteY33" fmla="*/ 562483 h 1914779"/>
              <a:gd name="connsiteX34" fmla="*/ 428146 w 3462355"/>
              <a:gd name="connsiteY34" fmla="*/ 0 h 1914779"/>
              <a:gd name="connsiteX35" fmla="*/ 856292 w 3462355"/>
              <a:gd name="connsiteY35" fmla="*/ 410261 h 1914779"/>
              <a:gd name="connsiteX36" fmla="*/ 1157645 w 3462355"/>
              <a:gd name="connsiteY36" fmla="*/ 410261 h 1914779"/>
              <a:gd name="connsiteX37" fmla="*/ 1157663 w 3462355"/>
              <a:gd name="connsiteY37" fmla="*/ 410145 h 1914779"/>
              <a:gd name="connsiteX38" fmla="*/ 1157647 w 3462355"/>
              <a:gd name="connsiteY38" fmla="*/ 410319 h 1914779"/>
              <a:gd name="connsiteX39" fmla="*/ 1158849 w 3462355"/>
              <a:gd name="connsiteY39" fmla="*/ 446039 h 1914779"/>
              <a:gd name="connsiteX40" fmla="*/ 1158858 w 3462355"/>
              <a:gd name="connsiteY40" fmla="*/ 446099 h 1914779"/>
              <a:gd name="connsiteX41" fmla="*/ 856292 w 3462355"/>
              <a:gd name="connsiteY41" fmla="*/ 446099 h 1914779"/>
              <a:gd name="connsiteX42" fmla="*/ 428146 w 3462355"/>
              <a:gd name="connsiteY42" fmla="*/ 856359 h 1914779"/>
              <a:gd name="connsiteX43" fmla="*/ 0 w 3462355"/>
              <a:gd name="connsiteY43" fmla="*/ 428180 h 1914779"/>
              <a:gd name="connsiteX44" fmla="*/ 428146 w 3462355"/>
              <a:gd name="connsiteY44"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297329 w 3462355"/>
              <a:gd name="connsiteY12" fmla="*/ 859135 h 1914779"/>
              <a:gd name="connsiteX13" fmla="*/ 2297702 w 3462355"/>
              <a:gd name="connsiteY13" fmla="*/ 860060 h 1914779"/>
              <a:gd name="connsiteX14" fmla="*/ 2297329 w 3462355"/>
              <a:gd name="connsiteY14" fmla="*/ 859135 h 1914779"/>
              <a:gd name="connsiteX15" fmla="*/ 3033087 w 3462355"/>
              <a:gd name="connsiteY15" fmla="*/ 631528 h 1914779"/>
              <a:gd name="connsiteX16" fmla="*/ 3462355 w 3462355"/>
              <a:gd name="connsiteY16" fmla="*/ 1059608 h 1914779"/>
              <a:gd name="connsiteX17" fmla="*/ 3034209 w 3462355"/>
              <a:gd name="connsiteY17" fmla="*/ 1487788 h 1914779"/>
              <a:gd name="connsiteX18" fmla="*/ 2606063 w 3462355"/>
              <a:gd name="connsiteY18" fmla="*/ 1059608 h 1914779"/>
              <a:gd name="connsiteX19" fmla="*/ 2644374 w 3462355"/>
              <a:gd name="connsiteY19" fmla="*/ 882694 h 1914779"/>
              <a:gd name="connsiteX20" fmla="*/ 2383575 w 3462355"/>
              <a:gd name="connsiteY20" fmla="*/ 737954 h 1914779"/>
              <a:gd name="connsiteX21" fmla="*/ 2337491 w 3462355"/>
              <a:gd name="connsiteY21" fmla="*/ 811006 h 1914779"/>
              <a:gd name="connsiteX22" fmla="*/ 2383514 w 3462355"/>
              <a:gd name="connsiteY22" fmla="*/ 737926 h 1914779"/>
              <a:gd name="connsiteX23" fmla="*/ 2399137 w 3462355"/>
              <a:gd name="connsiteY23" fmla="*/ 705725 h 1914779"/>
              <a:gd name="connsiteX24" fmla="*/ 2399148 w 3462355"/>
              <a:gd name="connsiteY24" fmla="*/ 705693 h 1914779"/>
              <a:gd name="connsiteX25" fmla="*/ 2659922 w 3462355"/>
              <a:gd name="connsiteY25" fmla="*/ 850320 h 1914779"/>
              <a:gd name="connsiteX26" fmla="*/ 3033087 w 3462355"/>
              <a:gd name="connsiteY26" fmla="*/ 631528 h 1914779"/>
              <a:gd name="connsiteX27" fmla="*/ 2446121 w 3462355"/>
              <a:gd name="connsiteY27" fmla="*/ 562483 h 1914779"/>
              <a:gd name="connsiteX28" fmla="*/ 2445008 w 3462355"/>
              <a:gd name="connsiteY28" fmla="*/ 572313 h 1914779"/>
              <a:gd name="connsiteX29" fmla="*/ 2435513 w 3462355"/>
              <a:gd name="connsiteY29" fmla="*/ 599910 h 1914779"/>
              <a:gd name="connsiteX30" fmla="*/ 2444995 w 3462355"/>
              <a:gd name="connsiteY30" fmla="*/ 572330 h 1914779"/>
              <a:gd name="connsiteX31" fmla="*/ 2446110 w 3462355"/>
              <a:gd name="connsiteY31" fmla="*/ 562495 h 1914779"/>
              <a:gd name="connsiteX32" fmla="*/ 2446121 w 3462355"/>
              <a:gd name="connsiteY32" fmla="*/ 562483 h 1914779"/>
              <a:gd name="connsiteX33" fmla="*/ 428146 w 3462355"/>
              <a:gd name="connsiteY33" fmla="*/ 0 h 1914779"/>
              <a:gd name="connsiteX34" fmla="*/ 856292 w 3462355"/>
              <a:gd name="connsiteY34" fmla="*/ 410261 h 1914779"/>
              <a:gd name="connsiteX35" fmla="*/ 1157645 w 3462355"/>
              <a:gd name="connsiteY35" fmla="*/ 410261 h 1914779"/>
              <a:gd name="connsiteX36" fmla="*/ 1157663 w 3462355"/>
              <a:gd name="connsiteY36" fmla="*/ 410145 h 1914779"/>
              <a:gd name="connsiteX37" fmla="*/ 1157647 w 3462355"/>
              <a:gd name="connsiteY37" fmla="*/ 410319 h 1914779"/>
              <a:gd name="connsiteX38" fmla="*/ 1158849 w 3462355"/>
              <a:gd name="connsiteY38" fmla="*/ 446039 h 1914779"/>
              <a:gd name="connsiteX39" fmla="*/ 1158858 w 3462355"/>
              <a:gd name="connsiteY39" fmla="*/ 446099 h 1914779"/>
              <a:gd name="connsiteX40" fmla="*/ 856292 w 3462355"/>
              <a:gd name="connsiteY40" fmla="*/ 446099 h 1914779"/>
              <a:gd name="connsiteX41" fmla="*/ 428146 w 3462355"/>
              <a:gd name="connsiteY41" fmla="*/ 856359 h 1914779"/>
              <a:gd name="connsiteX42" fmla="*/ 0 w 3462355"/>
              <a:gd name="connsiteY42" fmla="*/ 428180 h 1914779"/>
              <a:gd name="connsiteX43" fmla="*/ 428146 w 3462355"/>
              <a:gd name="connsiteY43"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37491 w 3462355"/>
              <a:gd name="connsiteY18" fmla="*/ 811006 h 1914779"/>
              <a:gd name="connsiteX19" fmla="*/ 2383514 w 3462355"/>
              <a:gd name="connsiteY19" fmla="*/ 737926 h 1914779"/>
              <a:gd name="connsiteX20" fmla="*/ 2399137 w 3462355"/>
              <a:gd name="connsiteY20" fmla="*/ 705725 h 1914779"/>
              <a:gd name="connsiteX21" fmla="*/ 2399148 w 3462355"/>
              <a:gd name="connsiteY21" fmla="*/ 705693 h 1914779"/>
              <a:gd name="connsiteX22" fmla="*/ 2659922 w 3462355"/>
              <a:gd name="connsiteY22" fmla="*/ 850320 h 1914779"/>
              <a:gd name="connsiteX23" fmla="*/ 3033087 w 3462355"/>
              <a:gd name="connsiteY23" fmla="*/ 631528 h 1914779"/>
              <a:gd name="connsiteX24" fmla="*/ 2446121 w 3462355"/>
              <a:gd name="connsiteY24" fmla="*/ 562483 h 1914779"/>
              <a:gd name="connsiteX25" fmla="*/ 2445008 w 3462355"/>
              <a:gd name="connsiteY25" fmla="*/ 572313 h 1914779"/>
              <a:gd name="connsiteX26" fmla="*/ 2435513 w 3462355"/>
              <a:gd name="connsiteY26" fmla="*/ 599910 h 1914779"/>
              <a:gd name="connsiteX27" fmla="*/ 2444995 w 3462355"/>
              <a:gd name="connsiteY27" fmla="*/ 572330 h 1914779"/>
              <a:gd name="connsiteX28" fmla="*/ 2446110 w 3462355"/>
              <a:gd name="connsiteY28" fmla="*/ 562495 h 1914779"/>
              <a:gd name="connsiteX29" fmla="*/ 2446121 w 3462355"/>
              <a:gd name="connsiteY29" fmla="*/ 562483 h 1914779"/>
              <a:gd name="connsiteX30" fmla="*/ 428146 w 3462355"/>
              <a:gd name="connsiteY30" fmla="*/ 0 h 1914779"/>
              <a:gd name="connsiteX31" fmla="*/ 856292 w 3462355"/>
              <a:gd name="connsiteY31" fmla="*/ 410261 h 1914779"/>
              <a:gd name="connsiteX32" fmla="*/ 1157645 w 3462355"/>
              <a:gd name="connsiteY32" fmla="*/ 410261 h 1914779"/>
              <a:gd name="connsiteX33" fmla="*/ 1157663 w 3462355"/>
              <a:gd name="connsiteY33" fmla="*/ 410145 h 1914779"/>
              <a:gd name="connsiteX34" fmla="*/ 1157647 w 3462355"/>
              <a:gd name="connsiteY34" fmla="*/ 410319 h 1914779"/>
              <a:gd name="connsiteX35" fmla="*/ 1158849 w 3462355"/>
              <a:gd name="connsiteY35" fmla="*/ 446039 h 1914779"/>
              <a:gd name="connsiteX36" fmla="*/ 1158858 w 3462355"/>
              <a:gd name="connsiteY36" fmla="*/ 446099 h 1914779"/>
              <a:gd name="connsiteX37" fmla="*/ 856292 w 3462355"/>
              <a:gd name="connsiteY37" fmla="*/ 446099 h 1914779"/>
              <a:gd name="connsiteX38" fmla="*/ 428146 w 3462355"/>
              <a:gd name="connsiteY38" fmla="*/ 856359 h 1914779"/>
              <a:gd name="connsiteX39" fmla="*/ 0 w 3462355"/>
              <a:gd name="connsiteY39" fmla="*/ 428180 h 1914779"/>
              <a:gd name="connsiteX40" fmla="*/ 428146 w 3462355"/>
              <a:gd name="connsiteY40"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45008 w 3462355"/>
              <a:gd name="connsiteY24" fmla="*/ 572313 h 1914779"/>
              <a:gd name="connsiteX25" fmla="*/ 2435513 w 3462355"/>
              <a:gd name="connsiteY25" fmla="*/ 599910 h 1914779"/>
              <a:gd name="connsiteX26" fmla="*/ 2444995 w 3462355"/>
              <a:gd name="connsiteY26" fmla="*/ 572330 h 1914779"/>
              <a:gd name="connsiteX27" fmla="*/ 2446110 w 3462355"/>
              <a:gd name="connsiteY27" fmla="*/ 562495 h 1914779"/>
              <a:gd name="connsiteX28" fmla="*/ 2446121 w 3462355"/>
              <a:gd name="connsiteY28" fmla="*/ 562483 h 1914779"/>
              <a:gd name="connsiteX29" fmla="*/ 428146 w 3462355"/>
              <a:gd name="connsiteY29" fmla="*/ 0 h 1914779"/>
              <a:gd name="connsiteX30" fmla="*/ 856292 w 3462355"/>
              <a:gd name="connsiteY30" fmla="*/ 410261 h 1914779"/>
              <a:gd name="connsiteX31" fmla="*/ 1157645 w 3462355"/>
              <a:gd name="connsiteY31" fmla="*/ 410261 h 1914779"/>
              <a:gd name="connsiteX32" fmla="*/ 1157663 w 3462355"/>
              <a:gd name="connsiteY32" fmla="*/ 410145 h 1914779"/>
              <a:gd name="connsiteX33" fmla="*/ 1157647 w 3462355"/>
              <a:gd name="connsiteY33" fmla="*/ 410319 h 1914779"/>
              <a:gd name="connsiteX34" fmla="*/ 1158849 w 3462355"/>
              <a:gd name="connsiteY34" fmla="*/ 446039 h 1914779"/>
              <a:gd name="connsiteX35" fmla="*/ 1158858 w 3462355"/>
              <a:gd name="connsiteY35" fmla="*/ 446099 h 1914779"/>
              <a:gd name="connsiteX36" fmla="*/ 856292 w 3462355"/>
              <a:gd name="connsiteY36" fmla="*/ 446099 h 1914779"/>
              <a:gd name="connsiteX37" fmla="*/ 428146 w 3462355"/>
              <a:gd name="connsiteY37" fmla="*/ 856359 h 1914779"/>
              <a:gd name="connsiteX38" fmla="*/ 0 w 3462355"/>
              <a:gd name="connsiteY38" fmla="*/ 428180 h 1914779"/>
              <a:gd name="connsiteX39" fmla="*/ 428146 w 3462355"/>
              <a:gd name="connsiteY39"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45008 w 3462355"/>
              <a:gd name="connsiteY24" fmla="*/ 572313 h 1914779"/>
              <a:gd name="connsiteX25" fmla="*/ 2435513 w 3462355"/>
              <a:gd name="connsiteY25" fmla="*/ 599910 h 1914779"/>
              <a:gd name="connsiteX26" fmla="*/ 2446110 w 3462355"/>
              <a:gd name="connsiteY26" fmla="*/ 562495 h 1914779"/>
              <a:gd name="connsiteX27" fmla="*/ 2446121 w 3462355"/>
              <a:gd name="connsiteY27" fmla="*/ 562483 h 1914779"/>
              <a:gd name="connsiteX28" fmla="*/ 428146 w 3462355"/>
              <a:gd name="connsiteY28" fmla="*/ 0 h 1914779"/>
              <a:gd name="connsiteX29" fmla="*/ 856292 w 3462355"/>
              <a:gd name="connsiteY29" fmla="*/ 410261 h 1914779"/>
              <a:gd name="connsiteX30" fmla="*/ 1157645 w 3462355"/>
              <a:gd name="connsiteY30" fmla="*/ 410261 h 1914779"/>
              <a:gd name="connsiteX31" fmla="*/ 1157663 w 3462355"/>
              <a:gd name="connsiteY31" fmla="*/ 410145 h 1914779"/>
              <a:gd name="connsiteX32" fmla="*/ 1157647 w 3462355"/>
              <a:gd name="connsiteY32" fmla="*/ 410319 h 1914779"/>
              <a:gd name="connsiteX33" fmla="*/ 1158849 w 3462355"/>
              <a:gd name="connsiteY33" fmla="*/ 446039 h 1914779"/>
              <a:gd name="connsiteX34" fmla="*/ 1158858 w 3462355"/>
              <a:gd name="connsiteY34" fmla="*/ 446099 h 1914779"/>
              <a:gd name="connsiteX35" fmla="*/ 856292 w 3462355"/>
              <a:gd name="connsiteY35" fmla="*/ 446099 h 1914779"/>
              <a:gd name="connsiteX36" fmla="*/ 428146 w 3462355"/>
              <a:gd name="connsiteY36" fmla="*/ 856359 h 1914779"/>
              <a:gd name="connsiteX37" fmla="*/ 0 w 3462355"/>
              <a:gd name="connsiteY37" fmla="*/ 428180 h 1914779"/>
              <a:gd name="connsiteX38" fmla="*/ 428146 w 3462355"/>
              <a:gd name="connsiteY38"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35513 w 3462355"/>
              <a:gd name="connsiteY24" fmla="*/ 599910 h 1914779"/>
              <a:gd name="connsiteX25" fmla="*/ 2446110 w 3462355"/>
              <a:gd name="connsiteY25" fmla="*/ 562495 h 1914779"/>
              <a:gd name="connsiteX26" fmla="*/ 2446121 w 3462355"/>
              <a:gd name="connsiteY26" fmla="*/ 562483 h 1914779"/>
              <a:gd name="connsiteX27" fmla="*/ 428146 w 3462355"/>
              <a:gd name="connsiteY27" fmla="*/ 0 h 1914779"/>
              <a:gd name="connsiteX28" fmla="*/ 856292 w 3462355"/>
              <a:gd name="connsiteY28" fmla="*/ 410261 h 1914779"/>
              <a:gd name="connsiteX29" fmla="*/ 1157645 w 3462355"/>
              <a:gd name="connsiteY29" fmla="*/ 410261 h 1914779"/>
              <a:gd name="connsiteX30" fmla="*/ 1157663 w 3462355"/>
              <a:gd name="connsiteY30" fmla="*/ 410145 h 1914779"/>
              <a:gd name="connsiteX31" fmla="*/ 1157647 w 3462355"/>
              <a:gd name="connsiteY31" fmla="*/ 410319 h 1914779"/>
              <a:gd name="connsiteX32" fmla="*/ 1158849 w 3462355"/>
              <a:gd name="connsiteY32" fmla="*/ 446039 h 1914779"/>
              <a:gd name="connsiteX33" fmla="*/ 1158858 w 3462355"/>
              <a:gd name="connsiteY33" fmla="*/ 446099 h 1914779"/>
              <a:gd name="connsiteX34" fmla="*/ 856292 w 3462355"/>
              <a:gd name="connsiteY34" fmla="*/ 446099 h 1914779"/>
              <a:gd name="connsiteX35" fmla="*/ 428146 w 3462355"/>
              <a:gd name="connsiteY35" fmla="*/ 856359 h 1914779"/>
              <a:gd name="connsiteX36" fmla="*/ 0 w 3462355"/>
              <a:gd name="connsiteY36" fmla="*/ 428180 h 1914779"/>
              <a:gd name="connsiteX37" fmla="*/ 428146 w 3462355"/>
              <a:gd name="connsiteY37"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10 w 3462355"/>
              <a:gd name="connsiteY23" fmla="*/ 562495 h 1914779"/>
              <a:gd name="connsiteX24" fmla="*/ 2435513 w 3462355"/>
              <a:gd name="connsiteY24" fmla="*/ 599910 h 1914779"/>
              <a:gd name="connsiteX25" fmla="*/ 2446110 w 3462355"/>
              <a:gd name="connsiteY25" fmla="*/ 562495 h 1914779"/>
              <a:gd name="connsiteX26" fmla="*/ 428146 w 3462355"/>
              <a:gd name="connsiteY26" fmla="*/ 0 h 1914779"/>
              <a:gd name="connsiteX27" fmla="*/ 856292 w 3462355"/>
              <a:gd name="connsiteY27" fmla="*/ 410261 h 1914779"/>
              <a:gd name="connsiteX28" fmla="*/ 1157645 w 3462355"/>
              <a:gd name="connsiteY28" fmla="*/ 410261 h 1914779"/>
              <a:gd name="connsiteX29" fmla="*/ 1157663 w 3462355"/>
              <a:gd name="connsiteY29" fmla="*/ 410145 h 1914779"/>
              <a:gd name="connsiteX30" fmla="*/ 1157647 w 3462355"/>
              <a:gd name="connsiteY30" fmla="*/ 410319 h 1914779"/>
              <a:gd name="connsiteX31" fmla="*/ 1158849 w 3462355"/>
              <a:gd name="connsiteY31" fmla="*/ 446039 h 1914779"/>
              <a:gd name="connsiteX32" fmla="*/ 1158858 w 3462355"/>
              <a:gd name="connsiteY32" fmla="*/ 446099 h 1914779"/>
              <a:gd name="connsiteX33" fmla="*/ 856292 w 3462355"/>
              <a:gd name="connsiteY33" fmla="*/ 446099 h 1914779"/>
              <a:gd name="connsiteX34" fmla="*/ 428146 w 3462355"/>
              <a:gd name="connsiteY34" fmla="*/ 856359 h 1914779"/>
              <a:gd name="connsiteX35" fmla="*/ 0 w 3462355"/>
              <a:gd name="connsiteY35" fmla="*/ 428180 h 1914779"/>
              <a:gd name="connsiteX36" fmla="*/ 428146 w 3462355"/>
              <a:gd name="connsiteY36"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428146 w 3462355"/>
              <a:gd name="connsiteY23" fmla="*/ 0 h 1914779"/>
              <a:gd name="connsiteX24" fmla="*/ 856292 w 3462355"/>
              <a:gd name="connsiteY24" fmla="*/ 410261 h 1914779"/>
              <a:gd name="connsiteX25" fmla="*/ 1157645 w 3462355"/>
              <a:gd name="connsiteY25" fmla="*/ 410261 h 1914779"/>
              <a:gd name="connsiteX26" fmla="*/ 1157663 w 3462355"/>
              <a:gd name="connsiteY26" fmla="*/ 410145 h 1914779"/>
              <a:gd name="connsiteX27" fmla="*/ 1157647 w 3462355"/>
              <a:gd name="connsiteY27" fmla="*/ 410319 h 1914779"/>
              <a:gd name="connsiteX28" fmla="*/ 1158849 w 3462355"/>
              <a:gd name="connsiteY28" fmla="*/ 446039 h 1914779"/>
              <a:gd name="connsiteX29" fmla="*/ 1158858 w 3462355"/>
              <a:gd name="connsiteY29" fmla="*/ 446099 h 1914779"/>
              <a:gd name="connsiteX30" fmla="*/ 856292 w 3462355"/>
              <a:gd name="connsiteY30" fmla="*/ 446099 h 1914779"/>
              <a:gd name="connsiteX31" fmla="*/ 428146 w 3462355"/>
              <a:gd name="connsiteY31" fmla="*/ 856359 h 1914779"/>
              <a:gd name="connsiteX32" fmla="*/ 0 w 3462355"/>
              <a:gd name="connsiteY32" fmla="*/ 428180 h 1914779"/>
              <a:gd name="connsiteX33" fmla="*/ 428146 w 3462355"/>
              <a:gd name="connsiteY33" fmla="*/ 0 h 191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62355" h="1914779">
                <a:moveTo>
                  <a:pt x="1421942" y="952021"/>
                </a:moveTo>
                <a:lnTo>
                  <a:pt x="1448190" y="974798"/>
                </a:lnTo>
                <a:lnTo>
                  <a:pt x="1435120" y="961631"/>
                </a:lnTo>
                <a:lnTo>
                  <a:pt x="1435190" y="961673"/>
                </a:lnTo>
                <a:lnTo>
                  <a:pt x="1448258" y="974765"/>
                </a:lnTo>
                <a:lnTo>
                  <a:pt x="1206695" y="1204348"/>
                </a:lnTo>
                <a:cubicBezTo>
                  <a:pt x="1273698" y="1279688"/>
                  <a:pt x="1313130" y="1378986"/>
                  <a:pt x="1313130" y="1486600"/>
                </a:cubicBezTo>
                <a:cubicBezTo>
                  <a:pt x="1313130" y="1723410"/>
                  <a:pt x="1121899" y="1914779"/>
                  <a:pt x="884985" y="1914779"/>
                </a:cubicBezTo>
                <a:cubicBezTo>
                  <a:pt x="648230" y="1914779"/>
                  <a:pt x="456839" y="1723410"/>
                  <a:pt x="456839" y="1486600"/>
                </a:cubicBezTo>
                <a:cubicBezTo>
                  <a:pt x="456839" y="1249789"/>
                  <a:pt x="648230" y="1058420"/>
                  <a:pt x="884985" y="1058420"/>
                </a:cubicBezTo>
                <a:cubicBezTo>
                  <a:pt x="1001038" y="1058420"/>
                  <a:pt x="1106351" y="1105050"/>
                  <a:pt x="1182811" y="1179202"/>
                </a:cubicBezTo>
                <a:lnTo>
                  <a:pt x="1421942" y="952021"/>
                </a:lnTo>
                <a:close/>
                <a:moveTo>
                  <a:pt x="3033087" y="631528"/>
                </a:moveTo>
                <a:cubicBezTo>
                  <a:pt x="3268559" y="631528"/>
                  <a:pt x="3462355" y="822798"/>
                  <a:pt x="3462355" y="1059608"/>
                </a:cubicBezTo>
                <a:cubicBezTo>
                  <a:pt x="3462355" y="1296419"/>
                  <a:pt x="3270964" y="1487788"/>
                  <a:pt x="3034209" y="1487788"/>
                </a:cubicBezTo>
                <a:cubicBezTo>
                  <a:pt x="2797455" y="1487788"/>
                  <a:pt x="2606063" y="1296419"/>
                  <a:pt x="2606063" y="1059608"/>
                </a:cubicBezTo>
                <a:cubicBezTo>
                  <a:pt x="2606063" y="996248"/>
                  <a:pt x="2620330" y="936451"/>
                  <a:pt x="2644374" y="882694"/>
                </a:cubicBezTo>
                <a:lnTo>
                  <a:pt x="2383575" y="737954"/>
                </a:lnTo>
                <a:cubicBezTo>
                  <a:pt x="2340098" y="713826"/>
                  <a:pt x="2380920" y="743297"/>
                  <a:pt x="2383514" y="737926"/>
                </a:cubicBezTo>
                <a:cubicBezTo>
                  <a:pt x="2388772" y="727236"/>
                  <a:pt x="2393879" y="716415"/>
                  <a:pt x="2399137" y="705725"/>
                </a:cubicBezTo>
                <a:cubicBezTo>
                  <a:pt x="2399141" y="705714"/>
                  <a:pt x="2399144" y="705704"/>
                  <a:pt x="2399148" y="705693"/>
                </a:cubicBezTo>
                <a:lnTo>
                  <a:pt x="2659922" y="850320"/>
                </a:lnTo>
                <a:cubicBezTo>
                  <a:pt x="2732856" y="720035"/>
                  <a:pt x="2872793" y="631528"/>
                  <a:pt x="3033087" y="631528"/>
                </a:cubicBezTo>
                <a:close/>
                <a:moveTo>
                  <a:pt x="428146" y="0"/>
                </a:moveTo>
                <a:cubicBezTo>
                  <a:pt x="658970" y="0"/>
                  <a:pt x="846674" y="181766"/>
                  <a:pt x="856292" y="410261"/>
                </a:cubicBezTo>
                <a:lnTo>
                  <a:pt x="1157645" y="410261"/>
                </a:lnTo>
                <a:cubicBezTo>
                  <a:pt x="1157651" y="410222"/>
                  <a:pt x="1157657" y="410184"/>
                  <a:pt x="1157663" y="410145"/>
                </a:cubicBezTo>
                <a:cubicBezTo>
                  <a:pt x="1157658" y="410203"/>
                  <a:pt x="1157652" y="410261"/>
                  <a:pt x="1157647" y="410319"/>
                </a:cubicBezTo>
                <a:cubicBezTo>
                  <a:pt x="1158098" y="422182"/>
                  <a:pt x="1158398" y="434176"/>
                  <a:pt x="1158849" y="446039"/>
                </a:cubicBezTo>
                <a:lnTo>
                  <a:pt x="1158858" y="446099"/>
                </a:lnTo>
                <a:lnTo>
                  <a:pt x="856292" y="446099"/>
                </a:lnTo>
                <a:cubicBezTo>
                  <a:pt x="846674" y="674494"/>
                  <a:pt x="658970" y="856359"/>
                  <a:pt x="428146" y="856359"/>
                </a:cubicBezTo>
                <a:cubicBezTo>
                  <a:pt x="191391" y="856359"/>
                  <a:pt x="0" y="664990"/>
                  <a:pt x="0" y="428180"/>
                </a:cubicBezTo>
                <a:cubicBezTo>
                  <a:pt x="0" y="191370"/>
                  <a:pt x="191391" y="0"/>
                  <a:pt x="428146" y="0"/>
                </a:cubicBezTo>
                <a:close/>
              </a:path>
            </a:pathLst>
          </a:custGeom>
          <a:solidFill>
            <a:srgbClr val="A2B969">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sp>
        <p:nvSpPr>
          <p:cNvPr id="87" name="Freeform: Shape 86">
            <a:extLst>
              <a:ext uri="{FF2B5EF4-FFF2-40B4-BE49-F238E27FC236}">
                <a16:creationId xmlns:a16="http://schemas.microsoft.com/office/drawing/2014/main" id="{52B688A9-7288-A4DB-7101-B55CCC728F93}"/>
              </a:ext>
            </a:extLst>
          </p:cNvPr>
          <p:cNvSpPr/>
          <p:nvPr/>
        </p:nvSpPr>
        <p:spPr>
          <a:xfrm>
            <a:off x="6151902" y="3108110"/>
            <a:ext cx="1076735" cy="2223374"/>
          </a:xfrm>
          <a:custGeom>
            <a:avLst/>
            <a:gdLst>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188216 w 1489116"/>
              <a:gd name="connsiteY4" fmla="*/ 1897760 h 2966042"/>
              <a:gd name="connsiteX5" fmla="*/ 186126 w 1489116"/>
              <a:gd name="connsiteY5" fmla="*/ 1900829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86124 w 1489116"/>
              <a:gd name="connsiteY16" fmla="*/ 1900827 h 2966042"/>
              <a:gd name="connsiteX17" fmla="*/ 188211 w 1489116"/>
              <a:gd name="connsiteY17" fmla="*/ 1897763 h 2966042"/>
              <a:gd name="connsiteX18" fmla="*/ 1060930 w 1489116"/>
              <a:gd name="connsiteY18" fmla="*/ 1052533 h 2966042"/>
              <a:gd name="connsiteX19" fmla="*/ 1489116 w 1489116"/>
              <a:gd name="connsiteY19" fmla="*/ 1478215 h 2966042"/>
              <a:gd name="connsiteX20" fmla="*/ 1060930 w 1489116"/>
              <a:gd name="connsiteY20" fmla="*/ 1906369 h 2966042"/>
              <a:gd name="connsiteX21" fmla="*/ 632745 w 1489116"/>
              <a:gd name="connsiteY21" fmla="*/ 1493732 h 2966042"/>
              <a:gd name="connsiteX22" fmla="*/ 343357 w 1489116"/>
              <a:gd name="connsiteY22" fmla="*/ 1493732 h 2966042"/>
              <a:gd name="connsiteX23" fmla="*/ 338861 w 1489116"/>
              <a:gd name="connsiteY23" fmla="*/ 1545363 h 2966042"/>
              <a:gd name="connsiteX24" fmla="*/ 338859 w 1489116"/>
              <a:gd name="connsiteY24" fmla="*/ 1545362 h 2966042"/>
              <a:gd name="connsiteX25" fmla="*/ 343355 w 1489116"/>
              <a:gd name="connsiteY25" fmla="*/ 1493730 h 2966042"/>
              <a:gd name="connsiteX26" fmla="*/ 343355 w 1489116"/>
              <a:gd name="connsiteY26" fmla="*/ 1460362 h 2966042"/>
              <a:gd name="connsiteX27" fmla="*/ 331871 w 1489116"/>
              <a:gd name="connsiteY27" fmla="*/ 1371541 h 2966042"/>
              <a:gd name="connsiteX28" fmla="*/ 334086 w 1489116"/>
              <a:gd name="connsiteY28" fmla="*/ 1370787 h 2966042"/>
              <a:gd name="connsiteX29" fmla="*/ 343357 w 1489116"/>
              <a:gd name="connsiteY29" fmla="*/ 1460364 h 2966042"/>
              <a:gd name="connsiteX30" fmla="*/ 632858 w 1489116"/>
              <a:gd name="connsiteY30" fmla="*/ 1460364 h 2966042"/>
              <a:gd name="connsiteX31" fmla="*/ 1060930 w 1489116"/>
              <a:gd name="connsiteY31" fmla="*/ 1052533 h 2966042"/>
              <a:gd name="connsiteX32" fmla="*/ 605303 w 1489116"/>
              <a:gd name="connsiteY32" fmla="*/ 0 h 2966042"/>
              <a:gd name="connsiteX33" fmla="*/ 1033488 w 1489116"/>
              <a:gd name="connsiteY33" fmla="*/ 428154 h 2966042"/>
              <a:gd name="connsiteX34" fmla="*/ 605303 w 1489116"/>
              <a:gd name="connsiteY34" fmla="*/ 856307 h 2966042"/>
              <a:gd name="connsiteX35" fmla="*/ 338594 w 1489116"/>
              <a:gd name="connsiteY35" fmla="*/ 763069 h 2966042"/>
              <a:gd name="connsiteX36" fmla="*/ 134027 w 1489116"/>
              <a:gd name="connsiteY36" fmla="*/ 998705 h 2966042"/>
              <a:gd name="connsiteX37" fmla="*/ 134025 w 1489116"/>
              <a:gd name="connsiteY37" fmla="*/ 998703 h 2966042"/>
              <a:gd name="connsiteX38" fmla="*/ 106585 w 1489116"/>
              <a:gd name="connsiteY38" fmla="*/ 974674 h 2966042"/>
              <a:gd name="connsiteX39" fmla="*/ 311039 w 1489116"/>
              <a:gd name="connsiteY39" fmla="*/ 739176 h 2966042"/>
              <a:gd name="connsiteX40" fmla="*/ 177117 w 1489116"/>
              <a:gd name="connsiteY40" fmla="*/ 428154 h 2966042"/>
              <a:gd name="connsiteX41" fmla="*/ 605303 w 1489116"/>
              <a:gd name="connsiteY41"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188211 w 1489116"/>
              <a:gd name="connsiteY5" fmla="*/ 1897763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86124 w 1489116"/>
              <a:gd name="connsiteY17" fmla="*/ 1900827 h 2966042"/>
              <a:gd name="connsiteX18" fmla="*/ 188211 w 1489116"/>
              <a:gd name="connsiteY18" fmla="*/ 1897763 h 2966042"/>
              <a:gd name="connsiteX19" fmla="*/ 1060930 w 1489116"/>
              <a:gd name="connsiteY19" fmla="*/ 1052533 h 2966042"/>
              <a:gd name="connsiteX20" fmla="*/ 1489116 w 1489116"/>
              <a:gd name="connsiteY20" fmla="*/ 1478215 h 2966042"/>
              <a:gd name="connsiteX21" fmla="*/ 1060930 w 1489116"/>
              <a:gd name="connsiteY21" fmla="*/ 1906369 h 2966042"/>
              <a:gd name="connsiteX22" fmla="*/ 632745 w 1489116"/>
              <a:gd name="connsiteY22" fmla="*/ 1493732 h 2966042"/>
              <a:gd name="connsiteX23" fmla="*/ 343357 w 1489116"/>
              <a:gd name="connsiteY23" fmla="*/ 1493732 h 2966042"/>
              <a:gd name="connsiteX24" fmla="*/ 338861 w 1489116"/>
              <a:gd name="connsiteY24" fmla="*/ 1545363 h 2966042"/>
              <a:gd name="connsiteX25" fmla="*/ 338859 w 1489116"/>
              <a:gd name="connsiteY25" fmla="*/ 1545362 h 2966042"/>
              <a:gd name="connsiteX26" fmla="*/ 343355 w 1489116"/>
              <a:gd name="connsiteY26" fmla="*/ 1493730 h 2966042"/>
              <a:gd name="connsiteX27" fmla="*/ 343355 w 1489116"/>
              <a:gd name="connsiteY27" fmla="*/ 1460362 h 2966042"/>
              <a:gd name="connsiteX28" fmla="*/ 331871 w 1489116"/>
              <a:gd name="connsiteY28" fmla="*/ 1371541 h 2966042"/>
              <a:gd name="connsiteX29" fmla="*/ 334086 w 1489116"/>
              <a:gd name="connsiteY29" fmla="*/ 1370787 h 2966042"/>
              <a:gd name="connsiteX30" fmla="*/ 343357 w 1489116"/>
              <a:gd name="connsiteY30" fmla="*/ 1460364 h 2966042"/>
              <a:gd name="connsiteX31" fmla="*/ 632858 w 1489116"/>
              <a:gd name="connsiteY31" fmla="*/ 1460364 h 2966042"/>
              <a:gd name="connsiteX32" fmla="*/ 1060930 w 1489116"/>
              <a:gd name="connsiteY32" fmla="*/ 1052533 h 2966042"/>
              <a:gd name="connsiteX33" fmla="*/ 605303 w 1489116"/>
              <a:gd name="connsiteY33" fmla="*/ 0 h 2966042"/>
              <a:gd name="connsiteX34" fmla="*/ 1033488 w 1489116"/>
              <a:gd name="connsiteY34" fmla="*/ 428154 h 2966042"/>
              <a:gd name="connsiteX35" fmla="*/ 605303 w 1489116"/>
              <a:gd name="connsiteY35" fmla="*/ 856307 h 2966042"/>
              <a:gd name="connsiteX36" fmla="*/ 338594 w 1489116"/>
              <a:gd name="connsiteY36" fmla="*/ 763069 h 2966042"/>
              <a:gd name="connsiteX37" fmla="*/ 134027 w 1489116"/>
              <a:gd name="connsiteY37" fmla="*/ 998705 h 2966042"/>
              <a:gd name="connsiteX38" fmla="*/ 134025 w 1489116"/>
              <a:gd name="connsiteY38" fmla="*/ 998703 h 2966042"/>
              <a:gd name="connsiteX39" fmla="*/ 106585 w 1489116"/>
              <a:gd name="connsiteY39" fmla="*/ 974674 h 2966042"/>
              <a:gd name="connsiteX40" fmla="*/ 311039 w 1489116"/>
              <a:gd name="connsiteY40" fmla="*/ 739176 h 2966042"/>
              <a:gd name="connsiteX41" fmla="*/ 177117 w 1489116"/>
              <a:gd name="connsiteY41" fmla="*/ 428154 h 2966042"/>
              <a:gd name="connsiteX42" fmla="*/ 605303 w 1489116"/>
              <a:gd name="connsiteY42"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186124 w 1489116"/>
              <a:gd name="connsiteY5" fmla="*/ 1900827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86124 w 1489116"/>
              <a:gd name="connsiteY17" fmla="*/ 1900827 h 2966042"/>
              <a:gd name="connsiteX18" fmla="*/ 1060930 w 1489116"/>
              <a:gd name="connsiteY18" fmla="*/ 1052533 h 2966042"/>
              <a:gd name="connsiteX19" fmla="*/ 1489116 w 1489116"/>
              <a:gd name="connsiteY19" fmla="*/ 1478215 h 2966042"/>
              <a:gd name="connsiteX20" fmla="*/ 1060930 w 1489116"/>
              <a:gd name="connsiteY20" fmla="*/ 1906369 h 2966042"/>
              <a:gd name="connsiteX21" fmla="*/ 632745 w 1489116"/>
              <a:gd name="connsiteY21" fmla="*/ 1493732 h 2966042"/>
              <a:gd name="connsiteX22" fmla="*/ 343357 w 1489116"/>
              <a:gd name="connsiteY22" fmla="*/ 1493732 h 2966042"/>
              <a:gd name="connsiteX23" fmla="*/ 338861 w 1489116"/>
              <a:gd name="connsiteY23" fmla="*/ 1545363 h 2966042"/>
              <a:gd name="connsiteX24" fmla="*/ 338859 w 1489116"/>
              <a:gd name="connsiteY24" fmla="*/ 1545362 h 2966042"/>
              <a:gd name="connsiteX25" fmla="*/ 343355 w 1489116"/>
              <a:gd name="connsiteY25" fmla="*/ 1493730 h 2966042"/>
              <a:gd name="connsiteX26" fmla="*/ 343355 w 1489116"/>
              <a:gd name="connsiteY26" fmla="*/ 1460362 h 2966042"/>
              <a:gd name="connsiteX27" fmla="*/ 331871 w 1489116"/>
              <a:gd name="connsiteY27" fmla="*/ 1371541 h 2966042"/>
              <a:gd name="connsiteX28" fmla="*/ 334086 w 1489116"/>
              <a:gd name="connsiteY28" fmla="*/ 1370787 h 2966042"/>
              <a:gd name="connsiteX29" fmla="*/ 343357 w 1489116"/>
              <a:gd name="connsiteY29" fmla="*/ 1460364 h 2966042"/>
              <a:gd name="connsiteX30" fmla="*/ 632858 w 1489116"/>
              <a:gd name="connsiteY30" fmla="*/ 1460364 h 2966042"/>
              <a:gd name="connsiteX31" fmla="*/ 1060930 w 1489116"/>
              <a:gd name="connsiteY31" fmla="*/ 1052533 h 2966042"/>
              <a:gd name="connsiteX32" fmla="*/ 605303 w 1489116"/>
              <a:gd name="connsiteY32" fmla="*/ 0 h 2966042"/>
              <a:gd name="connsiteX33" fmla="*/ 1033488 w 1489116"/>
              <a:gd name="connsiteY33" fmla="*/ 428154 h 2966042"/>
              <a:gd name="connsiteX34" fmla="*/ 605303 w 1489116"/>
              <a:gd name="connsiteY34" fmla="*/ 856307 h 2966042"/>
              <a:gd name="connsiteX35" fmla="*/ 338594 w 1489116"/>
              <a:gd name="connsiteY35" fmla="*/ 763069 h 2966042"/>
              <a:gd name="connsiteX36" fmla="*/ 134027 w 1489116"/>
              <a:gd name="connsiteY36" fmla="*/ 998705 h 2966042"/>
              <a:gd name="connsiteX37" fmla="*/ 134025 w 1489116"/>
              <a:gd name="connsiteY37" fmla="*/ 998703 h 2966042"/>
              <a:gd name="connsiteX38" fmla="*/ 106585 w 1489116"/>
              <a:gd name="connsiteY38" fmla="*/ 974674 h 2966042"/>
              <a:gd name="connsiteX39" fmla="*/ 311039 w 1489116"/>
              <a:gd name="connsiteY39" fmla="*/ 739176 h 2966042"/>
              <a:gd name="connsiteX40" fmla="*/ 177117 w 1489116"/>
              <a:gd name="connsiteY40" fmla="*/ 428154 h 2966042"/>
              <a:gd name="connsiteX41" fmla="*/ 605303 w 1489116"/>
              <a:gd name="connsiteY41"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060930 w 1489116"/>
              <a:gd name="connsiteY17" fmla="*/ 1052533 h 2966042"/>
              <a:gd name="connsiteX18" fmla="*/ 1489116 w 1489116"/>
              <a:gd name="connsiteY18" fmla="*/ 1478215 h 2966042"/>
              <a:gd name="connsiteX19" fmla="*/ 1060930 w 1489116"/>
              <a:gd name="connsiteY19" fmla="*/ 1906369 h 2966042"/>
              <a:gd name="connsiteX20" fmla="*/ 632745 w 1489116"/>
              <a:gd name="connsiteY20" fmla="*/ 1493732 h 2966042"/>
              <a:gd name="connsiteX21" fmla="*/ 343357 w 1489116"/>
              <a:gd name="connsiteY21" fmla="*/ 1493732 h 2966042"/>
              <a:gd name="connsiteX22" fmla="*/ 338861 w 1489116"/>
              <a:gd name="connsiteY22" fmla="*/ 1545363 h 2966042"/>
              <a:gd name="connsiteX23" fmla="*/ 338859 w 1489116"/>
              <a:gd name="connsiteY23" fmla="*/ 1545362 h 2966042"/>
              <a:gd name="connsiteX24" fmla="*/ 343355 w 1489116"/>
              <a:gd name="connsiteY24" fmla="*/ 1493730 h 2966042"/>
              <a:gd name="connsiteX25" fmla="*/ 343355 w 1489116"/>
              <a:gd name="connsiteY25" fmla="*/ 1460362 h 2966042"/>
              <a:gd name="connsiteX26" fmla="*/ 331871 w 1489116"/>
              <a:gd name="connsiteY26" fmla="*/ 1371541 h 2966042"/>
              <a:gd name="connsiteX27" fmla="*/ 334086 w 1489116"/>
              <a:gd name="connsiteY27" fmla="*/ 1370787 h 2966042"/>
              <a:gd name="connsiteX28" fmla="*/ 343357 w 1489116"/>
              <a:gd name="connsiteY28" fmla="*/ 1460364 h 2966042"/>
              <a:gd name="connsiteX29" fmla="*/ 632858 w 1489116"/>
              <a:gd name="connsiteY29" fmla="*/ 1460364 h 2966042"/>
              <a:gd name="connsiteX30" fmla="*/ 1060930 w 1489116"/>
              <a:gd name="connsiteY30" fmla="*/ 1052533 h 2966042"/>
              <a:gd name="connsiteX31" fmla="*/ 605303 w 1489116"/>
              <a:gd name="connsiteY31" fmla="*/ 0 h 2966042"/>
              <a:gd name="connsiteX32" fmla="*/ 1033488 w 1489116"/>
              <a:gd name="connsiteY32" fmla="*/ 428154 h 2966042"/>
              <a:gd name="connsiteX33" fmla="*/ 605303 w 1489116"/>
              <a:gd name="connsiteY33" fmla="*/ 856307 h 2966042"/>
              <a:gd name="connsiteX34" fmla="*/ 338594 w 1489116"/>
              <a:gd name="connsiteY34" fmla="*/ 763069 h 2966042"/>
              <a:gd name="connsiteX35" fmla="*/ 134027 w 1489116"/>
              <a:gd name="connsiteY35" fmla="*/ 998705 h 2966042"/>
              <a:gd name="connsiteX36" fmla="*/ 134025 w 1489116"/>
              <a:gd name="connsiteY36" fmla="*/ 998703 h 2966042"/>
              <a:gd name="connsiteX37" fmla="*/ 106585 w 1489116"/>
              <a:gd name="connsiteY37" fmla="*/ 974674 h 2966042"/>
              <a:gd name="connsiteX38" fmla="*/ 311039 w 1489116"/>
              <a:gd name="connsiteY38" fmla="*/ 739176 h 2966042"/>
              <a:gd name="connsiteX39" fmla="*/ 177117 w 1489116"/>
              <a:gd name="connsiteY39" fmla="*/ 428154 h 2966042"/>
              <a:gd name="connsiteX40" fmla="*/ 605303 w 1489116"/>
              <a:gd name="connsiteY40"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31871 w 1489116"/>
              <a:gd name="connsiteY25" fmla="*/ 1371541 h 2966042"/>
              <a:gd name="connsiteX26" fmla="*/ 334086 w 1489116"/>
              <a:gd name="connsiteY26" fmla="*/ 1370787 h 2966042"/>
              <a:gd name="connsiteX27" fmla="*/ 343357 w 1489116"/>
              <a:gd name="connsiteY27" fmla="*/ 1460364 h 2966042"/>
              <a:gd name="connsiteX28" fmla="*/ 632858 w 1489116"/>
              <a:gd name="connsiteY28" fmla="*/ 1460364 h 2966042"/>
              <a:gd name="connsiteX29" fmla="*/ 1060930 w 1489116"/>
              <a:gd name="connsiteY29" fmla="*/ 1052533 h 2966042"/>
              <a:gd name="connsiteX30" fmla="*/ 605303 w 1489116"/>
              <a:gd name="connsiteY30" fmla="*/ 0 h 2966042"/>
              <a:gd name="connsiteX31" fmla="*/ 1033488 w 1489116"/>
              <a:gd name="connsiteY31" fmla="*/ 428154 h 2966042"/>
              <a:gd name="connsiteX32" fmla="*/ 605303 w 1489116"/>
              <a:gd name="connsiteY32" fmla="*/ 856307 h 2966042"/>
              <a:gd name="connsiteX33" fmla="*/ 338594 w 1489116"/>
              <a:gd name="connsiteY33" fmla="*/ 763069 h 2966042"/>
              <a:gd name="connsiteX34" fmla="*/ 134027 w 1489116"/>
              <a:gd name="connsiteY34" fmla="*/ 998705 h 2966042"/>
              <a:gd name="connsiteX35" fmla="*/ 134025 w 1489116"/>
              <a:gd name="connsiteY35" fmla="*/ 998703 h 2966042"/>
              <a:gd name="connsiteX36" fmla="*/ 106585 w 1489116"/>
              <a:gd name="connsiteY36" fmla="*/ 974674 h 2966042"/>
              <a:gd name="connsiteX37" fmla="*/ 311039 w 1489116"/>
              <a:gd name="connsiteY37" fmla="*/ 739176 h 2966042"/>
              <a:gd name="connsiteX38" fmla="*/ 177117 w 1489116"/>
              <a:gd name="connsiteY38" fmla="*/ 428154 h 2966042"/>
              <a:gd name="connsiteX39" fmla="*/ 605303 w 1489116"/>
              <a:gd name="connsiteY39"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31871 w 1489116"/>
              <a:gd name="connsiteY25" fmla="*/ 1371541 h 2966042"/>
              <a:gd name="connsiteX26" fmla="*/ 343357 w 1489116"/>
              <a:gd name="connsiteY26" fmla="*/ 1460364 h 2966042"/>
              <a:gd name="connsiteX27" fmla="*/ 632858 w 1489116"/>
              <a:gd name="connsiteY27" fmla="*/ 1460364 h 2966042"/>
              <a:gd name="connsiteX28" fmla="*/ 1060930 w 1489116"/>
              <a:gd name="connsiteY28" fmla="*/ 1052533 h 2966042"/>
              <a:gd name="connsiteX29" fmla="*/ 605303 w 1489116"/>
              <a:gd name="connsiteY29" fmla="*/ 0 h 2966042"/>
              <a:gd name="connsiteX30" fmla="*/ 1033488 w 1489116"/>
              <a:gd name="connsiteY30" fmla="*/ 428154 h 2966042"/>
              <a:gd name="connsiteX31" fmla="*/ 605303 w 1489116"/>
              <a:gd name="connsiteY31" fmla="*/ 856307 h 2966042"/>
              <a:gd name="connsiteX32" fmla="*/ 338594 w 1489116"/>
              <a:gd name="connsiteY32" fmla="*/ 763069 h 2966042"/>
              <a:gd name="connsiteX33" fmla="*/ 134027 w 1489116"/>
              <a:gd name="connsiteY33" fmla="*/ 998705 h 2966042"/>
              <a:gd name="connsiteX34" fmla="*/ 134025 w 1489116"/>
              <a:gd name="connsiteY34" fmla="*/ 998703 h 2966042"/>
              <a:gd name="connsiteX35" fmla="*/ 106585 w 1489116"/>
              <a:gd name="connsiteY35" fmla="*/ 974674 h 2966042"/>
              <a:gd name="connsiteX36" fmla="*/ 311039 w 1489116"/>
              <a:gd name="connsiteY36" fmla="*/ 739176 h 2966042"/>
              <a:gd name="connsiteX37" fmla="*/ 177117 w 1489116"/>
              <a:gd name="connsiteY37" fmla="*/ 428154 h 2966042"/>
              <a:gd name="connsiteX38" fmla="*/ 605303 w 1489116"/>
              <a:gd name="connsiteY38"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43357 w 1489116"/>
              <a:gd name="connsiteY25" fmla="*/ 1460364 h 2966042"/>
              <a:gd name="connsiteX26" fmla="*/ 632858 w 1489116"/>
              <a:gd name="connsiteY26" fmla="*/ 1460364 h 2966042"/>
              <a:gd name="connsiteX27" fmla="*/ 1060930 w 1489116"/>
              <a:gd name="connsiteY27" fmla="*/ 1052533 h 2966042"/>
              <a:gd name="connsiteX28" fmla="*/ 605303 w 1489116"/>
              <a:gd name="connsiteY28" fmla="*/ 0 h 2966042"/>
              <a:gd name="connsiteX29" fmla="*/ 1033488 w 1489116"/>
              <a:gd name="connsiteY29" fmla="*/ 428154 h 2966042"/>
              <a:gd name="connsiteX30" fmla="*/ 605303 w 1489116"/>
              <a:gd name="connsiteY30" fmla="*/ 856307 h 2966042"/>
              <a:gd name="connsiteX31" fmla="*/ 338594 w 1489116"/>
              <a:gd name="connsiteY31" fmla="*/ 763069 h 2966042"/>
              <a:gd name="connsiteX32" fmla="*/ 134027 w 1489116"/>
              <a:gd name="connsiteY32" fmla="*/ 998705 h 2966042"/>
              <a:gd name="connsiteX33" fmla="*/ 134025 w 1489116"/>
              <a:gd name="connsiteY33" fmla="*/ 998703 h 2966042"/>
              <a:gd name="connsiteX34" fmla="*/ 106585 w 1489116"/>
              <a:gd name="connsiteY34" fmla="*/ 974674 h 2966042"/>
              <a:gd name="connsiteX35" fmla="*/ 311039 w 1489116"/>
              <a:gd name="connsiteY35" fmla="*/ 739176 h 2966042"/>
              <a:gd name="connsiteX36" fmla="*/ 177117 w 1489116"/>
              <a:gd name="connsiteY36" fmla="*/ 428154 h 2966042"/>
              <a:gd name="connsiteX37" fmla="*/ 605303 w 1489116"/>
              <a:gd name="connsiteY37"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43355 w 1489116"/>
              <a:gd name="connsiteY22" fmla="*/ 1493730 h 2966042"/>
              <a:gd name="connsiteX23" fmla="*/ 343355 w 1489116"/>
              <a:gd name="connsiteY23" fmla="*/ 1460362 h 2966042"/>
              <a:gd name="connsiteX24" fmla="*/ 343357 w 1489116"/>
              <a:gd name="connsiteY24" fmla="*/ 1460364 h 2966042"/>
              <a:gd name="connsiteX25" fmla="*/ 632858 w 1489116"/>
              <a:gd name="connsiteY25" fmla="*/ 1460364 h 2966042"/>
              <a:gd name="connsiteX26" fmla="*/ 1060930 w 1489116"/>
              <a:gd name="connsiteY26" fmla="*/ 1052533 h 2966042"/>
              <a:gd name="connsiteX27" fmla="*/ 605303 w 1489116"/>
              <a:gd name="connsiteY27" fmla="*/ 0 h 2966042"/>
              <a:gd name="connsiteX28" fmla="*/ 1033488 w 1489116"/>
              <a:gd name="connsiteY28" fmla="*/ 428154 h 2966042"/>
              <a:gd name="connsiteX29" fmla="*/ 605303 w 1489116"/>
              <a:gd name="connsiteY29" fmla="*/ 856307 h 2966042"/>
              <a:gd name="connsiteX30" fmla="*/ 338594 w 1489116"/>
              <a:gd name="connsiteY30" fmla="*/ 763069 h 2966042"/>
              <a:gd name="connsiteX31" fmla="*/ 134027 w 1489116"/>
              <a:gd name="connsiteY31" fmla="*/ 998705 h 2966042"/>
              <a:gd name="connsiteX32" fmla="*/ 134025 w 1489116"/>
              <a:gd name="connsiteY32" fmla="*/ 998703 h 2966042"/>
              <a:gd name="connsiteX33" fmla="*/ 106585 w 1489116"/>
              <a:gd name="connsiteY33" fmla="*/ 974674 h 2966042"/>
              <a:gd name="connsiteX34" fmla="*/ 311039 w 1489116"/>
              <a:gd name="connsiteY34" fmla="*/ 739176 h 2966042"/>
              <a:gd name="connsiteX35" fmla="*/ 177117 w 1489116"/>
              <a:gd name="connsiteY35" fmla="*/ 428154 h 2966042"/>
              <a:gd name="connsiteX36" fmla="*/ 605303 w 1489116"/>
              <a:gd name="connsiteY36"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43355 w 1489116"/>
              <a:gd name="connsiteY21" fmla="*/ 1493730 h 2966042"/>
              <a:gd name="connsiteX22" fmla="*/ 343355 w 1489116"/>
              <a:gd name="connsiteY22" fmla="*/ 1460362 h 2966042"/>
              <a:gd name="connsiteX23" fmla="*/ 343357 w 1489116"/>
              <a:gd name="connsiteY23" fmla="*/ 1460364 h 2966042"/>
              <a:gd name="connsiteX24" fmla="*/ 632858 w 1489116"/>
              <a:gd name="connsiteY24" fmla="*/ 1460364 h 2966042"/>
              <a:gd name="connsiteX25" fmla="*/ 1060930 w 1489116"/>
              <a:gd name="connsiteY25" fmla="*/ 1052533 h 2966042"/>
              <a:gd name="connsiteX26" fmla="*/ 605303 w 1489116"/>
              <a:gd name="connsiteY26" fmla="*/ 0 h 2966042"/>
              <a:gd name="connsiteX27" fmla="*/ 1033488 w 1489116"/>
              <a:gd name="connsiteY27" fmla="*/ 428154 h 2966042"/>
              <a:gd name="connsiteX28" fmla="*/ 605303 w 1489116"/>
              <a:gd name="connsiteY28" fmla="*/ 856307 h 2966042"/>
              <a:gd name="connsiteX29" fmla="*/ 338594 w 1489116"/>
              <a:gd name="connsiteY29" fmla="*/ 763069 h 2966042"/>
              <a:gd name="connsiteX30" fmla="*/ 134027 w 1489116"/>
              <a:gd name="connsiteY30" fmla="*/ 998705 h 2966042"/>
              <a:gd name="connsiteX31" fmla="*/ 134025 w 1489116"/>
              <a:gd name="connsiteY31" fmla="*/ 998703 h 2966042"/>
              <a:gd name="connsiteX32" fmla="*/ 106585 w 1489116"/>
              <a:gd name="connsiteY32" fmla="*/ 974674 h 2966042"/>
              <a:gd name="connsiteX33" fmla="*/ 311039 w 1489116"/>
              <a:gd name="connsiteY33" fmla="*/ 739176 h 2966042"/>
              <a:gd name="connsiteX34" fmla="*/ 177117 w 1489116"/>
              <a:gd name="connsiteY34" fmla="*/ 428154 h 2966042"/>
              <a:gd name="connsiteX35" fmla="*/ 605303 w 1489116"/>
              <a:gd name="connsiteY35"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65874 w 1489116"/>
              <a:gd name="connsiteY3" fmla="*/ 2010452 h 2966042"/>
              <a:gd name="connsiteX4" fmla="*/ 80275 w 1489116"/>
              <a:gd name="connsiteY4" fmla="*/ 1999742 h 2966042"/>
              <a:gd name="connsiteX5" fmla="*/ 80277 w 1489116"/>
              <a:gd name="connsiteY5" fmla="*/ 1999744 h 2966042"/>
              <a:gd name="connsiteX6" fmla="*/ 311039 w 1489116"/>
              <a:gd name="connsiteY6" fmla="*/ 2225767 h 2966042"/>
              <a:gd name="connsiteX7" fmla="*/ 604055 w 1489116"/>
              <a:gd name="connsiteY7" fmla="*/ 2109735 h 2966042"/>
              <a:gd name="connsiteX8" fmla="*/ 1032241 w 1489116"/>
              <a:gd name="connsiteY8" fmla="*/ 2537888 h 2966042"/>
              <a:gd name="connsiteX9" fmla="*/ 604055 w 1489116"/>
              <a:gd name="connsiteY9" fmla="*/ 2966042 h 2966042"/>
              <a:gd name="connsiteX10" fmla="*/ 175983 w 1489116"/>
              <a:gd name="connsiteY10" fmla="*/ 2537888 h 2966042"/>
              <a:gd name="connsiteX11" fmla="*/ 285978 w 1489116"/>
              <a:gd name="connsiteY11" fmla="*/ 2251995 h 2966042"/>
              <a:gd name="connsiteX12" fmla="*/ 52721 w 1489116"/>
              <a:gd name="connsiteY12" fmla="*/ 2023637 h 2966042"/>
              <a:gd name="connsiteX13" fmla="*/ 52750 w 1489116"/>
              <a:gd name="connsiteY13" fmla="*/ 2023609 h 2966042"/>
              <a:gd name="connsiteX14" fmla="*/ 80275 w 1489116"/>
              <a:gd name="connsiteY14" fmla="*/ 1999742 h 2966042"/>
              <a:gd name="connsiteX15" fmla="*/ 1060930 w 1489116"/>
              <a:gd name="connsiteY15" fmla="*/ 1052533 h 2966042"/>
              <a:gd name="connsiteX16" fmla="*/ 1489116 w 1489116"/>
              <a:gd name="connsiteY16" fmla="*/ 1478215 h 2966042"/>
              <a:gd name="connsiteX17" fmla="*/ 1060930 w 1489116"/>
              <a:gd name="connsiteY17" fmla="*/ 1906369 h 2966042"/>
              <a:gd name="connsiteX18" fmla="*/ 632745 w 1489116"/>
              <a:gd name="connsiteY18" fmla="*/ 1493732 h 2966042"/>
              <a:gd name="connsiteX19" fmla="*/ 343357 w 1489116"/>
              <a:gd name="connsiteY19" fmla="*/ 1493732 h 2966042"/>
              <a:gd name="connsiteX20" fmla="*/ 343355 w 1489116"/>
              <a:gd name="connsiteY20" fmla="*/ 1493730 h 2966042"/>
              <a:gd name="connsiteX21" fmla="*/ 343355 w 1489116"/>
              <a:gd name="connsiteY21" fmla="*/ 1460362 h 2966042"/>
              <a:gd name="connsiteX22" fmla="*/ 343357 w 1489116"/>
              <a:gd name="connsiteY22" fmla="*/ 1460364 h 2966042"/>
              <a:gd name="connsiteX23" fmla="*/ 632858 w 1489116"/>
              <a:gd name="connsiteY23" fmla="*/ 1460364 h 2966042"/>
              <a:gd name="connsiteX24" fmla="*/ 1060930 w 1489116"/>
              <a:gd name="connsiteY24" fmla="*/ 1052533 h 2966042"/>
              <a:gd name="connsiteX25" fmla="*/ 605303 w 1489116"/>
              <a:gd name="connsiteY25" fmla="*/ 0 h 2966042"/>
              <a:gd name="connsiteX26" fmla="*/ 1033488 w 1489116"/>
              <a:gd name="connsiteY26" fmla="*/ 428154 h 2966042"/>
              <a:gd name="connsiteX27" fmla="*/ 605303 w 1489116"/>
              <a:gd name="connsiteY27" fmla="*/ 856307 h 2966042"/>
              <a:gd name="connsiteX28" fmla="*/ 338594 w 1489116"/>
              <a:gd name="connsiteY28" fmla="*/ 763069 h 2966042"/>
              <a:gd name="connsiteX29" fmla="*/ 134027 w 1489116"/>
              <a:gd name="connsiteY29" fmla="*/ 998705 h 2966042"/>
              <a:gd name="connsiteX30" fmla="*/ 134025 w 1489116"/>
              <a:gd name="connsiteY30" fmla="*/ 998703 h 2966042"/>
              <a:gd name="connsiteX31" fmla="*/ 106585 w 1489116"/>
              <a:gd name="connsiteY31" fmla="*/ 974674 h 2966042"/>
              <a:gd name="connsiteX32" fmla="*/ 311039 w 1489116"/>
              <a:gd name="connsiteY32" fmla="*/ 739176 h 2966042"/>
              <a:gd name="connsiteX33" fmla="*/ 177117 w 1489116"/>
              <a:gd name="connsiteY33" fmla="*/ 428154 h 2966042"/>
              <a:gd name="connsiteX34" fmla="*/ 605303 w 1489116"/>
              <a:gd name="connsiteY34" fmla="*/ 0 h 2966042"/>
              <a:gd name="connsiteX0" fmla="*/ 13153 w 1436395"/>
              <a:gd name="connsiteY0" fmla="*/ 2010452 h 2966042"/>
              <a:gd name="connsiteX1" fmla="*/ 13144 w 1436395"/>
              <a:gd name="connsiteY1" fmla="*/ 2010461 h 2966042"/>
              <a:gd name="connsiteX2" fmla="*/ 13153 w 1436395"/>
              <a:gd name="connsiteY2" fmla="*/ 2010452 h 2966042"/>
              <a:gd name="connsiteX3" fmla="*/ 27554 w 1436395"/>
              <a:gd name="connsiteY3" fmla="*/ 1999742 h 2966042"/>
              <a:gd name="connsiteX4" fmla="*/ 27556 w 1436395"/>
              <a:gd name="connsiteY4" fmla="*/ 1999744 h 2966042"/>
              <a:gd name="connsiteX5" fmla="*/ 258318 w 1436395"/>
              <a:gd name="connsiteY5" fmla="*/ 2225767 h 2966042"/>
              <a:gd name="connsiteX6" fmla="*/ 551334 w 1436395"/>
              <a:gd name="connsiteY6" fmla="*/ 2109735 h 2966042"/>
              <a:gd name="connsiteX7" fmla="*/ 979520 w 1436395"/>
              <a:gd name="connsiteY7" fmla="*/ 2537888 h 2966042"/>
              <a:gd name="connsiteX8" fmla="*/ 551334 w 1436395"/>
              <a:gd name="connsiteY8" fmla="*/ 2966042 h 2966042"/>
              <a:gd name="connsiteX9" fmla="*/ 123262 w 1436395"/>
              <a:gd name="connsiteY9" fmla="*/ 2537888 h 2966042"/>
              <a:gd name="connsiteX10" fmla="*/ 233257 w 1436395"/>
              <a:gd name="connsiteY10" fmla="*/ 2251995 h 2966042"/>
              <a:gd name="connsiteX11" fmla="*/ 0 w 1436395"/>
              <a:gd name="connsiteY11" fmla="*/ 2023637 h 2966042"/>
              <a:gd name="connsiteX12" fmla="*/ 29 w 1436395"/>
              <a:gd name="connsiteY12" fmla="*/ 2023609 h 2966042"/>
              <a:gd name="connsiteX13" fmla="*/ 27554 w 1436395"/>
              <a:gd name="connsiteY13" fmla="*/ 1999742 h 2966042"/>
              <a:gd name="connsiteX14" fmla="*/ 1008209 w 1436395"/>
              <a:gd name="connsiteY14" fmla="*/ 1052533 h 2966042"/>
              <a:gd name="connsiteX15" fmla="*/ 1436395 w 1436395"/>
              <a:gd name="connsiteY15" fmla="*/ 1478215 h 2966042"/>
              <a:gd name="connsiteX16" fmla="*/ 1008209 w 1436395"/>
              <a:gd name="connsiteY16" fmla="*/ 1906369 h 2966042"/>
              <a:gd name="connsiteX17" fmla="*/ 580024 w 1436395"/>
              <a:gd name="connsiteY17" fmla="*/ 1493732 h 2966042"/>
              <a:gd name="connsiteX18" fmla="*/ 290636 w 1436395"/>
              <a:gd name="connsiteY18" fmla="*/ 1493732 h 2966042"/>
              <a:gd name="connsiteX19" fmla="*/ 290634 w 1436395"/>
              <a:gd name="connsiteY19" fmla="*/ 1493730 h 2966042"/>
              <a:gd name="connsiteX20" fmla="*/ 290634 w 1436395"/>
              <a:gd name="connsiteY20" fmla="*/ 1460362 h 2966042"/>
              <a:gd name="connsiteX21" fmla="*/ 290636 w 1436395"/>
              <a:gd name="connsiteY21" fmla="*/ 1460364 h 2966042"/>
              <a:gd name="connsiteX22" fmla="*/ 580137 w 1436395"/>
              <a:gd name="connsiteY22" fmla="*/ 1460364 h 2966042"/>
              <a:gd name="connsiteX23" fmla="*/ 1008209 w 1436395"/>
              <a:gd name="connsiteY23" fmla="*/ 1052533 h 2966042"/>
              <a:gd name="connsiteX24" fmla="*/ 552582 w 1436395"/>
              <a:gd name="connsiteY24" fmla="*/ 0 h 2966042"/>
              <a:gd name="connsiteX25" fmla="*/ 980767 w 1436395"/>
              <a:gd name="connsiteY25" fmla="*/ 428154 h 2966042"/>
              <a:gd name="connsiteX26" fmla="*/ 552582 w 1436395"/>
              <a:gd name="connsiteY26" fmla="*/ 856307 h 2966042"/>
              <a:gd name="connsiteX27" fmla="*/ 285873 w 1436395"/>
              <a:gd name="connsiteY27" fmla="*/ 763069 h 2966042"/>
              <a:gd name="connsiteX28" fmla="*/ 81306 w 1436395"/>
              <a:gd name="connsiteY28" fmla="*/ 998705 h 2966042"/>
              <a:gd name="connsiteX29" fmla="*/ 81304 w 1436395"/>
              <a:gd name="connsiteY29" fmla="*/ 998703 h 2966042"/>
              <a:gd name="connsiteX30" fmla="*/ 53864 w 1436395"/>
              <a:gd name="connsiteY30" fmla="*/ 974674 h 2966042"/>
              <a:gd name="connsiteX31" fmla="*/ 258318 w 1436395"/>
              <a:gd name="connsiteY31" fmla="*/ 739176 h 2966042"/>
              <a:gd name="connsiteX32" fmla="*/ 124396 w 1436395"/>
              <a:gd name="connsiteY32" fmla="*/ 428154 h 2966042"/>
              <a:gd name="connsiteX33" fmla="*/ 552582 w 1436395"/>
              <a:gd name="connsiteY33" fmla="*/ 0 h 296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6395" h="2966042">
                <a:moveTo>
                  <a:pt x="13153" y="2010452"/>
                </a:moveTo>
                <a:lnTo>
                  <a:pt x="13144" y="2010461"/>
                </a:lnTo>
                <a:lnTo>
                  <a:pt x="13153" y="2010452"/>
                </a:lnTo>
                <a:close/>
                <a:moveTo>
                  <a:pt x="27554" y="1999742"/>
                </a:moveTo>
                <a:cubicBezTo>
                  <a:pt x="32142" y="1995765"/>
                  <a:pt x="-10905" y="1962073"/>
                  <a:pt x="27556" y="1999744"/>
                </a:cubicBezTo>
                <a:lnTo>
                  <a:pt x="258318" y="2225767"/>
                </a:lnTo>
                <a:cubicBezTo>
                  <a:pt x="334860" y="2153951"/>
                  <a:pt x="437711" y="2109735"/>
                  <a:pt x="551334" y="2109735"/>
                </a:cubicBezTo>
                <a:cubicBezTo>
                  <a:pt x="788220" y="2109735"/>
                  <a:pt x="979520" y="2301017"/>
                  <a:pt x="979520" y="2537888"/>
                </a:cubicBezTo>
                <a:cubicBezTo>
                  <a:pt x="979520" y="2774623"/>
                  <a:pt x="788220" y="2966042"/>
                  <a:pt x="551334" y="2966042"/>
                </a:cubicBezTo>
                <a:cubicBezTo>
                  <a:pt x="314562" y="2966042"/>
                  <a:pt x="123262" y="2774623"/>
                  <a:pt x="123262" y="2537888"/>
                </a:cubicBezTo>
                <a:cubicBezTo>
                  <a:pt x="123262" y="2427898"/>
                  <a:pt x="165106" y="2327382"/>
                  <a:pt x="233257" y="2251995"/>
                </a:cubicBezTo>
                <a:lnTo>
                  <a:pt x="0" y="2023637"/>
                </a:lnTo>
                <a:cubicBezTo>
                  <a:pt x="10" y="2023628"/>
                  <a:pt x="19" y="2023618"/>
                  <a:pt x="29" y="2023609"/>
                </a:cubicBezTo>
                <a:lnTo>
                  <a:pt x="27554" y="1999742"/>
                </a:lnTo>
                <a:close/>
                <a:moveTo>
                  <a:pt x="1008209" y="1052533"/>
                </a:moveTo>
                <a:cubicBezTo>
                  <a:pt x="1243847" y="1052533"/>
                  <a:pt x="1436395" y="1241481"/>
                  <a:pt x="1436395" y="1478215"/>
                </a:cubicBezTo>
                <a:cubicBezTo>
                  <a:pt x="1436395" y="1715087"/>
                  <a:pt x="1244981" y="1906369"/>
                  <a:pt x="1008209" y="1906369"/>
                </a:cubicBezTo>
                <a:cubicBezTo>
                  <a:pt x="776200" y="1906369"/>
                  <a:pt x="588415" y="1723463"/>
                  <a:pt x="580024" y="1493732"/>
                </a:cubicBezTo>
                <a:lnTo>
                  <a:pt x="290636" y="1493732"/>
                </a:lnTo>
                <a:lnTo>
                  <a:pt x="290634" y="1493730"/>
                </a:lnTo>
                <a:lnTo>
                  <a:pt x="290634" y="1460362"/>
                </a:lnTo>
                <a:lnTo>
                  <a:pt x="290636" y="1460364"/>
                </a:lnTo>
                <a:lnTo>
                  <a:pt x="580137" y="1460364"/>
                </a:lnTo>
                <a:cubicBezTo>
                  <a:pt x="590796" y="1233105"/>
                  <a:pt x="778581" y="1052533"/>
                  <a:pt x="1008209" y="1052533"/>
                </a:cubicBezTo>
                <a:close/>
                <a:moveTo>
                  <a:pt x="552582" y="0"/>
                </a:moveTo>
                <a:cubicBezTo>
                  <a:pt x="789354" y="0"/>
                  <a:pt x="980767" y="191420"/>
                  <a:pt x="980767" y="428154"/>
                </a:cubicBezTo>
                <a:cubicBezTo>
                  <a:pt x="980767" y="665025"/>
                  <a:pt x="789354" y="856307"/>
                  <a:pt x="552582" y="856307"/>
                </a:cubicBezTo>
                <a:cubicBezTo>
                  <a:pt x="452113" y="856307"/>
                  <a:pt x="358787" y="821704"/>
                  <a:pt x="285873" y="763069"/>
                </a:cubicBezTo>
                <a:lnTo>
                  <a:pt x="81306" y="998705"/>
                </a:lnTo>
                <a:lnTo>
                  <a:pt x="81304" y="998703"/>
                </a:lnTo>
                <a:lnTo>
                  <a:pt x="53864" y="974674"/>
                </a:lnTo>
                <a:lnTo>
                  <a:pt x="258318" y="739176"/>
                </a:lnTo>
                <a:cubicBezTo>
                  <a:pt x="175878" y="661318"/>
                  <a:pt x="124396" y="551327"/>
                  <a:pt x="124396" y="428154"/>
                </a:cubicBezTo>
                <a:cubicBezTo>
                  <a:pt x="124396" y="191420"/>
                  <a:pt x="315810" y="0"/>
                  <a:pt x="552582" y="0"/>
                </a:cubicBezTo>
                <a:close/>
              </a:path>
            </a:pathLst>
          </a:custGeom>
          <a:solidFill>
            <a:srgbClr val="4CC1EF">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sp>
        <p:nvSpPr>
          <p:cNvPr id="89" name="Shape">
            <a:extLst>
              <a:ext uri="{FF2B5EF4-FFF2-40B4-BE49-F238E27FC236}">
                <a16:creationId xmlns:a16="http://schemas.microsoft.com/office/drawing/2014/main" id="{CC498741-AC22-976E-EC5A-EFF5D86AABEA}"/>
              </a:ext>
            </a:extLst>
          </p:cNvPr>
          <p:cNvSpPr/>
          <p:nvPr/>
        </p:nvSpPr>
        <p:spPr>
          <a:xfrm>
            <a:off x="3691365" y="2754787"/>
            <a:ext cx="1524087" cy="1524087"/>
          </a:xfrm>
          <a:prstGeom prst="ellipse">
            <a:avLst/>
          </a:prstGeom>
          <a:solidFill>
            <a:srgbClr val="063951"/>
          </a:solidFill>
          <a:ln w="12700">
            <a:miter lim="400000"/>
          </a:ln>
        </p:spPr>
        <p:txBody>
          <a:bodyPr lIns="28560" tIns="28560" rIns="28560" bIns="28560" anchor="ctr"/>
          <a:lstStyle/>
          <a:p>
            <a:pPr algn="ctr" defTabSz="913943">
              <a:defRPr sz="3000">
                <a:solidFill>
                  <a:srgbClr val="FFFFFF"/>
                </a:solidFill>
              </a:defRPr>
            </a:pPr>
            <a:r>
              <a:rPr lang="fr-CA" sz="2249" b="1" kern="0">
                <a:solidFill>
                  <a:prstClr val="white"/>
                </a:solidFill>
                <a:latin typeface="Calibri" panose="020F0502020204030204"/>
              </a:rPr>
              <a:t>LOREM IPSUM</a:t>
            </a:r>
            <a:endParaRPr sz="2249" b="1" kern="0">
              <a:solidFill>
                <a:prstClr val="white"/>
              </a:solidFill>
              <a:latin typeface="Calibri" panose="020F0502020204030204"/>
            </a:endParaRPr>
          </a:p>
        </p:txBody>
      </p:sp>
      <p:sp>
        <p:nvSpPr>
          <p:cNvPr id="90" name="Shape">
            <a:extLst>
              <a:ext uri="{FF2B5EF4-FFF2-40B4-BE49-F238E27FC236}">
                <a16:creationId xmlns:a16="http://schemas.microsoft.com/office/drawing/2014/main" id="{EF22280F-F15E-C20F-3F0E-132FE39D2171}"/>
              </a:ext>
            </a:extLst>
          </p:cNvPr>
          <p:cNvSpPr/>
          <p:nvPr/>
        </p:nvSpPr>
        <p:spPr>
          <a:xfrm>
            <a:off x="2936351" y="4124731"/>
            <a:ext cx="977255" cy="977226"/>
          </a:xfrm>
          <a:custGeom>
            <a:avLst/>
            <a:gdLst>
              <a:gd name="connsiteX0" fmla="*/ 18922 w 21600"/>
              <a:gd name="connsiteY0" fmla="*/ 8638 h 21600"/>
              <a:gd name="connsiteX1" fmla="*/ 16594 w 21600"/>
              <a:gd name="connsiteY1" fmla="*/ 10848 h 21600"/>
              <a:gd name="connsiteX2" fmla="*/ 14967 w 21600"/>
              <a:gd name="connsiteY2" fmla="*/ 9387 h 21600"/>
              <a:gd name="connsiteX3" fmla="*/ 15355 w 21600"/>
              <a:gd name="connsiteY3" fmla="*/ 6584 h 21600"/>
              <a:gd name="connsiteX4" fmla="*/ 11289 w 21600"/>
              <a:gd name="connsiteY4" fmla="*/ 0 h 21600"/>
              <a:gd name="connsiteX5" fmla="*/ 7222 w 21600"/>
              <a:gd name="connsiteY5" fmla="*/ 6403 h 21600"/>
              <a:gd name="connsiteX6" fmla="*/ 5342 w 21600"/>
              <a:gd name="connsiteY6" fmla="*/ 6403 h 21600"/>
              <a:gd name="connsiteX7" fmla="*/ 0 w 21600"/>
              <a:gd name="connsiteY7" fmla="*/ 6584 h 21600"/>
              <a:gd name="connsiteX8" fmla="*/ 2671 w 21600"/>
              <a:gd name="connsiteY8" fmla="*/ 10909 h 21600"/>
              <a:gd name="connsiteX9" fmla="*/ 5342 w 21600"/>
              <a:gd name="connsiteY9" fmla="*/ 6765 h 21600"/>
              <a:gd name="connsiteX10" fmla="*/ 7230 w 21600"/>
              <a:gd name="connsiteY10" fmla="*/ 6765 h 21600"/>
              <a:gd name="connsiteX11" fmla="*/ 8871 w 21600"/>
              <a:gd name="connsiteY11" fmla="*/ 11875 h 21600"/>
              <a:gd name="connsiteX12" fmla="*/ 7379 w 21600"/>
              <a:gd name="connsiteY12" fmla="*/ 14170 h 21600"/>
              <a:gd name="connsiteX13" fmla="*/ 5521 w 21600"/>
              <a:gd name="connsiteY13" fmla="*/ 12950 h 21600"/>
              <a:gd name="connsiteX14" fmla="*/ 2850 w 21600"/>
              <a:gd name="connsiteY14" fmla="*/ 17275 h 21600"/>
              <a:gd name="connsiteX15" fmla="*/ 5521 w 21600"/>
              <a:gd name="connsiteY15" fmla="*/ 21600 h 21600"/>
              <a:gd name="connsiteX16" fmla="*/ 8192 w 21600"/>
              <a:gd name="connsiteY16" fmla="*/ 17275 h 21600"/>
              <a:gd name="connsiteX17" fmla="*/ 7528 w 21600"/>
              <a:gd name="connsiteY17" fmla="*/ 14424 h 21600"/>
              <a:gd name="connsiteX18" fmla="*/ 9035 w 21600"/>
              <a:gd name="connsiteY18" fmla="*/ 12105 h 21600"/>
              <a:gd name="connsiteX19" fmla="*/ 8953 w 21600"/>
              <a:gd name="connsiteY19" fmla="*/ 11972 h 21600"/>
              <a:gd name="connsiteX20" fmla="*/ 11289 w 21600"/>
              <a:gd name="connsiteY20" fmla="*/ 13168 h 21600"/>
              <a:gd name="connsiteX21" fmla="*/ 14870 w 21600"/>
              <a:gd name="connsiteY21" fmla="*/ 9713 h 21600"/>
              <a:gd name="connsiteX22" fmla="*/ 16497 w 21600"/>
              <a:gd name="connsiteY22" fmla="*/ 11175 h 21600"/>
              <a:gd name="connsiteX23" fmla="*/ 16258 w 21600"/>
              <a:gd name="connsiteY23" fmla="*/ 12962 h 21600"/>
              <a:gd name="connsiteX24" fmla="*/ 18929 w 21600"/>
              <a:gd name="connsiteY24" fmla="*/ 17287 h 21600"/>
              <a:gd name="connsiteX25" fmla="*/ 21600 w 21600"/>
              <a:gd name="connsiteY25" fmla="*/ 12962 h 21600"/>
              <a:gd name="connsiteX26" fmla="*/ 18922 w 21600"/>
              <a:gd name="connsiteY26" fmla="*/ 8638 h 21600"/>
              <a:gd name="connsiteX27" fmla="*/ 9543 w 21600"/>
              <a:gd name="connsiteY27" fmla="*/ 10281 h 21600"/>
              <a:gd name="connsiteX28" fmla="*/ 8342 w 21600"/>
              <a:gd name="connsiteY28" fmla="*/ 10281 h 21600"/>
              <a:gd name="connsiteX29" fmla="*/ 7566 w 21600"/>
              <a:gd name="connsiteY29" fmla="*/ 6596 h 21600"/>
              <a:gd name="connsiteX30" fmla="*/ 8342 w 21600"/>
              <a:gd name="connsiteY30" fmla="*/ 2911 h 21600"/>
              <a:gd name="connsiteX31" fmla="*/ 9543 w 21600"/>
              <a:gd name="connsiteY31" fmla="*/ 2911 h 21600"/>
              <a:gd name="connsiteX32" fmla="*/ 10319 w 21600"/>
              <a:gd name="connsiteY32" fmla="*/ 6596 h 21600"/>
              <a:gd name="connsiteX33" fmla="*/ 9543 w 21600"/>
              <a:gd name="connsiteY33" fmla="*/ 10281 h 21600"/>
              <a:gd name="connsiteX0" fmla="*/ 16251 w 18929"/>
              <a:gd name="connsiteY0" fmla="*/ 8638 h 21600"/>
              <a:gd name="connsiteX1" fmla="*/ 13923 w 18929"/>
              <a:gd name="connsiteY1" fmla="*/ 10848 h 21600"/>
              <a:gd name="connsiteX2" fmla="*/ 12296 w 18929"/>
              <a:gd name="connsiteY2" fmla="*/ 9387 h 21600"/>
              <a:gd name="connsiteX3" fmla="*/ 12684 w 18929"/>
              <a:gd name="connsiteY3" fmla="*/ 6584 h 21600"/>
              <a:gd name="connsiteX4" fmla="*/ 8618 w 18929"/>
              <a:gd name="connsiteY4" fmla="*/ 0 h 21600"/>
              <a:gd name="connsiteX5" fmla="*/ 4551 w 18929"/>
              <a:gd name="connsiteY5" fmla="*/ 6403 h 21600"/>
              <a:gd name="connsiteX6" fmla="*/ 2671 w 18929"/>
              <a:gd name="connsiteY6" fmla="*/ 6403 h 21600"/>
              <a:gd name="connsiteX7" fmla="*/ 0 w 18929"/>
              <a:gd name="connsiteY7" fmla="*/ 10909 h 21600"/>
              <a:gd name="connsiteX8" fmla="*/ 2671 w 18929"/>
              <a:gd name="connsiteY8" fmla="*/ 6765 h 21600"/>
              <a:gd name="connsiteX9" fmla="*/ 4559 w 18929"/>
              <a:gd name="connsiteY9" fmla="*/ 6765 h 21600"/>
              <a:gd name="connsiteX10" fmla="*/ 6200 w 18929"/>
              <a:gd name="connsiteY10" fmla="*/ 11875 h 21600"/>
              <a:gd name="connsiteX11" fmla="*/ 4708 w 18929"/>
              <a:gd name="connsiteY11" fmla="*/ 14170 h 21600"/>
              <a:gd name="connsiteX12" fmla="*/ 2850 w 18929"/>
              <a:gd name="connsiteY12" fmla="*/ 12950 h 21600"/>
              <a:gd name="connsiteX13" fmla="*/ 179 w 18929"/>
              <a:gd name="connsiteY13" fmla="*/ 17275 h 21600"/>
              <a:gd name="connsiteX14" fmla="*/ 2850 w 18929"/>
              <a:gd name="connsiteY14" fmla="*/ 21600 h 21600"/>
              <a:gd name="connsiteX15" fmla="*/ 5521 w 18929"/>
              <a:gd name="connsiteY15" fmla="*/ 17275 h 21600"/>
              <a:gd name="connsiteX16" fmla="*/ 4857 w 18929"/>
              <a:gd name="connsiteY16" fmla="*/ 14424 h 21600"/>
              <a:gd name="connsiteX17" fmla="*/ 6364 w 18929"/>
              <a:gd name="connsiteY17" fmla="*/ 12105 h 21600"/>
              <a:gd name="connsiteX18" fmla="*/ 6282 w 18929"/>
              <a:gd name="connsiteY18" fmla="*/ 11972 h 21600"/>
              <a:gd name="connsiteX19" fmla="*/ 8618 w 18929"/>
              <a:gd name="connsiteY19" fmla="*/ 13168 h 21600"/>
              <a:gd name="connsiteX20" fmla="*/ 12199 w 18929"/>
              <a:gd name="connsiteY20" fmla="*/ 9713 h 21600"/>
              <a:gd name="connsiteX21" fmla="*/ 13826 w 18929"/>
              <a:gd name="connsiteY21" fmla="*/ 11175 h 21600"/>
              <a:gd name="connsiteX22" fmla="*/ 13587 w 18929"/>
              <a:gd name="connsiteY22" fmla="*/ 12962 h 21600"/>
              <a:gd name="connsiteX23" fmla="*/ 16258 w 18929"/>
              <a:gd name="connsiteY23" fmla="*/ 17287 h 21600"/>
              <a:gd name="connsiteX24" fmla="*/ 18929 w 18929"/>
              <a:gd name="connsiteY24" fmla="*/ 12962 h 21600"/>
              <a:gd name="connsiteX25" fmla="*/ 16251 w 18929"/>
              <a:gd name="connsiteY25" fmla="*/ 8638 h 21600"/>
              <a:gd name="connsiteX26" fmla="*/ 6872 w 18929"/>
              <a:gd name="connsiteY26" fmla="*/ 10281 h 21600"/>
              <a:gd name="connsiteX27" fmla="*/ 5671 w 18929"/>
              <a:gd name="connsiteY27" fmla="*/ 10281 h 21600"/>
              <a:gd name="connsiteX28" fmla="*/ 4895 w 18929"/>
              <a:gd name="connsiteY28" fmla="*/ 6596 h 21600"/>
              <a:gd name="connsiteX29" fmla="*/ 5671 w 18929"/>
              <a:gd name="connsiteY29" fmla="*/ 2911 h 21600"/>
              <a:gd name="connsiteX30" fmla="*/ 6872 w 18929"/>
              <a:gd name="connsiteY30" fmla="*/ 2911 h 21600"/>
              <a:gd name="connsiteX31" fmla="*/ 7648 w 18929"/>
              <a:gd name="connsiteY31" fmla="*/ 6596 h 21600"/>
              <a:gd name="connsiteX32" fmla="*/ 6872 w 18929"/>
              <a:gd name="connsiteY32"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2492 w 18750"/>
              <a:gd name="connsiteY6" fmla="*/ 6403 h 21600"/>
              <a:gd name="connsiteX7" fmla="*/ 2492 w 18750"/>
              <a:gd name="connsiteY7" fmla="*/ 6765 h 21600"/>
              <a:gd name="connsiteX8" fmla="*/ 4380 w 18750"/>
              <a:gd name="connsiteY8" fmla="*/ 6765 h 21600"/>
              <a:gd name="connsiteX9" fmla="*/ 6021 w 18750"/>
              <a:gd name="connsiteY9" fmla="*/ 11875 h 21600"/>
              <a:gd name="connsiteX10" fmla="*/ 4529 w 18750"/>
              <a:gd name="connsiteY10" fmla="*/ 14170 h 21600"/>
              <a:gd name="connsiteX11" fmla="*/ 2671 w 18750"/>
              <a:gd name="connsiteY11" fmla="*/ 12950 h 21600"/>
              <a:gd name="connsiteX12" fmla="*/ 0 w 18750"/>
              <a:gd name="connsiteY12" fmla="*/ 17275 h 21600"/>
              <a:gd name="connsiteX13" fmla="*/ 2671 w 18750"/>
              <a:gd name="connsiteY13" fmla="*/ 21600 h 21600"/>
              <a:gd name="connsiteX14" fmla="*/ 5342 w 18750"/>
              <a:gd name="connsiteY14" fmla="*/ 17275 h 21600"/>
              <a:gd name="connsiteX15" fmla="*/ 4678 w 18750"/>
              <a:gd name="connsiteY15" fmla="*/ 14424 h 21600"/>
              <a:gd name="connsiteX16" fmla="*/ 6185 w 18750"/>
              <a:gd name="connsiteY16" fmla="*/ 12105 h 21600"/>
              <a:gd name="connsiteX17" fmla="*/ 6103 w 18750"/>
              <a:gd name="connsiteY17" fmla="*/ 11972 h 21600"/>
              <a:gd name="connsiteX18" fmla="*/ 8439 w 18750"/>
              <a:gd name="connsiteY18" fmla="*/ 13168 h 21600"/>
              <a:gd name="connsiteX19" fmla="*/ 12020 w 18750"/>
              <a:gd name="connsiteY19" fmla="*/ 9713 h 21600"/>
              <a:gd name="connsiteX20" fmla="*/ 13647 w 18750"/>
              <a:gd name="connsiteY20" fmla="*/ 11175 h 21600"/>
              <a:gd name="connsiteX21" fmla="*/ 13408 w 18750"/>
              <a:gd name="connsiteY21" fmla="*/ 12962 h 21600"/>
              <a:gd name="connsiteX22" fmla="*/ 16079 w 18750"/>
              <a:gd name="connsiteY22" fmla="*/ 17287 h 21600"/>
              <a:gd name="connsiteX23" fmla="*/ 18750 w 18750"/>
              <a:gd name="connsiteY23" fmla="*/ 12962 h 21600"/>
              <a:gd name="connsiteX24" fmla="*/ 16072 w 18750"/>
              <a:gd name="connsiteY24" fmla="*/ 8638 h 21600"/>
              <a:gd name="connsiteX25" fmla="*/ 6693 w 18750"/>
              <a:gd name="connsiteY25" fmla="*/ 10281 h 21600"/>
              <a:gd name="connsiteX26" fmla="*/ 5492 w 18750"/>
              <a:gd name="connsiteY26" fmla="*/ 10281 h 21600"/>
              <a:gd name="connsiteX27" fmla="*/ 4716 w 18750"/>
              <a:gd name="connsiteY27" fmla="*/ 6596 h 21600"/>
              <a:gd name="connsiteX28" fmla="*/ 5492 w 18750"/>
              <a:gd name="connsiteY28" fmla="*/ 2911 h 21600"/>
              <a:gd name="connsiteX29" fmla="*/ 6693 w 18750"/>
              <a:gd name="connsiteY29" fmla="*/ 2911 h 21600"/>
              <a:gd name="connsiteX30" fmla="*/ 7469 w 18750"/>
              <a:gd name="connsiteY30" fmla="*/ 6596 h 21600"/>
              <a:gd name="connsiteX31" fmla="*/ 6693 w 18750"/>
              <a:gd name="connsiteY31"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2492 w 18750"/>
              <a:gd name="connsiteY6" fmla="*/ 6403 h 21600"/>
              <a:gd name="connsiteX7" fmla="*/ 4380 w 18750"/>
              <a:gd name="connsiteY7" fmla="*/ 6765 h 21600"/>
              <a:gd name="connsiteX8" fmla="*/ 6021 w 18750"/>
              <a:gd name="connsiteY8" fmla="*/ 11875 h 21600"/>
              <a:gd name="connsiteX9" fmla="*/ 4529 w 18750"/>
              <a:gd name="connsiteY9" fmla="*/ 14170 h 21600"/>
              <a:gd name="connsiteX10" fmla="*/ 2671 w 18750"/>
              <a:gd name="connsiteY10" fmla="*/ 12950 h 21600"/>
              <a:gd name="connsiteX11" fmla="*/ 0 w 18750"/>
              <a:gd name="connsiteY11" fmla="*/ 17275 h 21600"/>
              <a:gd name="connsiteX12" fmla="*/ 2671 w 18750"/>
              <a:gd name="connsiteY12" fmla="*/ 21600 h 21600"/>
              <a:gd name="connsiteX13" fmla="*/ 5342 w 18750"/>
              <a:gd name="connsiteY13" fmla="*/ 17275 h 21600"/>
              <a:gd name="connsiteX14" fmla="*/ 4678 w 18750"/>
              <a:gd name="connsiteY14" fmla="*/ 14424 h 21600"/>
              <a:gd name="connsiteX15" fmla="*/ 6185 w 18750"/>
              <a:gd name="connsiteY15" fmla="*/ 12105 h 21600"/>
              <a:gd name="connsiteX16" fmla="*/ 6103 w 18750"/>
              <a:gd name="connsiteY16" fmla="*/ 11972 h 21600"/>
              <a:gd name="connsiteX17" fmla="*/ 8439 w 18750"/>
              <a:gd name="connsiteY17" fmla="*/ 13168 h 21600"/>
              <a:gd name="connsiteX18" fmla="*/ 12020 w 18750"/>
              <a:gd name="connsiteY18" fmla="*/ 9713 h 21600"/>
              <a:gd name="connsiteX19" fmla="*/ 13647 w 18750"/>
              <a:gd name="connsiteY19" fmla="*/ 11175 h 21600"/>
              <a:gd name="connsiteX20" fmla="*/ 13408 w 18750"/>
              <a:gd name="connsiteY20" fmla="*/ 12962 h 21600"/>
              <a:gd name="connsiteX21" fmla="*/ 16079 w 18750"/>
              <a:gd name="connsiteY21" fmla="*/ 17287 h 21600"/>
              <a:gd name="connsiteX22" fmla="*/ 18750 w 18750"/>
              <a:gd name="connsiteY22" fmla="*/ 12962 h 21600"/>
              <a:gd name="connsiteX23" fmla="*/ 16072 w 18750"/>
              <a:gd name="connsiteY23" fmla="*/ 8638 h 21600"/>
              <a:gd name="connsiteX24" fmla="*/ 6693 w 18750"/>
              <a:gd name="connsiteY24" fmla="*/ 10281 h 21600"/>
              <a:gd name="connsiteX25" fmla="*/ 5492 w 18750"/>
              <a:gd name="connsiteY25" fmla="*/ 10281 h 21600"/>
              <a:gd name="connsiteX26" fmla="*/ 4716 w 18750"/>
              <a:gd name="connsiteY26" fmla="*/ 6596 h 21600"/>
              <a:gd name="connsiteX27" fmla="*/ 5492 w 18750"/>
              <a:gd name="connsiteY27" fmla="*/ 2911 h 21600"/>
              <a:gd name="connsiteX28" fmla="*/ 6693 w 18750"/>
              <a:gd name="connsiteY28" fmla="*/ 2911 h 21600"/>
              <a:gd name="connsiteX29" fmla="*/ 7469 w 18750"/>
              <a:gd name="connsiteY29" fmla="*/ 6596 h 21600"/>
              <a:gd name="connsiteX30" fmla="*/ 6693 w 18750"/>
              <a:gd name="connsiteY30"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4380 w 18750"/>
              <a:gd name="connsiteY6" fmla="*/ 6765 h 21600"/>
              <a:gd name="connsiteX7" fmla="*/ 6021 w 18750"/>
              <a:gd name="connsiteY7" fmla="*/ 11875 h 21600"/>
              <a:gd name="connsiteX8" fmla="*/ 4529 w 18750"/>
              <a:gd name="connsiteY8" fmla="*/ 14170 h 21600"/>
              <a:gd name="connsiteX9" fmla="*/ 2671 w 18750"/>
              <a:gd name="connsiteY9" fmla="*/ 12950 h 21600"/>
              <a:gd name="connsiteX10" fmla="*/ 0 w 18750"/>
              <a:gd name="connsiteY10" fmla="*/ 17275 h 21600"/>
              <a:gd name="connsiteX11" fmla="*/ 2671 w 18750"/>
              <a:gd name="connsiteY11" fmla="*/ 21600 h 21600"/>
              <a:gd name="connsiteX12" fmla="*/ 5342 w 18750"/>
              <a:gd name="connsiteY12" fmla="*/ 17275 h 21600"/>
              <a:gd name="connsiteX13" fmla="*/ 4678 w 18750"/>
              <a:gd name="connsiteY13" fmla="*/ 14424 h 21600"/>
              <a:gd name="connsiteX14" fmla="*/ 6185 w 18750"/>
              <a:gd name="connsiteY14" fmla="*/ 12105 h 21600"/>
              <a:gd name="connsiteX15" fmla="*/ 6103 w 18750"/>
              <a:gd name="connsiteY15" fmla="*/ 11972 h 21600"/>
              <a:gd name="connsiteX16" fmla="*/ 8439 w 18750"/>
              <a:gd name="connsiteY16" fmla="*/ 13168 h 21600"/>
              <a:gd name="connsiteX17" fmla="*/ 12020 w 18750"/>
              <a:gd name="connsiteY17" fmla="*/ 9713 h 21600"/>
              <a:gd name="connsiteX18" fmla="*/ 13647 w 18750"/>
              <a:gd name="connsiteY18" fmla="*/ 11175 h 21600"/>
              <a:gd name="connsiteX19" fmla="*/ 13408 w 18750"/>
              <a:gd name="connsiteY19" fmla="*/ 12962 h 21600"/>
              <a:gd name="connsiteX20" fmla="*/ 16079 w 18750"/>
              <a:gd name="connsiteY20" fmla="*/ 17287 h 21600"/>
              <a:gd name="connsiteX21" fmla="*/ 18750 w 18750"/>
              <a:gd name="connsiteY21" fmla="*/ 12962 h 21600"/>
              <a:gd name="connsiteX22" fmla="*/ 16072 w 18750"/>
              <a:gd name="connsiteY22" fmla="*/ 8638 h 21600"/>
              <a:gd name="connsiteX23" fmla="*/ 6693 w 18750"/>
              <a:gd name="connsiteY23" fmla="*/ 10281 h 21600"/>
              <a:gd name="connsiteX24" fmla="*/ 5492 w 18750"/>
              <a:gd name="connsiteY24" fmla="*/ 10281 h 21600"/>
              <a:gd name="connsiteX25" fmla="*/ 4716 w 18750"/>
              <a:gd name="connsiteY25" fmla="*/ 6596 h 21600"/>
              <a:gd name="connsiteX26" fmla="*/ 5492 w 18750"/>
              <a:gd name="connsiteY26" fmla="*/ 2911 h 21600"/>
              <a:gd name="connsiteX27" fmla="*/ 6693 w 18750"/>
              <a:gd name="connsiteY27" fmla="*/ 2911 h 21600"/>
              <a:gd name="connsiteX28" fmla="*/ 7469 w 18750"/>
              <a:gd name="connsiteY28" fmla="*/ 6596 h 21600"/>
              <a:gd name="connsiteX29" fmla="*/ 6693 w 18750"/>
              <a:gd name="connsiteY29" fmla="*/ 10281 h 21600"/>
              <a:gd name="connsiteX0" fmla="*/ 16112 w 18790"/>
              <a:gd name="connsiteY0" fmla="*/ 8638 h 21600"/>
              <a:gd name="connsiteX1" fmla="*/ 13784 w 18790"/>
              <a:gd name="connsiteY1" fmla="*/ 10848 h 21600"/>
              <a:gd name="connsiteX2" fmla="*/ 12157 w 18790"/>
              <a:gd name="connsiteY2" fmla="*/ 9387 h 21600"/>
              <a:gd name="connsiteX3" fmla="*/ 12545 w 18790"/>
              <a:gd name="connsiteY3" fmla="*/ 6584 h 21600"/>
              <a:gd name="connsiteX4" fmla="*/ 8479 w 18790"/>
              <a:gd name="connsiteY4" fmla="*/ 0 h 21600"/>
              <a:gd name="connsiteX5" fmla="*/ 4412 w 18790"/>
              <a:gd name="connsiteY5" fmla="*/ 6403 h 21600"/>
              <a:gd name="connsiteX6" fmla="*/ 4420 w 18790"/>
              <a:gd name="connsiteY6" fmla="*/ 6765 h 21600"/>
              <a:gd name="connsiteX7" fmla="*/ 6061 w 18790"/>
              <a:gd name="connsiteY7" fmla="*/ 11875 h 21600"/>
              <a:gd name="connsiteX8" fmla="*/ 4569 w 18790"/>
              <a:gd name="connsiteY8" fmla="*/ 14170 h 21600"/>
              <a:gd name="connsiteX9" fmla="*/ 40 w 18790"/>
              <a:gd name="connsiteY9" fmla="*/ 17275 h 21600"/>
              <a:gd name="connsiteX10" fmla="*/ 2711 w 18790"/>
              <a:gd name="connsiteY10" fmla="*/ 21600 h 21600"/>
              <a:gd name="connsiteX11" fmla="*/ 5382 w 18790"/>
              <a:gd name="connsiteY11" fmla="*/ 17275 h 21600"/>
              <a:gd name="connsiteX12" fmla="*/ 4718 w 18790"/>
              <a:gd name="connsiteY12" fmla="*/ 14424 h 21600"/>
              <a:gd name="connsiteX13" fmla="*/ 6225 w 18790"/>
              <a:gd name="connsiteY13" fmla="*/ 12105 h 21600"/>
              <a:gd name="connsiteX14" fmla="*/ 6143 w 18790"/>
              <a:gd name="connsiteY14" fmla="*/ 11972 h 21600"/>
              <a:gd name="connsiteX15" fmla="*/ 8479 w 18790"/>
              <a:gd name="connsiteY15" fmla="*/ 13168 h 21600"/>
              <a:gd name="connsiteX16" fmla="*/ 12060 w 18790"/>
              <a:gd name="connsiteY16" fmla="*/ 9713 h 21600"/>
              <a:gd name="connsiteX17" fmla="*/ 13687 w 18790"/>
              <a:gd name="connsiteY17" fmla="*/ 11175 h 21600"/>
              <a:gd name="connsiteX18" fmla="*/ 13448 w 18790"/>
              <a:gd name="connsiteY18" fmla="*/ 12962 h 21600"/>
              <a:gd name="connsiteX19" fmla="*/ 16119 w 18790"/>
              <a:gd name="connsiteY19" fmla="*/ 17287 h 21600"/>
              <a:gd name="connsiteX20" fmla="*/ 18790 w 18790"/>
              <a:gd name="connsiteY20" fmla="*/ 12962 h 21600"/>
              <a:gd name="connsiteX21" fmla="*/ 16112 w 18790"/>
              <a:gd name="connsiteY21" fmla="*/ 8638 h 21600"/>
              <a:gd name="connsiteX22" fmla="*/ 6733 w 18790"/>
              <a:gd name="connsiteY22" fmla="*/ 10281 h 21600"/>
              <a:gd name="connsiteX23" fmla="*/ 5532 w 18790"/>
              <a:gd name="connsiteY23" fmla="*/ 10281 h 21600"/>
              <a:gd name="connsiteX24" fmla="*/ 4756 w 18790"/>
              <a:gd name="connsiteY24" fmla="*/ 6596 h 21600"/>
              <a:gd name="connsiteX25" fmla="*/ 5532 w 18790"/>
              <a:gd name="connsiteY25" fmla="*/ 2911 h 21600"/>
              <a:gd name="connsiteX26" fmla="*/ 6733 w 18790"/>
              <a:gd name="connsiteY26" fmla="*/ 2911 h 21600"/>
              <a:gd name="connsiteX27" fmla="*/ 7509 w 18790"/>
              <a:gd name="connsiteY27" fmla="*/ 6596 h 21600"/>
              <a:gd name="connsiteX28" fmla="*/ 6733 w 18790"/>
              <a:gd name="connsiteY28" fmla="*/ 10281 h 21600"/>
              <a:gd name="connsiteX0" fmla="*/ 13410 w 16088"/>
              <a:gd name="connsiteY0" fmla="*/ 8638 h 21600"/>
              <a:gd name="connsiteX1" fmla="*/ 11082 w 16088"/>
              <a:gd name="connsiteY1" fmla="*/ 10848 h 21600"/>
              <a:gd name="connsiteX2" fmla="*/ 9455 w 16088"/>
              <a:gd name="connsiteY2" fmla="*/ 9387 h 21600"/>
              <a:gd name="connsiteX3" fmla="*/ 9843 w 16088"/>
              <a:gd name="connsiteY3" fmla="*/ 6584 h 21600"/>
              <a:gd name="connsiteX4" fmla="*/ 5777 w 16088"/>
              <a:gd name="connsiteY4" fmla="*/ 0 h 21600"/>
              <a:gd name="connsiteX5" fmla="*/ 1710 w 16088"/>
              <a:gd name="connsiteY5" fmla="*/ 6403 h 21600"/>
              <a:gd name="connsiteX6" fmla="*/ 1718 w 16088"/>
              <a:gd name="connsiteY6" fmla="*/ 6765 h 21600"/>
              <a:gd name="connsiteX7" fmla="*/ 3359 w 16088"/>
              <a:gd name="connsiteY7" fmla="*/ 11875 h 21600"/>
              <a:gd name="connsiteX8" fmla="*/ 1867 w 16088"/>
              <a:gd name="connsiteY8" fmla="*/ 14170 h 21600"/>
              <a:gd name="connsiteX9" fmla="*/ 9 w 16088"/>
              <a:gd name="connsiteY9" fmla="*/ 21600 h 21600"/>
              <a:gd name="connsiteX10" fmla="*/ 2680 w 16088"/>
              <a:gd name="connsiteY10" fmla="*/ 17275 h 21600"/>
              <a:gd name="connsiteX11" fmla="*/ 2016 w 16088"/>
              <a:gd name="connsiteY11" fmla="*/ 14424 h 21600"/>
              <a:gd name="connsiteX12" fmla="*/ 3523 w 16088"/>
              <a:gd name="connsiteY12" fmla="*/ 12105 h 21600"/>
              <a:gd name="connsiteX13" fmla="*/ 3441 w 16088"/>
              <a:gd name="connsiteY13" fmla="*/ 11972 h 21600"/>
              <a:gd name="connsiteX14" fmla="*/ 5777 w 16088"/>
              <a:gd name="connsiteY14" fmla="*/ 13168 h 21600"/>
              <a:gd name="connsiteX15" fmla="*/ 9358 w 16088"/>
              <a:gd name="connsiteY15" fmla="*/ 9713 h 21600"/>
              <a:gd name="connsiteX16" fmla="*/ 10985 w 16088"/>
              <a:gd name="connsiteY16" fmla="*/ 11175 h 21600"/>
              <a:gd name="connsiteX17" fmla="*/ 10746 w 16088"/>
              <a:gd name="connsiteY17" fmla="*/ 12962 h 21600"/>
              <a:gd name="connsiteX18" fmla="*/ 13417 w 16088"/>
              <a:gd name="connsiteY18" fmla="*/ 17287 h 21600"/>
              <a:gd name="connsiteX19" fmla="*/ 16088 w 16088"/>
              <a:gd name="connsiteY19" fmla="*/ 12962 h 21600"/>
              <a:gd name="connsiteX20" fmla="*/ 13410 w 16088"/>
              <a:gd name="connsiteY20" fmla="*/ 8638 h 21600"/>
              <a:gd name="connsiteX21" fmla="*/ 4031 w 16088"/>
              <a:gd name="connsiteY21" fmla="*/ 10281 h 21600"/>
              <a:gd name="connsiteX22" fmla="*/ 2830 w 16088"/>
              <a:gd name="connsiteY22" fmla="*/ 10281 h 21600"/>
              <a:gd name="connsiteX23" fmla="*/ 2054 w 16088"/>
              <a:gd name="connsiteY23" fmla="*/ 6596 h 21600"/>
              <a:gd name="connsiteX24" fmla="*/ 2830 w 16088"/>
              <a:gd name="connsiteY24" fmla="*/ 2911 h 21600"/>
              <a:gd name="connsiteX25" fmla="*/ 4031 w 16088"/>
              <a:gd name="connsiteY25" fmla="*/ 2911 h 21600"/>
              <a:gd name="connsiteX26" fmla="*/ 4807 w 16088"/>
              <a:gd name="connsiteY26" fmla="*/ 6596 h 21600"/>
              <a:gd name="connsiteX27" fmla="*/ 4031 w 16088"/>
              <a:gd name="connsiteY27" fmla="*/ 10281 h 21600"/>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970 w 14378"/>
              <a:gd name="connsiteY9" fmla="*/ 17275 h 17287"/>
              <a:gd name="connsiteX10" fmla="*/ 306 w 14378"/>
              <a:gd name="connsiteY10" fmla="*/ 14424 h 17287"/>
              <a:gd name="connsiteX11" fmla="*/ 1813 w 14378"/>
              <a:gd name="connsiteY11" fmla="*/ 12105 h 17287"/>
              <a:gd name="connsiteX12" fmla="*/ 1731 w 14378"/>
              <a:gd name="connsiteY12" fmla="*/ 11972 h 17287"/>
              <a:gd name="connsiteX13" fmla="*/ 4067 w 14378"/>
              <a:gd name="connsiteY13" fmla="*/ 13168 h 17287"/>
              <a:gd name="connsiteX14" fmla="*/ 7648 w 14378"/>
              <a:gd name="connsiteY14" fmla="*/ 9713 h 17287"/>
              <a:gd name="connsiteX15" fmla="*/ 9275 w 14378"/>
              <a:gd name="connsiteY15" fmla="*/ 11175 h 17287"/>
              <a:gd name="connsiteX16" fmla="*/ 9036 w 14378"/>
              <a:gd name="connsiteY16" fmla="*/ 12962 h 17287"/>
              <a:gd name="connsiteX17" fmla="*/ 11707 w 14378"/>
              <a:gd name="connsiteY17" fmla="*/ 17287 h 17287"/>
              <a:gd name="connsiteX18" fmla="*/ 14378 w 14378"/>
              <a:gd name="connsiteY18" fmla="*/ 12962 h 17287"/>
              <a:gd name="connsiteX19" fmla="*/ 11700 w 14378"/>
              <a:gd name="connsiteY19" fmla="*/ 8638 h 17287"/>
              <a:gd name="connsiteX20" fmla="*/ 2321 w 14378"/>
              <a:gd name="connsiteY20" fmla="*/ 10281 h 17287"/>
              <a:gd name="connsiteX21" fmla="*/ 1120 w 14378"/>
              <a:gd name="connsiteY21" fmla="*/ 10281 h 17287"/>
              <a:gd name="connsiteX22" fmla="*/ 344 w 14378"/>
              <a:gd name="connsiteY22" fmla="*/ 6596 h 17287"/>
              <a:gd name="connsiteX23" fmla="*/ 1120 w 14378"/>
              <a:gd name="connsiteY23" fmla="*/ 2911 h 17287"/>
              <a:gd name="connsiteX24" fmla="*/ 2321 w 14378"/>
              <a:gd name="connsiteY24" fmla="*/ 2911 h 17287"/>
              <a:gd name="connsiteX25" fmla="*/ 3097 w 14378"/>
              <a:gd name="connsiteY25" fmla="*/ 6596 h 17287"/>
              <a:gd name="connsiteX26" fmla="*/ 2321 w 14378"/>
              <a:gd name="connsiteY26"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306 w 14378"/>
              <a:gd name="connsiteY9" fmla="*/ 14424 h 17287"/>
              <a:gd name="connsiteX10" fmla="*/ 1813 w 14378"/>
              <a:gd name="connsiteY10" fmla="*/ 12105 h 17287"/>
              <a:gd name="connsiteX11" fmla="*/ 1731 w 14378"/>
              <a:gd name="connsiteY11" fmla="*/ 11972 h 17287"/>
              <a:gd name="connsiteX12" fmla="*/ 4067 w 14378"/>
              <a:gd name="connsiteY12" fmla="*/ 13168 h 17287"/>
              <a:gd name="connsiteX13" fmla="*/ 7648 w 14378"/>
              <a:gd name="connsiteY13" fmla="*/ 9713 h 17287"/>
              <a:gd name="connsiteX14" fmla="*/ 9275 w 14378"/>
              <a:gd name="connsiteY14" fmla="*/ 11175 h 17287"/>
              <a:gd name="connsiteX15" fmla="*/ 9036 w 14378"/>
              <a:gd name="connsiteY15" fmla="*/ 12962 h 17287"/>
              <a:gd name="connsiteX16" fmla="*/ 11707 w 14378"/>
              <a:gd name="connsiteY16" fmla="*/ 17287 h 17287"/>
              <a:gd name="connsiteX17" fmla="*/ 14378 w 14378"/>
              <a:gd name="connsiteY17" fmla="*/ 12962 h 17287"/>
              <a:gd name="connsiteX18" fmla="*/ 11700 w 14378"/>
              <a:gd name="connsiteY18" fmla="*/ 8638 h 17287"/>
              <a:gd name="connsiteX19" fmla="*/ 2321 w 14378"/>
              <a:gd name="connsiteY19" fmla="*/ 10281 h 17287"/>
              <a:gd name="connsiteX20" fmla="*/ 1120 w 14378"/>
              <a:gd name="connsiteY20" fmla="*/ 10281 h 17287"/>
              <a:gd name="connsiteX21" fmla="*/ 344 w 14378"/>
              <a:gd name="connsiteY21" fmla="*/ 6596 h 17287"/>
              <a:gd name="connsiteX22" fmla="*/ 1120 w 14378"/>
              <a:gd name="connsiteY22" fmla="*/ 2911 h 17287"/>
              <a:gd name="connsiteX23" fmla="*/ 2321 w 14378"/>
              <a:gd name="connsiteY23" fmla="*/ 2911 h 17287"/>
              <a:gd name="connsiteX24" fmla="*/ 3097 w 14378"/>
              <a:gd name="connsiteY24" fmla="*/ 6596 h 17287"/>
              <a:gd name="connsiteX25" fmla="*/ 2321 w 14378"/>
              <a:gd name="connsiteY25"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1813 w 14378"/>
              <a:gd name="connsiteY9" fmla="*/ 12105 h 17287"/>
              <a:gd name="connsiteX10" fmla="*/ 1731 w 14378"/>
              <a:gd name="connsiteY10" fmla="*/ 11972 h 17287"/>
              <a:gd name="connsiteX11" fmla="*/ 4067 w 14378"/>
              <a:gd name="connsiteY11" fmla="*/ 13168 h 17287"/>
              <a:gd name="connsiteX12" fmla="*/ 7648 w 14378"/>
              <a:gd name="connsiteY12" fmla="*/ 9713 h 17287"/>
              <a:gd name="connsiteX13" fmla="*/ 9275 w 14378"/>
              <a:gd name="connsiteY13" fmla="*/ 11175 h 17287"/>
              <a:gd name="connsiteX14" fmla="*/ 9036 w 14378"/>
              <a:gd name="connsiteY14" fmla="*/ 12962 h 17287"/>
              <a:gd name="connsiteX15" fmla="*/ 11707 w 14378"/>
              <a:gd name="connsiteY15" fmla="*/ 17287 h 17287"/>
              <a:gd name="connsiteX16" fmla="*/ 14378 w 14378"/>
              <a:gd name="connsiteY16" fmla="*/ 12962 h 17287"/>
              <a:gd name="connsiteX17" fmla="*/ 11700 w 14378"/>
              <a:gd name="connsiteY17" fmla="*/ 8638 h 17287"/>
              <a:gd name="connsiteX18" fmla="*/ 2321 w 14378"/>
              <a:gd name="connsiteY18" fmla="*/ 10281 h 17287"/>
              <a:gd name="connsiteX19" fmla="*/ 1120 w 14378"/>
              <a:gd name="connsiteY19" fmla="*/ 10281 h 17287"/>
              <a:gd name="connsiteX20" fmla="*/ 344 w 14378"/>
              <a:gd name="connsiteY20" fmla="*/ 6596 h 17287"/>
              <a:gd name="connsiteX21" fmla="*/ 1120 w 14378"/>
              <a:gd name="connsiteY21" fmla="*/ 2911 h 17287"/>
              <a:gd name="connsiteX22" fmla="*/ 2321 w 14378"/>
              <a:gd name="connsiteY22" fmla="*/ 2911 h 17287"/>
              <a:gd name="connsiteX23" fmla="*/ 3097 w 14378"/>
              <a:gd name="connsiteY23" fmla="*/ 6596 h 17287"/>
              <a:gd name="connsiteX24" fmla="*/ 2321 w 14378"/>
              <a:gd name="connsiteY24"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813 w 14378"/>
              <a:gd name="connsiteY8" fmla="*/ 12105 h 17287"/>
              <a:gd name="connsiteX9" fmla="*/ 1731 w 14378"/>
              <a:gd name="connsiteY9" fmla="*/ 11972 h 17287"/>
              <a:gd name="connsiteX10" fmla="*/ 4067 w 14378"/>
              <a:gd name="connsiteY10" fmla="*/ 13168 h 17287"/>
              <a:gd name="connsiteX11" fmla="*/ 7648 w 14378"/>
              <a:gd name="connsiteY11" fmla="*/ 9713 h 17287"/>
              <a:gd name="connsiteX12" fmla="*/ 9275 w 14378"/>
              <a:gd name="connsiteY12" fmla="*/ 11175 h 17287"/>
              <a:gd name="connsiteX13" fmla="*/ 9036 w 14378"/>
              <a:gd name="connsiteY13" fmla="*/ 12962 h 17287"/>
              <a:gd name="connsiteX14" fmla="*/ 11707 w 14378"/>
              <a:gd name="connsiteY14" fmla="*/ 17287 h 17287"/>
              <a:gd name="connsiteX15" fmla="*/ 14378 w 14378"/>
              <a:gd name="connsiteY15" fmla="*/ 12962 h 17287"/>
              <a:gd name="connsiteX16" fmla="*/ 11700 w 14378"/>
              <a:gd name="connsiteY16" fmla="*/ 8638 h 17287"/>
              <a:gd name="connsiteX17" fmla="*/ 2321 w 14378"/>
              <a:gd name="connsiteY17" fmla="*/ 10281 h 17287"/>
              <a:gd name="connsiteX18" fmla="*/ 1120 w 14378"/>
              <a:gd name="connsiteY18" fmla="*/ 10281 h 17287"/>
              <a:gd name="connsiteX19" fmla="*/ 344 w 14378"/>
              <a:gd name="connsiteY19" fmla="*/ 6596 h 17287"/>
              <a:gd name="connsiteX20" fmla="*/ 1120 w 14378"/>
              <a:gd name="connsiteY20" fmla="*/ 2911 h 17287"/>
              <a:gd name="connsiteX21" fmla="*/ 2321 w 14378"/>
              <a:gd name="connsiteY21" fmla="*/ 2911 h 17287"/>
              <a:gd name="connsiteX22" fmla="*/ 3097 w 14378"/>
              <a:gd name="connsiteY22" fmla="*/ 6596 h 17287"/>
              <a:gd name="connsiteX23" fmla="*/ 2321 w 14378"/>
              <a:gd name="connsiteY23" fmla="*/ 10281 h 17287"/>
              <a:gd name="connsiteX0" fmla="*/ 11700 w 14378"/>
              <a:gd name="connsiteY0" fmla="*/ 8638 h 13359"/>
              <a:gd name="connsiteX1" fmla="*/ 9372 w 14378"/>
              <a:gd name="connsiteY1" fmla="*/ 10848 h 13359"/>
              <a:gd name="connsiteX2" fmla="*/ 7745 w 14378"/>
              <a:gd name="connsiteY2" fmla="*/ 9387 h 13359"/>
              <a:gd name="connsiteX3" fmla="*/ 8133 w 14378"/>
              <a:gd name="connsiteY3" fmla="*/ 6584 h 13359"/>
              <a:gd name="connsiteX4" fmla="*/ 4067 w 14378"/>
              <a:gd name="connsiteY4" fmla="*/ 0 h 13359"/>
              <a:gd name="connsiteX5" fmla="*/ 0 w 14378"/>
              <a:gd name="connsiteY5" fmla="*/ 6403 h 13359"/>
              <a:gd name="connsiteX6" fmla="*/ 8 w 14378"/>
              <a:gd name="connsiteY6" fmla="*/ 6765 h 13359"/>
              <a:gd name="connsiteX7" fmla="*/ 1649 w 14378"/>
              <a:gd name="connsiteY7" fmla="*/ 11875 h 13359"/>
              <a:gd name="connsiteX8" fmla="*/ 1813 w 14378"/>
              <a:gd name="connsiteY8" fmla="*/ 12105 h 13359"/>
              <a:gd name="connsiteX9" fmla="*/ 1731 w 14378"/>
              <a:gd name="connsiteY9" fmla="*/ 11972 h 13359"/>
              <a:gd name="connsiteX10" fmla="*/ 4067 w 14378"/>
              <a:gd name="connsiteY10" fmla="*/ 13168 h 13359"/>
              <a:gd name="connsiteX11" fmla="*/ 7648 w 14378"/>
              <a:gd name="connsiteY11" fmla="*/ 9713 h 13359"/>
              <a:gd name="connsiteX12" fmla="*/ 9275 w 14378"/>
              <a:gd name="connsiteY12" fmla="*/ 11175 h 13359"/>
              <a:gd name="connsiteX13" fmla="*/ 9036 w 14378"/>
              <a:gd name="connsiteY13" fmla="*/ 12962 h 13359"/>
              <a:gd name="connsiteX14" fmla="*/ 14378 w 14378"/>
              <a:gd name="connsiteY14" fmla="*/ 12962 h 13359"/>
              <a:gd name="connsiteX15" fmla="*/ 11700 w 14378"/>
              <a:gd name="connsiteY15" fmla="*/ 8638 h 13359"/>
              <a:gd name="connsiteX16" fmla="*/ 2321 w 14378"/>
              <a:gd name="connsiteY16" fmla="*/ 10281 h 13359"/>
              <a:gd name="connsiteX17" fmla="*/ 1120 w 14378"/>
              <a:gd name="connsiteY17" fmla="*/ 10281 h 13359"/>
              <a:gd name="connsiteX18" fmla="*/ 344 w 14378"/>
              <a:gd name="connsiteY18" fmla="*/ 6596 h 13359"/>
              <a:gd name="connsiteX19" fmla="*/ 1120 w 14378"/>
              <a:gd name="connsiteY19" fmla="*/ 2911 h 13359"/>
              <a:gd name="connsiteX20" fmla="*/ 2321 w 14378"/>
              <a:gd name="connsiteY20" fmla="*/ 2911 h 13359"/>
              <a:gd name="connsiteX21" fmla="*/ 3097 w 14378"/>
              <a:gd name="connsiteY21" fmla="*/ 6596 h 13359"/>
              <a:gd name="connsiteX22" fmla="*/ 2321 w 14378"/>
              <a:gd name="connsiteY22" fmla="*/ 10281 h 13359"/>
              <a:gd name="connsiteX0" fmla="*/ 11700 w 11700"/>
              <a:gd name="connsiteY0" fmla="*/ 8638 h 13168"/>
              <a:gd name="connsiteX1" fmla="*/ 9372 w 11700"/>
              <a:gd name="connsiteY1" fmla="*/ 10848 h 13168"/>
              <a:gd name="connsiteX2" fmla="*/ 7745 w 11700"/>
              <a:gd name="connsiteY2" fmla="*/ 9387 h 13168"/>
              <a:gd name="connsiteX3" fmla="*/ 8133 w 11700"/>
              <a:gd name="connsiteY3" fmla="*/ 6584 h 13168"/>
              <a:gd name="connsiteX4" fmla="*/ 4067 w 11700"/>
              <a:gd name="connsiteY4" fmla="*/ 0 h 13168"/>
              <a:gd name="connsiteX5" fmla="*/ 0 w 11700"/>
              <a:gd name="connsiteY5" fmla="*/ 6403 h 13168"/>
              <a:gd name="connsiteX6" fmla="*/ 8 w 11700"/>
              <a:gd name="connsiteY6" fmla="*/ 6765 h 13168"/>
              <a:gd name="connsiteX7" fmla="*/ 1649 w 11700"/>
              <a:gd name="connsiteY7" fmla="*/ 11875 h 13168"/>
              <a:gd name="connsiteX8" fmla="*/ 1813 w 11700"/>
              <a:gd name="connsiteY8" fmla="*/ 12105 h 13168"/>
              <a:gd name="connsiteX9" fmla="*/ 1731 w 11700"/>
              <a:gd name="connsiteY9" fmla="*/ 11972 h 13168"/>
              <a:gd name="connsiteX10" fmla="*/ 4067 w 11700"/>
              <a:gd name="connsiteY10" fmla="*/ 13168 h 13168"/>
              <a:gd name="connsiteX11" fmla="*/ 7648 w 11700"/>
              <a:gd name="connsiteY11" fmla="*/ 9713 h 13168"/>
              <a:gd name="connsiteX12" fmla="*/ 9275 w 11700"/>
              <a:gd name="connsiteY12" fmla="*/ 11175 h 13168"/>
              <a:gd name="connsiteX13" fmla="*/ 9036 w 11700"/>
              <a:gd name="connsiteY13" fmla="*/ 12962 h 13168"/>
              <a:gd name="connsiteX14" fmla="*/ 11700 w 11700"/>
              <a:gd name="connsiteY14" fmla="*/ 8638 h 13168"/>
              <a:gd name="connsiteX15" fmla="*/ 2321 w 11700"/>
              <a:gd name="connsiteY15" fmla="*/ 10281 h 13168"/>
              <a:gd name="connsiteX16" fmla="*/ 1120 w 11700"/>
              <a:gd name="connsiteY16" fmla="*/ 10281 h 13168"/>
              <a:gd name="connsiteX17" fmla="*/ 344 w 11700"/>
              <a:gd name="connsiteY17" fmla="*/ 6596 h 13168"/>
              <a:gd name="connsiteX18" fmla="*/ 1120 w 11700"/>
              <a:gd name="connsiteY18" fmla="*/ 2911 h 13168"/>
              <a:gd name="connsiteX19" fmla="*/ 2321 w 11700"/>
              <a:gd name="connsiteY19" fmla="*/ 2911 h 13168"/>
              <a:gd name="connsiteX20" fmla="*/ 3097 w 11700"/>
              <a:gd name="connsiteY20" fmla="*/ 6596 h 13168"/>
              <a:gd name="connsiteX21" fmla="*/ 2321 w 11700"/>
              <a:gd name="connsiteY21" fmla="*/ 10281 h 13168"/>
              <a:gd name="connsiteX0" fmla="*/ 9036 w 9422"/>
              <a:gd name="connsiteY0" fmla="*/ 12962 h 13168"/>
              <a:gd name="connsiteX1" fmla="*/ 9372 w 9422"/>
              <a:gd name="connsiteY1" fmla="*/ 10848 h 13168"/>
              <a:gd name="connsiteX2" fmla="*/ 7745 w 9422"/>
              <a:gd name="connsiteY2" fmla="*/ 9387 h 13168"/>
              <a:gd name="connsiteX3" fmla="*/ 8133 w 9422"/>
              <a:gd name="connsiteY3" fmla="*/ 6584 h 13168"/>
              <a:gd name="connsiteX4" fmla="*/ 4067 w 9422"/>
              <a:gd name="connsiteY4" fmla="*/ 0 h 13168"/>
              <a:gd name="connsiteX5" fmla="*/ 0 w 9422"/>
              <a:gd name="connsiteY5" fmla="*/ 6403 h 13168"/>
              <a:gd name="connsiteX6" fmla="*/ 8 w 9422"/>
              <a:gd name="connsiteY6" fmla="*/ 6765 h 13168"/>
              <a:gd name="connsiteX7" fmla="*/ 1649 w 9422"/>
              <a:gd name="connsiteY7" fmla="*/ 11875 h 13168"/>
              <a:gd name="connsiteX8" fmla="*/ 1813 w 9422"/>
              <a:gd name="connsiteY8" fmla="*/ 12105 h 13168"/>
              <a:gd name="connsiteX9" fmla="*/ 1731 w 9422"/>
              <a:gd name="connsiteY9" fmla="*/ 11972 h 13168"/>
              <a:gd name="connsiteX10" fmla="*/ 4067 w 9422"/>
              <a:gd name="connsiteY10" fmla="*/ 13168 h 13168"/>
              <a:gd name="connsiteX11" fmla="*/ 7648 w 9422"/>
              <a:gd name="connsiteY11" fmla="*/ 9713 h 13168"/>
              <a:gd name="connsiteX12" fmla="*/ 9275 w 9422"/>
              <a:gd name="connsiteY12" fmla="*/ 11175 h 13168"/>
              <a:gd name="connsiteX13" fmla="*/ 9036 w 9422"/>
              <a:gd name="connsiteY13" fmla="*/ 12962 h 13168"/>
              <a:gd name="connsiteX14" fmla="*/ 2321 w 9422"/>
              <a:gd name="connsiteY14" fmla="*/ 10281 h 13168"/>
              <a:gd name="connsiteX15" fmla="*/ 1120 w 9422"/>
              <a:gd name="connsiteY15" fmla="*/ 10281 h 13168"/>
              <a:gd name="connsiteX16" fmla="*/ 344 w 9422"/>
              <a:gd name="connsiteY16" fmla="*/ 6596 h 13168"/>
              <a:gd name="connsiteX17" fmla="*/ 1120 w 9422"/>
              <a:gd name="connsiteY17" fmla="*/ 2911 h 13168"/>
              <a:gd name="connsiteX18" fmla="*/ 2321 w 9422"/>
              <a:gd name="connsiteY18" fmla="*/ 2911 h 13168"/>
              <a:gd name="connsiteX19" fmla="*/ 3097 w 9422"/>
              <a:gd name="connsiteY19" fmla="*/ 6596 h 13168"/>
              <a:gd name="connsiteX20" fmla="*/ 2321 w 9422"/>
              <a:gd name="connsiteY20" fmla="*/ 10281 h 13168"/>
              <a:gd name="connsiteX0" fmla="*/ 9844 w 10116"/>
              <a:gd name="connsiteY0" fmla="*/ 8486 h 10000"/>
              <a:gd name="connsiteX1" fmla="*/ 9947 w 10116"/>
              <a:gd name="connsiteY1" fmla="*/ 8238 h 10000"/>
              <a:gd name="connsiteX2" fmla="*/ 8220 w 10116"/>
              <a:gd name="connsiteY2" fmla="*/ 7129 h 10000"/>
              <a:gd name="connsiteX3" fmla="*/ 8632 w 10116"/>
              <a:gd name="connsiteY3" fmla="*/ 5000 h 10000"/>
              <a:gd name="connsiteX4" fmla="*/ 4316 w 10116"/>
              <a:gd name="connsiteY4" fmla="*/ 0 h 10000"/>
              <a:gd name="connsiteX5" fmla="*/ 0 w 10116"/>
              <a:gd name="connsiteY5" fmla="*/ 4863 h 10000"/>
              <a:gd name="connsiteX6" fmla="*/ 8 w 10116"/>
              <a:gd name="connsiteY6" fmla="*/ 5137 h 10000"/>
              <a:gd name="connsiteX7" fmla="*/ 1750 w 10116"/>
              <a:gd name="connsiteY7" fmla="*/ 9018 h 10000"/>
              <a:gd name="connsiteX8" fmla="*/ 1924 w 10116"/>
              <a:gd name="connsiteY8" fmla="*/ 9193 h 10000"/>
              <a:gd name="connsiteX9" fmla="*/ 1837 w 10116"/>
              <a:gd name="connsiteY9" fmla="*/ 9092 h 10000"/>
              <a:gd name="connsiteX10" fmla="*/ 4316 w 10116"/>
              <a:gd name="connsiteY10" fmla="*/ 10000 h 10000"/>
              <a:gd name="connsiteX11" fmla="*/ 8117 w 10116"/>
              <a:gd name="connsiteY11" fmla="*/ 7376 h 10000"/>
              <a:gd name="connsiteX12" fmla="*/ 9844 w 10116"/>
              <a:gd name="connsiteY12" fmla="*/ 8486 h 10000"/>
              <a:gd name="connsiteX13" fmla="*/ 2463 w 10116"/>
              <a:gd name="connsiteY13" fmla="*/ 7808 h 10000"/>
              <a:gd name="connsiteX14" fmla="*/ 1189 w 10116"/>
              <a:gd name="connsiteY14" fmla="*/ 7808 h 10000"/>
              <a:gd name="connsiteX15" fmla="*/ 365 w 10116"/>
              <a:gd name="connsiteY15" fmla="*/ 5009 h 10000"/>
              <a:gd name="connsiteX16" fmla="*/ 1189 w 10116"/>
              <a:gd name="connsiteY16" fmla="*/ 2211 h 10000"/>
              <a:gd name="connsiteX17" fmla="*/ 2463 w 10116"/>
              <a:gd name="connsiteY17" fmla="*/ 2211 h 10000"/>
              <a:gd name="connsiteX18" fmla="*/ 3287 w 10116"/>
              <a:gd name="connsiteY18" fmla="*/ 5009 h 10000"/>
              <a:gd name="connsiteX19" fmla="*/ 2463 w 10116"/>
              <a:gd name="connsiteY19" fmla="*/ 7808 h 10000"/>
              <a:gd name="connsiteX0" fmla="*/ 8117 w 9947"/>
              <a:gd name="connsiteY0" fmla="*/ 7376 h 10000"/>
              <a:gd name="connsiteX1" fmla="*/ 9947 w 9947"/>
              <a:gd name="connsiteY1" fmla="*/ 8238 h 10000"/>
              <a:gd name="connsiteX2" fmla="*/ 8220 w 9947"/>
              <a:gd name="connsiteY2" fmla="*/ 7129 h 10000"/>
              <a:gd name="connsiteX3" fmla="*/ 8632 w 9947"/>
              <a:gd name="connsiteY3" fmla="*/ 5000 h 10000"/>
              <a:gd name="connsiteX4" fmla="*/ 4316 w 9947"/>
              <a:gd name="connsiteY4" fmla="*/ 0 h 10000"/>
              <a:gd name="connsiteX5" fmla="*/ 0 w 9947"/>
              <a:gd name="connsiteY5" fmla="*/ 4863 h 10000"/>
              <a:gd name="connsiteX6" fmla="*/ 8 w 9947"/>
              <a:gd name="connsiteY6" fmla="*/ 5137 h 10000"/>
              <a:gd name="connsiteX7" fmla="*/ 1750 w 9947"/>
              <a:gd name="connsiteY7" fmla="*/ 9018 h 10000"/>
              <a:gd name="connsiteX8" fmla="*/ 1924 w 9947"/>
              <a:gd name="connsiteY8" fmla="*/ 9193 h 10000"/>
              <a:gd name="connsiteX9" fmla="*/ 1837 w 9947"/>
              <a:gd name="connsiteY9" fmla="*/ 9092 h 10000"/>
              <a:gd name="connsiteX10" fmla="*/ 4316 w 9947"/>
              <a:gd name="connsiteY10" fmla="*/ 10000 h 10000"/>
              <a:gd name="connsiteX11" fmla="*/ 8117 w 9947"/>
              <a:gd name="connsiteY11" fmla="*/ 7376 h 10000"/>
              <a:gd name="connsiteX12" fmla="*/ 2463 w 9947"/>
              <a:gd name="connsiteY12" fmla="*/ 7808 h 10000"/>
              <a:gd name="connsiteX13" fmla="*/ 1189 w 9947"/>
              <a:gd name="connsiteY13" fmla="*/ 7808 h 10000"/>
              <a:gd name="connsiteX14" fmla="*/ 365 w 9947"/>
              <a:gd name="connsiteY14" fmla="*/ 5009 h 10000"/>
              <a:gd name="connsiteX15" fmla="*/ 1189 w 9947"/>
              <a:gd name="connsiteY15" fmla="*/ 2211 h 10000"/>
              <a:gd name="connsiteX16" fmla="*/ 2463 w 9947"/>
              <a:gd name="connsiteY16" fmla="*/ 2211 h 10000"/>
              <a:gd name="connsiteX17" fmla="*/ 3287 w 9947"/>
              <a:gd name="connsiteY17" fmla="*/ 5009 h 10000"/>
              <a:gd name="connsiteX18" fmla="*/ 2463 w 9947"/>
              <a:gd name="connsiteY18" fmla="*/ 7808 h 10000"/>
              <a:gd name="connsiteX0" fmla="*/ 8160 w 8678"/>
              <a:gd name="connsiteY0" fmla="*/ 7376 h 10000"/>
              <a:gd name="connsiteX1" fmla="*/ 8264 w 8678"/>
              <a:gd name="connsiteY1" fmla="*/ 7129 h 10000"/>
              <a:gd name="connsiteX2" fmla="*/ 8678 w 8678"/>
              <a:gd name="connsiteY2" fmla="*/ 5000 h 10000"/>
              <a:gd name="connsiteX3" fmla="*/ 4339 w 8678"/>
              <a:gd name="connsiteY3" fmla="*/ 0 h 10000"/>
              <a:gd name="connsiteX4" fmla="*/ 0 w 8678"/>
              <a:gd name="connsiteY4" fmla="*/ 4863 h 10000"/>
              <a:gd name="connsiteX5" fmla="*/ 8 w 8678"/>
              <a:gd name="connsiteY5" fmla="*/ 5137 h 10000"/>
              <a:gd name="connsiteX6" fmla="*/ 1759 w 8678"/>
              <a:gd name="connsiteY6" fmla="*/ 9018 h 10000"/>
              <a:gd name="connsiteX7" fmla="*/ 1934 w 8678"/>
              <a:gd name="connsiteY7" fmla="*/ 9193 h 10000"/>
              <a:gd name="connsiteX8" fmla="*/ 1847 w 8678"/>
              <a:gd name="connsiteY8" fmla="*/ 9092 h 10000"/>
              <a:gd name="connsiteX9" fmla="*/ 4339 w 8678"/>
              <a:gd name="connsiteY9" fmla="*/ 10000 h 10000"/>
              <a:gd name="connsiteX10" fmla="*/ 8160 w 8678"/>
              <a:gd name="connsiteY10" fmla="*/ 7376 h 10000"/>
              <a:gd name="connsiteX11" fmla="*/ 2476 w 8678"/>
              <a:gd name="connsiteY11" fmla="*/ 7808 h 10000"/>
              <a:gd name="connsiteX12" fmla="*/ 1195 w 8678"/>
              <a:gd name="connsiteY12" fmla="*/ 7808 h 10000"/>
              <a:gd name="connsiteX13" fmla="*/ 367 w 8678"/>
              <a:gd name="connsiteY13" fmla="*/ 5009 h 10000"/>
              <a:gd name="connsiteX14" fmla="*/ 1195 w 8678"/>
              <a:gd name="connsiteY14" fmla="*/ 2211 h 10000"/>
              <a:gd name="connsiteX15" fmla="*/ 2476 w 8678"/>
              <a:gd name="connsiteY15" fmla="*/ 2211 h 10000"/>
              <a:gd name="connsiteX16" fmla="*/ 3305 w 8678"/>
              <a:gd name="connsiteY16" fmla="*/ 5009 h 10000"/>
              <a:gd name="connsiteX17" fmla="*/ 2476 w 8678"/>
              <a:gd name="connsiteY17" fmla="*/ 780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78" h="10000" extrusionOk="0">
                <a:moveTo>
                  <a:pt x="8160" y="7376"/>
                </a:moveTo>
                <a:cubicBezTo>
                  <a:pt x="8195" y="7294"/>
                  <a:pt x="8229" y="7211"/>
                  <a:pt x="8264" y="7129"/>
                </a:cubicBezTo>
                <a:cubicBezTo>
                  <a:pt x="8526" y="6477"/>
                  <a:pt x="8678" y="5762"/>
                  <a:pt x="8678" y="5000"/>
                </a:cubicBezTo>
                <a:cubicBezTo>
                  <a:pt x="8678" y="2239"/>
                  <a:pt x="6736" y="0"/>
                  <a:pt x="4339" y="0"/>
                </a:cubicBezTo>
                <a:cubicBezTo>
                  <a:pt x="1983" y="0"/>
                  <a:pt x="64" y="2165"/>
                  <a:pt x="0" y="4863"/>
                </a:cubicBezTo>
                <a:cubicBezTo>
                  <a:pt x="3" y="4954"/>
                  <a:pt x="5" y="5046"/>
                  <a:pt x="8" y="5137"/>
                </a:cubicBezTo>
                <a:cubicBezTo>
                  <a:pt x="48" y="6725"/>
                  <a:pt x="725" y="8128"/>
                  <a:pt x="1759" y="9018"/>
                </a:cubicBezTo>
                <a:lnTo>
                  <a:pt x="1934" y="9193"/>
                </a:lnTo>
                <a:cubicBezTo>
                  <a:pt x="1905" y="9159"/>
                  <a:pt x="1876" y="9126"/>
                  <a:pt x="1847" y="9092"/>
                </a:cubicBezTo>
                <a:cubicBezTo>
                  <a:pt x="2556" y="9661"/>
                  <a:pt x="3415" y="10000"/>
                  <a:pt x="4339" y="10000"/>
                </a:cubicBezTo>
                <a:cubicBezTo>
                  <a:pt x="5987" y="10000"/>
                  <a:pt x="7428" y="8935"/>
                  <a:pt x="8160" y="7376"/>
                </a:cubicBezTo>
                <a:close/>
                <a:moveTo>
                  <a:pt x="2476" y="7808"/>
                </a:moveTo>
                <a:cubicBezTo>
                  <a:pt x="2150" y="8284"/>
                  <a:pt x="1520" y="8284"/>
                  <a:pt x="1195" y="7808"/>
                </a:cubicBezTo>
                <a:cubicBezTo>
                  <a:pt x="678" y="7037"/>
                  <a:pt x="367" y="6064"/>
                  <a:pt x="367" y="5009"/>
                </a:cubicBezTo>
                <a:cubicBezTo>
                  <a:pt x="367" y="3954"/>
                  <a:pt x="678" y="2981"/>
                  <a:pt x="1195" y="2211"/>
                </a:cubicBezTo>
                <a:cubicBezTo>
                  <a:pt x="1520" y="1734"/>
                  <a:pt x="2150" y="1734"/>
                  <a:pt x="2476" y="2211"/>
                </a:cubicBezTo>
                <a:cubicBezTo>
                  <a:pt x="2994" y="2981"/>
                  <a:pt x="3305" y="3954"/>
                  <a:pt x="3305" y="5009"/>
                </a:cubicBezTo>
                <a:cubicBezTo>
                  <a:pt x="3305" y="6064"/>
                  <a:pt x="3002" y="7028"/>
                  <a:pt x="2476" y="7808"/>
                </a:cubicBezTo>
                <a:close/>
              </a:path>
            </a:pathLst>
          </a:custGeom>
          <a:solidFill>
            <a:srgbClr val="A2B969"/>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91" name="Shape">
            <a:extLst>
              <a:ext uri="{FF2B5EF4-FFF2-40B4-BE49-F238E27FC236}">
                <a16:creationId xmlns:a16="http://schemas.microsoft.com/office/drawing/2014/main" id="{D3084E6A-704A-AB03-F8E0-0110E613B8C0}"/>
              </a:ext>
            </a:extLst>
          </p:cNvPr>
          <p:cNvSpPr/>
          <p:nvPr/>
        </p:nvSpPr>
        <p:spPr>
          <a:xfrm>
            <a:off x="5392568" y="3726742"/>
            <a:ext cx="977196" cy="977151"/>
          </a:xfrm>
          <a:custGeom>
            <a:avLst/>
            <a:gdLst>
              <a:gd name="connsiteX0" fmla="*/ 17824 w 21600"/>
              <a:gd name="connsiteY0" fmla="*/ 7665 h 21600"/>
              <a:gd name="connsiteX1" fmla="*/ 14049 w 21600"/>
              <a:gd name="connsiteY1" fmla="*/ 10635 h 21600"/>
              <a:gd name="connsiteX2" fmla="*/ 11496 w 21600"/>
              <a:gd name="connsiteY2" fmla="*/ 10635 h 21600"/>
              <a:gd name="connsiteX3" fmla="*/ 9650 w 21600"/>
              <a:gd name="connsiteY3" fmla="*/ 7273 h 21600"/>
              <a:gd name="connsiteX4" fmla="*/ 11454 w 21600"/>
              <a:gd name="connsiteY4" fmla="*/ 5557 h 21600"/>
              <a:gd name="connsiteX5" fmla="*/ 13806 w 21600"/>
              <a:gd name="connsiteY5" fmla="*/ 6236 h 21600"/>
              <a:gd name="connsiteX6" fmla="*/ 17582 w 21600"/>
              <a:gd name="connsiteY6" fmla="*/ 3118 h 21600"/>
              <a:gd name="connsiteX7" fmla="*/ 13806 w 21600"/>
              <a:gd name="connsiteY7" fmla="*/ 0 h 21600"/>
              <a:gd name="connsiteX8" fmla="*/ 10030 w 21600"/>
              <a:gd name="connsiteY8" fmla="*/ 3118 h 21600"/>
              <a:gd name="connsiteX9" fmla="*/ 9408 w 21600"/>
              <a:gd name="connsiteY9" fmla="*/ 7098 h 21600"/>
              <a:gd name="connsiteX10" fmla="*/ 5748 w 21600"/>
              <a:gd name="connsiteY10" fmla="*/ 6010 h 21600"/>
              <a:gd name="connsiteX11" fmla="*/ 0 w 21600"/>
              <a:gd name="connsiteY11" fmla="*/ 10756 h 21600"/>
              <a:gd name="connsiteX12" fmla="*/ 5748 w 21600"/>
              <a:gd name="connsiteY12" fmla="*/ 15503 h 21600"/>
              <a:gd name="connsiteX13" fmla="*/ 9049 w 21600"/>
              <a:gd name="connsiteY13" fmla="*/ 14641 h 21600"/>
              <a:gd name="connsiteX14" fmla="*/ 8933 w 21600"/>
              <a:gd name="connsiteY14" fmla="*/ 14737 h 21600"/>
              <a:gd name="connsiteX15" fmla="*/ 10990 w 21600"/>
              <a:gd name="connsiteY15" fmla="*/ 16400 h 21600"/>
              <a:gd name="connsiteX16" fmla="*/ 10020 w 21600"/>
              <a:gd name="connsiteY16" fmla="*/ 18482 h 21600"/>
              <a:gd name="connsiteX17" fmla="*/ 13795 w 21600"/>
              <a:gd name="connsiteY17" fmla="*/ 21600 h 21600"/>
              <a:gd name="connsiteX18" fmla="*/ 17571 w 21600"/>
              <a:gd name="connsiteY18" fmla="*/ 18482 h 21600"/>
              <a:gd name="connsiteX19" fmla="*/ 13795 w 21600"/>
              <a:gd name="connsiteY19" fmla="*/ 15364 h 21600"/>
              <a:gd name="connsiteX20" fmla="*/ 11211 w 21600"/>
              <a:gd name="connsiteY20" fmla="*/ 16209 h 21600"/>
              <a:gd name="connsiteX21" fmla="*/ 9176 w 21600"/>
              <a:gd name="connsiteY21" fmla="*/ 14563 h 21600"/>
              <a:gd name="connsiteX22" fmla="*/ 11496 w 21600"/>
              <a:gd name="connsiteY22" fmla="*/ 10878 h 21600"/>
              <a:gd name="connsiteX23" fmla="*/ 14048 w 21600"/>
              <a:gd name="connsiteY23" fmla="*/ 10878 h 21600"/>
              <a:gd name="connsiteX24" fmla="*/ 17824 w 21600"/>
              <a:gd name="connsiteY24" fmla="*/ 13883 h 21600"/>
              <a:gd name="connsiteX25" fmla="*/ 21600 w 21600"/>
              <a:gd name="connsiteY25" fmla="*/ 10765 h 21600"/>
              <a:gd name="connsiteX26" fmla="*/ 17824 w 21600"/>
              <a:gd name="connsiteY26" fmla="*/ 7665 h 21600"/>
              <a:gd name="connsiteX27" fmla="*/ 9893 w 21600"/>
              <a:gd name="connsiteY27" fmla="*/ 13413 h 21600"/>
              <a:gd name="connsiteX28" fmla="*/ 8195 w 21600"/>
              <a:gd name="connsiteY28" fmla="*/ 13413 h 21600"/>
              <a:gd name="connsiteX29" fmla="*/ 7098 w 21600"/>
              <a:gd name="connsiteY29" fmla="*/ 10756 h 21600"/>
              <a:gd name="connsiteX30" fmla="*/ 8195 w 21600"/>
              <a:gd name="connsiteY30" fmla="*/ 8100 h 21600"/>
              <a:gd name="connsiteX31" fmla="*/ 9893 w 21600"/>
              <a:gd name="connsiteY31" fmla="*/ 8100 h 21600"/>
              <a:gd name="connsiteX32" fmla="*/ 10990 w 21600"/>
              <a:gd name="connsiteY32" fmla="*/ 10756 h 21600"/>
              <a:gd name="connsiteX33" fmla="*/ 9893 w 21600"/>
              <a:gd name="connsiteY33" fmla="*/ 13413 h 21600"/>
              <a:gd name="connsiteX0" fmla="*/ 17824 w 21600"/>
              <a:gd name="connsiteY0" fmla="*/ 7665 h 21600"/>
              <a:gd name="connsiteX1" fmla="*/ 14049 w 21600"/>
              <a:gd name="connsiteY1" fmla="*/ 10635 h 21600"/>
              <a:gd name="connsiteX2" fmla="*/ 11496 w 21600"/>
              <a:gd name="connsiteY2" fmla="*/ 10635 h 21600"/>
              <a:gd name="connsiteX3" fmla="*/ 9650 w 21600"/>
              <a:gd name="connsiteY3" fmla="*/ 7273 h 21600"/>
              <a:gd name="connsiteX4" fmla="*/ 13806 w 21600"/>
              <a:gd name="connsiteY4" fmla="*/ 6236 h 21600"/>
              <a:gd name="connsiteX5" fmla="*/ 17582 w 21600"/>
              <a:gd name="connsiteY5" fmla="*/ 3118 h 21600"/>
              <a:gd name="connsiteX6" fmla="*/ 13806 w 21600"/>
              <a:gd name="connsiteY6" fmla="*/ 0 h 21600"/>
              <a:gd name="connsiteX7" fmla="*/ 10030 w 21600"/>
              <a:gd name="connsiteY7" fmla="*/ 3118 h 21600"/>
              <a:gd name="connsiteX8" fmla="*/ 9408 w 21600"/>
              <a:gd name="connsiteY8" fmla="*/ 7098 h 21600"/>
              <a:gd name="connsiteX9" fmla="*/ 5748 w 21600"/>
              <a:gd name="connsiteY9" fmla="*/ 6010 h 21600"/>
              <a:gd name="connsiteX10" fmla="*/ 0 w 21600"/>
              <a:gd name="connsiteY10" fmla="*/ 10756 h 21600"/>
              <a:gd name="connsiteX11" fmla="*/ 5748 w 21600"/>
              <a:gd name="connsiteY11" fmla="*/ 15503 h 21600"/>
              <a:gd name="connsiteX12" fmla="*/ 9049 w 21600"/>
              <a:gd name="connsiteY12" fmla="*/ 14641 h 21600"/>
              <a:gd name="connsiteX13" fmla="*/ 8933 w 21600"/>
              <a:gd name="connsiteY13" fmla="*/ 14737 h 21600"/>
              <a:gd name="connsiteX14" fmla="*/ 10990 w 21600"/>
              <a:gd name="connsiteY14" fmla="*/ 16400 h 21600"/>
              <a:gd name="connsiteX15" fmla="*/ 10020 w 21600"/>
              <a:gd name="connsiteY15" fmla="*/ 18482 h 21600"/>
              <a:gd name="connsiteX16" fmla="*/ 13795 w 21600"/>
              <a:gd name="connsiteY16" fmla="*/ 21600 h 21600"/>
              <a:gd name="connsiteX17" fmla="*/ 17571 w 21600"/>
              <a:gd name="connsiteY17" fmla="*/ 18482 h 21600"/>
              <a:gd name="connsiteX18" fmla="*/ 13795 w 21600"/>
              <a:gd name="connsiteY18" fmla="*/ 15364 h 21600"/>
              <a:gd name="connsiteX19" fmla="*/ 11211 w 21600"/>
              <a:gd name="connsiteY19" fmla="*/ 16209 h 21600"/>
              <a:gd name="connsiteX20" fmla="*/ 9176 w 21600"/>
              <a:gd name="connsiteY20" fmla="*/ 14563 h 21600"/>
              <a:gd name="connsiteX21" fmla="*/ 11496 w 21600"/>
              <a:gd name="connsiteY21" fmla="*/ 10878 h 21600"/>
              <a:gd name="connsiteX22" fmla="*/ 14048 w 21600"/>
              <a:gd name="connsiteY22" fmla="*/ 10878 h 21600"/>
              <a:gd name="connsiteX23" fmla="*/ 17824 w 21600"/>
              <a:gd name="connsiteY23" fmla="*/ 13883 h 21600"/>
              <a:gd name="connsiteX24" fmla="*/ 21600 w 21600"/>
              <a:gd name="connsiteY24" fmla="*/ 10765 h 21600"/>
              <a:gd name="connsiteX25" fmla="*/ 17824 w 21600"/>
              <a:gd name="connsiteY25" fmla="*/ 7665 h 21600"/>
              <a:gd name="connsiteX26" fmla="*/ 9893 w 21600"/>
              <a:gd name="connsiteY26" fmla="*/ 13413 h 21600"/>
              <a:gd name="connsiteX27" fmla="*/ 8195 w 21600"/>
              <a:gd name="connsiteY27" fmla="*/ 13413 h 21600"/>
              <a:gd name="connsiteX28" fmla="*/ 7098 w 21600"/>
              <a:gd name="connsiteY28" fmla="*/ 10756 h 21600"/>
              <a:gd name="connsiteX29" fmla="*/ 8195 w 21600"/>
              <a:gd name="connsiteY29" fmla="*/ 8100 h 21600"/>
              <a:gd name="connsiteX30" fmla="*/ 9893 w 21600"/>
              <a:gd name="connsiteY30" fmla="*/ 8100 h 21600"/>
              <a:gd name="connsiteX31" fmla="*/ 10990 w 21600"/>
              <a:gd name="connsiteY31" fmla="*/ 10756 h 21600"/>
              <a:gd name="connsiteX32" fmla="*/ 9893 w 21600"/>
              <a:gd name="connsiteY32" fmla="*/ 13413 h 21600"/>
              <a:gd name="connsiteX0" fmla="*/ 17824 w 21600"/>
              <a:gd name="connsiteY0" fmla="*/ 7792 h 21727"/>
              <a:gd name="connsiteX1" fmla="*/ 14049 w 21600"/>
              <a:gd name="connsiteY1" fmla="*/ 10762 h 21727"/>
              <a:gd name="connsiteX2" fmla="*/ 11496 w 21600"/>
              <a:gd name="connsiteY2" fmla="*/ 10762 h 21727"/>
              <a:gd name="connsiteX3" fmla="*/ 9650 w 21600"/>
              <a:gd name="connsiteY3" fmla="*/ 7400 h 21727"/>
              <a:gd name="connsiteX4" fmla="*/ 13806 w 21600"/>
              <a:gd name="connsiteY4" fmla="*/ 6363 h 21727"/>
              <a:gd name="connsiteX5" fmla="*/ 17582 w 21600"/>
              <a:gd name="connsiteY5" fmla="*/ 3245 h 21727"/>
              <a:gd name="connsiteX6" fmla="*/ 13806 w 21600"/>
              <a:gd name="connsiteY6" fmla="*/ 127 h 21727"/>
              <a:gd name="connsiteX7" fmla="*/ 9408 w 21600"/>
              <a:gd name="connsiteY7" fmla="*/ 7225 h 21727"/>
              <a:gd name="connsiteX8" fmla="*/ 5748 w 21600"/>
              <a:gd name="connsiteY8" fmla="*/ 6137 h 21727"/>
              <a:gd name="connsiteX9" fmla="*/ 0 w 21600"/>
              <a:gd name="connsiteY9" fmla="*/ 10883 h 21727"/>
              <a:gd name="connsiteX10" fmla="*/ 5748 w 21600"/>
              <a:gd name="connsiteY10" fmla="*/ 15630 h 21727"/>
              <a:gd name="connsiteX11" fmla="*/ 9049 w 21600"/>
              <a:gd name="connsiteY11" fmla="*/ 14768 h 21727"/>
              <a:gd name="connsiteX12" fmla="*/ 8933 w 21600"/>
              <a:gd name="connsiteY12" fmla="*/ 14864 h 21727"/>
              <a:gd name="connsiteX13" fmla="*/ 10990 w 21600"/>
              <a:gd name="connsiteY13" fmla="*/ 16527 h 21727"/>
              <a:gd name="connsiteX14" fmla="*/ 10020 w 21600"/>
              <a:gd name="connsiteY14" fmla="*/ 18609 h 21727"/>
              <a:gd name="connsiteX15" fmla="*/ 13795 w 21600"/>
              <a:gd name="connsiteY15" fmla="*/ 21727 h 21727"/>
              <a:gd name="connsiteX16" fmla="*/ 17571 w 21600"/>
              <a:gd name="connsiteY16" fmla="*/ 18609 h 21727"/>
              <a:gd name="connsiteX17" fmla="*/ 13795 w 21600"/>
              <a:gd name="connsiteY17" fmla="*/ 15491 h 21727"/>
              <a:gd name="connsiteX18" fmla="*/ 11211 w 21600"/>
              <a:gd name="connsiteY18" fmla="*/ 16336 h 21727"/>
              <a:gd name="connsiteX19" fmla="*/ 9176 w 21600"/>
              <a:gd name="connsiteY19" fmla="*/ 14690 h 21727"/>
              <a:gd name="connsiteX20" fmla="*/ 11496 w 21600"/>
              <a:gd name="connsiteY20" fmla="*/ 11005 h 21727"/>
              <a:gd name="connsiteX21" fmla="*/ 14048 w 21600"/>
              <a:gd name="connsiteY21" fmla="*/ 11005 h 21727"/>
              <a:gd name="connsiteX22" fmla="*/ 17824 w 21600"/>
              <a:gd name="connsiteY22" fmla="*/ 14010 h 21727"/>
              <a:gd name="connsiteX23" fmla="*/ 21600 w 21600"/>
              <a:gd name="connsiteY23" fmla="*/ 10892 h 21727"/>
              <a:gd name="connsiteX24" fmla="*/ 17824 w 21600"/>
              <a:gd name="connsiteY24" fmla="*/ 7792 h 21727"/>
              <a:gd name="connsiteX25" fmla="*/ 9893 w 21600"/>
              <a:gd name="connsiteY25" fmla="*/ 13540 h 21727"/>
              <a:gd name="connsiteX26" fmla="*/ 8195 w 21600"/>
              <a:gd name="connsiteY26" fmla="*/ 13540 h 21727"/>
              <a:gd name="connsiteX27" fmla="*/ 7098 w 21600"/>
              <a:gd name="connsiteY27" fmla="*/ 10883 h 21727"/>
              <a:gd name="connsiteX28" fmla="*/ 8195 w 21600"/>
              <a:gd name="connsiteY28" fmla="*/ 8227 h 21727"/>
              <a:gd name="connsiteX29" fmla="*/ 9893 w 21600"/>
              <a:gd name="connsiteY29" fmla="*/ 8227 h 21727"/>
              <a:gd name="connsiteX30" fmla="*/ 10990 w 21600"/>
              <a:gd name="connsiteY30" fmla="*/ 10883 h 21727"/>
              <a:gd name="connsiteX31" fmla="*/ 9893 w 21600"/>
              <a:gd name="connsiteY31" fmla="*/ 13540 h 21727"/>
              <a:gd name="connsiteX0" fmla="*/ 17824 w 21600"/>
              <a:gd name="connsiteY0" fmla="*/ 4552 h 18487"/>
              <a:gd name="connsiteX1" fmla="*/ 14049 w 21600"/>
              <a:gd name="connsiteY1" fmla="*/ 7522 h 18487"/>
              <a:gd name="connsiteX2" fmla="*/ 11496 w 21600"/>
              <a:gd name="connsiteY2" fmla="*/ 7522 h 18487"/>
              <a:gd name="connsiteX3" fmla="*/ 9650 w 21600"/>
              <a:gd name="connsiteY3" fmla="*/ 4160 h 18487"/>
              <a:gd name="connsiteX4" fmla="*/ 13806 w 21600"/>
              <a:gd name="connsiteY4" fmla="*/ 3123 h 18487"/>
              <a:gd name="connsiteX5" fmla="*/ 17582 w 21600"/>
              <a:gd name="connsiteY5" fmla="*/ 5 h 18487"/>
              <a:gd name="connsiteX6" fmla="*/ 9408 w 21600"/>
              <a:gd name="connsiteY6" fmla="*/ 3985 h 18487"/>
              <a:gd name="connsiteX7" fmla="*/ 5748 w 21600"/>
              <a:gd name="connsiteY7" fmla="*/ 2897 h 18487"/>
              <a:gd name="connsiteX8" fmla="*/ 0 w 21600"/>
              <a:gd name="connsiteY8" fmla="*/ 7643 h 18487"/>
              <a:gd name="connsiteX9" fmla="*/ 5748 w 21600"/>
              <a:gd name="connsiteY9" fmla="*/ 12390 h 18487"/>
              <a:gd name="connsiteX10" fmla="*/ 9049 w 21600"/>
              <a:gd name="connsiteY10" fmla="*/ 11528 h 18487"/>
              <a:gd name="connsiteX11" fmla="*/ 8933 w 21600"/>
              <a:gd name="connsiteY11" fmla="*/ 11624 h 18487"/>
              <a:gd name="connsiteX12" fmla="*/ 10990 w 21600"/>
              <a:gd name="connsiteY12" fmla="*/ 13287 h 18487"/>
              <a:gd name="connsiteX13" fmla="*/ 10020 w 21600"/>
              <a:gd name="connsiteY13" fmla="*/ 15369 h 18487"/>
              <a:gd name="connsiteX14" fmla="*/ 13795 w 21600"/>
              <a:gd name="connsiteY14" fmla="*/ 18487 h 18487"/>
              <a:gd name="connsiteX15" fmla="*/ 17571 w 21600"/>
              <a:gd name="connsiteY15" fmla="*/ 15369 h 18487"/>
              <a:gd name="connsiteX16" fmla="*/ 13795 w 21600"/>
              <a:gd name="connsiteY16" fmla="*/ 12251 h 18487"/>
              <a:gd name="connsiteX17" fmla="*/ 11211 w 21600"/>
              <a:gd name="connsiteY17" fmla="*/ 13096 h 18487"/>
              <a:gd name="connsiteX18" fmla="*/ 9176 w 21600"/>
              <a:gd name="connsiteY18" fmla="*/ 11450 h 18487"/>
              <a:gd name="connsiteX19" fmla="*/ 11496 w 21600"/>
              <a:gd name="connsiteY19" fmla="*/ 7765 h 18487"/>
              <a:gd name="connsiteX20" fmla="*/ 14048 w 21600"/>
              <a:gd name="connsiteY20" fmla="*/ 7765 h 18487"/>
              <a:gd name="connsiteX21" fmla="*/ 17824 w 21600"/>
              <a:gd name="connsiteY21" fmla="*/ 10770 h 18487"/>
              <a:gd name="connsiteX22" fmla="*/ 21600 w 21600"/>
              <a:gd name="connsiteY22" fmla="*/ 7652 h 18487"/>
              <a:gd name="connsiteX23" fmla="*/ 17824 w 21600"/>
              <a:gd name="connsiteY23" fmla="*/ 4552 h 18487"/>
              <a:gd name="connsiteX24" fmla="*/ 9893 w 21600"/>
              <a:gd name="connsiteY24" fmla="*/ 10300 h 18487"/>
              <a:gd name="connsiteX25" fmla="*/ 8195 w 21600"/>
              <a:gd name="connsiteY25" fmla="*/ 10300 h 18487"/>
              <a:gd name="connsiteX26" fmla="*/ 7098 w 21600"/>
              <a:gd name="connsiteY26" fmla="*/ 7643 h 18487"/>
              <a:gd name="connsiteX27" fmla="*/ 8195 w 21600"/>
              <a:gd name="connsiteY27" fmla="*/ 4987 h 18487"/>
              <a:gd name="connsiteX28" fmla="*/ 9893 w 21600"/>
              <a:gd name="connsiteY28" fmla="*/ 4987 h 18487"/>
              <a:gd name="connsiteX29" fmla="*/ 10990 w 21600"/>
              <a:gd name="connsiteY29" fmla="*/ 7643 h 18487"/>
              <a:gd name="connsiteX30" fmla="*/ 9893 w 21600"/>
              <a:gd name="connsiteY30" fmla="*/ 10300 h 18487"/>
              <a:gd name="connsiteX0" fmla="*/ 17824 w 21600"/>
              <a:gd name="connsiteY0" fmla="*/ 1655 h 15590"/>
              <a:gd name="connsiteX1" fmla="*/ 14049 w 21600"/>
              <a:gd name="connsiteY1" fmla="*/ 4625 h 15590"/>
              <a:gd name="connsiteX2" fmla="*/ 11496 w 21600"/>
              <a:gd name="connsiteY2" fmla="*/ 4625 h 15590"/>
              <a:gd name="connsiteX3" fmla="*/ 9650 w 21600"/>
              <a:gd name="connsiteY3" fmla="*/ 1263 h 15590"/>
              <a:gd name="connsiteX4" fmla="*/ 13806 w 21600"/>
              <a:gd name="connsiteY4" fmla="*/ 226 h 15590"/>
              <a:gd name="connsiteX5" fmla="*/ 9408 w 21600"/>
              <a:gd name="connsiteY5" fmla="*/ 1088 h 15590"/>
              <a:gd name="connsiteX6" fmla="*/ 5748 w 21600"/>
              <a:gd name="connsiteY6" fmla="*/ 0 h 15590"/>
              <a:gd name="connsiteX7" fmla="*/ 0 w 21600"/>
              <a:gd name="connsiteY7" fmla="*/ 4746 h 15590"/>
              <a:gd name="connsiteX8" fmla="*/ 5748 w 21600"/>
              <a:gd name="connsiteY8" fmla="*/ 9493 h 15590"/>
              <a:gd name="connsiteX9" fmla="*/ 9049 w 21600"/>
              <a:gd name="connsiteY9" fmla="*/ 8631 h 15590"/>
              <a:gd name="connsiteX10" fmla="*/ 8933 w 21600"/>
              <a:gd name="connsiteY10" fmla="*/ 8727 h 15590"/>
              <a:gd name="connsiteX11" fmla="*/ 10990 w 21600"/>
              <a:gd name="connsiteY11" fmla="*/ 10390 h 15590"/>
              <a:gd name="connsiteX12" fmla="*/ 10020 w 21600"/>
              <a:gd name="connsiteY12" fmla="*/ 12472 h 15590"/>
              <a:gd name="connsiteX13" fmla="*/ 13795 w 21600"/>
              <a:gd name="connsiteY13" fmla="*/ 15590 h 15590"/>
              <a:gd name="connsiteX14" fmla="*/ 17571 w 21600"/>
              <a:gd name="connsiteY14" fmla="*/ 12472 h 15590"/>
              <a:gd name="connsiteX15" fmla="*/ 13795 w 21600"/>
              <a:gd name="connsiteY15" fmla="*/ 9354 h 15590"/>
              <a:gd name="connsiteX16" fmla="*/ 11211 w 21600"/>
              <a:gd name="connsiteY16" fmla="*/ 10199 h 15590"/>
              <a:gd name="connsiteX17" fmla="*/ 9176 w 21600"/>
              <a:gd name="connsiteY17" fmla="*/ 8553 h 15590"/>
              <a:gd name="connsiteX18" fmla="*/ 11496 w 21600"/>
              <a:gd name="connsiteY18" fmla="*/ 4868 h 15590"/>
              <a:gd name="connsiteX19" fmla="*/ 14048 w 21600"/>
              <a:gd name="connsiteY19" fmla="*/ 4868 h 15590"/>
              <a:gd name="connsiteX20" fmla="*/ 17824 w 21600"/>
              <a:gd name="connsiteY20" fmla="*/ 7873 h 15590"/>
              <a:gd name="connsiteX21" fmla="*/ 21600 w 21600"/>
              <a:gd name="connsiteY21" fmla="*/ 4755 h 15590"/>
              <a:gd name="connsiteX22" fmla="*/ 17824 w 21600"/>
              <a:gd name="connsiteY22" fmla="*/ 1655 h 15590"/>
              <a:gd name="connsiteX23" fmla="*/ 9893 w 21600"/>
              <a:gd name="connsiteY23" fmla="*/ 7403 h 15590"/>
              <a:gd name="connsiteX24" fmla="*/ 8195 w 21600"/>
              <a:gd name="connsiteY24" fmla="*/ 7403 h 15590"/>
              <a:gd name="connsiteX25" fmla="*/ 7098 w 21600"/>
              <a:gd name="connsiteY25" fmla="*/ 4746 h 15590"/>
              <a:gd name="connsiteX26" fmla="*/ 8195 w 21600"/>
              <a:gd name="connsiteY26" fmla="*/ 2090 h 15590"/>
              <a:gd name="connsiteX27" fmla="*/ 9893 w 21600"/>
              <a:gd name="connsiteY27" fmla="*/ 2090 h 15590"/>
              <a:gd name="connsiteX28" fmla="*/ 10990 w 21600"/>
              <a:gd name="connsiteY28" fmla="*/ 4746 h 15590"/>
              <a:gd name="connsiteX29" fmla="*/ 9893 w 21600"/>
              <a:gd name="connsiteY29" fmla="*/ 7403 h 15590"/>
              <a:gd name="connsiteX0" fmla="*/ 17824 w 21600"/>
              <a:gd name="connsiteY0" fmla="*/ 1655 h 15590"/>
              <a:gd name="connsiteX1" fmla="*/ 14049 w 21600"/>
              <a:gd name="connsiteY1" fmla="*/ 4625 h 15590"/>
              <a:gd name="connsiteX2" fmla="*/ 11496 w 21600"/>
              <a:gd name="connsiteY2" fmla="*/ 4625 h 15590"/>
              <a:gd name="connsiteX3" fmla="*/ 9650 w 21600"/>
              <a:gd name="connsiteY3" fmla="*/ 1263 h 15590"/>
              <a:gd name="connsiteX4" fmla="*/ 9408 w 21600"/>
              <a:gd name="connsiteY4" fmla="*/ 1088 h 15590"/>
              <a:gd name="connsiteX5" fmla="*/ 5748 w 21600"/>
              <a:gd name="connsiteY5" fmla="*/ 0 h 15590"/>
              <a:gd name="connsiteX6" fmla="*/ 0 w 21600"/>
              <a:gd name="connsiteY6" fmla="*/ 4746 h 15590"/>
              <a:gd name="connsiteX7" fmla="*/ 5748 w 21600"/>
              <a:gd name="connsiteY7" fmla="*/ 9493 h 15590"/>
              <a:gd name="connsiteX8" fmla="*/ 9049 w 21600"/>
              <a:gd name="connsiteY8" fmla="*/ 8631 h 15590"/>
              <a:gd name="connsiteX9" fmla="*/ 8933 w 21600"/>
              <a:gd name="connsiteY9" fmla="*/ 8727 h 15590"/>
              <a:gd name="connsiteX10" fmla="*/ 10990 w 21600"/>
              <a:gd name="connsiteY10" fmla="*/ 10390 h 15590"/>
              <a:gd name="connsiteX11" fmla="*/ 10020 w 21600"/>
              <a:gd name="connsiteY11" fmla="*/ 12472 h 15590"/>
              <a:gd name="connsiteX12" fmla="*/ 13795 w 21600"/>
              <a:gd name="connsiteY12" fmla="*/ 15590 h 15590"/>
              <a:gd name="connsiteX13" fmla="*/ 17571 w 21600"/>
              <a:gd name="connsiteY13" fmla="*/ 12472 h 15590"/>
              <a:gd name="connsiteX14" fmla="*/ 13795 w 21600"/>
              <a:gd name="connsiteY14" fmla="*/ 9354 h 15590"/>
              <a:gd name="connsiteX15" fmla="*/ 11211 w 21600"/>
              <a:gd name="connsiteY15" fmla="*/ 10199 h 15590"/>
              <a:gd name="connsiteX16" fmla="*/ 9176 w 21600"/>
              <a:gd name="connsiteY16" fmla="*/ 8553 h 15590"/>
              <a:gd name="connsiteX17" fmla="*/ 11496 w 21600"/>
              <a:gd name="connsiteY17" fmla="*/ 4868 h 15590"/>
              <a:gd name="connsiteX18" fmla="*/ 14048 w 21600"/>
              <a:gd name="connsiteY18" fmla="*/ 4868 h 15590"/>
              <a:gd name="connsiteX19" fmla="*/ 17824 w 21600"/>
              <a:gd name="connsiteY19" fmla="*/ 7873 h 15590"/>
              <a:gd name="connsiteX20" fmla="*/ 21600 w 21600"/>
              <a:gd name="connsiteY20" fmla="*/ 4755 h 15590"/>
              <a:gd name="connsiteX21" fmla="*/ 17824 w 21600"/>
              <a:gd name="connsiteY21" fmla="*/ 1655 h 15590"/>
              <a:gd name="connsiteX22" fmla="*/ 9893 w 21600"/>
              <a:gd name="connsiteY22" fmla="*/ 7403 h 15590"/>
              <a:gd name="connsiteX23" fmla="*/ 8195 w 21600"/>
              <a:gd name="connsiteY23" fmla="*/ 7403 h 15590"/>
              <a:gd name="connsiteX24" fmla="*/ 7098 w 21600"/>
              <a:gd name="connsiteY24" fmla="*/ 4746 h 15590"/>
              <a:gd name="connsiteX25" fmla="*/ 8195 w 21600"/>
              <a:gd name="connsiteY25" fmla="*/ 2090 h 15590"/>
              <a:gd name="connsiteX26" fmla="*/ 9893 w 21600"/>
              <a:gd name="connsiteY26" fmla="*/ 2090 h 15590"/>
              <a:gd name="connsiteX27" fmla="*/ 10990 w 21600"/>
              <a:gd name="connsiteY27" fmla="*/ 4746 h 15590"/>
              <a:gd name="connsiteX28" fmla="*/ 9893 w 21600"/>
              <a:gd name="connsiteY28" fmla="*/ 7403 h 15590"/>
              <a:gd name="connsiteX0" fmla="*/ 21600 w 21704"/>
              <a:gd name="connsiteY0" fmla="*/ 4755 h 15590"/>
              <a:gd name="connsiteX1" fmla="*/ 14049 w 21704"/>
              <a:gd name="connsiteY1" fmla="*/ 4625 h 15590"/>
              <a:gd name="connsiteX2" fmla="*/ 11496 w 21704"/>
              <a:gd name="connsiteY2" fmla="*/ 4625 h 15590"/>
              <a:gd name="connsiteX3" fmla="*/ 9650 w 21704"/>
              <a:gd name="connsiteY3" fmla="*/ 1263 h 15590"/>
              <a:gd name="connsiteX4" fmla="*/ 9408 w 21704"/>
              <a:gd name="connsiteY4" fmla="*/ 1088 h 15590"/>
              <a:gd name="connsiteX5" fmla="*/ 5748 w 21704"/>
              <a:gd name="connsiteY5" fmla="*/ 0 h 15590"/>
              <a:gd name="connsiteX6" fmla="*/ 0 w 21704"/>
              <a:gd name="connsiteY6" fmla="*/ 4746 h 15590"/>
              <a:gd name="connsiteX7" fmla="*/ 5748 w 21704"/>
              <a:gd name="connsiteY7" fmla="*/ 9493 h 15590"/>
              <a:gd name="connsiteX8" fmla="*/ 9049 w 21704"/>
              <a:gd name="connsiteY8" fmla="*/ 8631 h 15590"/>
              <a:gd name="connsiteX9" fmla="*/ 8933 w 21704"/>
              <a:gd name="connsiteY9" fmla="*/ 8727 h 15590"/>
              <a:gd name="connsiteX10" fmla="*/ 10990 w 21704"/>
              <a:gd name="connsiteY10" fmla="*/ 10390 h 15590"/>
              <a:gd name="connsiteX11" fmla="*/ 10020 w 21704"/>
              <a:gd name="connsiteY11" fmla="*/ 12472 h 15590"/>
              <a:gd name="connsiteX12" fmla="*/ 13795 w 21704"/>
              <a:gd name="connsiteY12" fmla="*/ 15590 h 15590"/>
              <a:gd name="connsiteX13" fmla="*/ 17571 w 21704"/>
              <a:gd name="connsiteY13" fmla="*/ 12472 h 15590"/>
              <a:gd name="connsiteX14" fmla="*/ 13795 w 21704"/>
              <a:gd name="connsiteY14" fmla="*/ 9354 h 15590"/>
              <a:gd name="connsiteX15" fmla="*/ 11211 w 21704"/>
              <a:gd name="connsiteY15" fmla="*/ 10199 h 15590"/>
              <a:gd name="connsiteX16" fmla="*/ 9176 w 21704"/>
              <a:gd name="connsiteY16" fmla="*/ 8553 h 15590"/>
              <a:gd name="connsiteX17" fmla="*/ 11496 w 21704"/>
              <a:gd name="connsiteY17" fmla="*/ 4868 h 15590"/>
              <a:gd name="connsiteX18" fmla="*/ 14048 w 21704"/>
              <a:gd name="connsiteY18" fmla="*/ 4868 h 15590"/>
              <a:gd name="connsiteX19" fmla="*/ 17824 w 21704"/>
              <a:gd name="connsiteY19" fmla="*/ 7873 h 15590"/>
              <a:gd name="connsiteX20" fmla="*/ 21600 w 21704"/>
              <a:gd name="connsiteY20" fmla="*/ 4755 h 15590"/>
              <a:gd name="connsiteX21" fmla="*/ 9893 w 21704"/>
              <a:gd name="connsiteY21" fmla="*/ 7403 h 15590"/>
              <a:gd name="connsiteX22" fmla="*/ 8195 w 21704"/>
              <a:gd name="connsiteY22" fmla="*/ 7403 h 15590"/>
              <a:gd name="connsiteX23" fmla="*/ 7098 w 21704"/>
              <a:gd name="connsiteY23" fmla="*/ 4746 h 15590"/>
              <a:gd name="connsiteX24" fmla="*/ 8195 w 21704"/>
              <a:gd name="connsiteY24" fmla="*/ 2090 h 15590"/>
              <a:gd name="connsiteX25" fmla="*/ 9893 w 21704"/>
              <a:gd name="connsiteY25" fmla="*/ 2090 h 15590"/>
              <a:gd name="connsiteX26" fmla="*/ 10990 w 21704"/>
              <a:gd name="connsiteY26" fmla="*/ 4746 h 15590"/>
              <a:gd name="connsiteX27" fmla="*/ 9893 w 21704"/>
              <a:gd name="connsiteY27" fmla="*/ 7403 h 15590"/>
              <a:gd name="connsiteX0" fmla="*/ 17824 w 17824"/>
              <a:gd name="connsiteY0" fmla="*/ 7873 h 15590"/>
              <a:gd name="connsiteX1" fmla="*/ 14049 w 17824"/>
              <a:gd name="connsiteY1" fmla="*/ 4625 h 15590"/>
              <a:gd name="connsiteX2" fmla="*/ 11496 w 17824"/>
              <a:gd name="connsiteY2" fmla="*/ 4625 h 15590"/>
              <a:gd name="connsiteX3" fmla="*/ 9650 w 17824"/>
              <a:gd name="connsiteY3" fmla="*/ 1263 h 15590"/>
              <a:gd name="connsiteX4" fmla="*/ 9408 w 17824"/>
              <a:gd name="connsiteY4" fmla="*/ 1088 h 15590"/>
              <a:gd name="connsiteX5" fmla="*/ 5748 w 17824"/>
              <a:gd name="connsiteY5" fmla="*/ 0 h 15590"/>
              <a:gd name="connsiteX6" fmla="*/ 0 w 17824"/>
              <a:gd name="connsiteY6" fmla="*/ 4746 h 15590"/>
              <a:gd name="connsiteX7" fmla="*/ 5748 w 17824"/>
              <a:gd name="connsiteY7" fmla="*/ 9493 h 15590"/>
              <a:gd name="connsiteX8" fmla="*/ 9049 w 17824"/>
              <a:gd name="connsiteY8" fmla="*/ 8631 h 15590"/>
              <a:gd name="connsiteX9" fmla="*/ 8933 w 17824"/>
              <a:gd name="connsiteY9" fmla="*/ 8727 h 15590"/>
              <a:gd name="connsiteX10" fmla="*/ 10990 w 17824"/>
              <a:gd name="connsiteY10" fmla="*/ 10390 h 15590"/>
              <a:gd name="connsiteX11" fmla="*/ 10020 w 17824"/>
              <a:gd name="connsiteY11" fmla="*/ 12472 h 15590"/>
              <a:gd name="connsiteX12" fmla="*/ 13795 w 17824"/>
              <a:gd name="connsiteY12" fmla="*/ 15590 h 15590"/>
              <a:gd name="connsiteX13" fmla="*/ 17571 w 17824"/>
              <a:gd name="connsiteY13" fmla="*/ 12472 h 15590"/>
              <a:gd name="connsiteX14" fmla="*/ 13795 w 17824"/>
              <a:gd name="connsiteY14" fmla="*/ 9354 h 15590"/>
              <a:gd name="connsiteX15" fmla="*/ 11211 w 17824"/>
              <a:gd name="connsiteY15" fmla="*/ 10199 h 15590"/>
              <a:gd name="connsiteX16" fmla="*/ 9176 w 17824"/>
              <a:gd name="connsiteY16" fmla="*/ 8553 h 15590"/>
              <a:gd name="connsiteX17" fmla="*/ 11496 w 17824"/>
              <a:gd name="connsiteY17" fmla="*/ 4868 h 15590"/>
              <a:gd name="connsiteX18" fmla="*/ 14048 w 17824"/>
              <a:gd name="connsiteY18" fmla="*/ 4868 h 15590"/>
              <a:gd name="connsiteX19" fmla="*/ 17824 w 17824"/>
              <a:gd name="connsiteY19" fmla="*/ 7873 h 15590"/>
              <a:gd name="connsiteX20" fmla="*/ 9893 w 17824"/>
              <a:gd name="connsiteY20" fmla="*/ 7403 h 15590"/>
              <a:gd name="connsiteX21" fmla="*/ 8195 w 17824"/>
              <a:gd name="connsiteY21" fmla="*/ 7403 h 15590"/>
              <a:gd name="connsiteX22" fmla="*/ 7098 w 17824"/>
              <a:gd name="connsiteY22" fmla="*/ 4746 h 15590"/>
              <a:gd name="connsiteX23" fmla="*/ 8195 w 17824"/>
              <a:gd name="connsiteY23" fmla="*/ 2090 h 15590"/>
              <a:gd name="connsiteX24" fmla="*/ 9893 w 17824"/>
              <a:gd name="connsiteY24" fmla="*/ 2090 h 15590"/>
              <a:gd name="connsiteX25" fmla="*/ 10990 w 17824"/>
              <a:gd name="connsiteY25" fmla="*/ 4746 h 15590"/>
              <a:gd name="connsiteX26" fmla="*/ 9893 w 17824"/>
              <a:gd name="connsiteY26" fmla="*/ 7403 h 15590"/>
              <a:gd name="connsiteX0" fmla="*/ 14048 w 17571"/>
              <a:gd name="connsiteY0" fmla="*/ 4868 h 15590"/>
              <a:gd name="connsiteX1" fmla="*/ 14049 w 17571"/>
              <a:gd name="connsiteY1" fmla="*/ 4625 h 15590"/>
              <a:gd name="connsiteX2" fmla="*/ 11496 w 17571"/>
              <a:gd name="connsiteY2" fmla="*/ 4625 h 15590"/>
              <a:gd name="connsiteX3" fmla="*/ 9650 w 17571"/>
              <a:gd name="connsiteY3" fmla="*/ 1263 h 15590"/>
              <a:gd name="connsiteX4" fmla="*/ 9408 w 17571"/>
              <a:gd name="connsiteY4" fmla="*/ 1088 h 15590"/>
              <a:gd name="connsiteX5" fmla="*/ 5748 w 17571"/>
              <a:gd name="connsiteY5" fmla="*/ 0 h 15590"/>
              <a:gd name="connsiteX6" fmla="*/ 0 w 17571"/>
              <a:gd name="connsiteY6" fmla="*/ 4746 h 15590"/>
              <a:gd name="connsiteX7" fmla="*/ 5748 w 17571"/>
              <a:gd name="connsiteY7" fmla="*/ 9493 h 15590"/>
              <a:gd name="connsiteX8" fmla="*/ 9049 w 17571"/>
              <a:gd name="connsiteY8" fmla="*/ 8631 h 15590"/>
              <a:gd name="connsiteX9" fmla="*/ 8933 w 17571"/>
              <a:gd name="connsiteY9" fmla="*/ 8727 h 15590"/>
              <a:gd name="connsiteX10" fmla="*/ 10990 w 17571"/>
              <a:gd name="connsiteY10" fmla="*/ 10390 h 15590"/>
              <a:gd name="connsiteX11" fmla="*/ 10020 w 17571"/>
              <a:gd name="connsiteY11" fmla="*/ 12472 h 15590"/>
              <a:gd name="connsiteX12" fmla="*/ 13795 w 17571"/>
              <a:gd name="connsiteY12" fmla="*/ 15590 h 15590"/>
              <a:gd name="connsiteX13" fmla="*/ 17571 w 17571"/>
              <a:gd name="connsiteY13" fmla="*/ 12472 h 15590"/>
              <a:gd name="connsiteX14" fmla="*/ 13795 w 17571"/>
              <a:gd name="connsiteY14" fmla="*/ 9354 h 15590"/>
              <a:gd name="connsiteX15" fmla="*/ 11211 w 17571"/>
              <a:gd name="connsiteY15" fmla="*/ 10199 h 15590"/>
              <a:gd name="connsiteX16" fmla="*/ 9176 w 17571"/>
              <a:gd name="connsiteY16" fmla="*/ 8553 h 15590"/>
              <a:gd name="connsiteX17" fmla="*/ 11496 w 17571"/>
              <a:gd name="connsiteY17" fmla="*/ 4868 h 15590"/>
              <a:gd name="connsiteX18" fmla="*/ 14048 w 17571"/>
              <a:gd name="connsiteY18" fmla="*/ 4868 h 15590"/>
              <a:gd name="connsiteX19" fmla="*/ 9893 w 17571"/>
              <a:gd name="connsiteY19" fmla="*/ 7403 h 15590"/>
              <a:gd name="connsiteX20" fmla="*/ 8195 w 17571"/>
              <a:gd name="connsiteY20" fmla="*/ 7403 h 15590"/>
              <a:gd name="connsiteX21" fmla="*/ 7098 w 17571"/>
              <a:gd name="connsiteY21" fmla="*/ 4746 h 15590"/>
              <a:gd name="connsiteX22" fmla="*/ 8195 w 17571"/>
              <a:gd name="connsiteY22" fmla="*/ 2090 h 15590"/>
              <a:gd name="connsiteX23" fmla="*/ 9893 w 17571"/>
              <a:gd name="connsiteY23" fmla="*/ 2090 h 15590"/>
              <a:gd name="connsiteX24" fmla="*/ 10990 w 17571"/>
              <a:gd name="connsiteY24" fmla="*/ 4746 h 15590"/>
              <a:gd name="connsiteX25" fmla="*/ 9893 w 17571"/>
              <a:gd name="connsiteY25" fmla="*/ 7403 h 15590"/>
              <a:gd name="connsiteX0" fmla="*/ 11496 w 17571"/>
              <a:gd name="connsiteY0" fmla="*/ 4868 h 15590"/>
              <a:gd name="connsiteX1" fmla="*/ 14049 w 17571"/>
              <a:gd name="connsiteY1" fmla="*/ 4625 h 15590"/>
              <a:gd name="connsiteX2" fmla="*/ 11496 w 17571"/>
              <a:gd name="connsiteY2" fmla="*/ 4625 h 15590"/>
              <a:gd name="connsiteX3" fmla="*/ 9650 w 17571"/>
              <a:gd name="connsiteY3" fmla="*/ 1263 h 15590"/>
              <a:gd name="connsiteX4" fmla="*/ 9408 w 17571"/>
              <a:gd name="connsiteY4" fmla="*/ 1088 h 15590"/>
              <a:gd name="connsiteX5" fmla="*/ 5748 w 17571"/>
              <a:gd name="connsiteY5" fmla="*/ 0 h 15590"/>
              <a:gd name="connsiteX6" fmla="*/ 0 w 17571"/>
              <a:gd name="connsiteY6" fmla="*/ 4746 h 15590"/>
              <a:gd name="connsiteX7" fmla="*/ 5748 w 17571"/>
              <a:gd name="connsiteY7" fmla="*/ 9493 h 15590"/>
              <a:gd name="connsiteX8" fmla="*/ 9049 w 17571"/>
              <a:gd name="connsiteY8" fmla="*/ 8631 h 15590"/>
              <a:gd name="connsiteX9" fmla="*/ 8933 w 17571"/>
              <a:gd name="connsiteY9" fmla="*/ 8727 h 15590"/>
              <a:gd name="connsiteX10" fmla="*/ 10990 w 17571"/>
              <a:gd name="connsiteY10" fmla="*/ 10390 h 15590"/>
              <a:gd name="connsiteX11" fmla="*/ 10020 w 17571"/>
              <a:gd name="connsiteY11" fmla="*/ 12472 h 15590"/>
              <a:gd name="connsiteX12" fmla="*/ 13795 w 17571"/>
              <a:gd name="connsiteY12" fmla="*/ 15590 h 15590"/>
              <a:gd name="connsiteX13" fmla="*/ 17571 w 17571"/>
              <a:gd name="connsiteY13" fmla="*/ 12472 h 15590"/>
              <a:gd name="connsiteX14" fmla="*/ 13795 w 17571"/>
              <a:gd name="connsiteY14" fmla="*/ 9354 h 15590"/>
              <a:gd name="connsiteX15" fmla="*/ 11211 w 17571"/>
              <a:gd name="connsiteY15" fmla="*/ 10199 h 15590"/>
              <a:gd name="connsiteX16" fmla="*/ 9176 w 17571"/>
              <a:gd name="connsiteY16" fmla="*/ 8553 h 15590"/>
              <a:gd name="connsiteX17" fmla="*/ 11496 w 17571"/>
              <a:gd name="connsiteY17" fmla="*/ 4868 h 15590"/>
              <a:gd name="connsiteX18" fmla="*/ 9893 w 17571"/>
              <a:gd name="connsiteY18" fmla="*/ 7403 h 15590"/>
              <a:gd name="connsiteX19" fmla="*/ 8195 w 17571"/>
              <a:gd name="connsiteY19" fmla="*/ 7403 h 15590"/>
              <a:gd name="connsiteX20" fmla="*/ 7098 w 17571"/>
              <a:gd name="connsiteY20" fmla="*/ 4746 h 15590"/>
              <a:gd name="connsiteX21" fmla="*/ 8195 w 17571"/>
              <a:gd name="connsiteY21" fmla="*/ 2090 h 15590"/>
              <a:gd name="connsiteX22" fmla="*/ 9893 w 17571"/>
              <a:gd name="connsiteY22" fmla="*/ 2090 h 15590"/>
              <a:gd name="connsiteX23" fmla="*/ 10990 w 17571"/>
              <a:gd name="connsiteY23" fmla="*/ 4746 h 15590"/>
              <a:gd name="connsiteX24" fmla="*/ 9893 w 17571"/>
              <a:gd name="connsiteY24" fmla="*/ 7403 h 15590"/>
              <a:gd name="connsiteX0" fmla="*/ 11496 w 17571"/>
              <a:gd name="connsiteY0" fmla="*/ 4868 h 15590"/>
              <a:gd name="connsiteX1" fmla="*/ 11496 w 17571"/>
              <a:gd name="connsiteY1" fmla="*/ 4625 h 15590"/>
              <a:gd name="connsiteX2" fmla="*/ 9650 w 17571"/>
              <a:gd name="connsiteY2" fmla="*/ 1263 h 15590"/>
              <a:gd name="connsiteX3" fmla="*/ 9408 w 17571"/>
              <a:gd name="connsiteY3" fmla="*/ 1088 h 15590"/>
              <a:gd name="connsiteX4" fmla="*/ 5748 w 17571"/>
              <a:gd name="connsiteY4" fmla="*/ 0 h 15590"/>
              <a:gd name="connsiteX5" fmla="*/ 0 w 17571"/>
              <a:gd name="connsiteY5" fmla="*/ 4746 h 15590"/>
              <a:gd name="connsiteX6" fmla="*/ 5748 w 17571"/>
              <a:gd name="connsiteY6" fmla="*/ 9493 h 15590"/>
              <a:gd name="connsiteX7" fmla="*/ 9049 w 17571"/>
              <a:gd name="connsiteY7" fmla="*/ 8631 h 15590"/>
              <a:gd name="connsiteX8" fmla="*/ 8933 w 17571"/>
              <a:gd name="connsiteY8" fmla="*/ 8727 h 15590"/>
              <a:gd name="connsiteX9" fmla="*/ 10990 w 17571"/>
              <a:gd name="connsiteY9" fmla="*/ 10390 h 15590"/>
              <a:gd name="connsiteX10" fmla="*/ 10020 w 17571"/>
              <a:gd name="connsiteY10" fmla="*/ 12472 h 15590"/>
              <a:gd name="connsiteX11" fmla="*/ 13795 w 17571"/>
              <a:gd name="connsiteY11" fmla="*/ 15590 h 15590"/>
              <a:gd name="connsiteX12" fmla="*/ 17571 w 17571"/>
              <a:gd name="connsiteY12" fmla="*/ 12472 h 15590"/>
              <a:gd name="connsiteX13" fmla="*/ 13795 w 17571"/>
              <a:gd name="connsiteY13" fmla="*/ 9354 h 15590"/>
              <a:gd name="connsiteX14" fmla="*/ 11211 w 17571"/>
              <a:gd name="connsiteY14" fmla="*/ 10199 h 15590"/>
              <a:gd name="connsiteX15" fmla="*/ 9176 w 17571"/>
              <a:gd name="connsiteY15" fmla="*/ 8553 h 15590"/>
              <a:gd name="connsiteX16" fmla="*/ 11496 w 17571"/>
              <a:gd name="connsiteY16" fmla="*/ 4868 h 15590"/>
              <a:gd name="connsiteX17" fmla="*/ 9893 w 17571"/>
              <a:gd name="connsiteY17" fmla="*/ 7403 h 15590"/>
              <a:gd name="connsiteX18" fmla="*/ 8195 w 17571"/>
              <a:gd name="connsiteY18" fmla="*/ 7403 h 15590"/>
              <a:gd name="connsiteX19" fmla="*/ 7098 w 17571"/>
              <a:gd name="connsiteY19" fmla="*/ 4746 h 15590"/>
              <a:gd name="connsiteX20" fmla="*/ 8195 w 17571"/>
              <a:gd name="connsiteY20" fmla="*/ 2090 h 15590"/>
              <a:gd name="connsiteX21" fmla="*/ 9893 w 17571"/>
              <a:gd name="connsiteY21" fmla="*/ 2090 h 15590"/>
              <a:gd name="connsiteX22" fmla="*/ 10990 w 17571"/>
              <a:gd name="connsiteY22" fmla="*/ 4746 h 15590"/>
              <a:gd name="connsiteX23" fmla="*/ 9893 w 17571"/>
              <a:gd name="connsiteY23" fmla="*/ 7403 h 15590"/>
              <a:gd name="connsiteX0" fmla="*/ 11496 w 17627"/>
              <a:gd name="connsiteY0" fmla="*/ 4868 h 15590"/>
              <a:gd name="connsiteX1" fmla="*/ 11496 w 17627"/>
              <a:gd name="connsiteY1" fmla="*/ 4625 h 15590"/>
              <a:gd name="connsiteX2" fmla="*/ 9650 w 17627"/>
              <a:gd name="connsiteY2" fmla="*/ 1263 h 15590"/>
              <a:gd name="connsiteX3" fmla="*/ 9408 w 17627"/>
              <a:gd name="connsiteY3" fmla="*/ 1088 h 15590"/>
              <a:gd name="connsiteX4" fmla="*/ 5748 w 17627"/>
              <a:gd name="connsiteY4" fmla="*/ 0 h 15590"/>
              <a:gd name="connsiteX5" fmla="*/ 0 w 17627"/>
              <a:gd name="connsiteY5" fmla="*/ 4746 h 15590"/>
              <a:gd name="connsiteX6" fmla="*/ 5748 w 17627"/>
              <a:gd name="connsiteY6" fmla="*/ 9493 h 15590"/>
              <a:gd name="connsiteX7" fmla="*/ 9049 w 17627"/>
              <a:gd name="connsiteY7" fmla="*/ 8631 h 15590"/>
              <a:gd name="connsiteX8" fmla="*/ 8933 w 17627"/>
              <a:gd name="connsiteY8" fmla="*/ 8727 h 15590"/>
              <a:gd name="connsiteX9" fmla="*/ 10990 w 17627"/>
              <a:gd name="connsiteY9" fmla="*/ 10390 h 15590"/>
              <a:gd name="connsiteX10" fmla="*/ 10020 w 17627"/>
              <a:gd name="connsiteY10" fmla="*/ 12472 h 15590"/>
              <a:gd name="connsiteX11" fmla="*/ 13795 w 17627"/>
              <a:gd name="connsiteY11" fmla="*/ 15590 h 15590"/>
              <a:gd name="connsiteX12" fmla="*/ 17571 w 17627"/>
              <a:gd name="connsiteY12" fmla="*/ 12472 h 15590"/>
              <a:gd name="connsiteX13" fmla="*/ 11211 w 17627"/>
              <a:gd name="connsiteY13" fmla="*/ 10199 h 15590"/>
              <a:gd name="connsiteX14" fmla="*/ 9176 w 17627"/>
              <a:gd name="connsiteY14" fmla="*/ 8553 h 15590"/>
              <a:gd name="connsiteX15" fmla="*/ 11496 w 17627"/>
              <a:gd name="connsiteY15" fmla="*/ 4868 h 15590"/>
              <a:gd name="connsiteX16" fmla="*/ 9893 w 17627"/>
              <a:gd name="connsiteY16" fmla="*/ 7403 h 15590"/>
              <a:gd name="connsiteX17" fmla="*/ 8195 w 17627"/>
              <a:gd name="connsiteY17" fmla="*/ 7403 h 15590"/>
              <a:gd name="connsiteX18" fmla="*/ 7098 w 17627"/>
              <a:gd name="connsiteY18" fmla="*/ 4746 h 15590"/>
              <a:gd name="connsiteX19" fmla="*/ 8195 w 17627"/>
              <a:gd name="connsiteY19" fmla="*/ 2090 h 15590"/>
              <a:gd name="connsiteX20" fmla="*/ 9893 w 17627"/>
              <a:gd name="connsiteY20" fmla="*/ 2090 h 15590"/>
              <a:gd name="connsiteX21" fmla="*/ 10990 w 17627"/>
              <a:gd name="connsiteY21" fmla="*/ 4746 h 15590"/>
              <a:gd name="connsiteX22" fmla="*/ 9893 w 17627"/>
              <a:gd name="connsiteY22" fmla="*/ 7403 h 15590"/>
              <a:gd name="connsiteX0" fmla="*/ 11496 w 13808"/>
              <a:gd name="connsiteY0" fmla="*/ 4868 h 15641"/>
              <a:gd name="connsiteX1" fmla="*/ 11496 w 13808"/>
              <a:gd name="connsiteY1" fmla="*/ 4625 h 15641"/>
              <a:gd name="connsiteX2" fmla="*/ 9650 w 13808"/>
              <a:gd name="connsiteY2" fmla="*/ 1263 h 15641"/>
              <a:gd name="connsiteX3" fmla="*/ 9408 w 13808"/>
              <a:gd name="connsiteY3" fmla="*/ 1088 h 15641"/>
              <a:gd name="connsiteX4" fmla="*/ 5748 w 13808"/>
              <a:gd name="connsiteY4" fmla="*/ 0 h 15641"/>
              <a:gd name="connsiteX5" fmla="*/ 0 w 13808"/>
              <a:gd name="connsiteY5" fmla="*/ 4746 h 15641"/>
              <a:gd name="connsiteX6" fmla="*/ 5748 w 13808"/>
              <a:gd name="connsiteY6" fmla="*/ 9493 h 15641"/>
              <a:gd name="connsiteX7" fmla="*/ 9049 w 13808"/>
              <a:gd name="connsiteY7" fmla="*/ 8631 h 15641"/>
              <a:gd name="connsiteX8" fmla="*/ 8933 w 13808"/>
              <a:gd name="connsiteY8" fmla="*/ 8727 h 15641"/>
              <a:gd name="connsiteX9" fmla="*/ 10990 w 13808"/>
              <a:gd name="connsiteY9" fmla="*/ 10390 h 15641"/>
              <a:gd name="connsiteX10" fmla="*/ 10020 w 13808"/>
              <a:gd name="connsiteY10" fmla="*/ 12472 h 15641"/>
              <a:gd name="connsiteX11" fmla="*/ 13795 w 13808"/>
              <a:gd name="connsiteY11" fmla="*/ 15590 h 15641"/>
              <a:gd name="connsiteX12" fmla="*/ 11211 w 13808"/>
              <a:gd name="connsiteY12" fmla="*/ 10199 h 15641"/>
              <a:gd name="connsiteX13" fmla="*/ 9176 w 13808"/>
              <a:gd name="connsiteY13" fmla="*/ 8553 h 15641"/>
              <a:gd name="connsiteX14" fmla="*/ 11496 w 13808"/>
              <a:gd name="connsiteY14" fmla="*/ 4868 h 15641"/>
              <a:gd name="connsiteX15" fmla="*/ 9893 w 13808"/>
              <a:gd name="connsiteY15" fmla="*/ 7403 h 15641"/>
              <a:gd name="connsiteX16" fmla="*/ 8195 w 13808"/>
              <a:gd name="connsiteY16" fmla="*/ 7403 h 15641"/>
              <a:gd name="connsiteX17" fmla="*/ 7098 w 13808"/>
              <a:gd name="connsiteY17" fmla="*/ 4746 h 15641"/>
              <a:gd name="connsiteX18" fmla="*/ 8195 w 13808"/>
              <a:gd name="connsiteY18" fmla="*/ 2090 h 15641"/>
              <a:gd name="connsiteX19" fmla="*/ 9893 w 13808"/>
              <a:gd name="connsiteY19" fmla="*/ 2090 h 15641"/>
              <a:gd name="connsiteX20" fmla="*/ 10990 w 13808"/>
              <a:gd name="connsiteY20" fmla="*/ 4746 h 15641"/>
              <a:gd name="connsiteX21" fmla="*/ 9893 w 13808"/>
              <a:gd name="connsiteY21" fmla="*/ 7403 h 15641"/>
              <a:gd name="connsiteX0" fmla="*/ 11496 w 11496"/>
              <a:gd name="connsiteY0" fmla="*/ 4868 h 12472"/>
              <a:gd name="connsiteX1" fmla="*/ 11496 w 11496"/>
              <a:gd name="connsiteY1" fmla="*/ 4625 h 12472"/>
              <a:gd name="connsiteX2" fmla="*/ 9650 w 11496"/>
              <a:gd name="connsiteY2" fmla="*/ 1263 h 12472"/>
              <a:gd name="connsiteX3" fmla="*/ 9408 w 11496"/>
              <a:gd name="connsiteY3" fmla="*/ 1088 h 12472"/>
              <a:gd name="connsiteX4" fmla="*/ 5748 w 11496"/>
              <a:gd name="connsiteY4" fmla="*/ 0 h 12472"/>
              <a:gd name="connsiteX5" fmla="*/ 0 w 11496"/>
              <a:gd name="connsiteY5" fmla="*/ 4746 h 12472"/>
              <a:gd name="connsiteX6" fmla="*/ 5748 w 11496"/>
              <a:gd name="connsiteY6" fmla="*/ 9493 h 12472"/>
              <a:gd name="connsiteX7" fmla="*/ 9049 w 11496"/>
              <a:gd name="connsiteY7" fmla="*/ 8631 h 12472"/>
              <a:gd name="connsiteX8" fmla="*/ 8933 w 11496"/>
              <a:gd name="connsiteY8" fmla="*/ 8727 h 12472"/>
              <a:gd name="connsiteX9" fmla="*/ 10990 w 11496"/>
              <a:gd name="connsiteY9" fmla="*/ 10390 h 12472"/>
              <a:gd name="connsiteX10" fmla="*/ 10020 w 11496"/>
              <a:gd name="connsiteY10" fmla="*/ 12472 h 12472"/>
              <a:gd name="connsiteX11" fmla="*/ 11211 w 11496"/>
              <a:gd name="connsiteY11" fmla="*/ 10199 h 12472"/>
              <a:gd name="connsiteX12" fmla="*/ 9176 w 11496"/>
              <a:gd name="connsiteY12" fmla="*/ 8553 h 12472"/>
              <a:gd name="connsiteX13" fmla="*/ 11496 w 11496"/>
              <a:gd name="connsiteY13" fmla="*/ 4868 h 12472"/>
              <a:gd name="connsiteX14" fmla="*/ 9893 w 11496"/>
              <a:gd name="connsiteY14" fmla="*/ 7403 h 12472"/>
              <a:gd name="connsiteX15" fmla="*/ 8195 w 11496"/>
              <a:gd name="connsiteY15" fmla="*/ 7403 h 12472"/>
              <a:gd name="connsiteX16" fmla="*/ 7098 w 11496"/>
              <a:gd name="connsiteY16" fmla="*/ 4746 h 12472"/>
              <a:gd name="connsiteX17" fmla="*/ 8195 w 11496"/>
              <a:gd name="connsiteY17" fmla="*/ 2090 h 12472"/>
              <a:gd name="connsiteX18" fmla="*/ 9893 w 11496"/>
              <a:gd name="connsiteY18" fmla="*/ 2090 h 12472"/>
              <a:gd name="connsiteX19" fmla="*/ 10990 w 11496"/>
              <a:gd name="connsiteY19" fmla="*/ 4746 h 12472"/>
              <a:gd name="connsiteX20" fmla="*/ 9893 w 11496"/>
              <a:gd name="connsiteY20" fmla="*/ 7403 h 12472"/>
              <a:gd name="connsiteX0" fmla="*/ 11496 w 11496"/>
              <a:gd name="connsiteY0" fmla="*/ 4868 h 10518"/>
              <a:gd name="connsiteX1" fmla="*/ 11496 w 11496"/>
              <a:gd name="connsiteY1" fmla="*/ 4625 h 10518"/>
              <a:gd name="connsiteX2" fmla="*/ 9650 w 11496"/>
              <a:gd name="connsiteY2" fmla="*/ 1263 h 10518"/>
              <a:gd name="connsiteX3" fmla="*/ 9408 w 11496"/>
              <a:gd name="connsiteY3" fmla="*/ 1088 h 10518"/>
              <a:gd name="connsiteX4" fmla="*/ 5748 w 11496"/>
              <a:gd name="connsiteY4" fmla="*/ 0 h 10518"/>
              <a:gd name="connsiteX5" fmla="*/ 0 w 11496"/>
              <a:gd name="connsiteY5" fmla="*/ 4746 h 10518"/>
              <a:gd name="connsiteX6" fmla="*/ 5748 w 11496"/>
              <a:gd name="connsiteY6" fmla="*/ 9493 h 10518"/>
              <a:gd name="connsiteX7" fmla="*/ 9049 w 11496"/>
              <a:gd name="connsiteY7" fmla="*/ 8631 h 10518"/>
              <a:gd name="connsiteX8" fmla="*/ 8933 w 11496"/>
              <a:gd name="connsiteY8" fmla="*/ 8727 h 10518"/>
              <a:gd name="connsiteX9" fmla="*/ 10990 w 11496"/>
              <a:gd name="connsiteY9" fmla="*/ 10390 h 10518"/>
              <a:gd name="connsiteX10" fmla="*/ 11211 w 11496"/>
              <a:gd name="connsiteY10" fmla="*/ 10199 h 10518"/>
              <a:gd name="connsiteX11" fmla="*/ 9176 w 11496"/>
              <a:gd name="connsiteY11" fmla="*/ 8553 h 10518"/>
              <a:gd name="connsiteX12" fmla="*/ 11496 w 11496"/>
              <a:gd name="connsiteY12" fmla="*/ 4868 h 10518"/>
              <a:gd name="connsiteX13" fmla="*/ 9893 w 11496"/>
              <a:gd name="connsiteY13" fmla="*/ 7403 h 10518"/>
              <a:gd name="connsiteX14" fmla="*/ 8195 w 11496"/>
              <a:gd name="connsiteY14" fmla="*/ 7403 h 10518"/>
              <a:gd name="connsiteX15" fmla="*/ 7098 w 11496"/>
              <a:gd name="connsiteY15" fmla="*/ 4746 h 10518"/>
              <a:gd name="connsiteX16" fmla="*/ 8195 w 11496"/>
              <a:gd name="connsiteY16" fmla="*/ 2090 h 10518"/>
              <a:gd name="connsiteX17" fmla="*/ 9893 w 11496"/>
              <a:gd name="connsiteY17" fmla="*/ 2090 h 10518"/>
              <a:gd name="connsiteX18" fmla="*/ 10990 w 11496"/>
              <a:gd name="connsiteY18" fmla="*/ 4746 h 10518"/>
              <a:gd name="connsiteX19" fmla="*/ 9893 w 11496"/>
              <a:gd name="connsiteY19" fmla="*/ 7403 h 10518"/>
              <a:gd name="connsiteX0" fmla="*/ 11496 w 11496"/>
              <a:gd name="connsiteY0" fmla="*/ 4868 h 10390"/>
              <a:gd name="connsiteX1" fmla="*/ 11496 w 11496"/>
              <a:gd name="connsiteY1" fmla="*/ 4625 h 10390"/>
              <a:gd name="connsiteX2" fmla="*/ 9650 w 11496"/>
              <a:gd name="connsiteY2" fmla="*/ 1263 h 10390"/>
              <a:gd name="connsiteX3" fmla="*/ 9408 w 11496"/>
              <a:gd name="connsiteY3" fmla="*/ 1088 h 10390"/>
              <a:gd name="connsiteX4" fmla="*/ 5748 w 11496"/>
              <a:gd name="connsiteY4" fmla="*/ 0 h 10390"/>
              <a:gd name="connsiteX5" fmla="*/ 0 w 11496"/>
              <a:gd name="connsiteY5" fmla="*/ 4746 h 10390"/>
              <a:gd name="connsiteX6" fmla="*/ 5748 w 11496"/>
              <a:gd name="connsiteY6" fmla="*/ 9493 h 10390"/>
              <a:gd name="connsiteX7" fmla="*/ 9049 w 11496"/>
              <a:gd name="connsiteY7" fmla="*/ 8631 h 10390"/>
              <a:gd name="connsiteX8" fmla="*/ 8933 w 11496"/>
              <a:gd name="connsiteY8" fmla="*/ 8727 h 10390"/>
              <a:gd name="connsiteX9" fmla="*/ 10990 w 11496"/>
              <a:gd name="connsiteY9" fmla="*/ 10390 h 10390"/>
              <a:gd name="connsiteX10" fmla="*/ 9176 w 11496"/>
              <a:gd name="connsiteY10" fmla="*/ 8553 h 10390"/>
              <a:gd name="connsiteX11" fmla="*/ 11496 w 11496"/>
              <a:gd name="connsiteY11" fmla="*/ 4868 h 10390"/>
              <a:gd name="connsiteX12" fmla="*/ 9893 w 11496"/>
              <a:gd name="connsiteY12" fmla="*/ 7403 h 10390"/>
              <a:gd name="connsiteX13" fmla="*/ 8195 w 11496"/>
              <a:gd name="connsiteY13" fmla="*/ 7403 h 10390"/>
              <a:gd name="connsiteX14" fmla="*/ 7098 w 11496"/>
              <a:gd name="connsiteY14" fmla="*/ 4746 h 10390"/>
              <a:gd name="connsiteX15" fmla="*/ 8195 w 11496"/>
              <a:gd name="connsiteY15" fmla="*/ 2090 h 10390"/>
              <a:gd name="connsiteX16" fmla="*/ 9893 w 11496"/>
              <a:gd name="connsiteY16" fmla="*/ 2090 h 10390"/>
              <a:gd name="connsiteX17" fmla="*/ 10990 w 11496"/>
              <a:gd name="connsiteY17" fmla="*/ 4746 h 10390"/>
              <a:gd name="connsiteX18" fmla="*/ 9893 w 11496"/>
              <a:gd name="connsiteY18" fmla="*/ 7403 h 10390"/>
              <a:gd name="connsiteX0" fmla="*/ 11496 w 11496"/>
              <a:gd name="connsiteY0" fmla="*/ 4868 h 9493"/>
              <a:gd name="connsiteX1" fmla="*/ 11496 w 11496"/>
              <a:gd name="connsiteY1" fmla="*/ 4625 h 9493"/>
              <a:gd name="connsiteX2" fmla="*/ 9650 w 11496"/>
              <a:gd name="connsiteY2" fmla="*/ 1263 h 9493"/>
              <a:gd name="connsiteX3" fmla="*/ 9408 w 11496"/>
              <a:gd name="connsiteY3" fmla="*/ 1088 h 9493"/>
              <a:gd name="connsiteX4" fmla="*/ 5748 w 11496"/>
              <a:gd name="connsiteY4" fmla="*/ 0 h 9493"/>
              <a:gd name="connsiteX5" fmla="*/ 0 w 11496"/>
              <a:gd name="connsiteY5" fmla="*/ 4746 h 9493"/>
              <a:gd name="connsiteX6" fmla="*/ 5748 w 11496"/>
              <a:gd name="connsiteY6" fmla="*/ 9493 h 9493"/>
              <a:gd name="connsiteX7" fmla="*/ 9049 w 11496"/>
              <a:gd name="connsiteY7" fmla="*/ 8631 h 9493"/>
              <a:gd name="connsiteX8" fmla="*/ 8933 w 11496"/>
              <a:gd name="connsiteY8" fmla="*/ 8727 h 9493"/>
              <a:gd name="connsiteX9" fmla="*/ 9176 w 11496"/>
              <a:gd name="connsiteY9" fmla="*/ 8553 h 9493"/>
              <a:gd name="connsiteX10" fmla="*/ 11496 w 11496"/>
              <a:gd name="connsiteY10" fmla="*/ 4868 h 9493"/>
              <a:gd name="connsiteX11" fmla="*/ 9893 w 11496"/>
              <a:gd name="connsiteY11" fmla="*/ 7403 h 9493"/>
              <a:gd name="connsiteX12" fmla="*/ 8195 w 11496"/>
              <a:gd name="connsiteY12" fmla="*/ 7403 h 9493"/>
              <a:gd name="connsiteX13" fmla="*/ 7098 w 11496"/>
              <a:gd name="connsiteY13" fmla="*/ 4746 h 9493"/>
              <a:gd name="connsiteX14" fmla="*/ 8195 w 11496"/>
              <a:gd name="connsiteY14" fmla="*/ 2090 h 9493"/>
              <a:gd name="connsiteX15" fmla="*/ 9893 w 11496"/>
              <a:gd name="connsiteY15" fmla="*/ 2090 h 9493"/>
              <a:gd name="connsiteX16" fmla="*/ 10990 w 11496"/>
              <a:gd name="connsiteY16" fmla="*/ 4746 h 9493"/>
              <a:gd name="connsiteX17" fmla="*/ 9893 w 11496"/>
              <a:gd name="connsiteY17" fmla="*/ 7403 h 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96" h="9493" extrusionOk="0">
                <a:moveTo>
                  <a:pt x="11496" y="4868"/>
                </a:moveTo>
                <a:lnTo>
                  <a:pt x="11496" y="4625"/>
                </a:lnTo>
                <a:cubicBezTo>
                  <a:pt x="11454" y="3292"/>
                  <a:pt x="10747" y="2099"/>
                  <a:pt x="9650" y="1263"/>
                </a:cubicBezTo>
                <a:lnTo>
                  <a:pt x="9408" y="1088"/>
                </a:lnTo>
                <a:cubicBezTo>
                  <a:pt x="8416" y="409"/>
                  <a:pt x="7140" y="0"/>
                  <a:pt x="5748" y="0"/>
                </a:cubicBezTo>
                <a:cubicBezTo>
                  <a:pt x="2573" y="0"/>
                  <a:pt x="0" y="2125"/>
                  <a:pt x="0" y="4746"/>
                </a:cubicBezTo>
                <a:cubicBezTo>
                  <a:pt x="0" y="7368"/>
                  <a:pt x="2573" y="9493"/>
                  <a:pt x="5748" y="9493"/>
                </a:cubicBezTo>
                <a:cubicBezTo>
                  <a:pt x="6982" y="9493"/>
                  <a:pt x="8121" y="9171"/>
                  <a:pt x="9049" y="8631"/>
                </a:cubicBezTo>
                <a:lnTo>
                  <a:pt x="8933" y="8727"/>
                </a:lnTo>
                <a:lnTo>
                  <a:pt x="9176" y="8553"/>
                </a:lnTo>
                <a:cubicBezTo>
                  <a:pt x="10547" y="7708"/>
                  <a:pt x="11443" y="6375"/>
                  <a:pt x="11496" y="4868"/>
                </a:cubicBezTo>
                <a:close/>
                <a:moveTo>
                  <a:pt x="9893" y="7403"/>
                </a:moveTo>
                <a:cubicBezTo>
                  <a:pt x="9461" y="7856"/>
                  <a:pt x="8627" y="7856"/>
                  <a:pt x="8195" y="7403"/>
                </a:cubicBezTo>
                <a:cubicBezTo>
                  <a:pt x="7509" y="6671"/>
                  <a:pt x="7098" y="5748"/>
                  <a:pt x="7098" y="4746"/>
                </a:cubicBezTo>
                <a:cubicBezTo>
                  <a:pt x="7098" y="3745"/>
                  <a:pt x="7509" y="2822"/>
                  <a:pt x="8195" y="2090"/>
                </a:cubicBezTo>
                <a:cubicBezTo>
                  <a:pt x="8627" y="1637"/>
                  <a:pt x="9461" y="1637"/>
                  <a:pt x="9893" y="2090"/>
                </a:cubicBezTo>
                <a:cubicBezTo>
                  <a:pt x="10579" y="2822"/>
                  <a:pt x="10990" y="3745"/>
                  <a:pt x="10990" y="4746"/>
                </a:cubicBezTo>
                <a:cubicBezTo>
                  <a:pt x="10990" y="5748"/>
                  <a:pt x="10579" y="6671"/>
                  <a:pt x="9893" y="7403"/>
                </a:cubicBezTo>
                <a:close/>
              </a:path>
            </a:pathLst>
          </a:custGeom>
          <a:solidFill>
            <a:srgbClr val="4CC1EF"/>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93" name="Shape">
            <a:extLst>
              <a:ext uri="{FF2B5EF4-FFF2-40B4-BE49-F238E27FC236}">
                <a16:creationId xmlns:a16="http://schemas.microsoft.com/office/drawing/2014/main" id="{D3010150-46D8-0711-709A-121C7E3895F4}"/>
              </a:ext>
            </a:extLst>
          </p:cNvPr>
          <p:cNvSpPr/>
          <p:nvPr/>
        </p:nvSpPr>
        <p:spPr>
          <a:xfrm>
            <a:off x="3042297" y="1799441"/>
            <a:ext cx="977199" cy="978969"/>
          </a:xfrm>
          <a:custGeom>
            <a:avLst/>
            <a:gdLst>
              <a:gd name="connsiteX0" fmla="*/ 15956 w 21704"/>
              <a:gd name="connsiteY0" fmla="*/ 6092 h 21600"/>
              <a:gd name="connsiteX1" fmla="*/ 12655 w 21704"/>
              <a:gd name="connsiteY1" fmla="*/ 6953 h 21600"/>
              <a:gd name="connsiteX2" fmla="*/ 12771 w 21704"/>
              <a:gd name="connsiteY2" fmla="*/ 6858 h 21600"/>
              <a:gd name="connsiteX3" fmla="*/ 10714 w 21704"/>
              <a:gd name="connsiteY3" fmla="*/ 5195 h 21600"/>
              <a:gd name="connsiteX4" fmla="*/ 11684 w 21704"/>
              <a:gd name="connsiteY4" fmla="*/ 3116 h 21600"/>
              <a:gd name="connsiteX5" fmla="*/ 7909 w 21704"/>
              <a:gd name="connsiteY5" fmla="*/ 0 h 21600"/>
              <a:gd name="connsiteX6" fmla="*/ 4133 w 21704"/>
              <a:gd name="connsiteY6" fmla="*/ 3116 h 21600"/>
              <a:gd name="connsiteX7" fmla="*/ 7909 w 21704"/>
              <a:gd name="connsiteY7" fmla="*/ 6231 h 21600"/>
              <a:gd name="connsiteX8" fmla="*/ 10493 w 21704"/>
              <a:gd name="connsiteY8" fmla="*/ 5387 h 21600"/>
              <a:gd name="connsiteX9" fmla="*/ 12528 w 21704"/>
              <a:gd name="connsiteY9" fmla="*/ 7032 h 21600"/>
              <a:gd name="connsiteX10" fmla="*/ 10208 w 21704"/>
              <a:gd name="connsiteY10" fmla="*/ 10713 h 21600"/>
              <a:gd name="connsiteX11" fmla="*/ 7656 w 21704"/>
              <a:gd name="connsiteY11" fmla="*/ 10713 h 21600"/>
              <a:gd name="connsiteX12" fmla="*/ 3880 w 21704"/>
              <a:gd name="connsiteY12" fmla="*/ 7711 h 21600"/>
              <a:gd name="connsiteX13" fmla="*/ 104 w 21704"/>
              <a:gd name="connsiteY13" fmla="*/ 10826 h 21600"/>
              <a:gd name="connsiteX14" fmla="*/ 7656 w 21704"/>
              <a:gd name="connsiteY14" fmla="*/ 10974 h 21600"/>
              <a:gd name="connsiteX15" fmla="*/ 10208 w 21704"/>
              <a:gd name="connsiteY15" fmla="*/ 10974 h 21600"/>
              <a:gd name="connsiteX16" fmla="*/ 12117 w 21704"/>
              <a:gd name="connsiteY16" fmla="*/ 14377 h 21600"/>
              <a:gd name="connsiteX17" fmla="*/ 10356 w 21704"/>
              <a:gd name="connsiteY17" fmla="*/ 16048 h 21600"/>
              <a:gd name="connsiteX18" fmla="*/ 8004 w 21704"/>
              <a:gd name="connsiteY18" fmla="*/ 15369 h 21600"/>
              <a:gd name="connsiteX19" fmla="*/ 4228 w 21704"/>
              <a:gd name="connsiteY19" fmla="*/ 18484 h 21600"/>
              <a:gd name="connsiteX20" fmla="*/ 8004 w 21704"/>
              <a:gd name="connsiteY20" fmla="*/ 21600 h 21600"/>
              <a:gd name="connsiteX21" fmla="*/ 11779 w 21704"/>
              <a:gd name="connsiteY21" fmla="*/ 18484 h 21600"/>
              <a:gd name="connsiteX22" fmla="*/ 10598 w 21704"/>
              <a:gd name="connsiteY22" fmla="*/ 16222 h 21600"/>
              <a:gd name="connsiteX23" fmla="*/ 12359 w 21704"/>
              <a:gd name="connsiteY23" fmla="*/ 14551 h 21600"/>
              <a:gd name="connsiteX24" fmla="*/ 15956 w 21704"/>
              <a:gd name="connsiteY24" fmla="*/ 15595 h 21600"/>
              <a:gd name="connsiteX25" fmla="*/ 21704 w 21704"/>
              <a:gd name="connsiteY25" fmla="*/ 10852 h 21600"/>
              <a:gd name="connsiteX26" fmla="*/ 15956 w 21704"/>
              <a:gd name="connsiteY26" fmla="*/ 6092 h 21600"/>
              <a:gd name="connsiteX27" fmla="*/ 13509 w 21704"/>
              <a:gd name="connsiteY27" fmla="*/ 13489 h 21600"/>
              <a:gd name="connsiteX28" fmla="*/ 11811 w 21704"/>
              <a:gd name="connsiteY28" fmla="*/ 13489 h 21600"/>
              <a:gd name="connsiteX29" fmla="*/ 10714 w 21704"/>
              <a:gd name="connsiteY29" fmla="*/ 10835 h 21600"/>
              <a:gd name="connsiteX30" fmla="*/ 11811 w 21704"/>
              <a:gd name="connsiteY30" fmla="*/ 8180 h 21600"/>
              <a:gd name="connsiteX31" fmla="*/ 13509 w 21704"/>
              <a:gd name="connsiteY31" fmla="*/ 8180 h 21600"/>
              <a:gd name="connsiteX32" fmla="*/ 14606 w 21704"/>
              <a:gd name="connsiteY32" fmla="*/ 10835 h 21600"/>
              <a:gd name="connsiteX33" fmla="*/ 13509 w 21704"/>
              <a:gd name="connsiteY33" fmla="*/ 13489 h 21600"/>
              <a:gd name="connsiteX0" fmla="*/ 12076 w 17824"/>
              <a:gd name="connsiteY0" fmla="*/ 6092 h 21600"/>
              <a:gd name="connsiteX1" fmla="*/ 8775 w 17824"/>
              <a:gd name="connsiteY1" fmla="*/ 6953 h 21600"/>
              <a:gd name="connsiteX2" fmla="*/ 8891 w 17824"/>
              <a:gd name="connsiteY2" fmla="*/ 6858 h 21600"/>
              <a:gd name="connsiteX3" fmla="*/ 6834 w 17824"/>
              <a:gd name="connsiteY3" fmla="*/ 5195 h 21600"/>
              <a:gd name="connsiteX4" fmla="*/ 7804 w 17824"/>
              <a:gd name="connsiteY4" fmla="*/ 3116 h 21600"/>
              <a:gd name="connsiteX5" fmla="*/ 4029 w 17824"/>
              <a:gd name="connsiteY5" fmla="*/ 0 h 21600"/>
              <a:gd name="connsiteX6" fmla="*/ 253 w 17824"/>
              <a:gd name="connsiteY6" fmla="*/ 3116 h 21600"/>
              <a:gd name="connsiteX7" fmla="*/ 4029 w 17824"/>
              <a:gd name="connsiteY7" fmla="*/ 6231 h 21600"/>
              <a:gd name="connsiteX8" fmla="*/ 6613 w 17824"/>
              <a:gd name="connsiteY8" fmla="*/ 5387 h 21600"/>
              <a:gd name="connsiteX9" fmla="*/ 8648 w 17824"/>
              <a:gd name="connsiteY9" fmla="*/ 7032 h 21600"/>
              <a:gd name="connsiteX10" fmla="*/ 6328 w 17824"/>
              <a:gd name="connsiteY10" fmla="*/ 10713 h 21600"/>
              <a:gd name="connsiteX11" fmla="*/ 3776 w 17824"/>
              <a:gd name="connsiteY11" fmla="*/ 10713 h 21600"/>
              <a:gd name="connsiteX12" fmla="*/ 0 w 17824"/>
              <a:gd name="connsiteY12" fmla="*/ 7711 h 21600"/>
              <a:gd name="connsiteX13" fmla="*/ 3776 w 17824"/>
              <a:gd name="connsiteY13" fmla="*/ 10974 h 21600"/>
              <a:gd name="connsiteX14" fmla="*/ 6328 w 17824"/>
              <a:gd name="connsiteY14" fmla="*/ 10974 h 21600"/>
              <a:gd name="connsiteX15" fmla="*/ 8237 w 17824"/>
              <a:gd name="connsiteY15" fmla="*/ 14377 h 21600"/>
              <a:gd name="connsiteX16" fmla="*/ 6476 w 17824"/>
              <a:gd name="connsiteY16" fmla="*/ 16048 h 21600"/>
              <a:gd name="connsiteX17" fmla="*/ 4124 w 17824"/>
              <a:gd name="connsiteY17" fmla="*/ 15369 h 21600"/>
              <a:gd name="connsiteX18" fmla="*/ 348 w 17824"/>
              <a:gd name="connsiteY18" fmla="*/ 18484 h 21600"/>
              <a:gd name="connsiteX19" fmla="*/ 4124 w 17824"/>
              <a:gd name="connsiteY19" fmla="*/ 21600 h 21600"/>
              <a:gd name="connsiteX20" fmla="*/ 7899 w 17824"/>
              <a:gd name="connsiteY20" fmla="*/ 18484 h 21600"/>
              <a:gd name="connsiteX21" fmla="*/ 6718 w 17824"/>
              <a:gd name="connsiteY21" fmla="*/ 16222 h 21600"/>
              <a:gd name="connsiteX22" fmla="*/ 8479 w 17824"/>
              <a:gd name="connsiteY22" fmla="*/ 14551 h 21600"/>
              <a:gd name="connsiteX23" fmla="*/ 12076 w 17824"/>
              <a:gd name="connsiteY23" fmla="*/ 15595 h 21600"/>
              <a:gd name="connsiteX24" fmla="*/ 17824 w 17824"/>
              <a:gd name="connsiteY24" fmla="*/ 10852 h 21600"/>
              <a:gd name="connsiteX25" fmla="*/ 12076 w 17824"/>
              <a:gd name="connsiteY25" fmla="*/ 6092 h 21600"/>
              <a:gd name="connsiteX26" fmla="*/ 9629 w 17824"/>
              <a:gd name="connsiteY26" fmla="*/ 13489 h 21600"/>
              <a:gd name="connsiteX27" fmla="*/ 7931 w 17824"/>
              <a:gd name="connsiteY27" fmla="*/ 13489 h 21600"/>
              <a:gd name="connsiteX28" fmla="*/ 6834 w 17824"/>
              <a:gd name="connsiteY28" fmla="*/ 10835 h 21600"/>
              <a:gd name="connsiteX29" fmla="*/ 7931 w 17824"/>
              <a:gd name="connsiteY29" fmla="*/ 8180 h 21600"/>
              <a:gd name="connsiteX30" fmla="*/ 9629 w 17824"/>
              <a:gd name="connsiteY30" fmla="*/ 8180 h 21600"/>
              <a:gd name="connsiteX31" fmla="*/ 10726 w 17824"/>
              <a:gd name="connsiteY31" fmla="*/ 10835 h 21600"/>
              <a:gd name="connsiteX32" fmla="*/ 9629 w 17824"/>
              <a:gd name="connsiteY32"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3523 w 17571"/>
              <a:gd name="connsiteY11" fmla="*/ 10713 h 21600"/>
              <a:gd name="connsiteX12" fmla="*/ 3523 w 17571"/>
              <a:gd name="connsiteY12" fmla="*/ 10974 h 21600"/>
              <a:gd name="connsiteX13" fmla="*/ 6075 w 17571"/>
              <a:gd name="connsiteY13" fmla="*/ 10974 h 21600"/>
              <a:gd name="connsiteX14" fmla="*/ 7984 w 17571"/>
              <a:gd name="connsiteY14" fmla="*/ 14377 h 21600"/>
              <a:gd name="connsiteX15" fmla="*/ 6223 w 17571"/>
              <a:gd name="connsiteY15" fmla="*/ 16048 h 21600"/>
              <a:gd name="connsiteX16" fmla="*/ 3871 w 17571"/>
              <a:gd name="connsiteY16" fmla="*/ 15369 h 21600"/>
              <a:gd name="connsiteX17" fmla="*/ 95 w 17571"/>
              <a:gd name="connsiteY17" fmla="*/ 18484 h 21600"/>
              <a:gd name="connsiteX18" fmla="*/ 3871 w 17571"/>
              <a:gd name="connsiteY18" fmla="*/ 21600 h 21600"/>
              <a:gd name="connsiteX19" fmla="*/ 7646 w 17571"/>
              <a:gd name="connsiteY19" fmla="*/ 18484 h 21600"/>
              <a:gd name="connsiteX20" fmla="*/ 6465 w 17571"/>
              <a:gd name="connsiteY20" fmla="*/ 16222 h 21600"/>
              <a:gd name="connsiteX21" fmla="*/ 8226 w 17571"/>
              <a:gd name="connsiteY21" fmla="*/ 14551 h 21600"/>
              <a:gd name="connsiteX22" fmla="*/ 11823 w 17571"/>
              <a:gd name="connsiteY22" fmla="*/ 15595 h 21600"/>
              <a:gd name="connsiteX23" fmla="*/ 17571 w 17571"/>
              <a:gd name="connsiteY23" fmla="*/ 10852 h 21600"/>
              <a:gd name="connsiteX24" fmla="*/ 11823 w 17571"/>
              <a:gd name="connsiteY24" fmla="*/ 6092 h 21600"/>
              <a:gd name="connsiteX25" fmla="*/ 9376 w 17571"/>
              <a:gd name="connsiteY25" fmla="*/ 13489 h 21600"/>
              <a:gd name="connsiteX26" fmla="*/ 7678 w 17571"/>
              <a:gd name="connsiteY26" fmla="*/ 13489 h 21600"/>
              <a:gd name="connsiteX27" fmla="*/ 6581 w 17571"/>
              <a:gd name="connsiteY27" fmla="*/ 10835 h 21600"/>
              <a:gd name="connsiteX28" fmla="*/ 7678 w 17571"/>
              <a:gd name="connsiteY28" fmla="*/ 8180 h 21600"/>
              <a:gd name="connsiteX29" fmla="*/ 9376 w 17571"/>
              <a:gd name="connsiteY29" fmla="*/ 8180 h 21600"/>
              <a:gd name="connsiteX30" fmla="*/ 10473 w 17571"/>
              <a:gd name="connsiteY30" fmla="*/ 10835 h 21600"/>
              <a:gd name="connsiteX31" fmla="*/ 9376 w 17571"/>
              <a:gd name="connsiteY31"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3523 w 17571"/>
              <a:gd name="connsiteY11" fmla="*/ 10713 h 21600"/>
              <a:gd name="connsiteX12" fmla="*/ 6075 w 17571"/>
              <a:gd name="connsiteY12" fmla="*/ 10974 h 21600"/>
              <a:gd name="connsiteX13" fmla="*/ 7984 w 17571"/>
              <a:gd name="connsiteY13" fmla="*/ 14377 h 21600"/>
              <a:gd name="connsiteX14" fmla="*/ 6223 w 17571"/>
              <a:gd name="connsiteY14" fmla="*/ 16048 h 21600"/>
              <a:gd name="connsiteX15" fmla="*/ 3871 w 17571"/>
              <a:gd name="connsiteY15" fmla="*/ 15369 h 21600"/>
              <a:gd name="connsiteX16" fmla="*/ 95 w 17571"/>
              <a:gd name="connsiteY16" fmla="*/ 18484 h 21600"/>
              <a:gd name="connsiteX17" fmla="*/ 3871 w 17571"/>
              <a:gd name="connsiteY17" fmla="*/ 21600 h 21600"/>
              <a:gd name="connsiteX18" fmla="*/ 7646 w 17571"/>
              <a:gd name="connsiteY18" fmla="*/ 18484 h 21600"/>
              <a:gd name="connsiteX19" fmla="*/ 6465 w 17571"/>
              <a:gd name="connsiteY19" fmla="*/ 16222 h 21600"/>
              <a:gd name="connsiteX20" fmla="*/ 8226 w 17571"/>
              <a:gd name="connsiteY20" fmla="*/ 14551 h 21600"/>
              <a:gd name="connsiteX21" fmla="*/ 11823 w 17571"/>
              <a:gd name="connsiteY21" fmla="*/ 15595 h 21600"/>
              <a:gd name="connsiteX22" fmla="*/ 17571 w 17571"/>
              <a:gd name="connsiteY22" fmla="*/ 10852 h 21600"/>
              <a:gd name="connsiteX23" fmla="*/ 11823 w 17571"/>
              <a:gd name="connsiteY23" fmla="*/ 6092 h 21600"/>
              <a:gd name="connsiteX24" fmla="*/ 9376 w 17571"/>
              <a:gd name="connsiteY24" fmla="*/ 13489 h 21600"/>
              <a:gd name="connsiteX25" fmla="*/ 7678 w 17571"/>
              <a:gd name="connsiteY25" fmla="*/ 13489 h 21600"/>
              <a:gd name="connsiteX26" fmla="*/ 6581 w 17571"/>
              <a:gd name="connsiteY26" fmla="*/ 10835 h 21600"/>
              <a:gd name="connsiteX27" fmla="*/ 7678 w 17571"/>
              <a:gd name="connsiteY27" fmla="*/ 8180 h 21600"/>
              <a:gd name="connsiteX28" fmla="*/ 9376 w 17571"/>
              <a:gd name="connsiteY28" fmla="*/ 8180 h 21600"/>
              <a:gd name="connsiteX29" fmla="*/ 10473 w 17571"/>
              <a:gd name="connsiteY29" fmla="*/ 10835 h 21600"/>
              <a:gd name="connsiteX30" fmla="*/ 9376 w 17571"/>
              <a:gd name="connsiteY30"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6075 w 17571"/>
              <a:gd name="connsiteY11" fmla="*/ 10974 h 21600"/>
              <a:gd name="connsiteX12" fmla="*/ 7984 w 17571"/>
              <a:gd name="connsiteY12" fmla="*/ 14377 h 21600"/>
              <a:gd name="connsiteX13" fmla="*/ 6223 w 17571"/>
              <a:gd name="connsiteY13" fmla="*/ 16048 h 21600"/>
              <a:gd name="connsiteX14" fmla="*/ 3871 w 17571"/>
              <a:gd name="connsiteY14" fmla="*/ 15369 h 21600"/>
              <a:gd name="connsiteX15" fmla="*/ 95 w 17571"/>
              <a:gd name="connsiteY15" fmla="*/ 18484 h 21600"/>
              <a:gd name="connsiteX16" fmla="*/ 3871 w 17571"/>
              <a:gd name="connsiteY16" fmla="*/ 21600 h 21600"/>
              <a:gd name="connsiteX17" fmla="*/ 7646 w 17571"/>
              <a:gd name="connsiteY17" fmla="*/ 18484 h 21600"/>
              <a:gd name="connsiteX18" fmla="*/ 6465 w 17571"/>
              <a:gd name="connsiteY18" fmla="*/ 16222 h 21600"/>
              <a:gd name="connsiteX19" fmla="*/ 8226 w 17571"/>
              <a:gd name="connsiteY19" fmla="*/ 14551 h 21600"/>
              <a:gd name="connsiteX20" fmla="*/ 11823 w 17571"/>
              <a:gd name="connsiteY20" fmla="*/ 15595 h 21600"/>
              <a:gd name="connsiteX21" fmla="*/ 17571 w 17571"/>
              <a:gd name="connsiteY21" fmla="*/ 10852 h 21600"/>
              <a:gd name="connsiteX22" fmla="*/ 11823 w 17571"/>
              <a:gd name="connsiteY22" fmla="*/ 6092 h 21600"/>
              <a:gd name="connsiteX23" fmla="*/ 9376 w 17571"/>
              <a:gd name="connsiteY23" fmla="*/ 13489 h 21600"/>
              <a:gd name="connsiteX24" fmla="*/ 7678 w 17571"/>
              <a:gd name="connsiteY24" fmla="*/ 13489 h 21600"/>
              <a:gd name="connsiteX25" fmla="*/ 6581 w 17571"/>
              <a:gd name="connsiteY25" fmla="*/ 10835 h 21600"/>
              <a:gd name="connsiteX26" fmla="*/ 7678 w 17571"/>
              <a:gd name="connsiteY26" fmla="*/ 8180 h 21600"/>
              <a:gd name="connsiteX27" fmla="*/ 9376 w 17571"/>
              <a:gd name="connsiteY27" fmla="*/ 8180 h 21600"/>
              <a:gd name="connsiteX28" fmla="*/ 10473 w 17571"/>
              <a:gd name="connsiteY28" fmla="*/ 10835 h 21600"/>
              <a:gd name="connsiteX29" fmla="*/ 9376 w 17571"/>
              <a:gd name="connsiteY29" fmla="*/ 13489 h 21600"/>
              <a:gd name="connsiteX0" fmla="*/ 11879 w 17627"/>
              <a:gd name="connsiteY0" fmla="*/ 6092 h 21600"/>
              <a:gd name="connsiteX1" fmla="*/ 8578 w 17627"/>
              <a:gd name="connsiteY1" fmla="*/ 6953 h 21600"/>
              <a:gd name="connsiteX2" fmla="*/ 8694 w 17627"/>
              <a:gd name="connsiteY2" fmla="*/ 6858 h 21600"/>
              <a:gd name="connsiteX3" fmla="*/ 6637 w 17627"/>
              <a:gd name="connsiteY3" fmla="*/ 5195 h 21600"/>
              <a:gd name="connsiteX4" fmla="*/ 7607 w 17627"/>
              <a:gd name="connsiteY4" fmla="*/ 3116 h 21600"/>
              <a:gd name="connsiteX5" fmla="*/ 3832 w 17627"/>
              <a:gd name="connsiteY5" fmla="*/ 0 h 21600"/>
              <a:gd name="connsiteX6" fmla="*/ 56 w 17627"/>
              <a:gd name="connsiteY6" fmla="*/ 3116 h 21600"/>
              <a:gd name="connsiteX7" fmla="*/ 6416 w 17627"/>
              <a:gd name="connsiteY7" fmla="*/ 5387 h 21600"/>
              <a:gd name="connsiteX8" fmla="*/ 8451 w 17627"/>
              <a:gd name="connsiteY8" fmla="*/ 7032 h 21600"/>
              <a:gd name="connsiteX9" fmla="*/ 6131 w 17627"/>
              <a:gd name="connsiteY9" fmla="*/ 10713 h 21600"/>
              <a:gd name="connsiteX10" fmla="*/ 6131 w 17627"/>
              <a:gd name="connsiteY10" fmla="*/ 10974 h 21600"/>
              <a:gd name="connsiteX11" fmla="*/ 8040 w 17627"/>
              <a:gd name="connsiteY11" fmla="*/ 14377 h 21600"/>
              <a:gd name="connsiteX12" fmla="*/ 6279 w 17627"/>
              <a:gd name="connsiteY12" fmla="*/ 16048 h 21600"/>
              <a:gd name="connsiteX13" fmla="*/ 3927 w 17627"/>
              <a:gd name="connsiteY13" fmla="*/ 15369 h 21600"/>
              <a:gd name="connsiteX14" fmla="*/ 151 w 17627"/>
              <a:gd name="connsiteY14" fmla="*/ 18484 h 21600"/>
              <a:gd name="connsiteX15" fmla="*/ 3927 w 17627"/>
              <a:gd name="connsiteY15" fmla="*/ 21600 h 21600"/>
              <a:gd name="connsiteX16" fmla="*/ 7702 w 17627"/>
              <a:gd name="connsiteY16" fmla="*/ 18484 h 21600"/>
              <a:gd name="connsiteX17" fmla="*/ 6521 w 17627"/>
              <a:gd name="connsiteY17" fmla="*/ 16222 h 21600"/>
              <a:gd name="connsiteX18" fmla="*/ 8282 w 17627"/>
              <a:gd name="connsiteY18" fmla="*/ 14551 h 21600"/>
              <a:gd name="connsiteX19" fmla="*/ 11879 w 17627"/>
              <a:gd name="connsiteY19" fmla="*/ 15595 h 21600"/>
              <a:gd name="connsiteX20" fmla="*/ 17627 w 17627"/>
              <a:gd name="connsiteY20" fmla="*/ 10852 h 21600"/>
              <a:gd name="connsiteX21" fmla="*/ 11879 w 17627"/>
              <a:gd name="connsiteY21" fmla="*/ 6092 h 21600"/>
              <a:gd name="connsiteX22" fmla="*/ 9432 w 17627"/>
              <a:gd name="connsiteY22" fmla="*/ 13489 h 21600"/>
              <a:gd name="connsiteX23" fmla="*/ 7734 w 17627"/>
              <a:gd name="connsiteY23" fmla="*/ 13489 h 21600"/>
              <a:gd name="connsiteX24" fmla="*/ 6637 w 17627"/>
              <a:gd name="connsiteY24" fmla="*/ 10835 h 21600"/>
              <a:gd name="connsiteX25" fmla="*/ 7734 w 17627"/>
              <a:gd name="connsiteY25" fmla="*/ 8180 h 21600"/>
              <a:gd name="connsiteX26" fmla="*/ 9432 w 17627"/>
              <a:gd name="connsiteY26" fmla="*/ 8180 h 21600"/>
              <a:gd name="connsiteX27" fmla="*/ 10529 w 17627"/>
              <a:gd name="connsiteY27" fmla="*/ 10835 h 21600"/>
              <a:gd name="connsiteX28" fmla="*/ 9432 w 17627"/>
              <a:gd name="connsiteY28" fmla="*/ 13489 h 21600"/>
              <a:gd name="connsiteX0" fmla="*/ 11967 w 17715"/>
              <a:gd name="connsiteY0" fmla="*/ 6092 h 21600"/>
              <a:gd name="connsiteX1" fmla="*/ 8666 w 17715"/>
              <a:gd name="connsiteY1" fmla="*/ 6953 h 21600"/>
              <a:gd name="connsiteX2" fmla="*/ 8782 w 17715"/>
              <a:gd name="connsiteY2" fmla="*/ 6858 h 21600"/>
              <a:gd name="connsiteX3" fmla="*/ 6725 w 17715"/>
              <a:gd name="connsiteY3" fmla="*/ 5195 h 21600"/>
              <a:gd name="connsiteX4" fmla="*/ 7695 w 17715"/>
              <a:gd name="connsiteY4" fmla="*/ 3116 h 21600"/>
              <a:gd name="connsiteX5" fmla="*/ 3920 w 17715"/>
              <a:gd name="connsiteY5" fmla="*/ 0 h 21600"/>
              <a:gd name="connsiteX6" fmla="*/ 144 w 17715"/>
              <a:gd name="connsiteY6" fmla="*/ 3116 h 21600"/>
              <a:gd name="connsiteX7" fmla="*/ 8539 w 17715"/>
              <a:gd name="connsiteY7" fmla="*/ 7032 h 21600"/>
              <a:gd name="connsiteX8" fmla="*/ 6219 w 17715"/>
              <a:gd name="connsiteY8" fmla="*/ 10713 h 21600"/>
              <a:gd name="connsiteX9" fmla="*/ 6219 w 17715"/>
              <a:gd name="connsiteY9" fmla="*/ 10974 h 21600"/>
              <a:gd name="connsiteX10" fmla="*/ 8128 w 17715"/>
              <a:gd name="connsiteY10" fmla="*/ 14377 h 21600"/>
              <a:gd name="connsiteX11" fmla="*/ 6367 w 17715"/>
              <a:gd name="connsiteY11" fmla="*/ 16048 h 21600"/>
              <a:gd name="connsiteX12" fmla="*/ 4015 w 17715"/>
              <a:gd name="connsiteY12" fmla="*/ 15369 h 21600"/>
              <a:gd name="connsiteX13" fmla="*/ 239 w 17715"/>
              <a:gd name="connsiteY13" fmla="*/ 18484 h 21600"/>
              <a:gd name="connsiteX14" fmla="*/ 4015 w 17715"/>
              <a:gd name="connsiteY14" fmla="*/ 21600 h 21600"/>
              <a:gd name="connsiteX15" fmla="*/ 7790 w 17715"/>
              <a:gd name="connsiteY15" fmla="*/ 18484 h 21600"/>
              <a:gd name="connsiteX16" fmla="*/ 6609 w 17715"/>
              <a:gd name="connsiteY16" fmla="*/ 16222 h 21600"/>
              <a:gd name="connsiteX17" fmla="*/ 8370 w 17715"/>
              <a:gd name="connsiteY17" fmla="*/ 14551 h 21600"/>
              <a:gd name="connsiteX18" fmla="*/ 11967 w 17715"/>
              <a:gd name="connsiteY18" fmla="*/ 15595 h 21600"/>
              <a:gd name="connsiteX19" fmla="*/ 17715 w 17715"/>
              <a:gd name="connsiteY19" fmla="*/ 10852 h 21600"/>
              <a:gd name="connsiteX20" fmla="*/ 11967 w 17715"/>
              <a:gd name="connsiteY20" fmla="*/ 6092 h 21600"/>
              <a:gd name="connsiteX21" fmla="*/ 9520 w 17715"/>
              <a:gd name="connsiteY21" fmla="*/ 13489 h 21600"/>
              <a:gd name="connsiteX22" fmla="*/ 7822 w 17715"/>
              <a:gd name="connsiteY22" fmla="*/ 13489 h 21600"/>
              <a:gd name="connsiteX23" fmla="*/ 6725 w 17715"/>
              <a:gd name="connsiteY23" fmla="*/ 10835 h 21600"/>
              <a:gd name="connsiteX24" fmla="*/ 7822 w 17715"/>
              <a:gd name="connsiteY24" fmla="*/ 8180 h 21600"/>
              <a:gd name="connsiteX25" fmla="*/ 9520 w 17715"/>
              <a:gd name="connsiteY25" fmla="*/ 8180 h 21600"/>
              <a:gd name="connsiteX26" fmla="*/ 10617 w 17715"/>
              <a:gd name="connsiteY26" fmla="*/ 10835 h 21600"/>
              <a:gd name="connsiteX27" fmla="*/ 9520 w 17715"/>
              <a:gd name="connsiteY27" fmla="*/ 13489 h 21600"/>
              <a:gd name="connsiteX0" fmla="*/ 11967 w 17715"/>
              <a:gd name="connsiteY0" fmla="*/ 6092 h 21600"/>
              <a:gd name="connsiteX1" fmla="*/ 8666 w 17715"/>
              <a:gd name="connsiteY1" fmla="*/ 6953 h 21600"/>
              <a:gd name="connsiteX2" fmla="*/ 8782 w 17715"/>
              <a:gd name="connsiteY2" fmla="*/ 6858 h 21600"/>
              <a:gd name="connsiteX3" fmla="*/ 7695 w 17715"/>
              <a:gd name="connsiteY3" fmla="*/ 3116 h 21600"/>
              <a:gd name="connsiteX4" fmla="*/ 3920 w 17715"/>
              <a:gd name="connsiteY4" fmla="*/ 0 h 21600"/>
              <a:gd name="connsiteX5" fmla="*/ 144 w 17715"/>
              <a:gd name="connsiteY5" fmla="*/ 3116 h 21600"/>
              <a:gd name="connsiteX6" fmla="*/ 8539 w 17715"/>
              <a:gd name="connsiteY6" fmla="*/ 7032 h 21600"/>
              <a:gd name="connsiteX7" fmla="*/ 6219 w 17715"/>
              <a:gd name="connsiteY7" fmla="*/ 10713 h 21600"/>
              <a:gd name="connsiteX8" fmla="*/ 6219 w 17715"/>
              <a:gd name="connsiteY8" fmla="*/ 10974 h 21600"/>
              <a:gd name="connsiteX9" fmla="*/ 8128 w 17715"/>
              <a:gd name="connsiteY9" fmla="*/ 14377 h 21600"/>
              <a:gd name="connsiteX10" fmla="*/ 6367 w 17715"/>
              <a:gd name="connsiteY10" fmla="*/ 16048 h 21600"/>
              <a:gd name="connsiteX11" fmla="*/ 4015 w 17715"/>
              <a:gd name="connsiteY11" fmla="*/ 15369 h 21600"/>
              <a:gd name="connsiteX12" fmla="*/ 239 w 17715"/>
              <a:gd name="connsiteY12" fmla="*/ 18484 h 21600"/>
              <a:gd name="connsiteX13" fmla="*/ 4015 w 17715"/>
              <a:gd name="connsiteY13" fmla="*/ 21600 h 21600"/>
              <a:gd name="connsiteX14" fmla="*/ 7790 w 17715"/>
              <a:gd name="connsiteY14" fmla="*/ 18484 h 21600"/>
              <a:gd name="connsiteX15" fmla="*/ 6609 w 17715"/>
              <a:gd name="connsiteY15" fmla="*/ 16222 h 21600"/>
              <a:gd name="connsiteX16" fmla="*/ 8370 w 17715"/>
              <a:gd name="connsiteY16" fmla="*/ 14551 h 21600"/>
              <a:gd name="connsiteX17" fmla="*/ 11967 w 17715"/>
              <a:gd name="connsiteY17" fmla="*/ 15595 h 21600"/>
              <a:gd name="connsiteX18" fmla="*/ 17715 w 17715"/>
              <a:gd name="connsiteY18" fmla="*/ 10852 h 21600"/>
              <a:gd name="connsiteX19" fmla="*/ 11967 w 17715"/>
              <a:gd name="connsiteY19" fmla="*/ 6092 h 21600"/>
              <a:gd name="connsiteX20" fmla="*/ 9520 w 17715"/>
              <a:gd name="connsiteY20" fmla="*/ 13489 h 21600"/>
              <a:gd name="connsiteX21" fmla="*/ 7822 w 17715"/>
              <a:gd name="connsiteY21" fmla="*/ 13489 h 21600"/>
              <a:gd name="connsiteX22" fmla="*/ 6725 w 17715"/>
              <a:gd name="connsiteY22" fmla="*/ 10835 h 21600"/>
              <a:gd name="connsiteX23" fmla="*/ 7822 w 17715"/>
              <a:gd name="connsiteY23" fmla="*/ 8180 h 21600"/>
              <a:gd name="connsiteX24" fmla="*/ 9520 w 17715"/>
              <a:gd name="connsiteY24" fmla="*/ 8180 h 21600"/>
              <a:gd name="connsiteX25" fmla="*/ 10617 w 17715"/>
              <a:gd name="connsiteY25" fmla="*/ 10835 h 21600"/>
              <a:gd name="connsiteX26" fmla="*/ 9520 w 17715"/>
              <a:gd name="connsiteY26" fmla="*/ 13489 h 21600"/>
              <a:gd name="connsiteX0" fmla="*/ 11967 w 17715"/>
              <a:gd name="connsiteY0" fmla="*/ 6092 h 21600"/>
              <a:gd name="connsiteX1" fmla="*/ 8666 w 17715"/>
              <a:gd name="connsiteY1" fmla="*/ 6953 h 21600"/>
              <a:gd name="connsiteX2" fmla="*/ 8782 w 17715"/>
              <a:gd name="connsiteY2" fmla="*/ 6858 h 21600"/>
              <a:gd name="connsiteX3" fmla="*/ 3920 w 17715"/>
              <a:gd name="connsiteY3" fmla="*/ 0 h 21600"/>
              <a:gd name="connsiteX4" fmla="*/ 144 w 17715"/>
              <a:gd name="connsiteY4" fmla="*/ 3116 h 21600"/>
              <a:gd name="connsiteX5" fmla="*/ 8539 w 17715"/>
              <a:gd name="connsiteY5" fmla="*/ 7032 h 21600"/>
              <a:gd name="connsiteX6" fmla="*/ 6219 w 17715"/>
              <a:gd name="connsiteY6" fmla="*/ 10713 h 21600"/>
              <a:gd name="connsiteX7" fmla="*/ 6219 w 17715"/>
              <a:gd name="connsiteY7" fmla="*/ 10974 h 21600"/>
              <a:gd name="connsiteX8" fmla="*/ 8128 w 17715"/>
              <a:gd name="connsiteY8" fmla="*/ 14377 h 21600"/>
              <a:gd name="connsiteX9" fmla="*/ 6367 w 17715"/>
              <a:gd name="connsiteY9" fmla="*/ 16048 h 21600"/>
              <a:gd name="connsiteX10" fmla="*/ 4015 w 17715"/>
              <a:gd name="connsiteY10" fmla="*/ 15369 h 21600"/>
              <a:gd name="connsiteX11" fmla="*/ 239 w 17715"/>
              <a:gd name="connsiteY11" fmla="*/ 18484 h 21600"/>
              <a:gd name="connsiteX12" fmla="*/ 4015 w 17715"/>
              <a:gd name="connsiteY12" fmla="*/ 21600 h 21600"/>
              <a:gd name="connsiteX13" fmla="*/ 7790 w 17715"/>
              <a:gd name="connsiteY13" fmla="*/ 18484 h 21600"/>
              <a:gd name="connsiteX14" fmla="*/ 6609 w 17715"/>
              <a:gd name="connsiteY14" fmla="*/ 16222 h 21600"/>
              <a:gd name="connsiteX15" fmla="*/ 8370 w 17715"/>
              <a:gd name="connsiteY15" fmla="*/ 14551 h 21600"/>
              <a:gd name="connsiteX16" fmla="*/ 11967 w 17715"/>
              <a:gd name="connsiteY16" fmla="*/ 15595 h 21600"/>
              <a:gd name="connsiteX17" fmla="*/ 17715 w 17715"/>
              <a:gd name="connsiteY17" fmla="*/ 10852 h 21600"/>
              <a:gd name="connsiteX18" fmla="*/ 11967 w 17715"/>
              <a:gd name="connsiteY18" fmla="*/ 6092 h 21600"/>
              <a:gd name="connsiteX19" fmla="*/ 9520 w 17715"/>
              <a:gd name="connsiteY19" fmla="*/ 13489 h 21600"/>
              <a:gd name="connsiteX20" fmla="*/ 7822 w 17715"/>
              <a:gd name="connsiteY20" fmla="*/ 13489 h 21600"/>
              <a:gd name="connsiteX21" fmla="*/ 6725 w 17715"/>
              <a:gd name="connsiteY21" fmla="*/ 10835 h 21600"/>
              <a:gd name="connsiteX22" fmla="*/ 7822 w 17715"/>
              <a:gd name="connsiteY22" fmla="*/ 8180 h 21600"/>
              <a:gd name="connsiteX23" fmla="*/ 9520 w 17715"/>
              <a:gd name="connsiteY23" fmla="*/ 8180 h 21600"/>
              <a:gd name="connsiteX24" fmla="*/ 10617 w 17715"/>
              <a:gd name="connsiteY24" fmla="*/ 10835 h 21600"/>
              <a:gd name="connsiteX25" fmla="*/ 9520 w 17715"/>
              <a:gd name="connsiteY25" fmla="*/ 13489 h 21600"/>
              <a:gd name="connsiteX0" fmla="*/ 11823 w 17571"/>
              <a:gd name="connsiteY0" fmla="*/ 2976 h 18484"/>
              <a:gd name="connsiteX1" fmla="*/ 8522 w 17571"/>
              <a:gd name="connsiteY1" fmla="*/ 3837 h 18484"/>
              <a:gd name="connsiteX2" fmla="*/ 8638 w 17571"/>
              <a:gd name="connsiteY2" fmla="*/ 3742 h 18484"/>
              <a:gd name="connsiteX3" fmla="*/ 0 w 17571"/>
              <a:gd name="connsiteY3" fmla="*/ 0 h 18484"/>
              <a:gd name="connsiteX4" fmla="*/ 8395 w 17571"/>
              <a:gd name="connsiteY4" fmla="*/ 3916 h 18484"/>
              <a:gd name="connsiteX5" fmla="*/ 6075 w 17571"/>
              <a:gd name="connsiteY5" fmla="*/ 7597 h 18484"/>
              <a:gd name="connsiteX6" fmla="*/ 6075 w 17571"/>
              <a:gd name="connsiteY6" fmla="*/ 7858 h 18484"/>
              <a:gd name="connsiteX7" fmla="*/ 7984 w 17571"/>
              <a:gd name="connsiteY7" fmla="*/ 11261 h 18484"/>
              <a:gd name="connsiteX8" fmla="*/ 6223 w 17571"/>
              <a:gd name="connsiteY8" fmla="*/ 12932 h 18484"/>
              <a:gd name="connsiteX9" fmla="*/ 3871 w 17571"/>
              <a:gd name="connsiteY9" fmla="*/ 12253 h 18484"/>
              <a:gd name="connsiteX10" fmla="*/ 95 w 17571"/>
              <a:gd name="connsiteY10" fmla="*/ 15368 h 18484"/>
              <a:gd name="connsiteX11" fmla="*/ 3871 w 17571"/>
              <a:gd name="connsiteY11" fmla="*/ 18484 h 18484"/>
              <a:gd name="connsiteX12" fmla="*/ 7646 w 17571"/>
              <a:gd name="connsiteY12" fmla="*/ 15368 h 18484"/>
              <a:gd name="connsiteX13" fmla="*/ 6465 w 17571"/>
              <a:gd name="connsiteY13" fmla="*/ 13106 h 18484"/>
              <a:gd name="connsiteX14" fmla="*/ 8226 w 17571"/>
              <a:gd name="connsiteY14" fmla="*/ 11435 h 18484"/>
              <a:gd name="connsiteX15" fmla="*/ 11823 w 17571"/>
              <a:gd name="connsiteY15" fmla="*/ 12479 h 18484"/>
              <a:gd name="connsiteX16" fmla="*/ 17571 w 17571"/>
              <a:gd name="connsiteY16" fmla="*/ 7736 h 18484"/>
              <a:gd name="connsiteX17" fmla="*/ 11823 w 17571"/>
              <a:gd name="connsiteY17" fmla="*/ 2976 h 18484"/>
              <a:gd name="connsiteX18" fmla="*/ 9376 w 17571"/>
              <a:gd name="connsiteY18" fmla="*/ 10373 h 18484"/>
              <a:gd name="connsiteX19" fmla="*/ 7678 w 17571"/>
              <a:gd name="connsiteY19" fmla="*/ 10373 h 18484"/>
              <a:gd name="connsiteX20" fmla="*/ 6581 w 17571"/>
              <a:gd name="connsiteY20" fmla="*/ 7719 h 18484"/>
              <a:gd name="connsiteX21" fmla="*/ 7678 w 17571"/>
              <a:gd name="connsiteY21" fmla="*/ 5064 h 18484"/>
              <a:gd name="connsiteX22" fmla="*/ 9376 w 17571"/>
              <a:gd name="connsiteY22" fmla="*/ 5064 h 18484"/>
              <a:gd name="connsiteX23" fmla="*/ 10473 w 17571"/>
              <a:gd name="connsiteY23" fmla="*/ 7719 h 18484"/>
              <a:gd name="connsiteX24" fmla="*/ 9376 w 17571"/>
              <a:gd name="connsiteY24" fmla="*/ 10373 h 18484"/>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6128 w 17476"/>
              <a:gd name="connsiteY7" fmla="*/ 9956 h 15508"/>
              <a:gd name="connsiteX8" fmla="*/ 3776 w 17476"/>
              <a:gd name="connsiteY8" fmla="*/ 9277 h 15508"/>
              <a:gd name="connsiteX9" fmla="*/ 0 w 17476"/>
              <a:gd name="connsiteY9" fmla="*/ 12392 h 15508"/>
              <a:gd name="connsiteX10" fmla="*/ 3776 w 17476"/>
              <a:gd name="connsiteY10" fmla="*/ 15508 h 15508"/>
              <a:gd name="connsiteX11" fmla="*/ 7551 w 17476"/>
              <a:gd name="connsiteY11" fmla="*/ 12392 h 15508"/>
              <a:gd name="connsiteX12" fmla="*/ 6370 w 17476"/>
              <a:gd name="connsiteY12" fmla="*/ 10130 h 15508"/>
              <a:gd name="connsiteX13" fmla="*/ 8131 w 17476"/>
              <a:gd name="connsiteY13" fmla="*/ 8459 h 15508"/>
              <a:gd name="connsiteX14" fmla="*/ 11728 w 17476"/>
              <a:gd name="connsiteY14" fmla="*/ 9503 h 15508"/>
              <a:gd name="connsiteX15" fmla="*/ 17476 w 17476"/>
              <a:gd name="connsiteY15" fmla="*/ 4760 h 15508"/>
              <a:gd name="connsiteX16" fmla="*/ 11728 w 17476"/>
              <a:gd name="connsiteY16" fmla="*/ 0 h 15508"/>
              <a:gd name="connsiteX17" fmla="*/ 9281 w 17476"/>
              <a:gd name="connsiteY17" fmla="*/ 7397 h 15508"/>
              <a:gd name="connsiteX18" fmla="*/ 7583 w 17476"/>
              <a:gd name="connsiteY18" fmla="*/ 7397 h 15508"/>
              <a:gd name="connsiteX19" fmla="*/ 6486 w 17476"/>
              <a:gd name="connsiteY19" fmla="*/ 4743 h 15508"/>
              <a:gd name="connsiteX20" fmla="*/ 7583 w 17476"/>
              <a:gd name="connsiteY20" fmla="*/ 2088 h 15508"/>
              <a:gd name="connsiteX21" fmla="*/ 9281 w 17476"/>
              <a:gd name="connsiteY21" fmla="*/ 2088 h 15508"/>
              <a:gd name="connsiteX22" fmla="*/ 10378 w 17476"/>
              <a:gd name="connsiteY22" fmla="*/ 4743 h 15508"/>
              <a:gd name="connsiteX23" fmla="*/ 9281 w 17476"/>
              <a:gd name="connsiteY23"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6128 w 17476"/>
              <a:gd name="connsiteY7" fmla="*/ 9956 h 15508"/>
              <a:gd name="connsiteX8" fmla="*/ 3776 w 17476"/>
              <a:gd name="connsiteY8" fmla="*/ 9277 h 15508"/>
              <a:gd name="connsiteX9" fmla="*/ 0 w 17476"/>
              <a:gd name="connsiteY9" fmla="*/ 12392 h 15508"/>
              <a:gd name="connsiteX10" fmla="*/ 3776 w 17476"/>
              <a:gd name="connsiteY10" fmla="*/ 15508 h 15508"/>
              <a:gd name="connsiteX11" fmla="*/ 7551 w 17476"/>
              <a:gd name="connsiteY11" fmla="*/ 12392 h 15508"/>
              <a:gd name="connsiteX12" fmla="*/ 8131 w 17476"/>
              <a:gd name="connsiteY12" fmla="*/ 8459 h 15508"/>
              <a:gd name="connsiteX13" fmla="*/ 11728 w 17476"/>
              <a:gd name="connsiteY13" fmla="*/ 9503 h 15508"/>
              <a:gd name="connsiteX14" fmla="*/ 17476 w 17476"/>
              <a:gd name="connsiteY14" fmla="*/ 4760 h 15508"/>
              <a:gd name="connsiteX15" fmla="*/ 11728 w 17476"/>
              <a:gd name="connsiteY15" fmla="*/ 0 h 15508"/>
              <a:gd name="connsiteX16" fmla="*/ 9281 w 17476"/>
              <a:gd name="connsiteY16" fmla="*/ 7397 h 15508"/>
              <a:gd name="connsiteX17" fmla="*/ 7583 w 17476"/>
              <a:gd name="connsiteY17" fmla="*/ 7397 h 15508"/>
              <a:gd name="connsiteX18" fmla="*/ 6486 w 17476"/>
              <a:gd name="connsiteY18" fmla="*/ 4743 h 15508"/>
              <a:gd name="connsiteX19" fmla="*/ 7583 w 17476"/>
              <a:gd name="connsiteY19" fmla="*/ 2088 h 15508"/>
              <a:gd name="connsiteX20" fmla="*/ 9281 w 17476"/>
              <a:gd name="connsiteY20" fmla="*/ 2088 h 15508"/>
              <a:gd name="connsiteX21" fmla="*/ 10378 w 17476"/>
              <a:gd name="connsiteY21" fmla="*/ 4743 h 15508"/>
              <a:gd name="connsiteX22" fmla="*/ 9281 w 17476"/>
              <a:gd name="connsiteY22"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3776 w 17476"/>
              <a:gd name="connsiteY7" fmla="*/ 9277 h 15508"/>
              <a:gd name="connsiteX8" fmla="*/ 0 w 17476"/>
              <a:gd name="connsiteY8" fmla="*/ 12392 h 15508"/>
              <a:gd name="connsiteX9" fmla="*/ 3776 w 17476"/>
              <a:gd name="connsiteY9" fmla="*/ 15508 h 15508"/>
              <a:gd name="connsiteX10" fmla="*/ 7551 w 17476"/>
              <a:gd name="connsiteY10" fmla="*/ 12392 h 15508"/>
              <a:gd name="connsiteX11" fmla="*/ 8131 w 17476"/>
              <a:gd name="connsiteY11" fmla="*/ 8459 h 15508"/>
              <a:gd name="connsiteX12" fmla="*/ 11728 w 17476"/>
              <a:gd name="connsiteY12" fmla="*/ 9503 h 15508"/>
              <a:gd name="connsiteX13" fmla="*/ 17476 w 17476"/>
              <a:gd name="connsiteY13" fmla="*/ 4760 h 15508"/>
              <a:gd name="connsiteX14" fmla="*/ 11728 w 17476"/>
              <a:gd name="connsiteY14" fmla="*/ 0 h 15508"/>
              <a:gd name="connsiteX15" fmla="*/ 9281 w 17476"/>
              <a:gd name="connsiteY15" fmla="*/ 7397 h 15508"/>
              <a:gd name="connsiteX16" fmla="*/ 7583 w 17476"/>
              <a:gd name="connsiteY16" fmla="*/ 7397 h 15508"/>
              <a:gd name="connsiteX17" fmla="*/ 6486 w 17476"/>
              <a:gd name="connsiteY17" fmla="*/ 4743 h 15508"/>
              <a:gd name="connsiteX18" fmla="*/ 7583 w 17476"/>
              <a:gd name="connsiteY18" fmla="*/ 2088 h 15508"/>
              <a:gd name="connsiteX19" fmla="*/ 9281 w 17476"/>
              <a:gd name="connsiteY19" fmla="*/ 2088 h 15508"/>
              <a:gd name="connsiteX20" fmla="*/ 10378 w 17476"/>
              <a:gd name="connsiteY20" fmla="*/ 4743 h 15508"/>
              <a:gd name="connsiteX21" fmla="*/ 9281 w 17476"/>
              <a:gd name="connsiteY21"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0 w 17476"/>
              <a:gd name="connsiteY7" fmla="*/ 12392 h 15508"/>
              <a:gd name="connsiteX8" fmla="*/ 3776 w 17476"/>
              <a:gd name="connsiteY8" fmla="*/ 15508 h 15508"/>
              <a:gd name="connsiteX9" fmla="*/ 7551 w 17476"/>
              <a:gd name="connsiteY9" fmla="*/ 12392 h 15508"/>
              <a:gd name="connsiteX10" fmla="*/ 8131 w 17476"/>
              <a:gd name="connsiteY10" fmla="*/ 8459 h 15508"/>
              <a:gd name="connsiteX11" fmla="*/ 11728 w 17476"/>
              <a:gd name="connsiteY11" fmla="*/ 9503 h 15508"/>
              <a:gd name="connsiteX12" fmla="*/ 17476 w 17476"/>
              <a:gd name="connsiteY12" fmla="*/ 4760 h 15508"/>
              <a:gd name="connsiteX13" fmla="*/ 11728 w 17476"/>
              <a:gd name="connsiteY13" fmla="*/ 0 h 15508"/>
              <a:gd name="connsiteX14" fmla="*/ 9281 w 17476"/>
              <a:gd name="connsiteY14" fmla="*/ 7397 h 15508"/>
              <a:gd name="connsiteX15" fmla="*/ 7583 w 17476"/>
              <a:gd name="connsiteY15" fmla="*/ 7397 h 15508"/>
              <a:gd name="connsiteX16" fmla="*/ 6486 w 17476"/>
              <a:gd name="connsiteY16" fmla="*/ 4743 h 15508"/>
              <a:gd name="connsiteX17" fmla="*/ 7583 w 17476"/>
              <a:gd name="connsiteY17" fmla="*/ 2088 h 15508"/>
              <a:gd name="connsiteX18" fmla="*/ 9281 w 17476"/>
              <a:gd name="connsiteY18" fmla="*/ 2088 h 15508"/>
              <a:gd name="connsiteX19" fmla="*/ 10378 w 17476"/>
              <a:gd name="connsiteY19" fmla="*/ 4743 h 15508"/>
              <a:gd name="connsiteX20" fmla="*/ 9281 w 17476"/>
              <a:gd name="connsiteY20" fmla="*/ 7397 h 15508"/>
              <a:gd name="connsiteX0" fmla="*/ 7952 w 13700"/>
              <a:gd name="connsiteY0" fmla="*/ 0 h 15508"/>
              <a:gd name="connsiteX1" fmla="*/ 4651 w 13700"/>
              <a:gd name="connsiteY1" fmla="*/ 861 h 15508"/>
              <a:gd name="connsiteX2" fmla="*/ 4767 w 13700"/>
              <a:gd name="connsiteY2" fmla="*/ 766 h 15508"/>
              <a:gd name="connsiteX3" fmla="*/ 4524 w 13700"/>
              <a:gd name="connsiteY3" fmla="*/ 940 h 15508"/>
              <a:gd name="connsiteX4" fmla="*/ 2204 w 13700"/>
              <a:gd name="connsiteY4" fmla="*/ 4621 h 15508"/>
              <a:gd name="connsiteX5" fmla="*/ 2204 w 13700"/>
              <a:gd name="connsiteY5" fmla="*/ 4882 h 15508"/>
              <a:gd name="connsiteX6" fmla="*/ 4113 w 13700"/>
              <a:gd name="connsiteY6" fmla="*/ 8285 h 15508"/>
              <a:gd name="connsiteX7" fmla="*/ 0 w 13700"/>
              <a:gd name="connsiteY7" fmla="*/ 15508 h 15508"/>
              <a:gd name="connsiteX8" fmla="*/ 3775 w 13700"/>
              <a:gd name="connsiteY8" fmla="*/ 12392 h 15508"/>
              <a:gd name="connsiteX9" fmla="*/ 4355 w 13700"/>
              <a:gd name="connsiteY9" fmla="*/ 8459 h 15508"/>
              <a:gd name="connsiteX10" fmla="*/ 7952 w 13700"/>
              <a:gd name="connsiteY10" fmla="*/ 9503 h 15508"/>
              <a:gd name="connsiteX11" fmla="*/ 13700 w 13700"/>
              <a:gd name="connsiteY11" fmla="*/ 4760 h 15508"/>
              <a:gd name="connsiteX12" fmla="*/ 7952 w 13700"/>
              <a:gd name="connsiteY12" fmla="*/ 0 h 15508"/>
              <a:gd name="connsiteX13" fmla="*/ 5505 w 13700"/>
              <a:gd name="connsiteY13" fmla="*/ 7397 h 15508"/>
              <a:gd name="connsiteX14" fmla="*/ 3807 w 13700"/>
              <a:gd name="connsiteY14" fmla="*/ 7397 h 15508"/>
              <a:gd name="connsiteX15" fmla="*/ 2710 w 13700"/>
              <a:gd name="connsiteY15" fmla="*/ 4743 h 15508"/>
              <a:gd name="connsiteX16" fmla="*/ 3807 w 13700"/>
              <a:gd name="connsiteY16" fmla="*/ 2088 h 15508"/>
              <a:gd name="connsiteX17" fmla="*/ 5505 w 13700"/>
              <a:gd name="connsiteY17" fmla="*/ 2088 h 15508"/>
              <a:gd name="connsiteX18" fmla="*/ 6602 w 13700"/>
              <a:gd name="connsiteY18" fmla="*/ 4743 h 15508"/>
              <a:gd name="connsiteX19" fmla="*/ 5505 w 13700"/>
              <a:gd name="connsiteY19" fmla="*/ 7397 h 15508"/>
              <a:gd name="connsiteX0" fmla="*/ 5748 w 11496"/>
              <a:gd name="connsiteY0" fmla="*/ 0 h 12392"/>
              <a:gd name="connsiteX1" fmla="*/ 2447 w 11496"/>
              <a:gd name="connsiteY1" fmla="*/ 861 h 12392"/>
              <a:gd name="connsiteX2" fmla="*/ 2563 w 11496"/>
              <a:gd name="connsiteY2" fmla="*/ 766 h 12392"/>
              <a:gd name="connsiteX3" fmla="*/ 2320 w 11496"/>
              <a:gd name="connsiteY3" fmla="*/ 940 h 12392"/>
              <a:gd name="connsiteX4" fmla="*/ 0 w 11496"/>
              <a:gd name="connsiteY4" fmla="*/ 4621 h 12392"/>
              <a:gd name="connsiteX5" fmla="*/ 0 w 11496"/>
              <a:gd name="connsiteY5" fmla="*/ 4882 h 12392"/>
              <a:gd name="connsiteX6" fmla="*/ 1909 w 11496"/>
              <a:gd name="connsiteY6" fmla="*/ 8285 h 12392"/>
              <a:gd name="connsiteX7" fmla="*/ 1571 w 11496"/>
              <a:gd name="connsiteY7" fmla="*/ 12392 h 12392"/>
              <a:gd name="connsiteX8" fmla="*/ 2151 w 11496"/>
              <a:gd name="connsiteY8" fmla="*/ 8459 h 12392"/>
              <a:gd name="connsiteX9" fmla="*/ 5748 w 11496"/>
              <a:gd name="connsiteY9" fmla="*/ 9503 h 12392"/>
              <a:gd name="connsiteX10" fmla="*/ 11496 w 11496"/>
              <a:gd name="connsiteY10" fmla="*/ 4760 h 12392"/>
              <a:gd name="connsiteX11" fmla="*/ 5748 w 11496"/>
              <a:gd name="connsiteY11" fmla="*/ 0 h 12392"/>
              <a:gd name="connsiteX12" fmla="*/ 3301 w 11496"/>
              <a:gd name="connsiteY12" fmla="*/ 7397 h 12392"/>
              <a:gd name="connsiteX13" fmla="*/ 1603 w 11496"/>
              <a:gd name="connsiteY13" fmla="*/ 7397 h 12392"/>
              <a:gd name="connsiteX14" fmla="*/ 506 w 11496"/>
              <a:gd name="connsiteY14" fmla="*/ 4743 h 12392"/>
              <a:gd name="connsiteX15" fmla="*/ 1603 w 11496"/>
              <a:gd name="connsiteY15" fmla="*/ 2088 h 12392"/>
              <a:gd name="connsiteX16" fmla="*/ 3301 w 11496"/>
              <a:gd name="connsiteY16" fmla="*/ 2088 h 12392"/>
              <a:gd name="connsiteX17" fmla="*/ 4398 w 11496"/>
              <a:gd name="connsiteY17" fmla="*/ 4743 h 12392"/>
              <a:gd name="connsiteX18" fmla="*/ 3301 w 11496"/>
              <a:gd name="connsiteY18" fmla="*/ 7397 h 12392"/>
              <a:gd name="connsiteX0" fmla="*/ 5748 w 11496"/>
              <a:gd name="connsiteY0" fmla="*/ 0 h 9503"/>
              <a:gd name="connsiteX1" fmla="*/ 2447 w 11496"/>
              <a:gd name="connsiteY1" fmla="*/ 861 h 9503"/>
              <a:gd name="connsiteX2" fmla="*/ 2563 w 11496"/>
              <a:gd name="connsiteY2" fmla="*/ 766 h 9503"/>
              <a:gd name="connsiteX3" fmla="*/ 2320 w 11496"/>
              <a:gd name="connsiteY3" fmla="*/ 940 h 9503"/>
              <a:gd name="connsiteX4" fmla="*/ 0 w 11496"/>
              <a:gd name="connsiteY4" fmla="*/ 4621 h 9503"/>
              <a:gd name="connsiteX5" fmla="*/ 0 w 11496"/>
              <a:gd name="connsiteY5" fmla="*/ 4882 h 9503"/>
              <a:gd name="connsiteX6" fmla="*/ 1909 w 11496"/>
              <a:gd name="connsiteY6" fmla="*/ 8285 h 9503"/>
              <a:gd name="connsiteX7" fmla="*/ 2151 w 11496"/>
              <a:gd name="connsiteY7" fmla="*/ 8459 h 9503"/>
              <a:gd name="connsiteX8" fmla="*/ 5748 w 11496"/>
              <a:gd name="connsiteY8" fmla="*/ 9503 h 9503"/>
              <a:gd name="connsiteX9" fmla="*/ 11496 w 11496"/>
              <a:gd name="connsiteY9" fmla="*/ 4760 h 9503"/>
              <a:gd name="connsiteX10" fmla="*/ 5748 w 11496"/>
              <a:gd name="connsiteY10" fmla="*/ 0 h 9503"/>
              <a:gd name="connsiteX11" fmla="*/ 3301 w 11496"/>
              <a:gd name="connsiteY11" fmla="*/ 7397 h 9503"/>
              <a:gd name="connsiteX12" fmla="*/ 1603 w 11496"/>
              <a:gd name="connsiteY12" fmla="*/ 7397 h 9503"/>
              <a:gd name="connsiteX13" fmla="*/ 506 w 11496"/>
              <a:gd name="connsiteY13" fmla="*/ 4743 h 9503"/>
              <a:gd name="connsiteX14" fmla="*/ 1603 w 11496"/>
              <a:gd name="connsiteY14" fmla="*/ 2088 h 9503"/>
              <a:gd name="connsiteX15" fmla="*/ 3301 w 11496"/>
              <a:gd name="connsiteY15" fmla="*/ 2088 h 9503"/>
              <a:gd name="connsiteX16" fmla="*/ 4398 w 11496"/>
              <a:gd name="connsiteY16" fmla="*/ 4743 h 9503"/>
              <a:gd name="connsiteX17" fmla="*/ 3301 w 11496"/>
              <a:gd name="connsiteY17" fmla="*/ 7397 h 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96" h="9503" extrusionOk="0">
                <a:moveTo>
                  <a:pt x="5748" y="0"/>
                </a:moveTo>
                <a:cubicBezTo>
                  <a:pt x="4514" y="0"/>
                  <a:pt x="3375" y="322"/>
                  <a:pt x="2447" y="861"/>
                </a:cubicBezTo>
                <a:lnTo>
                  <a:pt x="2563" y="766"/>
                </a:lnTo>
                <a:lnTo>
                  <a:pt x="2320" y="940"/>
                </a:lnTo>
                <a:cubicBezTo>
                  <a:pt x="949" y="1784"/>
                  <a:pt x="53" y="3115"/>
                  <a:pt x="0" y="4621"/>
                </a:cubicBezTo>
                <a:lnTo>
                  <a:pt x="0" y="4882"/>
                </a:lnTo>
                <a:cubicBezTo>
                  <a:pt x="42" y="6231"/>
                  <a:pt x="770" y="7441"/>
                  <a:pt x="1909" y="8285"/>
                </a:cubicBezTo>
                <a:cubicBezTo>
                  <a:pt x="2268" y="8881"/>
                  <a:pt x="1511" y="8256"/>
                  <a:pt x="2151" y="8459"/>
                </a:cubicBezTo>
                <a:cubicBezTo>
                  <a:pt x="3132" y="9112"/>
                  <a:pt x="4387" y="9503"/>
                  <a:pt x="5748" y="9503"/>
                </a:cubicBezTo>
                <a:cubicBezTo>
                  <a:pt x="8923" y="9503"/>
                  <a:pt x="11496" y="7380"/>
                  <a:pt x="11496" y="4760"/>
                </a:cubicBezTo>
                <a:cubicBezTo>
                  <a:pt x="11496" y="2141"/>
                  <a:pt x="8923" y="0"/>
                  <a:pt x="5748" y="0"/>
                </a:cubicBezTo>
                <a:close/>
                <a:moveTo>
                  <a:pt x="3301" y="7397"/>
                </a:moveTo>
                <a:cubicBezTo>
                  <a:pt x="2869" y="7850"/>
                  <a:pt x="2035" y="7850"/>
                  <a:pt x="1603" y="7397"/>
                </a:cubicBezTo>
                <a:cubicBezTo>
                  <a:pt x="917" y="6666"/>
                  <a:pt x="506" y="5744"/>
                  <a:pt x="506" y="4743"/>
                </a:cubicBezTo>
                <a:cubicBezTo>
                  <a:pt x="506" y="3742"/>
                  <a:pt x="917" y="2820"/>
                  <a:pt x="1603" y="2088"/>
                </a:cubicBezTo>
                <a:cubicBezTo>
                  <a:pt x="2035" y="1636"/>
                  <a:pt x="2869" y="1636"/>
                  <a:pt x="3301" y="2088"/>
                </a:cubicBezTo>
                <a:cubicBezTo>
                  <a:pt x="3987" y="2820"/>
                  <a:pt x="4398" y="3742"/>
                  <a:pt x="4398" y="4743"/>
                </a:cubicBezTo>
                <a:cubicBezTo>
                  <a:pt x="4398" y="5744"/>
                  <a:pt x="3987" y="6666"/>
                  <a:pt x="3301" y="7397"/>
                </a:cubicBezTo>
                <a:close/>
              </a:path>
            </a:pathLst>
          </a:custGeom>
          <a:solidFill>
            <a:srgbClr val="F7931F"/>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94" name="TextBox 93">
            <a:extLst>
              <a:ext uri="{FF2B5EF4-FFF2-40B4-BE49-F238E27FC236}">
                <a16:creationId xmlns:a16="http://schemas.microsoft.com/office/drawing/2014/main" id="{ECDA6DD5-D872-C076-9904-C21EFFDA9FC9}"/>
              </a:ext>
            </a:extLst>
          </p:cNvPr>
          <p:cNvSpPr txBox="1"/>
          <p:nvPr/>
        </p:nvSpPr>
        <p:spPr>
          <a:xfrm>
            <a:off x="3044837" y="2146016"/>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1</a:t>
            </a:r>
          </a:p>
        </p:txBody>
      </p:sp>
      <p:sp>
        <p:nvSpPr>
          <p:cNvPr id="96" name="TextBox 95">
            <a:extLst>
              <a:ext uri="{FF2B5EF4-FFF2-40B4-BE49-F238E27FC236}">
                <a16:creationId xmlns:a16="http://schemas.microsoft.com/office/drawing/2014/main" id="{144AFCCB-225D-6D32-DE80-5056918F303E}"/>
              </a:ext>
            </a:extLst>
          </p:cNvPr>
          <p:cNvSpPr txBox="1"/>
          <p:nvPr/>
        </p:nvSpPr>
        <p:spPr>
          <a:xfrm>
            <a:off x="2929982" y="4482645"/>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4</a:t>
            </a:r>
          </a:p>
        </p:txBody>
      </p:sp>
      <p:sp>
        <p:nvSpPr>
          <p:cNvPr id="97" name="TextBox 96">
            <a:extLst>
              <a:ext uri="{FF2B5EF4-FFF2-40B4-BE49-F238E27FC236}">
                <a16:creationId xmlns:a16="http://schemas.microsoft.com/office/drawing/2014/main" id="{0D7C2D3B-EB41-A220-AE8C-9DB2AC4BD3F7}"/>
              </a:ext>
            </a:extLst>
          </p:cNvPr>
          <p:cNvSpPr txBox="1"/>
          <p:nvPr/>
        </p:nvSpPr>
        <p:spPr>
          <a:xfrm>
            <a:off x="5950852" y="4084623"/>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3</a:t>
            </a:r>
          </a:p>
        </p:txBody>
      </p:sp>
      <p:sp>
        <p:nvSpPr>
          <p:cNvPr id="98" name="TextBox 97">
            <a:extLst>
              <a:ext uri="{FF2B5EF4-FFF2-40B4-BE49-F238E27FC236}">
                <a16:creationId xmlns:a16="http://schemas.microsoft.com/office/drawing/2014/main" id="{7410C07A-794C-C13F-0D17-F86CFEA56128}"/>
              </a:ext>
            </a:extLst>
          </p:cNvPr>
          <p:cNvSpPr txBox="1"/>
          <p:nvPr/>
        </p:nvSpPr>
        <p:spPr>
          <a:xfrm>
            <a:off x="3528726" y="2104289"/>
            <a:ext cx="345375" cy="369140"/>
          </a:xfrm>
          <a:prstGeom prst="rect">
            <a:avLst/>
          </a:prstGeom>
          <a:noFill/>
        </p:spPr>
        <p:txBody>
          <a:bodyPr wrap="square" lIns="0" rIns="0" rtlCol="0" anchor="ctr">
            <a:spAutoFit/>
          </a:bodyPr>
          <a:lstStyle/>
          <a:p>
            <a:r>
              <a:rPr lang="en-US" sz="900" b="1" noProof="1">
                <a:solidFill>
                  <a:prstClr val="black"/>
                </a:solidFill>
                <a:latin typeface="Calibri" panose="020F0502020204030204"/>
              </a:rPr>
              <a:t>Lorem Ipsum</a:t>
            </a:r>
          </a:p>
        </p:txBody>
      </p:sp>
      <p:sp>
        <p:nvSpPr>
          <p:cNvPr id="100" name="TextBox 99">
            <a:extLst>
              <a:ext uri="{FF2B5EF4-FFF2-40B4-BE49-F238E27FC236}">
                <a16:creationId xmlns:a16="http://schemas.microsoft.com/office/drawing/2014/main" id="{83574EAA-F551-99EA-4291-25CC35413302}"/>
              </a:ext>
            </a:extLst>
          </p:cNvPr>
          <p:cNvSpPr txBox="1"/>
          <p:nvPr/>
        </p:nvSpPr>
        <p:spPr>
          <a:xfrm>
            <a:off x="3413871" y="4412652"/>
            <a:ext cx="345375" cy="369140"/>
          </a:xfrm>
          <a:prstGeom prst="rect">
            <a:avLst/>
          </a:prstGeom>
          <a:noFill/>
        </p:spPr>
        <p:txBody>
          <a:bodyPr wrap="square" lIns="0" rIns="0" rtlCol="0" anchor="ctr">
            <a:spAutoFit/>
          </a:bodyPr>
          <a:lstStyle/>
          <a:p>
            <a:r>
              <a:rPr lang="en-US" sz="900" b="1" noProof="1">
                <a:solidFill>
                  <a:prstClr val="black"/>
                </a:solidFill>
                <a:latin typeface="Calibri" panose="020F0502020204030204"/>
              </a:rPr>
              <a:t>Lorem Ipsum</a:t>
            </a:r>
          </a:p>
        </p:txBody>
      </p:sp>
      <p:sp>
        <p:nvSpPr>
          <p:cNvPr id="101" name="TextBox 100">
            <a:extLst>
              <a:ext uri="{FF2B5EF4-FFF2-40B4-BE49-F238E27FC236}">
                <a16:creationId xmlns:a16="http://schemas.microsoft.com/office/drawing/2014/main" id="{2B7E658B-4063-9FA0-04CC-53982D190624}"/>
              </a:ext>
            </a:extLst>
          </p:cNvPr>
          <p:cNvSpPr txBox="1"/>
          <p:nvPr/>
        </p:nvSpPr>
        <p:spPr>
          <a:xfrm>
            <a:off x="5572638" y="4014630"/>
            <a:ext cx="345375" cy="369140"/>
          </a:xfrm>
          <a:prstGeom prst="rect">
            <a:avLst/>
          </a:prstGeom>
          <a:noFill/>
        </p:spPr>
        <p:txBody>
          <a:bodyPr wrap="square" lIns="0" rIns="0" rtlCol="0" anchor="ctr">
            <a:spAutoFit/>
          </a:bodyPr>
          <a:lstStyle/>
          <a:p>
            <a:pPr algn="r"/>
            <a:r>
              <a:rPr lang="en-US" sz="900" b="1" noProof="1">
                <a:solidFill>
                  <a:prstClr val="black"/>
                </a:solidFill>
                <a:latin typeface="Calibri" panose="020F0502020204030204"/>
              </a:rPr>
              <a:t>Lorem Ipsum</a:t>
            </a:r>
          </a:p>
        </p:txBody>
      </p:sp>
      <p:sp>
        <p:nvSpPr>
          <p:cNvPr id="102" name="Freeform: Shape 101">
            <a:extLst>
              <a:ext uri="{FF2B5EF4-FFF2-40B4-BE49-F238E27FC236}">
                <a16:creationId xmlns:a16="http://schemas.microsoft.com/office/drawing/2014/main" id="{1AF92501-007A-DDAA-1C73-745E70323012}"/>
              </a:ext>
            </a:extLst>
          </p:cNvPr>
          <p:cNvSpPr/>
          <p:nvPr/>
        </p:nvSpPr>
        <p:spPr>
          <a:xfrm>
            <a:off x="2183422" y="1171862"/>
            <a:ext cx="1076738" cy="2225165"/>
          </a:xfrm>
          <a:custGeom>
            <a:avLst/>
            <a:gdLst>
              <a:gd name="connsiteX0" fmla="*/ 428187 w 1512967"/>
              <a:gd name="connsiteY0" fmla="*/ 1059703 h 2968432"/>
              <a:gd name="connsiteX1" fmla="*/ 856374 w 1512967"/>
              <a:gd name="connsiteY1" fmla="*/ 1472260 h 2968432"/>
              <a:gd name="connsiteX2" fmla="*/ 1145763 w 1512967"/>
              <a:gd name="connsiteY2" fmla="*/ 1472260 h 2968432"/>
              <a:gd name="connsiteX3" fmla="*/ 1167542 w 1512967"/>
              <a:gd name="connsiteY3" fmla="*/ 1322215 h 2968432"/>
              <a:gd name="connsiteX4" fmla="*/ 1185798 w 1512967"/>
              <a:gd name="connsiteY4" fmla="*/ 1266617 h 2968432"/>
              <a:gd name="connsiteX5" fmla="*/ 1185798 w 1512967"/>
              <a:gd name="connsiteY5" fmla="*/ 1266619 h 2968432"/>
              <a:gd name="connsiteX6" fmla="*/ 1167543 w 1512967"/>
              <a:gd name="connsiteY6" fmla="*/ 1322215 h 2968432"/>
              <a:gd name="connsiteX7" fmla="*/ 1145764 w 1512967"/>
              <a:gd name="connsiteY7" fmla="*/ 1472260 h 2968432"/>
              <a:gd name="connsiteX8" fmla="*/ 1145764 w 1512967"/>
              <a:gd name="connsiteY8" fmla="*/ 1508128 h 2968432"/>
              <a:gd name="connsiteX9" fmla="*/ 1362239 w 1512967"/>
              <a:gd name="connsiteY9" fmla="*/ 1975794 h 2968432"/>
              <a:gd name="connsiteX10" fmla="*/ 1370028 w 1512967"/>
              <a:gd name="connsiteY10" fmla="*/ 1994222 h 2968432"/>
              <a:gd name="connsiteX11" fmla="*/ 1369335 w 1512967"/>
              <a:gd name="connsiteY11" fmla="*/ 1994028 h 2968432"/>
              <a:gd name="connsiteX12" fmla="*/ 1372129 w 1512967"/>
              <a:gd name="connsiteY12" fmla="*/ 1999193 h 2968432"/>
              <a:gd name="connsiteX13" fmla="*/ 1370028 w 1512967"/>
              <a:gd name="connsiteY13" fmla="*/ 1994222 h 2968432"/>
              <a:gd name="connsiteX14" fmla="*/ 1389681 w 1512967"/>
              <a:gd name="connsiteY14" fmla="*/ 1999706 h 2968432"/>
              <a:gd name="connsiteX15" fmla="*/ 1478641 w 1512967"/>
              <a:gd name="connsiteY15" fmla="*/ 2059983 h 2968432"/>
              <a:gd name="connsiteX16" fmla="*/ 1512966 w 1512967"/>
              <a:gd name="connsiteY16" fmla="*/ 2075652 h 2968432"/>
              <a:gd name="connsiteX17" fmla="*/ 1512967 w 1512967"/>
              <a:gd name="connsiteY17" fmla="*/ 2075653 h 2968432"/>
              <a:gd name="connsiteX18" fmla="*/ 1478640 w 1512967"/>
              <a:gd name="connsiteY18" fmla="*/ 2059983 h 2968432"/>
              <a:gd name="connsiteX19" fmla="*/ 1389680 w 1512967"/>
              <a:gd name="connsiteY19" fmla="*/ 1999706 h 2968432"/>
              <a:gd name="connsiteX20" fmla="*/ 1189988 w 1512967"/>
              <a:gd name="connsiteY20" fmla="*/ 2229348 h 2968432"/>
              <a:gd name="connsiteX21" fmla="*/ 1323910 w 1512967"/>
              <a:gd name="connsiteY21" fmla="*/ 2540208 h 2968432"/>
              <a:gd name="connsiteX22" fmla="*/ 895836 w 1512967"/>
              <a:gd name="connsiteY22" fmla="*/ 2968432 h 2968432"/>
              <a:gd name="connsiteX23" fmla="*/ 467649 w 1512967"/>
              <a:gd name="connsiteY23" fmla="*/ 2540208 h 2968432"/>
              <a:gd name="connsiteX24" fmla="*/ 895836 w 1512967"/>
              <a:gd name="connsiteY24" fmla="*/ 2112122 h 2968432"/>
              <a:gd name="connsiteX25" fmla="*/ 1162546 w 1512967"/>
              <a:gd name="connsiteY25" fmla="*/ 2205435 h 2968432"/>
              <a:gd name="connsiteX26" fmla="*/ 1362238 w 1512967"/>
              <a:gd name="connsiteY26" fmla="*/ 1975794 h 2968432"/>
              <a:gd name="connsiteX27" fmla="*/ 1145763 w 1512967"/>
              <a:gd name="connsiteY27" fmla="*/ 1508129 h 2968432"/>
              <a:gd name="connsiteX28" fmla="*/ 856374 w 1512967"/>
              <a:gd name="connsiteY28" fmla="*/ 1508129 h 2968432"/>
              <a:gd name="connsiteX29" fmla="*/ 428187 w 1512967"/>
              <a:gd name="connsiteY29" fmla="*/ 1916013 h 2968432"/>
              <a:gd name="connsiteX30" fmla="*/ 0 w 1512967"/>
              <a:gd name="connsiteY30" fmla="*/ 1487789 h 2968432"/>
              <a:gd name="connsiteX31" fmla="*/ 428187 w 1512967"/>
              <a:gd name="connsiteY31" fmla="*/ 1059703 h 2968432"/>
              <a:gd name="connsiteX32" fmla="*/ 1506467 w 1512967"/>
              <a:gd name="connsiteY32" fmla="*/ 905789 h 2968432"/>
              <a:gd name="connsiteX33" fmla="*/ 1506452 w 1512967"/>
              <a:gd name="connsiteY33" fmla="*/ 905795 h 2968432"/>
              <a:gd name="connsiteX34" fmla="*/ 1423246 w 1512967"/>
              <a:gd name="connsiteY34" fmla="*/ 955533 h 2968432"/>
              <a:gd name="connsiteX35" fmla="*/ 1423248 w 1512967"/>
              <a:gd name="connsiteY35" fmla="*/ 955531 h 2968432"/>
              <a:gd name="connsiteX36" fmla="*/ 1506450 w 1512967"/>
              <a:gd name="connsiteY36" fmla="*/ 905795 h 2968432"/>
              <a:gd name="connsiteX37" fmla="*/ 1512231 w 1512967"/>
              <a:gd name="connsiteY37" fmla="*/ 903431 h 2968432"/>
              <a:gd name="connsiteX38" fmla="*/ 1512255 w 1512967"/>
              <a:gd name="connsiteY38" fmla="*/ 903678 h 2968432"/>
              <a:gd name="connsiteX39" fmla="*/ 1506467 w 1512967"/>
              <a:gd name="connsiteY39" fmla="*/ 905789 h 2968432"/>
              <a:gd name="connsiteX40" fmla="*/ 885063 w 1512967"/>
              <a:gd name="connsiteY40" fmla="*/ 0 h 2968432"/>
              <a:gd name="connsiteX41" fmla="*/ 1313137 w 1512967"/>
              <a:gd name="connsiteY41" fmla="*/ 428224 h 2968432"/>
              <a:gd name="connsiteX42" fmla="*/ 1203142 w 1512967"/>
              <a:gd name="connsiteY42" fmla="*/ 713935 h 2968432"/>
              <a:gd name="connsiteX43" fmla="*/ 1436399 w 1512967"/>
              <a:gd name="connsiteY43" fmla="*/ 942477 h 2968432"/>
              <a:gd name="connsiteX44" fmla="*/ 1436388 w 1512967"/>
              <a:gd name="connsiteY44" fmla="*/ 942488 h 2968432"/>
              <a:gd name="connsiteX45" fmla="*/ 1408845 w 1512967"/>
              <a:gd name="connsiteY45" fmla="*/ 966390 h 2968432"/>
              <a:gd name="connsiteX46" fmla="*/ 1327700 w 1512967"/>
              <a:gd name="connsiteY46" fmla="*/ 1042185 h 2968432"/>
              <a:gd name="connsiteX47" fmla="*/ 1327699 w 1512967"/>
              <a:gd name="connsiteY47" fmla="*/ 1042185 h 2968432"/>
              <a:gd name="connsiteX48" fmla="*/ 1408844 w 1512967"/>
              <a:gd name="connsiteY48" fmla="*/ 966390 h 2968432"/>
              <a:gd name="connsiteX49" fmla="*/ 1178081 w 1512967"/>
              <a:gd name="connsiteY49" fmla="*/ 740322 h 2968432"/>
              <a:gd name="connsiteX50" fmla="*/ 885063 w 1512967"/>
              <a:gd name="connsiteY50" fmla="*/ 856310 h 2968432"/>
              <a:gd name="connsiteX51" fmla="*/ 456876 w 1512967"/>
              <a:gd name="connsiteY51" fmla="*/ 428224 h 2968432"/>
              <a:gd name="connsiteX52" fmla="*/ 885063 w 1512967"/>
              <a:gd name="connsiteY52" fmla="*/ 0 h 2968432"/>
              <a:gd name="connsiteX0" fmla="*/ 428187 w 1512966"/>
              <a:gd name="connsiteY0" fmla="*/ 1059703 h 2968432"/>
              <a:gd name="connsiteX1" fmla="*/ 856374 w 1512966"/>
              <a:gd name="connsiteY1" fmla="*/ 1472260 h 2968432"/>
              <a:gd name="connsiteX2" fmla="*/ 1145763 w 1512966"/>
              <a:gd name="connsiteY2" fmla="*/ 1472260 h 2968432"/>
              <a:gd name="connsiteX3" fmla="*/ 1167542 w 1512966"/>
              <a:gd name="connsiteY3" fmla="*/ 1322215 h 2968432"/>
              <a:gd name="connsiteX4" fmla="*/ 1185798 w 1512966"/>
              <a:gd name="connsiteY4" fmla="*/ 1266617 h 2968432"/>
              <a:gd name="connsiteX5" fmla="*/ 1185798 w 1512966"/>
              <a:gd name="connsiteY5" fmla="*/ 1266619 h 2968432"/>
              <a:gd name="connsiteX6" fmla="*/ 1167543 w 1512966"/>
              <a:gd name="connsiteY6" fmla="*/ 1322215 h 2968432"/>
              <a:gd name="connsiteX7" fmla="*/ 1145764 w 1512966"/>
              <a:gd name="connsiteY7" fmla="*/ 1472260 h 2968432"/>
              <a:gd name="connsiteX8" fmla="*/ 1145764 w 1512966"/>
              <a:gd name="connsiteY8" fmla="*/ 1508128 h 2968432"/>
              <a:gd name="connsiteX9" fmla="*/ 1362239 w 1512966"/>
              <a:gd name="connsiteY9" fmla="*/ 1975794 h 2968432"/>
              <a:gd name="connsiteX10" fmla="*/ 1370028 w 1512966"/>
              <a:gd name="connsiteY10" fmla="*/ 1994222 h 2968432"/>
              <a:gd name="connsiteX11" fmla="*/ 1369335 w 1512966"/>
              <a:gd name="connsiteY11" fmla="*/ 1994028 h 2968432"/>
              <a:gd name="connsiteX12" fmla="*/ 1372129 w 1512966"/>
              <a:gd name="connsiteY12" fmla="*/ 1999193 h 2968432"/>
              <a:gd name="connsiteX13" fmla="*/ 1370028 w 1512966"/>
              <a:gd name="connsiteY13" fmla="*/ 1994222 h 2968432"/>
              <a:gd name="connsiteX14" fmla="*/ 1389681 w 1512966"/>
              <a:gd name="connsiteY14" fmla="*/ 1999706 h 2968432"/>
              <a:gd name="connsiteX15" fmla="*/ 1478641 w 1512966"/>
              <a:gd name="connsiteY15" fmla="*/ 2059983 h 2968432"/>
              <a:gd name="connsiteX16" fmla="*/ 1512966 w 1512966"/>
              <a:gd name="connsiteY16" fmla="*/ 2075652 h 2968432"/>
              <a:gd name="connsiteX17" fmla="*/ 1478640 w 1512966"/>
              <a:gd name="connsiteY17" fmla="*/ 2059983 h 2968432"/>
              <a:gd name="connsiteX18" fmla="*/ 1389680 w 1512966"/>
              <a:gd name="connsiteY18" fmla="*/ 1999706 h 2968432"/>
              <a:gd name="connsiteX19" fmla="*/ 1189988 w 1512966"/>
              <a:gd name="connsiteY19" fmla="*/ 2229348 h 2968432"/>
              <a:gd name="connsiteX20" fmla="*/ 1323910 w 1512966"/>
              <a:gd name="connsiteY20" fmla="*/ 2540208 h 2968432"/>
              <a:gd name="connsiteX21" fmla="*/ 895836 w 1512966"/>
              <a:gd name="connsiteY21" fmla="*/ 2968432 h 2968432"/>
              <a:gd name="connsiteX22" fmla="*/ 467649 w 1512966"/>
              <a:gd name="connsiteY22" fmla="*/ 2540208 h 2968432"/>
              <a:gd name="connsiteX23" fmla="*/ 895836 w 1512966"/>
              <a:gd name="connsiteY23" fmla="*/ 2112122 h 2968432"/>
              <a:gd name="connsiteX24" fmla="*/ 1162546 w 1512966"/>
              <a:gd name="connsiteY24" fmla="*/ 2205435 h 2968432"/>
              <a:gd name="connsiteX25" fmla="*/ 1362238 w 1512966"/>
              <a:gd name="connsiteY25" fmla="*/ 1975794 h 2968432"/>
              <a:gd name="connsiteX26" fmla="*/ 1145763 w 1512966"/>
              <a:gd name="connsiteY26" fmla="*/ 1508129 h 2968432"/>
              <a:gd name="connsiteX27" fmla="*/ 856374 w 1512966"/>
              <a:gd name="connsiteY27" fmla="*/ 1508129 h 2968432"/>
              <a:gd name="connsiteX28" fmla="*/ 428187 w 1512966"/>
              <a:gd name="connsiteY28" fmla="*/ 1916013 h 2968432"/>
              <a:gd name="connsiteX29" fmla="*/ 0 w 1512966"/>
              <a:gd name="connsiteY29" fmla="*/ 1487789 h 2968432"/>
              <a:gd name="connsiteX30" fmla="*/ 428187 w 1512966"/>
              <a:gd name="connsiteY30" fmla="*/ 1059703 h 2968432"/>
              <a:gd name="connsiteX31" fmla="*/ 1506467 w 1512966"/>
              <a:gd name="connsiteY31" fmla="*/ 905789 h 2968432"/>
              <a:gd name="connsiteX32" fmla="*/ 1506452 w 1512966"/>
              <a:gd name="connsiteY32" fmla="*/ 905795 h 2968432"/>
              <a:gd name="connsiteX33" fmla="*/ 1423246 w 1512966"/>
              <a:gd name="connsiteY33" fmla="*/ 955533 h 2968432"/>
              <a:gd name="connsiteX34" fmla="*/ 1423248 w 1512966"/>
              <a:gd name="connsiteY34" fmla="*/ 955531 h 2968432"/>
              <a:gd name="connsiteX35" fmla="*/ 1506450 w 1512966"/>
              <a:gd name="connsiteY35" fmla="*/ 905795 h 2968432"/>
              <a:gd name="connsiteX36" fmla="*/ 1506467 w 1512966"/>
              <a:gd name="connsiteY36" fmla="*/ 905789 h 2968432"/>
              <a:gd name="connsiteX37" fmla="*/ 1512231 w 1512966"/>
              <a:gd name="connsiteY37" fmla="*/ 903431 h 2968432"/>
              <a:gd name="connsiteX38" fmla="*/ 1512255 w 1512966"/>
              <a:gd name="connsiteY38" fmla="*/ 903678 h 2968432"/>
              <a:gd name="connsiteX39" fmla="*/ 1506467 w 1512966"/>
              <a:gd name="connsiteY39" fmla="*/ 905789 h 2968432"/>
              <a:gd name="connsiteX40" fmla="*/ 1512231 w 1512966"/>
              <a:gd name="connsiteY40" fmla="*/ 903431 h 2968432"/>
              <a:gd name="connsiteX41" fmla="*/ 885063 w 1512966"/>
              <a:gd name="connsiteY41" fmla="*/ 0 h 2968432"/>
              <a:gd name="connsiteX42" fmla="*/ 1313137 w 1512966"/>
              <a:gd name="connsiteY42" fmla="*/ 428224 h 2968432"/>
              <a:gd name="connsiteX43" fmla="*/ 1203142 w 1512966"/>
              <a:gd name="connsiteY43" fmla="*/ 713935 h 2968432"/>
              <a:gd name="connsiteX44" fmla="*/ 1436399 w 1512966"/>
              <a:gd name="connsiteY44" fmla="*/ 942477 h 2968432"/>
              <a:gd name="connsiteX45" fmla="*/ 1436388 w 1512966"/>
              <a:gd name="connsiteY45" fmla="*/ 942488 h 2968432"/>
              <a:gd name="connsiteX46" fmla="*/ 1408845 w 1512966"/>
              <a:gd name="connsiteY46" fmla="*/ 966390 h 2968432"/>
              <a:gd name="connsiteX47" fmla="*/ 1327700 w 1512966"/>
              <a:gd name="connsiteY47" fmla="*/ 1042185 h 2968432"/>
              <a:gd name="connsiteX48" fmla="*/ 1327699 w 1512966"/>
              <a:gd name="connsiteY48" fmla="*/ 1042185 h 2968432"/>
              <a:gd name="connsiteX49" fmla="*/ 1408844 w 1512966"/>
              <a:gd name="connsiteY49" fmla="*/ 966390 h 2968432"/>
              <a:gd name="connsiteX50" fmla="*/ 1178081 w 1512966"/>
              <a:gd name="connsiteY50" fmla="*/ 740322 h 2968432"/>
              <a:gd name="connsiteX51" fmla="*/ 885063 w 1512966"/>
              <a:gd name="connsiteY51" fmla="*/ 856310 h 2968432"/>
              <a:gd name="connsiteX52" fmla="*/ 456876 w 1512966"/>
              <a:gd name="connsiteY52" fmla="*/ 428224 h 2968432"/>
              <a:gd name="connsiteX53" fmla="*/ 885063 w 1512966"/>
              <a:gd name="connsiteY53"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478641 w 1512255"/>
              <a:gd name="connsiteY15" fmla="*/ 2059983 h 2968432"/>
              <a:gd name="connsiteX16" fmla="*/ 1478640 w 1512255"/>
              <a:gd name="connsiteY16" fmla="*/ 2059983 h 2968432"/>
              <a:gd name="connsiteX17" fmla="*/ 1389680 w 1512255"/>
              <a:gd name="connsiteY17" fmla="*/ 1999706 h 2968432"/>
              <a:gd name="connsiteX18" fmla="*/ 1189988 w 1512255"/>
              <a:gd name="connsiteY18" fmla="*/ 2229348 h 2968432"/>
              <a:gd name="connsiteX19" fmla="*/ 1323910 w 1512255"/>
              <a:gd name="connsiteY19" fmla="*/ 2540208 h 2968432"/>
              <a:gd name="connsiteX20" fmla="*/ 895836 w 1512255"/>
              <a:gd name="connsiteY20" fmla="*/ 2968432 h 2968432"/>
              <a:gd name="connsiteX21" fmla="*/ 467649 w 1512255"/>
              <a:gd name="connsiteY21" fmla="*/ 2540208 h 2968432"/>
              <a:gd name="connsiteX22" fmla="*/ 895836 w 1512255"/>
              <a:gd name="connsiteY22" fmla="*/ 2112122 h 2968432"/>
              <a:gd name="connsiteX23" fmla="*/ 1162546 w 1512255"/>
              <a:gd name="connsiteY23" fmla="*/ 2205435 h 2968432"/>
              <a:gd name="connsiteX24" fmla="*/ 1362238 w 1512255"/>
              <a:gd name="connsiteY24" fmla="*/ 1975794 h 2968432"/>
              <a:gd name="connsiteX25" fmla="*/ 1145763 w 1512255"/>
              <a:gd name="connsiteY25" fmla="*/ 1508129 h 2968432"/>
              <a:gd name="connsiteX26" fmla="*/ 856374 w 1512255"/>
              <a:gd name="connsiteY26" fmla="*/ 1508129 h 2968432"/>
              <a:gd name="connsiteX27" fmla="*/ 428187 w 1512255"/>
              <a:gd name="connsiteY27" fmla="*/ 1916013 h 2968432"/>
              <a:gd name="connsiteX28" fmla="*/ 0 w 1512255"/>
              <a:gd name="connsiteY28" fmla="*/ 1487789 h 2968432"/>
              <a:gd name="connsiteX29" fmla="*/ 428187 w 1512255"/>
              <a:gd name="connsiteY29" fmla="*/ 1059703 h 2968432"/>
              <a:gd name="connsiteX30" fmla="*/ 1506467 w 1512255"/>
              <a:gd name="connsiteY30" fmla="*/ 905789 h 2968432"/>
              <a:gd name="connsiteX31" fmla="*/ 1506452 w 1512255"/>
              <a:gd name="connsiteY31" fmla="*/ 905795 h 2968432"/>
              <a:gd name="connsiteX32" fmla="*/ 1423246 w 1512255"/>
              <a:gd name="connsiteY32" fmla="*/ 955533 h 2968432"/>
              <a:gd name="connsiteX33" fmla="*/ 1423248 w 1512255"/>
              <a:gd name="connsiteY33" fmla="*/ 955531 h 2968432"/>
              <a:gd name="connsiteX34" fmla="*/ 1506450 w 1512255"/>
              <a:gd name="connsiteY34" fmla="*/ 905795 h 2968432"/>
              <a:gd name="connsiteX35" fmla="*/ 1506467 w 1512255"/>
              <a:gd name="connsiteY35" fmla="*/ 905789 h 2968432"/>
              <a:gd name="connsiteX36" fmla="*/ 1512231 w 1512255"/>
              <a:gd name="connsiteY36" fmla="*/ 903431 h 2968432"/>
              <a:gd name="connsiteX37" fmla="*/ 1512255 w 1512255"/>
              <a:gd name="connsiteY37" fmla="*/ 903678 h 2968432"/>
              <a:gd name="connsiteX38" fmla="*/ 1506467 w 1512255"/>
              <a:gd name="connsiteY38" fmla="*/ 905789 h 2968432"/>
              <a:gd name="connsiteX39" fmla="*/ 1512231 w 1512255"/>
              <a:gd name="connsiteY39" fmla="*/ 903431 h 2968432"/>
              <a:gd name="connsiteX40" fmla="*/ 885063 w 1512255"/>
              <a:gd name="connsiteY40" fmla="*/ 0 h 2968432"/>
              <a:gd name="connsiteX41" fmla="*/ 1313137 w 1512255"/>
              <a:gd name="connsiteY41" fmla="*/ 428224 h 2968432"/>
              <a:gd name="connsiteX42" fmla="*/ 1203142 w 1512255"/>
              <a:gd name="connsiteY42" fmla="*/ 713935 h 2968432"/>
              <a:gd name="connsiteX43" fmla="*/ 1436399 w 1512255"/>
              <a:gd name="connsiteY43" fmla="*/ 942477 h 2968432"/>
              <a:gd name="connsiteX44" fmla="*/ 1436388 w 1512255"/>
              <a:gd name="connsiteY44" fmla="*/ 942488 h 2968432"/>
              <a:gd name="connsiteX45" fmla="*/ 1408845 w 1512255"/>
              <a:gd name="connsiteY45" fmla="*/ 966390 h 2968432"/>
              <a:gd name="connsiteX46" fmla="*/ 1327700 w 1512255"/>
              <a:gd name="connsiteY46" fmla="*/ 1042185 h 2968432"/>
              <a:gd name="connsiteX47" fmla="*/ 1327699 w 1512255"/>
              <a:gd name="connsiteY47" fmla="*/ 1042185 h 2968432"/>
              <a:gd name="connsiteX48" fmla="*/ 1408844 w 1512255"/>
              <a:gd name="connsiteY48" fmla="*/ 966390 h 2968432"/>
              <a:gd name="connsiteX49" fmla="*/ 1178081 w 1512255"/>
              <a:gd name="connsiteY49" fmla="*/ 740322 h 2968432"/>
              <a:gd name="connsiteX50" fmla="*/ 885063 w 1512255"/>
              <a:gd name="connsiteY50" fmla="*/ 856310 h 2968432"/>
              <a:gd name="connsiteX51" fmla="*/ 456876 w 1512255"/>
              <a:gd name="connsiteY51" fmla="*/ 428224 h 2968432"/>
              <a:gd name="connsiteX52" fmla="*/ 885063 w 1512255"/>
              <a:gd name="connsiteY52"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478641 w 1512255"/>
              <a:gd name="connsiteY15" fmla="*/ 2059983 h 2968432"/>
              <a:gd name="connsiteX16" fmla="*/ 1389680 w 1512255"/>
              <a:gd name="connsiteY16" fmla="*/ 1999706 h 2968432"/>
              <a:gd name="connsiteX17" fmla="*/ 1189988 w 1512255"/>
              <a:gd name="connsiteY17" fmla="*/ 2229348 h 2968432"/>
              <a:gd name="connsiteX18" fmla="*/ 1323910 w 1512255"/>
              <a:gd name="connsiteY18" fmla="*/ 2540208 h 2968432"/>
              <a:gd name="connsiteX19" fmla="*/ 895836 w 1512255"/>
              <a:gd name="connsiteY19" fmla="*/ 2968432 h 2968432"/>
              <a:gd name="connsiteX20" fmla="*/ 467649 w 1512255"/>
              <a:gd name="connsiteY20" fmla="*/ 2540208 h 2968432"/>
              <a:gd name="connsiteX21" fmla="*/ 895836 w 1512255"/>
              <a:gd name="connsiteY21" fmla="*/ 2112122 h 2968432"/>
              <a:gd name="connsiteX22" fmla="*/ 1162546 w 1512255"/>
              <a:gd name="connsiteY22" fmla="*/ 2205435 h 2968432"/>
              <a:gd name="connsiteX23" fmla="*/ 1362238 w 1512255"/>
              <a:gd name="connsiteY23" fmla="*/ 1975794 h 2968432"/>
              <a:gd name="connsiteX24" fmla="*/ 1145763 w 1512255"/>
              <a:gd name="connsiteY24" fmla="*/ 1508129 h 2968432"/>
              <a:gd name="connsiteX25" fmla="*/ 856374 w 1512255"/>
              <a:gd name="connsiteY25" fmla="*/ 1508129 h 2968432"/>
              <a:gd name="connsiteX26" fmla="*/ 428187 w 1512255"/>
              <a:gd name="connsiteY26" fmla="*/ 1916013 h 2968432"/>
              <a:gd name="connsiteX27" fmla="*/ 0 w 1512255"/>
              <a:gd name="connsiteY27" fmla="*/ 1487789 h 2968432"/>
              <a:gd name="connsiteX28" fmla="*/ 428187 w 1512255"/>
              <a:gd name="connsiteY28" fmla="*/ 1059703 h 2968432"/>
              <a:gd name="connsiteX29" fmla="*/ 1506467 w 1512255"/>
              <a:gd name="connsiteY29" fmla="*/ 905789 h 2968432"/>
              <a:gd name="connsiteX30" fmla="*/ 1506452 w 1512255"/>
              <a:gd name="connsiteY30" fmla="*/ 905795 h 2968432"/>
              <a:gd name="connsiteX31" fmla="*/ 1423246 w 1512255"/>
              <a:gd name="connsiteY31" fmla="*/ 955533 h 2968432"/>
              <a:gd name="connsiteX32" fmla="*/ 1423248 w 1512255"/>
              <a:gd name="connsiteY32" fmla="*/ 955531 h 2968432"/>
              <a:gd name="connsiteX33" fmla="*/ 1506450 w 1512255"/>
              <a:gd name="connsiteY33" fmla="*/ 905795 h 2968432"/>
              <a:gd name="connsiteX34" fmla="*/ 1506467 w 1512255"/>
              <a:gd name="connsiteY34" fmla="*/ 905789 h 2968432"/>
              <a:gd name="connsiteX35" fmla="*/ 1512231 w 1512255"/>
              <a:gd name="connsiteY35" fmla="*/ 903431 h 2968432"/>
              <a:gd name="connsiteX36" fmla="*/ 1512255 w 1512255"/>
              <a:gd name="connsiteY36" fmla="*/ 903678 h 2968432"/>
              <a:gd name="connsiteX37" fmla="*/ 1506467 w 1512255"/>
              <a:gd name="connsiteY37" fmla="*/ 905789 h 2968432"/>
              <a:gd name="connsiteX38" fmla="*/ 1512231 w 1512255"/>
              <a:gd name="connsiteY38" fmla="*/ 903431 h 2968432"/>
              <a:gd name="connsiteX39" fmla="*/ 885063 w 1512255"/>
              <a:gd name="connsiteY39" fmla="*/ 0 h 2968432"/>
              <a:gd name="connsiteX40" fmla="*/ 1313137 w 1512255"/>
              <a:gd name="connsiteY40" fmla="*/ 428224 h 2968432"/>
              <a:gd name="connsiteX41" fmla="*/ 1203142 w 1512255"/>
              <a:gd name="connsiteY41" fmla="*/ 713935 h 2968432"/>
              <a:gd name="connsiteX42" fmla="*/ 1436399 w 1512255"/>
              <a:gd name="connsiteY42" fmla="*/ 942477 h 2968432"/>
              <a:gd name="connsiteX43" fmla="*/ 1436388 w 1512255"/>
              <a:gd name="connsiteY43" fmla="*/ 942488 h 2968432"/>
              <a:gd name="connsiteX44" fmla="*/ 1408845 w 1512255"/>
              <a:gd name="connsiteY44" fmla="*/ 966390 h 2968432"/>
              <a:gd name="connsiteX45" fmla="*/ 1327700 w 1512255"/>
              <a:gd name="connsiteY45" fmla="*/ 1042185 h 2968432"/>
              <a:gd name="connsiteX46" fmla="*/ 1327699 w 1512255"/>
              <a:gd name="connsiteY46" fmla="*/ 1042185 h 2968432"/>
              <a:gd name="connsiteX47" fmla="*/ 1408844 w 1512255"/>
              <a:gd name="connsiteY47" fmla="*/ 966390 h 2968432"/>
              <a:gd name="connsiteX48" fmla="*/ 1178081 w 1512255"/>
              <a:gd name="connsiteY48" fmla="*/ 740322 h 2968432"/>
              <a:gd name="connsiteX49" fmla="*/ 885063 w 1512255"/>
              <a:gd name="connsiteY49" fmla="*/ 856310 h 2968432"/>
              <a:gd name="connsiteX50" fmla="*/ 456876 w 1512255"/>
              <a:gd name="connsiteY50" fmla="*/ 428224 h 2968432"/>
              <a:gd name="connsiteX51" fmla="*/ 885063 w 1512255"/>
              <a:gd name="connsiteY51"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389680 w 1512255"/>
              <a:gd name="connsiteY15" fmla="*/ 1999706 h 2968432"/>
              <a:gd name="connsiteX16" fmla="*/ 1189988 w 1512255"/>
              <a:gd name="connsiteY16" fmla="*/ 2229348 h 2968432"/>
              <a:gd name="connsiteX17" fmla="*/ 1323910 w 1512255"/>
              <a:gd name="connsiteY17" fmla="*/ 2540208 h 2968432"/>
              <a:gd name="connsiteX18" fmla="*/ 895836 w 1512255"/>
              <a:gd name="connsiteY18" fmla="*/ 2968432 h 2968432"/>
              <a:gd name="connsiteX19" fmla="*/ 467649 w 1512255"/>
              <a:gd name="connsiteY19" fmla="*/ 2540208 h 2968432"/>
              <a:gd name="connsiteX20" fmla="*/ 895836 w 1512255"/>
              <a:gd name="connsiteY20" fmla="*/ 2112122 h 2968432"/>
              <a:gd name="connsiteX21" fmla="*/ 1162546 w 1512255"/>
              <a:gd name="connsiteY21" fmla="*/ 2205435 h 2968432"/>
              <a:gd name="connsiteX22" fmla="*/ 1362238 w 1512255"/>
              <a:gd name="connsiteY22" fmla="*/ 1975794 h 2968432"/>
              <a:gd name="connsiteX23" fmla="*/ 1145763 w 1512255"/>
              <a:gd name="connsiteY23" fmla="*/ 1508129 h 2968432"/>
              <a:gd name="connsiteX24" fmla="*/ 856374 w 1512255"/>
              <a:gd name="connsiteY24" fmla="*/ 1508129 h 2968432"/>
              <a:gd name="connsiteX25" fmla="*/ 428187 w 1512255"/>
              <a:gd name="connsiteY25" fmla="*/ 1916013 h 2968432"/>
              <a:gd name="connsiteX26" fmla="*/ 0 w 1512255"/>
              <a:gd name="connsiteY26" fmla="*/ 1487789 h 2968432"/>
              <a:gd name="connsiteX27" fmla="*/ 428187 w 1512255"/>
              <a:gd name="connsiteY27" fmla="*/ 1059703 h 2968432"/>
              <a:gd name="connsiteX28" fmla="*/ 1506467 w 1512255"/>
              <a:gd name="connsiteY28" fmla="*/ 905789 h 2968432"/>
              <a:gd name="connsiteX29" fmla="*/ 1506452 w 1512255"/>
              <a:gd name="connsiteY29" fmla="*/ 905795 h 2968432"/>
              <a:gd name="connsiteX30" fmla="*/ 1423246 w 1512255"/>
              <a:gd name="connsiteY30" fmla="*/ 955533 h 2968432"/>
              <a:gd name="connsiteX31" fmla="*/ 1423248 w 1512255"/>
              <a:gd name="connsiteY31" fmla="*/ 955531 h 2968432"/>
              <a:gd name="connsiteX32" fmla="*/ 1506450 w 1512255"/>
              <a:gd name="connsiteY32" fmla="*/ 905795 h 2968432"/>
              <a:gd name="connsiteX33" fmla="*/ 1506467 w 1512255"/>
              <a:gd name="connsiteY33" fmla="*/ 905789 h 2968432"/>
              <a:gd name="connsiteX34" fmla="*/ 1512231 w 1512255"/>
              <a:gd name="connsiteY34" fmla="*/ 903431 h 2968432"/>
              <a:gd name="connsiteX35" fmla="*/ 1512255 w 1512255"/>
              <a:gd name="connsiteY35" fmla="*/ 903678 h 2968432"/>
              <a:gd name="connsiteX36" fmla="*/ 1506467 w 1512255"/>
              <a:gd name="connsiteY36" fmla="*/ 905789 h 2968432"/>
              <a:gd name="connsiteX37" fmla="*/ 1512231 w 1512255"/>
              <a:gd name="connsiteY37" fmla="*/ 903431 h 2968432"/>
              <a:gd name="connsiteX38" fmla="*/ 885063 w 1512255"/>
              <a:gd name="connsiteY38" fmla="*/ 0 h 2968432"/>
              <a:gd name="connsiteX39" fmla="*/ 1313137 w 1512255"/>
              <a:gd name="connsiteY39" fmla="*/ 428224 h 2968432"/>
              <a:gd name="connsiteX40" fmla="*/ 1203142 w 1512255"/>
              <a:gd name="connsiteY40" fmla="*/ 713935 h 2968432"/>
              <a:gd name="connsiteX41" fmla="*/ 1436399 w 1512255"/>
              <a:gd name="connsiteY41" fmla="*/ 942477 h 2968432"/>
              <a:gd name="connsiteX42" fmla="*/ 1436388 w 1512255"/>
              <a:gd name="connsiteY42" fmla="*/ 942488 h 2968432"/>
              <a:gd name="connsiteX43" fmla="*/ 1408845 w 1512255"/>
              <a:gd name="connsiteY43" fmla="*/ 966390 h 2968432"/>
              <a:gd name="connsiteX44" fmla="*/ 1327700 w 1512255"/>
              <a:gd name="connsiteY44" fmla="*/ 1042185 h 2968432"/>
              <a:gd name="connsiteX45" fmla="*/ 1327699 w 1512255"/>
              <a:gd name="connsiteY45" fmla="*/ 1042185 h 2968432"/>
              <a:gd name="connsiteX46" fmla="*/ 1408844 w 1512255"/>
              <a:gd name="connsiteY46" fmla="*/ 966390 h 2968432"/>
              <a:gd name="connsiteX47" fmla="*/ 1178081 w 1512255"/>
              <a:gd name="connsiteY47" fmla="*/ 740322 h 2968432"/>
              <a:gd name="connsiteX48" fmla="*/ 885063 w 1512255"/>
              <a:gd name="connsiteY48" fmla="*/ 856310 h 2968432"/>
              <a:gd name="connsiteX49" fmla="*/ 456876 w 1512255"/>
              <a:gd name="connsiteY49" fmla="*/ 428224 h 2968432"/>
              <a:gd name="connsiteX50" fmla="*/ 885063 w 1512255"/>
              <a:gd name="connsiteY50"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45764 w 1512255"/>
              <a:gd name="connsiteY6" fmla="*/ 1472260 h 2968432"/>
              <a:gd name="connsiteX7" fmla="*/ 1145764 w 1512255"/>
              <a:gd name="connsiteY7" fmla="*/ 1508128 h 2968432"/>
              <a:gd name="connsiteX8" fmla="*/ 1362239 w 1512255"/>
              <a:gd name="connsiteY8" fmla="*/ 1975794 h 2968432"/>
              <a:gd name="connsiteX9" fmla="*/ 1370028 w 1512255"/>
              <a:gd name="connsiteY9" fmla="*/ 1994222 h 2968432"/>
              <a:gd name="connsiteX10" fmla="*/ 1369335 w 1512255"/>
              <a:gd name="connsiteY10" fmla="*/ 1994028 h 2968432"/>
              <a:gd name="connsiteX11" fmla="*/ 1372129 w 1512255"/>
              <a:gd name="connsiteY11" fmla="*/ 1999193 h 2968432"/>
              <a:gd name="connsiteX12" fmla="*/ 1370028 w 1512255"/>
              <a:gd name="connsiteY12" fmla="*/ 1994222 h 2968432"/>
              <a:gd name="connsiteX13" fmla="*/ 1389681 w 1512255"/>
              <a:gd name="connsiteY13" fmla="*/ 1999706 h 2968432"/>
              <a:gd name="connsiteX14" fmla="*/ 1389680 w 1512255"/>
              <a:gd name="connsiteY14" fmla="*/ 1999706 h 2968432"/>
              <a:gd name="connsiteX15" fmla="*/ 1189988 w 1512255"/>
              <a:gd name="connsiteY15" fmla="*/ 2229348 h 2968432"/>
              <a:gd name="connsiteX16" fmla="*/ 1323910 w 1512255"/>
              <a:gd name="connsiteY16" fmla="*/ 2540208 h 2968432"/>
              <a:gd name="connsiteX17" fmla="*/ 895836 w 1512255"/>
              <a:gd name="connsiteY17" fmla="*/ 2968432 h 2968432"/>
              <a:gd name="connsiteX18" fmla="*/ 467649 w 1512255"/>
              <a:gd name="connsiteY18" fmla="*/ 2540208 h 2968432"/>
              <a:gd name="connsiteX19" fmla="*/ 895836 w 1512255"/>
              <a:gd name="connsiteY19" fmla="*/ 2112122 h 2968432"/>
              <a:gd name="connsiteX20" fmla="*/ 1162546 w 1512255"/>
              <a:gd name="connsiteY20" fmla="*/ 2205435 h 2968432"/>
              <a:gd name="connsiteX21" fmla="*/ 1362238 w 1512255"/>
              <a:gd name="connsiteY21" fmla="*/ 1975794 h 2968432"/>
              <a:gd name="connsiteX22" fmla="*/ 1145763 w 1512255"/>
              <a:gd name="connsiteY22" fmla="*/ 1508129 h 2968432"/>
              <a:gd name="connsiteX23" fmla="*/ 856374 w 1512255"/>
              <a:gd name="connsiteY23" fmla="*/ 1508129 h 2968432"/>
              <a:gd name="connsiteX24" fmla="*/ 428187 w 1512255"/>
              <a:gd name="connsiteY24" fmla="*/ 1916013 h 2968432"/>
              <a:gd name="connsiteX25" fmla="*/ 0 w 1512255"/>
              <a:gd name="connsiteY25" fmla="*/ 1487789 h 2968432"/>
              <a:gd name="connsiteX26" fmla="*/ 428187 w 1512255"/>
              <a:gd name="connsiteY26" fmla="*/ 1059703 h 2968432"/>
              <a:gd name="connsiteX27" fmla="*/ 1506467 w 1512255"/>
              <a:gd name="connsiteY27" fmla="*/ 905789 h 2968432"/>
              <a:gd name="connsiteX28" fmla="*/ 1506452 w 1512255"/>
              <a:gd name="connsiteY28" fmla="*/ 905795 h 2968432"/>
              <a:gd name="connsiteX29" fmla="*/ 1423246 w 1512255"/>
              <a:gd name="connsiteY29" fmla="*/ 955533 h 2968432"/>
              <a:gd name="connsiteX30" fmla="*/ 1423248 w 1512255"/>
              <a:gd name="connsiteY30" fmla="*/ 955531 h 2968432"/>
              <a:gd name="connsiteX31" fmla="*/ 1506450 w 1512255"/>
              <a:gd name="connsiteY31" fmla="*/ 905795 h 2968432"/>
              <a:gd name="connsiteX32" fmla="*/ 1506467 w 1512255"/>
              <a:gd name="connsiteY32" fmla="*/ 905789 h 2968432"/>
              <a:gd name="connsiteX33" fmla="*/ 1512231 w 1512255"/>
              <a:gd name="connsiteY33" fmla="*/ 903431 h 2968432"/>
              <a:gd name="connsiteX34" fmla="*/ 1512255 w 1512255"/>
              <a:gd name="connsiteY34" fmla="*/ 903678 h 2968432"/>
              <a:gd name="connsiteX35" fmla="*/ 1506467 w 1512255"/>
              <a:gd name="connsiteY35" fmla="*/ 905789 h 2968432"/>
              <a:gd name="connsiteX36" fmla="*/ 1512231 w 1512255"/>
              <a:gd name="connsiteY36" fmla="*/ 903431 h 2968432"/>
              <a:gd name="connsiteX37" fmla="*/ 885063 w 1512255"/>
              <a:gd name="connsiteY37" fmla="*/ 0 h 2968432"/>
              <a:gd name="connsiteX38" fmla="*/ 1313137 w 1512255"/>
              <a:gd name="connsiteY38" fmla="*/ 428224 h 2968432"/>
              <a:gd name="connsiteX39" fmla="*/ 1203142 w 1512255"/>
              <a:gd name="connsiteY39" fmla="*/ 713935 h 2968432"/>
              <a:gd name="connsiteX40" fmla="*/ 1436399 w 1512255"/>
              <a:gd name="connsiteY40" fmla="*/ 942477 h 2968432"/>
              <a:gd name="connsiteX41" fmla="*/ 1436388 w 1512255"/>
              <a:gd name="connsiteY41" fmla="*/ 942488 h 2968432"/>
              <a:gd name="connsiteX42" fmla="*/ 1408845 w 1512255"/>
              <a:gd name="connsiteY42" fmla="*/ 966390 h 2968432"/>
              <a:gd name="connsiteX43" fmla="*/ 1327700 w 1512255"/>
              <a:gd name="connsiteY43" fmla="*/ 1042185 h 2968432"/>
              <a:gd name="connsiteX44" fmla="*/ 1327699 w 1512255"/>
              <a:gd name="connsiteY44" fmla="*/ 1042185 h 2968432"/>
              <a:gd name="connsiteX45" fmla="*/ 1408844 w 1512255"/>
              <a:gd name="connsiteY45" fmla="*/ 966390 h 2968432"/>
              <a:gd name="connsiteX46" fmla="*/ 1178081 w 1512255"/>
              <a:gd name="connsiteY46" fmla="*/ 740322 h 2968432"/>
              <a:gd name="connsiteX47" fmla="*/ 885063 w 1512255"/>
              <a:gd name="connsiteY47" fmla="*/ 856310 h 2968432"/>
              <a:gd name="connsiteX48" fmla="*/ 456876 w 1512255"/>
              <a:gd name="connsiteY48" fmla="*/ 428224 h 2968432"/>
              <a:gd name="connsiteX49" fmla="*/ 885063 w 1512255"/>
              <a:gd name="connsiteY49"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85798 w 1512255"/>
              <a:gd name="connsiteY3" fmla="*/ 1266617 h 2968432"/>
              <a:gd name="connsiteX4" fmla="*/ 1185798 w 1512255"/>
              <a:gd name="connsiteY4" fmla="*/ 1266619 h 2968432"/>
              <a:gd name="connsiteX5" fmla="*/ 1145764 w 1512255"/>
              <a:gd name="connsiteY5" fmla="*/ 1472260 h 2968432"/>
              <a:gd name="connsiteX6" fmla="*/ 1145764 w 1512255"/>
              <a:gd name="connsiteY6" fmla="*/ 1508128 h 2968432"/>
              <a:gd name="connsiteX7" fmla="*/ 1362239 w 1512255"/>
              <a:gd name="connsiteY7" fmla="*/ 1975794 h 2968432"/>
              <a:gd name="connsiteX8" fmla="*/ 1370028 w 1512255"/>
              <a:gd name="connsiteY8" fmla="*/ 1994222 h 2968432"/>
              <a:gd name="connsiteX9" fmla="*/ 1369335 w 1512255"/>
              <a:gd name="connsiteY9" fmla="*/ 1994028 h 2968432"/>
              <a:gd name="connsiteX10" fmla="*/ 1372129 w 1512255"/>
              <a:gd name="connsiteY10" fmla="*/ 1999193 h 2968432"/>
              <a:gd name="connsiteX11" fmla="*/ 1370028 w 1512255"/>
              <a:gd name="connsiteY11" fmla="*/ 1994222 h 2968432"/>
              <a:gd name="connsiteX12" fmla="*/ 1389681 w 1512255"/>
              <a:gd name="connsiteY12" fmla="*/ 1999706 h 2968432"/>
              <a:gd name="connsiteX13" fmla="*/ 1389680 w 1512255"/>
              <a:gd name="connsiteY13" fmla="*/ 1999706 h 2968432"/>
              <a:gd name="connsiteX14" fmla="*/ 1189988 w 1512255"/>
              <a:gd name="connsiteY14" fmla="*/ 2229348 h 2968432"/>
              <a:gd name="connsiteX15" fmla="*/ 1323910 w 1512255"/>
              <a:gd name="connsiteY15" fmla="*/ 2540208 h 2968432"/>
              <a:gd name="connsiteX16" fmla="*/ 895836 w 1512255"/>
              <a:gd name="connsiteY16" fmla="*/ 2968432 h 2968432"/>
              <a:gd name="connsiteX17" fmla="*/ 467649 w 1512255"/>
              <a:gd name="connsiteY17" fmla="*/ 2540208 h 2968432"/>
              <a:gd name="connsiteX18" fmla="*/ 895836 w 1512255"/>
              <a:gd name="connsiteY18" fmla="*/ 2112122 h 2968432"/>
              <a:gd name="connsiteX19" fmla="*/ 1162546 w 1512255"/>
              <a:gd name="connsiteY19" fmla="*/ 2205435 h 2968432"/>
              <a:gd name="connsiteX20" fmla="*/ 1362238 w 1512255"/>
              <a:gd name="connsiteY20" fmla="*/ 1975794 h 2968432"/>
              <a:gd name="connsiteX21" fmla="*/ 1145763 w 1512255"/>
              <a:gd name="connsiteY21" fmla="*/ 1508129 h 2968432"/>
              <a:gd name="connsiteX22" fmla="*/ 856374 w 1512255"/>
              <a:gd name="connsiteY22" fmla="*/ 1508129 h 2968432"/>
              <a:gd name="connsiteX23" fmla="*/ 428187 w 1512255"/>
              <a:gd name="connsiteY23" fmla="*/ 1916013 h 2968432"/>
              <a:gd name="connsiteX24" fmla="*/ 0 w 1512255"/>
              <a:gd name="connsiteY24" fmla="*/ 1487789 h 2968432"/>
              <a:gd name="connsiteX25" fmla="*/ 428187 w 1512255"/>
              <a:gd name="connsiteY25" fmla="*/ 1059703 h 2968432"/>
              <a:gd name="connsiteX26" fmla="*/ 1506467 w 1512255"/>
              <a:gd name="connsiteY26" fmla="*/ 905789 h 2968432"/>
              <a:gd name="connsiteX27" fmla="*/ 1506452 w 1512255"/>
              <a:gd name="connsiteY27" fmla="*/ 905795 h 2968432"/>
              <a:gd name="connsiteX28" fmla="*/ 1423246 w 1512255"/>
              <a:gd name="connsiteY28" fmla="*/ 955533 h 2968432"/>
              <a:gd name="connsiteX29" fmla="*/ 1423248 w 1512255"/>
              <a:gd name="connsiteY29" fmla="*/ 955531 h 2968432"/>
              <a:gd name="connsiteX30" fmla="*/ 1506450 w 1512255"/>
              <a:gd name="connsiteY30" fmla="*/ 905795 h 2968432"/>
              <a:gd name="connsiteX31" fmla="*/ 1506467 w 1512255"/>
              <a:gd name="connsiteY31" fmla="*/ 905789 h 2968432"/>
              <a:gd name="connsiteX32" fmla="*/ 1512231 w 1512255"/>
              <a:gd name="connsiteY32" fmla="*/ 903431 h 2968432"/>
              <a:gd name="connsiteX33" fmla="*/ 1512255 w 1512255"/>
              <a:gd name="connsiteY33" fmla="*/ 903678 h 2968432"/>
              <a:gd name="connsiteX34" fmla="*/ 1506467 w 1512255"/>
              <a:gd name="connsiteY34" fmla="*/ 905789 h 2968432"/>
              <a:gd name="connsiteX35" fmla="*/ 1512231 w 1512255"/>
              <a:gd name="connsiteY35" fmla="*/ 903431 h 2968432"/>
              <a:gd name="connsiteX36" fmla="*/ 885063 w 1512255"/>
              <a:gd name="connsiteY36" fmla="*/ 0 h 2968432"/>
              <a:gd name="connsiteX37" fmla="*/ 1313137 w 1512255"/>
              <a:gd name="connsiteY37" fmla="*/ 428224 h 2968432"/>
              <a:gd name="connsiteX38" fmla="*/ 1203142 w 1512255"/>
              <a:gd name="connsiteY38" fmla="*/ 713935 h 2968432"/>
              <a:gd name="connsiteX39" fmla="*/ 1436399 w 1512255"/>
              <a:gd name="connsiteY39" fmla="*/ 942477 h 2968432"/>
              <a:gd name="connsiteX40" fmla="*/ 1436388 w 1512255"/>
              <a:gd name="connsiteY40" fmla="*/ 942488 h 2968432"/>
              <a:gd name="connsiteX41" fmla="*/ 1408845 w 1512255"/>
              <a:gd name="connsiteY41" fmla="*/ 966390 h 2968432"/>
              <a:gd name="connsiteX42" fmla="*/ 1327700 w 1512255"/>
              <a:gd name="connsiteY42" fmla="*/ 1042185 h 2968432"/>
              <a:gd name="connsiteX43" fmla="*/ 1327699 w 1512255"/>
              <a:gd name="connsiteY43" fmla="*/ 1042185 h 2968432"/>
              <a:gd name="connsiteX44" fmla="*/ 1408844 w 1512255"/>
              <a:gd name="connsiteY44" fmla="*/ 966390 h 2968432"/>
              <a:gd name="connsiteX45" fmla="*/ 1178081 w 1512255"/>
              <a:gd name="connsiteY45" fmla="*/ 740322 h 2968432"/>
              <a:gd name="connsiteX46" fmla="*/ 885063 w 1512255"/>
              <a:gd name="connsiteY46" fmla="*/ 856310 h 2968432"/>
              <a:gd name="connsiteX47" fmla="*/ 456876 w 1512255"/>
              <a:gd name="connsiteY47" fmla="*/ 428224 h 2968432"/>
              <a:gd name="connsiteX48" fmla="*/ 885063 w 1512255"/>
              <a:gd name="connsiteY48"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85798 w 1512255"/>
              <a:gd name="connsiteY3" fmla="*/ 1266617 h 2968432"/>
              <a:gd name="connsiteX4" fmla="*/ 1145764 w 1512255"/>
              <a:gd name="connsiteY4" fmla="*/ 1472260 h 2968432"/>
              <a:gd name="connsiteX5" fmla="*/ 1145764 w 1512255"/>
              <a:gd name="connsiteY5" fmla="*/ 1508128 h 2968432"/>
              <a:gd name="connsiteX6" fmla="*/ 1362239 w 1512255"/>
              <a:gd name="connsiteY6" fmla="*/ 1975794 h 2968432"/>
              <a:gd name="connsiteX7" fmla="*/ 1370028 w 1512255"/>
              <a:gd name="connsiteY7" fmla="*/ 1994222 h 2968432"/>
              <a:gd name="connsiteX8" fmla="*/ 1369335 w 1512255"/>
              <a:gd name="connsiteY8" fmla="*/ 1994028 h 2968432"/>
              <a:gd name="connsiteX9" fmla="*/ 1372129 w 1512255"/>
              <a:gd name="connsiteY9" fmla="*/ 1999193 h 2968432"/>
              <a:gd name="connsiteX10" fmla="*/ 1370028 w 1512255"/>
              <a:gd name="connsiteY10" fmla="*/ 1994222 h 2968432"/>
              <a:gd name="connsiteX11" fmla="*/ 1389681 w 1512255"/>
              <a:gd name="connsiteY11" fmla="*/ 1999706 h 2968432"/>
              <a:gd name="connsiteX12" fmla="*/ 1389680 w 1512255"/>
              <a:gd name="connsiteY12" fmla="*/ 1999706 h 2968432"/>
              <a:gd name="connsiteX13" fmla="*/ 1189988 w 1512255"/>
              <a:gd name="connsiteY13" fmla="*/ 2229348 h 2968432"/>
              <a:gd name="connsiteX14" fmla="*/ 1323910 w 1512255"/>
              <a:gd name="connsiteY14" fmla="*/ 2540208 h 2968432"/>
              <a:gd name="connsiteX15" fmla="*/ 895836 w 1512255"/>
              <a:gd name="connsiteY15" fmla="*/ 2968432 h 2968432"/>
              <a:gd name="connsiteX16" fmla="*/ 467649 w 1512255"/>
              <a:gd name="connsiteY16" fmla="*/ 2540208 h 2968432"/>
              <a:gd name="connsiteX17" fmla="*/ 895836 w 1512255"/>
              <a:gd name="connsiteY17" fmla="*/ 2112122 h 2968432"/>
              <a:gd name="connsiteX18" fmla="*/ 1162546 w 1512255"/>
              <a:gd name="connsiteY18" fmla="*/ 2205435 h 2968432"/>
              <a:gd name="connsiteX19" fmla="*/ 1362238 w 1512255"/>
              <a:gd name="connsiteY19" fmla="*/ 1975794 h 2968432"/>
              <a:gd name="connsiteX20" fmla="*/ 1145763 w 1512255"/>
              <a:gd name="connsiteY20" fmla="*/ 1508129 h 2968432"/>
              <a:gd name="connsiteX21" fmla="*/ 856374 w 1512255"/>
              <a:gd name="connsiteY21" fmla="*/ 1508129 h 2968432"/>
              <a:gd name="connsiteX22" fmla="*/ 428187 w 1512255"/>
              <a:gd name="connsiteY22" fmla="*/ 1916013 h 2968432"/>
              <a:gd name="connsiteX23" fmla="*/ 0 w 1512255"/>
              <a:gd name="connsiteY23" fmla="*/ 1487789 h 2968432"/>
              <a:gd name="connsiteX24" fmla="*/ 428187 w 1512255"/>
              <a:gd name="connsiteY24" fmla="*/ 1059703 h 2968432"/>
              <a:gd name="connsiteX25" fmla="*/ 1506467 w 1512255"/>
              <a:gd name="connsiteY25" fmla="*/ 905789 h 2968432"/>
              <a:gd name="connsiteX26" fmla="*/ 1506452 w 1512255"/>
              <a:gd name="connsiteY26" fmla="*/ 905795 h 2968432"/>
              <a:gd name="connsiteX27" fmla="*/ 1423246 w 1512255"/>
              <a:gd name="connsiteY27" fmla="*/ 955533 h 2968432"/>
              <a:gd name="connsiteX28" fmla="*/ 1423248 w 1512255"/>
              <a:gd name="connsiteY28" fmla="*/ 955531 h 2968432"/>
              <a:gd name="connsiteX29" fmla="*/ 1506450 w 1512255"/>
              <a:gd name="connsiteY29" fmla="*/ 905795 h 2968432"/>
              <a:gd name="connsiteX30" fmla="*/ 1506467 w 1512255"/>
              <a:gd name="connsiteY30" fmla="*/ 905789 h 2968432"/>
              <a:gd name="connsiteX31" fmla="*/ 1512231 w 1512255"/>
              <a:gd name="connsiteY31" fmla="*/ 903431 h 2968432"/>
              <a:gd name="connsiteX32" fmla="*/ 1512255 w 1512255"/>
              <a:gd name="connsiteY32" fmla="*/ 903678 h 2968432"/>
              <a:gd name="connsiteX33" fmla="*/ 1506467 w 1512255"/>
              <a:gd name="connsiteY33" fmla="*/ 905789 h 2968432"/>
              <a:gd name="connsiteX34" fmla="*/ 1512231 w 1512255"/>
              <a:gd name="connsiteY34" fmla="*/ 903431 h 2968432"/>
              <a:gd name="connsiteX35" fmla="*/ 885063 w 1512255"/>
              <a:gd name="connsiteY35" fmla="*/ 0 h 2968432"/>
              <a:gd name="connsiteX36" fmla="*/ 1313137 w 1512255"/>
              <a:gd name="connsiteY36" fmla="*/ 428224 h 2968432"/>
              <a:gd name="connsiteX37" fmla="*/ 1203142 w 1512255"/>
              <a:gd name="connsiteY37" fmla="*/ 713935 h 2968432"/>
              <a:gd name="connsiteX38" fmla="*/ 1436399 w 1512255"/>
              <a:gd name="connsiteY38" fmla="*/ 942477 h 2968432"/>
              <a:gd name="connsiteX39" fmla="*/ 1436388 w 1512255"/>
              <a:gd name="connsiteY39" fmla="*/ 942488 h 2968432"/>
              <a:gd name="connsiteX40" fmla="*/ 1408845 w 1512255"/>
              <a:gd name="connsiteY40" fmla="*/ 966390 h 2968432"/>
              <a:gd name="connsiteX41" fmla="*/ 1327700 w 1512255"/>
              <a:gd name="connsiteY41" fmla="*/ 1042185 h 2968432"/>
              <a:gd name="connsiteX42" fmla="*/ 1327699 w 1512255"/>
              <a:gd name="connsiteY42" fmla="*/ 1042185 h 2968432"/>
              <a:gd name="connsiteX43" fmla="*/ 1408844 w 1512255"/>
              <a:gd name="connsiteY43" fmla="*/ 966390 h 2968432"/>
              <a:gd name="connsiteX44" fmla="*/ 1178081 w 1512255"/>
              <a:gd name="connsiteY44" fmla="*/ 740322 h 2968432"/>
              <a:gd name="connsiteX45" fmla="*/ 885063 w 1512255"/>
              <a:gd name="connsiteY45" fmla="*/ 856310 h 2968432"/>
              <a:gd name="connsiteX46" fmla="*/ 456876 w 1512255"/>
              <a:gd name="connsiteY46" fmla="*/ 428224 h 2968432"/>
              <a:gd name="connsiteX47" fmla="*/ 885063 w 1512255"/>
              <a:gd name="connsiteY47"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327700 w 1512255"/>
              <a:gd name="connsiteY40" fmla="*/ 1042185 h 2968432"/>
              <a:gd name="connsiteX41" fmla="*/ 1327699 w 1512255"/>
              <a:gd name="connsiteY41" fmla="*/ 1042185 h 2968432"/>
              <a:gd name="connsiteX42" fmla="*/ 1408844 w 1512255"/>
              <a:gd name="connsiteY42" fmla="*/ 966390 h 2968432"/>
              <a:gd name="connsiteX43" fmla="*/ 1178081 w 1512255"/>
              <a:gd name="connsiteY43" fmla="*/ 740322 h 2968432"/>
              <a:gd name="connsiteX44" fmla="*/ 885063 w 1512255"/>
              <a:gd name="connsiteY44" fmla="*/ 856310 h 2968432"/>
              <a:gd name="connsiteX45" fmla="*/ 456876 w 1512255"/>
              <a:gd name="connsiteY45" fmla="*/ 428224 h 2968432"/>
              <a:gd name="connsiteX46" fmla="*/ 885063 w 1512255"/>
              <a:gd name="connsiteY46"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327700 w 1512255"/>
              <a:gd name="connsiteY40" fmla="*/ 1042185 h 2968432"/>
              <a:gd name="connsiteX41" fmla="*/ 1408844 w 1512255"/>
              <a:gd name="connsiteY41" fmla="*/ 966390 h 2968432"/>
              <a:gd name="connsiteX42" fmla="*/ 1178081 w 1512255"/>
              <a:gd name="connsiteY42" fmla="*/ 740322 h 2968432"/>
              <a:gd name="connsiteX43" fmla="*/ 885063 w 1512255"/>
              <a:gd name="connsiteY43" fmla="*/ 856310 h 2968432"/>
              <a:gd name="connsiteX44" fmla="*/ 456876 w 1512255"/>
              <a:gd name="connsiteY44" fmla="*/ 428224 h 2968432"/>
              <a:gd name="connsiteX45" fmla="*/ 885063 w 1512255"/>
              <a:gd name="connsiteY45"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408844 w 1512255"/>
              <a:gd name="connsiteY40" fmla="*/ 966390 h 2968432"/>
              <a:gd name="connsiteX41" fmla="*/ 1178081 w 1512255"/>
              <a:gd name="connsiteY41" fmla="*/ 740322 h 2968432"/>
              <a:gd name="connsiteX42" fmla="*/ 885063 w 1512255"/>
              <a:gd name="connsiteY42" fmla="*/ 856310 h 2968432"/>
              <a:gd name="connsiteX43" fmla="*/ 456876 w 1512255"/>
              <a:gd name="connsiteY43" fmla="*/ 428224 h 2968432"/>
              <a:gd name="connsiteX44" fmla="*/ 885063 w 1512255"/>
              <a:gd name="connsiteY44"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06467 w 1512255"/>
              <a:gd name="connsiteY30" fmla="*/ 905789 h 2968432"/>
              <a:gd name="connsiteX31" fmla="*/ 1512255 w 1512255"/>
              <a:gd name="connsiteY31" fmla="*/ 903678 h 2968432"/>
              <a:gd name="connsiteX32" fmla="*/ 1506467 w 1512255"/>
              <a:gd name="connsiteY32" fmla="*/ 905789 h 2968432"/>
              <a:gd name="connsiteX33" fmla="*/ 885063 w 1512255"/>
              <a:gd name="connsiteY33" fmla="*/ 0 h 2968432"/>
              <a:gd name="connsiteX34" fmla="*/ 1313137 w 1512255"/>
              <a:gd name="connsiteY34" fmla="*/ 428224 h 2968432"/>
              <a:gd name="connsiteX35" fmla="*/ 1203142 w 1512255"/>
              <a:gd name="connsiteY35" fmla="*/ 713935 h 2968432"/>
              <a:gd name="connsiteX36" fmla="*/ 1436399 w 1512255"/>
              <a:gd name="connsiteY36" fmla="*/ 942477 h 2968432"/>
              <a:gd name="connsiteX37" fmla="*/ 1436388 w 1512255"/>
              <a:gd name="connsiteY37" fmla="*/ 942488 h 2968432"/>
              <a:gd name="connsiteX38" fmla="*/ 1408845 w 1512255"/>
              <a:gd name="connsiteY38" fmla="*/ 966390 h 2968432"/>
              <a:gd name="connsiteX39" fmla="*/ 1408844 w 1512255"/>
              <a:gd name="connsiteY39" fmla="*/ 966390 h 2968432"/>
              <a:gd name="connsiteX40" fmla="*/ 1178081 w 1512255"/>
              <a:gd name="connsiteY40" fmla="*/ 740322 h 2968432"/>
              <a:gd name="connsiteX41" fmla="*/ 885063 w 1512255"/>
              <a:gd name="connsiteY41" fmla="*/ 856310 h 2968432"/>
              <a:gd name="connsiteX42" fmla="*/ 456876 w 1512255"/>
              <a:gd name="connsiteY42" fmla="*/ 428224 h 2968432"/>
              <a:gd name="connsiteX43" fmla="*/ 885063 w 1512255"/>
              <a:gd name="connsiteY43" fmla="*/ 0 h 2968432"/>
              <a:gd name="connsiteX0" fmla="*/ 428187 w 1506467"/>
              <a:gd name="connsiteY0" fmla="*/ 1059703 h 2968432"/>
              <a:gd name="connsiteX1" fmla="*/ 856374 w 1506467"/>
              <a:gd name="connsiteY1" fmla="*/ 1472260 h 2968432"/>
              <a:gd name="connsiteX2" fmla="*/ 1145763 w 1506467"/>
              <a:gd name="connsiteY2" fmla="*/ 1472260 h 2968432"/>
              <a:gd name="connsiteX3" fmla="*/ 1145764 w 1506467"/>
              <a:gd name="connsiteY3" fmla="*/ 1472260 h 2968432"/>
              <a:gd name="connsiteX4" fmla="*/ 1145764 w 1506467"/>
              <a:gd name="connsiteY4" fmla="*/ 1508128 h 2968432"/>
              <a:gd name="connsiteX5" fmla="*/ 1362239 w 1506467"/>
              <a:gd name="connsiteY5" fmla="*/ 1975794 h 2968432"/>
              <a:gd name="connsiteX6" fmla="*/ 1370028 w 1506467"/>
              <a:gd name="connsiteY6" fmla="*/ 1994222 h 2968432"/>
              <a:gd name="connsiteX7" fmla="*/ 1369335 w 1506467"/>
              <a:gd name="connsiteY7" fmla="*/ 1994028 h 2968432"/>
              <a:gd name="connsiteX8" fmla="*/ 1372129 w 1506467"/>
              <a:gd name="connsiteY8" fmla="*/ 1999193 h 2968432"/>
              <a:gd name="connsiteX9" fmla="*/ 1370028 w 1506467"/>
              <a:gd name="connsiteY9" fmla="*/ 1994222 h 2968432"/>
              <a:gd name="connsiteX10" fmla="*/ 1389681 w 1506467"/>
              <a:gd name="connsiteY10" fmla="*/ 1999706 h 2968432"/>
              <a:gd name="connsiteX11" fmla="*/ 1389680 w 1506467"/>
              <a:gd name="connsiteY11" fmla="*/ 1999706 h 2968432"/>
              <a:gd name="connsiteX12" fmla="*/ 1189988 w 1506467"/>
              <a:gd name="connsiteY12" fmla="*/ 2229348 h 2968432"/>
              <a:gd name="connsiteX13" fmla="*/ 1323910 w 1506467"/>
              <a:gd name="connsiteY13" fmla="*/ 2540208 h 2968432"/>
              <a:gd name="connsiteX14" fmla="*/ 895836 w 1506467"/>
              <a:gd name="connsiteY14" fmla="*/ 2968432 h 2968432"/>
              <a:gd name="connsiteX15" fmla="*/ 467649 w 1506467"/>
              <a:gd name="connsiteY15" fmla="*/ 2540208 h 2968432"/>
              <a:gd name="connsiteX16" fmla="*/ 895836 w 1506467"/>
              <a:gd name="connsiteY16" fmla="*/ 2112122 h 2968432"/>
              <a:gd name="connsiteX17" fmla="*/ 1162546 w 1506467"/>
              <a:gd name="connsiteY17" fmla="*/ 2205435 h 2968432"/>
              <a:gd name="connsiteX18" fmla="*/ 1362238 w 1506467"/>
              <a:gd name="connsiteY18" fmla="*/ 1975794 h 2968432"/>
              <a:gd name="connsiteX19" fmla="*/ 1145763 w 1506467"/>
              <a:gd name="connsiteY19" fmla="*/ 1508129 h 2968432"/>
              <a:gd name="connsiteX20" fmla="*/ 856374 w 1506467"/>
              <a:gd name="connsiteY20" fmla="*/ 1508129 h 2968432"/>
              <a:gd name="connsiteX21" fmla="*/ 428187 w 1506467"/>
              <a:gd name="connsiteY21" fmla="*/ 1916013 h 2968432"/>
              <a:gd name="connsiteX22" fmla="*/ 0 w 1506467"/>
              <a:gd name="connsiteY22" fmla="*/ 1487789 h 2968432"/>
              <a:gd name="connsiteX23" fmla="*/ 428187 w 1506467"/>
              <a:gd name="connsiteY23" fmla="*/ 1059703 h 2968432"/>
              <a:gd name="connsiteX24" fmla="*/ 1506467 w 1506467"/>
              <a:gd name="connsiteY24" fmla="*/ 905789 h 2968432"/>
              <a:gd name="connsiteX25" fmla="*/ 1506452 w 1506467"/>
              <a:gd name="connsiteY25" fmla="*/ 905795 h 2968432"/>
              <a:gd name="connsiteX26" fmla="*/ 1423246 w 1506467"/>
              <a:gd name="connsiteY26" fmla="*/ 955533 h 2968432"/>
              <a:gd name="connsiteX27" fmla="*/ 1423248 w 1506467"/>
              <a:gd name="connsiteY27" fmla="*/ 955531 h 2968432"/>
              <a:gd name="connsiteX28" fmla="*/ 1506450 w 1506467"/>
              <a:gd name="connsiteY28" fmla="*/ 905795 h 2968432"/>
              <a:gd name="connsiteX29" fmla="*/ 1506467 w 1506467"/>
              <a:gd name="connsiteY29" fmla="*/ 905789 h 2968432"/>
              <a:gd name="connsiteX30" fmla="*/ 885063 w 1506467"/>
              <a:gd name="connsiteY30" fmla="*/ 0 h 2968432"/>
              <a:gd name="connsiteX31" fmla="*/ 1313137 w 1506467"/>
              <a:gd name="connsiteY31" fmla="*/ 428224 h 2968432"/>
              <a:gd name="connsiteX32" fmla="*/ 1203142 w 1506467"/>
              <a:gd name="connsiteY32" fmla="*/ 713935 h 2968432"/>
              <a:gd name="connsiteX33" fmla="*/ 1436399 w 1506467"/>
              <a:gd name="connsiteY33" fmla="*/ 942477 h 2968432"/>
              <a:gd name="connsiteX34" fmla="*/ 1436388 w 1506467"/>
              <a:gd name="connsiteY34" fmla="*/ 942488 h 2968432"/>
              <a:gd name="connsiteX35" fmla="*/ 1408845 w 1506467"/>
              <a:gd name="connsiteY35" fmla="*/ 966390 h 2968432"/>
              <a:gd name="connsiteX36" fmla="*/ 1408844 w 1506467"/>
              <a:gd name="connsiteY36" fmla="*/ 966390 h 2968432"/>
              <a:gd name="connsiteX37" fmla="*/ 1178081 w 1506467"/>
              <a:gd name="connsiteY37" fmla="*/ 740322 h 2968432"/>
              <a:gd name="connsiteX38" fmla="*/ 885063 w 1506467"/>
              <a:gd name="connsiteY38" fmla="*/ 856310 h 2968432"/>
              <a:gd name="connsiteX39" fmla="*/ 456876 w 1506467"/>
              <a:gd name="connsiteY39" fmla="*/ 428224 h 2968432"/>
              <a:gd name="connsiteX40" fmla="*/ 885063 w 1506467"/>
              <a:gd name="connsiteY40" fmla="*/ 0 h 2968432"/>
              <a:gd name="connsiteX0" fmla="*/ 428187 w 1516851"/>
              <a:gd name="connsiteY0" fmla="*/ 1059703 h 2968432"/>
              <a:gd name="connsiteX1" fmla="*/ 856374 w 1516851"/>
              <a:gd name="connsiteY1" fmla="*/ 1472260 h 2968432"/>
              <a:gd name="connsiteX2" fmla="*/ 1145763 w 1516851"/>
              <a:gd name="connsiteY2" fmla="*/ 1472260 h 2968432"/>
              <a:gd name="connsiteX3" fmla="*/ 1145764 w 1516851"/>
              <a:gd name="connsiteY3" fmla="*/ 1472260 h 2968432"/>
              <a:gd name="connsiteX4" fmla="*/ 1145764 w 1516851"/>
              <a:gd name="connsiteY4" fmla="*/ 1508128 h 2968432"/>
              <a:gd name="connsiteX5" fmla="*/ 1362239 w 1516851"/>
              <a:gd name="connsiteY5" fmla="*/ 1975794 h 2968432"/>
              <a:gd name="connsiteX6" fmla="*/ 1370028 w 1516851"/>
              <a:gd name="connsiteY6" fmla="*/ 1994222 h 2968432"/>
              <a:gd name="connsiteX7" fmla="*/ 1369335 w 1516851"/>
              <a:gd name="connsiteY7" fmla="*/ 1994028 h 2968432"/>
              <a:gd name="connsiteX8" fmla="*/ 1372129 w 1516851"/>
              <a:gd name="connsiteY8" fmla="*/ 1999193 h 2968432"/>
              <a:gd name="connsiteX9" fmla="*/ 1370028 w 1516851"/>
              <a:gd name="connsiteY9" fmla="*/ 1994222 h 2968432"/>
              <a:gd name="connsiteX10" fmla="*/ 1389681 w 1516851"/>
              <a:gd name="connsiteY10" fmla="*/ 1999706 h 2968432"/>
              <a:gd name="connsiteX11" fmla="*/ 1389680 w 1516851"/>
              <a:gd name="connsiteY11" fmla="*/ 1999706 h 2968432"/>
              <a:gd name="connsiteX12" fmla="*/ 1189988 w 1516851"/>
              <a:gd name="connsiteY12" fmla="*/ 2229348 h 2968432"/>
              <a:gd name="connsiteX13" fmla="*/ 1323910 w 1516851"/>
              <a:gd name="connsiteY13" fmla="*/ 2540208 h 2968432"/>
              <a:gd name="connsiteX14" fmla="*/ 895836 w 1516851"/>
              <a:gd name="connsiteY14" fmla="*/ 2968432 h 2968432"/>
              <a:gd name="connsiteX15" fmla="*/ 467649 w 1516851"/>
              <a:gd name="connsiteY15" fmla="*/ 2540208 h 2968432"/>
              <a:gd name="connsiteX16" fmla="*/ 895836 w 1516851"/>
              <a:gd name="connsiteY16" fmla="*/ 2112122 h 2968432"/>
              <a:gd name="connsiteX17" fmla="*/ 1162546 w 1516851"/>
              <a:gd name="connsiteY17" fmla="*/ 2205435 h 2968432"/>
              <a:gd name="connsiteX18" fmla="*/ 1362238 w 1516851"/>
              <a:gd name="connsiteY18" fmla="*/ 1975794 h 2968432"/>
              <a:gd name="connsiteX19" fmla="*/ 1145763 w 1516851"/>
              <a:gd name="connsiteY19" fmla="*/ 1508129 h 2968432"/>
              <a:gd name="connsiteX20" fmla="*/ 856374 w 1516851"/>
              <a:gd name="connsiteY20" fmla="*/ 1508129 h 2968432"/>
              <a:gd name="connsiteX21" fmla="*/ 428187 w 1516851"/>
              <a:gd name="connsiteY21" fmla="*/ 1916013 h 2968432"/>
              <a:gd name="connsiteX22" fmla="*/ 0 w 1516851"/>
              <a:gd name="connsiteY22" fmla="*/ 1487789 h 2968432"/>
              <a:gd name="connsiteX23" fmla="*/ 428187 w 1516851"/>
              <a:gd name="connsiteY23" fmla="*/ 1059703 h 2968432"/>
              <a:gd name="connsiteX24" fmla="*/ 1506450 w 1516851"/>
              <a:gd name="connsiteY24" fmla="*/ 905795 h 2968432"/>
              <a:gd name="connsiteX25" fmla="*/ 1506452 w 1516851"/>
              <a:gd name="connsiteY25" fmla="*/ 905795 h 2968432"/>
              <a:gd name="connsiteX26" fmla="*/ 1423246 w 1516851"/>
              <a:gd name="connsiteY26" fmla="*/ 955533 h 2968432"/>
              <a:gd name="connsiteX27" fmla="*/ 1423248 w 1516851"/>
              <a:gd name="connsiteY27" fmla="*/ 955531 h 2968432"/>
              <a:gd name="connsiteX28" fmla="*/ 1506450 w 1516851"/>
              <a:gd name="connsiteY28" fmla="*/ 905795 h 2968432"/>
              <a:gd name="connsiteX29" fmla="*/ 885063 w 1516851"/>
              <a:gd name="connsiteY29" fmla="*/ 0 h 2968432"/>
              <a:gd name="connsiteX30" fmla="*/ 1313137 w 1516851"/>
              <a:gd name="connsiteY30" fmla="*/ 428224 h 2968432"/>
              <a:gd name="connsiteX31" fmla="*/ 1203142 w 1516851"/>
              <a:gd name="connsiteY31" fmla="*/ 713935 h 2968432"/>
              <a:gd name="connsiteX32" fmla="*/ 1436399 w 1516851"/>
              <a:gd name="connsiteY32" fmla="*/ 942477 h 2968432"/>
              <a:gd name="connsiteX33" fmla="*/ 1436388 w 1516851"/>
              <a:gd name="connsiteY33" fmla="*/ 942488 h 2968432"/>
              <a:gd name="connsiteX34" fmla="*/ 1408845 w 1516851"/>
              <a:gd name="connsiteY34" fmla="*/ 966390 h 2968432"/>
              <a:gd name="connsiteX35" fmla="*/ 1408844 w 1516851"/>
              <a:gd name="connsiteY35" fmla="*/ 966390 h 2968432"/>
              <a:gd name="connsiteX36" fmla="*/ 1178081 w 1516851"/>
              <a:gd name="connsiteY36" fmla="*/ 740322 h 2968432"/>
              <a:gd name="connsiteX37" fmla="*/ 885063 w 1516851"/>
              <a:gd name="connsiteY37" fmla="*/ 856310 h 2968432"/>
              <a:gd name="connsiteX38" fmla="*/ 456876 w 1516851"/>
              <a:gd name="connsiteY38" fmla="*/ 428224 h 2968432"/>
              <a:gd name="connsiteX39" fmla="*/ 885063 w 1516851"/>
              <a:gd name="connsiteY39" fmla="*/ 0 h 2968432"/>
              <a:gd name="connsiteX0" fmla="*/ 428187 w 1506452"/>
              <a:gd name="connsiteY0" fmla="*/ 1059703 h 2968432"/>
              <a:gd name="connsiteX1" fmla="*/ 856374 w 1506452"/>
              <a:gd name="connsiteY1" fmla="*/ 1472260 h 2968432"/>
              <a:gd name="connsiteX2" fmla="*/ 1145763 w 1506452"/>
              <a:gd name="connsiteY2" fmla="*/ 1472260 h 2968432"/>
              <a:gd name="connsiteX3" fmla="*/ 1145764 w 1506452"/>
              <a:gd name="connsiteY3" fmla="*/ 1472260 h 2968432"/>
              <a:gd name="connsiteX4" fmla="*/ 1145764 w 1506452"/>
              <a:gd name="connsiteY4" fmla="*/ 1508128 h 2968432"/>
              <a:gd name="connsiteX5" fmla="*/ 1362239 w 1506452"/>
              <a:gd name="connsiteY5" fmla="*/ 1975794 h 2968432"/>
              <a:gd name="connsiteX6" fmla="*/ 1370028 w 1506452"/>
              <a:gd name="connsiteY6" fmla="*/ 1994222 h 2968432"/>
              <a:gd name="connsiteX7" fmla="*/ 1369335 w 1506452"/>
              <a:gd name="connsiteY7" fmla="*/ 1994028 h 2968432"/>
              <a:gd name="connsiteX8" fmla="*/ 1372129 w 1506452"/>
              <a:gd name="connsiteY8" fmla="*/ 1999193 h 2968432"/>
              <a:gd name="connsiteX9" fmla="*/ 1370028 w 1506452"/>
              <a:gd name="connsiteY9" fmla="*/ 1994222 h 2968432"/>
              <a:gd name="connsiteX10" fmla="*/ 1389681 w 1506452"/>
              <a:gd name="connsiteY10" fmla="*/ 1999706 h 2968432"/>
              <a:gd name="connsiteX11" fmla="*/ 1389680 w 1506452"/>
              <a:gd name="connsiteY11" fmla="*/ 1999706 h 2968432"/>
              <a:gd name="connsiteX12" fmla="*/ 1189988 w 1506452"/>
              <a:gd name="connsiteY12" fmla="*/ 2229348 h 2968432"/>
              <a:gd name="connsiteX13" fmla="*/ 1323910 w 1506452"/>
              <a:gd name="connsiteY13" fmla="*/ 2540208 h 2968432"/>
              <a:gd name="connsiteX14" fmla="*/ 895836 w 1506452"/>
              <a:gd name="connsiteY14" fmla="*/ 2968432 h 2968432"/>
              <a:gd name="connsiteX15" fmla="*/ 467649 w 1506452"/>
              <a:gd name="connsiteY15" fmla="*/ 2540208 h 2968432"/>
              <a:gd name="connsiteX16" fmla="*/ 895836 w 1506452"/>
              <a:gd name="connsiteY16" fmla="*/ 2112122 h 2968432"/>
              <a:gd name="connsiteX17" fmla="*/ 1162546 w 1506452"/>
              <a:gd name="connsiteY17" fmla="*/ 2205435 h 2968432"/>
              <a:gd name="connsiteX18" fmla="*/ 1362238 w 1506452"/>
              <a:gd name="connsiteY18" fmla="*/ 1975794 h 2968432"/>
              <a:gd name="connsiteX19" fmla="*/ 1145763 w 1506452"/>
              <a:gd name="connsiteY19" fmla="*/ 1508129 h 2968432"/>
              <a:gd name="connsiteX20" fmla="*/ 856374 w 1506452"/>
              <a:gd name="connsiteY20" fmla="*/ 1508129 h 2968432"/>
              <a:gd name="connsiteX21" fmla="*/ 428187 w 1506452"/>
              <a:gd name="connsiteY21" fmla="*/ 1916013 h 2968432"/>
              <a:gd name="connsiteX22" fmla="*/ 0 w 1506452"/>
              <a:gd name="connsiteY22" fmla="*/ 1487789 h 2968432"/>
              <a:gd name="connsiteX23" fmla="*/ 428187 w 1506452"/>
              <a:gd name="connsiteY23" fmla="*/ 1059703 h 2968432"/>
              <a:gd name="connsiteX24" fmla="*/ 1423248 w 1506452"/>
              <a:gd name="connsiteY24" fmla="*/ 955531 h 2968432"/>
              <a:gd name="connsiteX25" fmla="*/ 1506452 w 1506452"/>
              <a:gd name="connsiteY25" fmla="*/ 905795 h 2968432"/>
              <a:gd name="connsiteX26" fmla="*/ 1423246 w 1506452"/>
              <a:gd name="connsiteY26" fmla="*/ 955533 h 2968432"/>
              <a:gd name="connsiteX27" fmla="*/ 1423248 w 1506452"/>
              <a:gd name="connsiteY27" fmla="*/ 955531 h 2968432"/>
              <a:gd name="connsiteX28" fmla="*/ 885063 w 1506452"/>
              <a:gd name="connsiteY28" fmla="*/ 0 h 2968432"/>
              <a:gd name="connsiteX29" fmla="*/ 1313137 w 1506452"/>
              <a:gd name="connsiteY29" fmla="*/ 428224 h 2968432"/>
              <a:gd name="connsiteX30" fmla="*/ 1203142 w 1506452"/>
              <a:gd name="connsiteY30" fmla="*/ 713935 h 2968432"/>
              <a:gd name="connsiteX31" fmla="*/ 1436399 w 1506452"/>
              <a:gd name="connsiteY31" fmla="*/ 942477 h 2968432"/>
              <a:gd name="connsiteX32" fmla="*/ 1436388 w 1506452"/>
              <a:gd name="connsiteY32" fmla="*/ 942488 h 2968432"/>
              <a:gd name="connsiteX33" fmla="*/ 1408845 w 1506452"/>
              <a:gd name="connsiteY33" fmla="*/ 966390 h 2968432"/>
              <a:gd name="connsiteX34" fmla="*/ 1408844 w 1506452"/>
              <a:gd name="connsiteY34" fmla="*/ 966390 h 2968432"/>
              <a:gd name="connsiteX35" fmla="*/ 1178081 w 1506452"/>
              <a:gd name="connsiteY35" fmla="*/ 740322 h 2968432"/>
              <a:gd name="connsiteX36" fmla="*/ 885063 w 1506452"/>
              <a:gd name="connsiteY36" fmla="*/ 856310 h 2968432"/>
              <a:gd name="connsiteX37" fmla="*/ 456876 w 1506452"/>
              <a:gd name="connsiteY37" fmla="*/ 428224 h 2968432"/>
              <a:gd name="connsiteX38" fmla="*/ 885063 w 1506452"/>
              <a:gd name="connsiteY38"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72129 w 1436399"/>
              <a:gd name="connsiteY8" fmla="*/ 1999193 h 2968432"/>
              <a:gd name="connsiteX9" fmla="*/ 1370028 w 1436399"/>
              <a:gd name="connsiteY9" fmla="*/ 1994222 h 2968432"/>
              <a:gd name="connsiteX10" fmla="*/ 1389681 w 1436399"/>
              <a:gd name="connsiteY10" fmla="*/ 1999706 h 2968432"/>
              <a:gd name="connsiteX11" fmla="*/ 1389680 w 1436399"/>
              <a:gd name="connsiteY11" fmla="*/ 1999706 h 2968432"/>
              <a:gd name="connsiteX12" fmla="*/ 1189988 w 1436399"/>
              <a:gd name="connsiteY12" fmla="*/ 2229348 h 2968432"/>
              <a:gd name="connsiteX13" fmla="*/ 1323910 w 1436399"/>
              <a:gd name="connsiteY13" fmla="*/ 2540208 h 2968432"/>
              <a:gd name="connsiteX14" fmla="*/ 895836 w 1436399"/>
              <a:gd name="connsiteY14" fmla="*/ 2968432 h 2968432"/>
              <a:gd name="connsiteX15" fmla="*/ 467649 w 1436399"/>
              <a:gd name="connsiteY15" fmla="*/ 2540208 h 2968432"/>
              <a:gd name="connsiteX16" fmla="*/ 895836 w 1436399"/>
              <a:gd name="connsiteY16" fmla="*/ 2112122 h 2968432"/>
              <a:gd name="connsiteX17" fmla="*/ 1162546 w 1436399"/>
              <a:gd name="connsiteY17" fmla="*/ 2205435 h 2968432"/>
              <a:gd name="connsiteX18" fmla="*/ 1362238 w 1436399"/>
              <a:gd name="connsiteY18" fmla="*/ 1975794 h 2968432"/>
              <a:gd name="connsiteX19" fmla="*/ 1145763 w 1436399"/>
              <a:gd name="connsiteY19" fmla="*/ 1508129 h 2968432"/>
              <a:gd name="connsiteX20" fmla="*/ 856374 w 1436399"/>
              <a:gd name="connsiteY20" fmla="*/ 1508129 h 2968432"/>
              <a:gd name="connsiteX21" fmla="*/ 428187 w 1436399"/>
              <a:gd name="connsiteY21" fmla="*/ 1916013 h 2968432"/>
              <a:gd name="connsiteX22" fmla="*/ 0 w 1436399"/>
              <a:gd name="connsiteY22" fmla="*/ 1487789 h 2968432"/>
              <a:gd name="connsiteX23" fmla="*/ 428187 w 1436399"/>
              <a:gd name="connsiteY23" fmla="*/ 1059703 h 2968432"/>
              <a:gd name="connsiteX24" fmla="*/ 1423248 w 1436399"/>
              <a:gd name="connsiteY24" fmla="*/ 955531 h 2968432"/>
              <a:gd name="connsiteX25" fmla="*/ 1423246 w 1436399"/>
              <a:gd name="connsiteY25" fmla="*/ 955533 h 2968432"/>
              <a:gd name="connsiteX26" fmla="*/ 1423248 w 1436399"/>
              <a:gd name="connsiteY26" fmla="*/ 955531 h 2968432"/>
              <a:gd name="connsiteX27" fmla="*/ 885063 w 1436399"/>
              <a:gd name="connsiteY27" fmla="*/ 0 h 2968432"/>
              <a:gd name="connsiteX28" fmla="*/ 1313137 w 1436399"/>
              <a:gd name="connsiteY28" fmla="*/ 428224 h 2968432"/>
              <a:gd name="connsiteX29" fmla="*/ 1203142 w 1436399"/>
              <a:gd name="connsiteY29" fmla="*/ 713935 h 2968432"/>
              <a:gd name="connsiteX30" fmla="*/ 1436399 w 1436399"/>
              <a:gd name="connsiteY30" fmla="*/ 942477 h 2968432"/>
              <a:gd name="connsiteX31" fmla="*/ 1436388 w 1436399"/>
              <a:gd name="connsiteY31" fmla="*/ 942488 h 2968432"/>
              <a:gd name="connsiteX32" fmla="*/ 1408845 w 1436399"/>
              <a:gd name="connsiteY32" fmla="*/ 966390 h 2968432"/>
              <a:gd name="connsiteX33" fmla="*/ 1408844 w 1436399"/>
              <a:gd name="connsiteY33" fmla="*/ 966390 h 2968432"/>
              <a:gd name="connsiteX34" fmla="*/ 1178081 w 1436399"/>
              <a:gd name="connsiteY34" fmla="*/ 740322 h 2968432"/>
              <a:gd name="connsiteX35" fmla="*/ 885063 w 1436399"/>
              <a:gd name="connsiteY35" fmla="*/ 856310 h 2968432"/>
              <a:gd name="connsiteX36" fmla="*/ 456876 w 1436399"/>
              <a:gd name="connsiteY36" fmla="*/ 428224 h 2968432"/>
              <a:gd name="connsiteX37" fmla="*/ 885063 w 1436399"/>
              <a:gd name="connsiteY37"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72129 w 1436399"/>
              <a:gd name="connsiteY8" fmla="*/ 1999193 h 2968432"/>
              <a:gd name="connsiteX9" fmla="*/ 1389681 w 1436399"/>
              <a:gd name="connsiteY9" fmla="*/ 1999706 h 2968432"/>
              <a:gd name="connsiteX10" fmla="*/ 1389680 w 1436399"/>
              <a:gd name="connsiteY10" fmla="*/ 1999706 h 2968432"/>
              <a:gd name="connsiteX11" fmla="*/ 1189988 w 1436399"/>
              <a:gd name="connsiteY11" fmla="*/ 2229348 h 2968432"/>
              <a:gd name="connsiteX12" fmla="*/ 1323910 w 1436399"/>
              <a:gd name="connsiteY12" fmla="*/ 2540208 h 2968432"/>
              <a:gd name="connsiteX13" fmla="*/ 895836 w 1436399"/>
              <a:gd name="connsiteY13" fmla="*/ 2968432 h 2968432"/>
              <a:gd name="connsiteX14" fmla="*/ 467649 w 1436399"/>
              <a:gd name="connsiteY14" fmla="*/ 2540208 h 2968432"/>
              <a:gd name="connsiteX15" fmla="*/ 895836 w 1436399"/>
              <a:gd name="connsiteY15" fmla="*/ 2112122 h 2968432"/>
              <a:gd name="connsiteX16" fmla="*/ 1162546 w 1436399"/>
              <a:gd name="connsiteY16" fmla="*/ 2205435 h 2968432"/>
              <a:gd name="connsiteX17" fmla="*/ 1362238 w 1436399"/>
              <a:gd name="connsiteY17" fmla="*/ 1975794 h 2968432"/>
              <a:gd name="connsiteX18" fmla="*/ 1145763 w 1436399"/>
              <a:gd name="connsiteY18" fmla="*/ 1508129 h 2968432"/>
              <a:gd name="connsiteX19" fmla="*/ 856374 w 1436399"/>
              <a:gd name="connsiteY19" fmla="*/ 1508129 h 2968432"/>
              <a:gd name="connsiteX20" fmla="*/ 428187 w 1436399"/>
              <a:gd name="connsiteY20" fmla="*/ 1916013 h 2968432"/>
              <a:gd name="connsiteX21" fmla="*/ 0 w 1436399"/>
              <a:gd name="connsiteY21" fmla="*/ 1487789 h 2968432"/>
              <a:gd name="connsiteX22" fmla="*/ 428187 w 1436399"/>
              <a:gd name="connsiteY22" fmla="*/ 1059703 h 2968432"/>
              <a:gd name="connsiteX23" fmla="*/ 1423248 w 1436399"/>
              <a:gd name="connsiteY23" fmla="*/ 955531 h 2968432"/>
              <a:gd name="connsiteX24" fmla="*/ 1423246 w 1436399"/>
              <a:gd name="connsiteY24" fmla="*/ 955533 h 2968432"/>
              <a:gd name="connsiteX25" fmla="*/ 1423248 w 1436399"/>
              <a:gd name="connsiteY25" fmla="*/ 955531 h 2968432"/>
              <a:gd name="connsiteX26" fmla="*/ 885063 w 1436399"/>
              <a:gd name="connsiteY26" fmla="*/ 0 h 2968432"/>
              <a:gd name="connsiteX27" fmla="*/ 1313137 w 1436399"/>
              <a:gd name="connsiteY27" fmla="*/ 428224 h 2968432"/>
              <a:gd name="connsiteX28" fmla="*/ 1203142 w 1436399"/>
              <a:gd name="connsiteY28" fmla="*/ 713935 h 2968432"/>
              <a:gd name="connsiteX29" fmla="*/ 1436399 w 1436399"/>
              <a:gd name="connsiteY29" fmla="*/ 942477 h 2968432"/>
              <a:gd name="connsiteX30" fmla="*/ 1436388 w 1436399"/>
              <a:gd name="connsiteY30" fmla="*/ 942488 h 2968432"/>
              <a:gd name="connsiteX31" fmla="*/ 1408845 w 1436399"/>
              <a:gd name="connsiteY31" fmla="*/ 966390 h 2968432"/>
              <a:gd name="connsiteX32" fmla="*/ 1408844 w 1436399"/>
              <a:gd name="connsiteY32" fmla="*/ 966390 h 2968432"/>
              <a:gd name="connsiteX33" fmla="*/ 1178081 w 1436399"/>
              <a:gd name="connsiteY33" fmla="*/ 740322 h 2968432"/>
              <a:gd name="connsiteX34" fmla="*/ 885063 w 1436399"/>
              <a:gd name="connsiteY34" fmla="*/ 856310 h 2968432"/>
              <a:gd name="connsiteX35" fmla="*/ 456876 w 1436399"/>
              <a:gd name="connsiteY35" fmla="*/ 428224 h 2968432"/>
              <a:gd name="connsiteX36" fmla="*/ 885063 w 1436399"/>
              <a:gd name="connsiteY36"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89681 w 1436399"/>
              <a:gd name="connsiteY8" fmla="*/ 1999706 h 2968432"/>
              <a:gd name="connsiteX9" fmla="*/ 1389680 w 1436399"/>
              <a:gd name="connsiteY9" fmla="*/ 1999706 h 2968432"/>
              <a:gd name="connsiteX10" fmla="*/ 1189988 w 1436399"/>
              <a:gd name="connsiteY10" fmla="*/ 2229348 h 2968432"/>
              <a:gd name="connsiteX11" fmla="*/ 1323910 w 1436399"/>
              <a:gd name="connsiteY11" fmla="*/ 2540208 h 2968432"/>
              <a:gd name="connsiteX12" fmla="*/ 895836 w 1436399"/>
              <a:gd name="connsiteY12" fmla="*/ 2968432 h 2968432"/>
              <a:gd name="connsiteX13" fmla="*/ 467649 w 1436399"/>
              <a:gd name="connsiteY13" fmla="*/ 2540208 h 2968432"/>
              <a:gd name="connsiteX14" fmla="*/ 895836 w 1436399"/>
              <a:gd name="connsiteY14" fmla="*/ 2112122 h 2968432"/>
              <a:gd name="connsiteX15" fmla="*/ 1162546 w 1436399"/>
              <a:gd name="connsiteY15" fmla="*/ 2205435 h 2968432"/>
              <a:gd name="connsiteX16" fmla="*/ 1362238 w 1436399"/>
              <a:gd name="connsiteY16" fmla="*/ 1975794 h 2968432"/>
              <a:gd name="connsiteX17" fmla="*/ 1145763 w 1436399"/>
              <a:gd name="connsiteY17" fmla="*/ 1508129 h 2968432"/>
              <a:gd name="connsiteX18" fmla="*/ 856374 w 1436399"/>
              <a:gd name="connsiteY18" fmla="*/ 1508129 h 2968432"/>
              <a:gd name="connsiteX19" fmla="*/ 428187 w 1436399"/>
              <a:gd name="connsiteY19" fmla="*/ 1916013 h 2968432"/>
              <a:gd name="connsiteX20" fmla="*/ 0 w 1436399"/>
              <a:gd name="connsiteY20" fmla="*/ 1487789 h 2968432"/>
              <a:gd name="connsiteX21" fmla="*/ 428187 w 1436399"/>
              <a:gd name="connsiteY21" fmla="*/ 1059703 h 2968432"/>
              <a:gd name="connsiteX22" fmla="*/ 1423248 w 1436399"/>
              <a:gd name="connsiteY22" fmla="*/ 955531 h 2968432"/>
              <a:gd name="connsiteX23" fmla="*/ 1423246 w 1436399"/>
              <a:gd name="connsiteY23" fmla="*/ 955533 h 2968432"/>
              <a:gd name="connsiteX24" fmla="*/ 1423248 w 1436399"/>
              <a:gd name="connsiteY24" fmla="*/ 955531 h 2968432"/>
              <a:gd name="connsiteX25" fmla="*/ 885063 w 1436399"/>
              <a:gd name="connsiteY25" fmla="*/ 0 h 2968432"/>
              <a:gd name="connsiteX26" fmla="*/ 1313137 w 1436399"/>
              <a:gd name="connsiteY26" fmla="*/ 428224 h 2968432"/>
              <a:gd name="connsiteX27" fmla="*/ 1203142 w 1436399"/>
              <a:gd name="connsiteY27" fmla="*/ 713935 h 2968432"/>
              <a:gd name="connsiteX28" fmla="*/ 1436399 w 1436399"/>
              <a:gd name="connsiteY28" fmla="*/ 942477 h 2968432"/>
              <a:gd name="connsiteX29" fmla="*/ 1436388 w 1436399"/>
              <a:gd name="connsiteY29" fmla="*/ 942488 h 2968432"/>
              <a:gd name="connsiteX30" fmla="*/ 1408845 w 1436399"/>
              <a:gd name="connsiteY30" fmla="*/ 966390 h 2968432"/>
              <a:gd name="connsiteX31" fmla="*/ 1408844 w 1436399"/>
              <a:gd name="connsiteY31" fmla="*/ 966390 h 2968432"/>
              <a:gd name="connsiteX32" fmla="*/ 1178081 w 1436399"/>
              <a:gd name="connsiteY32" fmla="*/ 740322 h 2968432"/>
              <a:gd name="connsiteX33" fmla="*/ 885063 w 1436399"/>
              <a:gd name="connsiteY33" fmla="*/ 856310 h 2968432"/>
              <a:gd name="connsiteX34" fmla="*/ 456876 w 1436399"/>
              <a:gd name="connsiteY34" fmla="*/ 428224 h 2968432"/>
              <a:gd name="connsiteX35" fmla="*/ 885063 w 1436399"/>
              <a:gd name="connsiteY35"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89681 w 1436399"/>
              <a:gd name="connsiteY7" fmla="*/ 1999706 h 2968432"/>
              <a:gd name="connsiteX8" fmla="*/ 1389680 w 1436399"/>
              <a:gd name="connsiteY8" fmla="*/ 1999706 h 2968432"/>
              <a:gd name="connsiteX9" fmla="*/ 1189988 w 1436399"/>
              <a:gd name="connsiteY9" fmla="*/ 2229348 h 2968432"/>
              <a:gd name="connsiteX10" fmla="*/ 1323910 w 1436399"/>
              <a:gd name="connsiteY10" fmla="*/ 2540208 h 2968432"/>
              <a:gd name="connsiteX11" fmla="*/ 895836 w 1436399"/>
              <a:gd name="connsiteY11" fmla="*/ 2968432 h 2968432"/>
              <a:gd name="connsiteX12" fmla="*/ 467649 w 1436399"/>
              <a:gd name="connsiteY12" fmla="*/ 2540208 h 2968432"/>
              <a:gd name="connsiteX13" fmla="*/ 895836 w 1436399"/>
              <a:gd name="connsiteY13" fmla="*/ 2112122 h 2968432"/>
              <a:gd name="connsiteX14" fmla="*/ 1162546 w 1436399"/>
              <a:gd name="connsiteY14" fmla="*/ 2205435 h 2968432"/>
              <a:gd name="connsiteX15" fmla="*/ 1362238 w 1436399"/>
              <a:gd name="connsiteY15" fmla="*/ 1975794 h 2968432"/>
              <a:gd name="connsiteX16" fmla="*/ 1145763 w 1436399"/>
              <a:gd name="connsiteY16" fmla="*/ 1508129 h 2968432"/>
              <a:gd name="connsiteX17" fmla="*/ 856374 w 1436399"/>
              <a:gd name="connsiteY17" fmla="*/ 1508129 h 2968432"/>
              <a:gd name="connsiteX18" fmla="*/ 428187 w 1436399"/>
              <a:gd name="connsiteY18" fmla="*/ 1916013 h 2968432"/>
              <a:gd name="connsiteX19" fmla="*/ 0 w 1436399"/>
              <a:gd name="connsiteY19" fmla="*/ 1487789 h 2968432"/>
              <a:gd name="connsiteX20" fmla="*/ 428187 w 1436399"/>
              <a:gd name="connsiteY20" fmla="*/ 1059703 h 2968432"/>
              <a:gd name="connsiteX21" fmla="*/ 1423248 w 1436399"/>
              <a:gd name="connsiteY21" fmla="*/ 955531 h 2968432"/>
              <a:gd name="connsiteX22" fmla="*/ 1423246 w 1436399"/>
              <a:gd name="connsiteY22" fmla="*/ 955533 h 2968432"/>
              <a:gd name="connsiteX23" fmla="*/ 1423248 w 1436399"/>
              <a:gd name="connsiteY23" fmla="*/ 955531 h 2968432"/>
              <a:gd name="connsiteX24" fmla="*/ 885063 w 1436399"/>
              <a:gd name="connsiteY24" fmla="*/ 0 h 2968432"/>
              <a:gd name="connsiteX25" fmla="*/ 1313137 w 1436399"/>
              <a:gd name="connsiteY25" fmla="*/ 428224 h 2968432"/>
              <a:gd name="connsiteX26" fmla="*/ 1203142 w 1436399"/>
              <a:gd name="connsiteY26" fmla="*/ 713935 h 2968432"/>
              <a:gd name="connsiteX27" fmla="*/ 1436399 w 1436399"/>
              <a:gd name="connsiteY27" fmla="*/ 942477 h 2968432"/>
              <a:gd name="connsiteX28" fmla="*/ 1436388 w 1436399"/>
              <a:gd name="connsiteY28" fmla="*/ 942488 h 2968432"/>
              <a:gd name="connsiteX29" fmla="*/ 1408845 w 1436399"/>
              <a:gd name="connsiteY29" fmla="*/ 966390 h 2968432"/>
              <a:gd name="connsiteX30" fmla="*/ 1408844 w 1436399"/>
              <a:gd name="connsiteY30" fmla="*/ 966390 h 2968432"/>
              <a:gd name="connsiteX31" fmla="*/ 1178081 w 1436399"/>
              <a:gd name="connsiteY31" fmla="*/ 740322 h 2968432"/>
              <a:gd name="connsiteX32" fmla="*/ 885063 w 1436399"/>
              <a:gd name="connsiteY32" fmla="*/ 856310 h 2968432"/>
              <a:gd name="connsiteX33" fmla="*/ 456876 w 1436399"/>
              <a:gd name="connsiteY33" fmla="*/ 428224 h 2968432"/>
              <a:gd name="connsiteX34" fmla="*/ 885063 w 1436399"/>
              <a:gd name="connsiteY34"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89681 w 1436399"/>
              <a:gd name="connsiteY6" fmla="*/ 1999706 h 2968432"/>
              <a:gd name="connsiteX7" fmla="*/ 1389680 w 1436399"/>
              <a:gd name="connsiteY7" fmla="*/ 1999706 h 2968432"/>
              <a:gd name="connsiteX8" fmla="*/ 1189988 w 1436399"/>
              <a:gd name="connsiteY8" fmla="*/ 2229348 h 2968432"/>
              <a:gd name="connsiteX9" fmla="*/ 1323910 w 1436399"/>
              <a:gd name="connsiteY9" fmla="*/ 2540208 h 2968432"/>
              <a:gd name="connsiteX10" fmla="*/ 895836 w 1436399"/>
              <a:gd name="connsiteY10" fmla="*/ 2968432 h 2968432"/>
              <a:gd name="connsiteX11" fmla="*/ 467649 w 1436399"/>
              <a:gd name="connsiteY11" fmla="*/ 2540208 h 2968432"/>
              <a:gd name="connsiteX12" fmla="*/ 895836 w 1436399"/>
              <a:gd name="connsiteY12" fmla="*/ 2112122 h 2968432"/>
              <a:gd name="connsiteX13" fmla="*/ 1162546 w 1436399"/>
              <a:gd name="connsiteY13" fmla="*/ 2205435 h 2968432"/>
              <a:gd name="connsiteX14" fmla="*/ 1362238 w 1436399"/>
              <a:gd name="connsiteY14" fmla="*/ 1975794 h 2968432"/>
              <a:gd name="connsiteX15" fmla="*/ 1145763 w 1436399"/>
              <a:gd name="connsiteY15" fmla="*/ 1508129 h 2968432"/>
              <a:gd name="connsiteX16" fmla="*/ 856374 w 1436399"/>
              <a:gd name="connsiteY16" fmla="*/ 1508129 h 2968432"/>
              <a:gd name="connsiteX17" fmla="*/ 428187 w 1436399"/>
              <a:gd name="connsiteY17" fmla="*/ 1916013 h 2968432"/>
              <a:gd name="connsiteX18" fmla="*/ 0 w 1436399"/>
              <a:gd name="connsiteY18" fmla="*/ 1487789 h 2968432"/>
              <a:gd name="connsiteX19" fmla="*/ 428187 w 1436399"/>
              <a:gd name="connsiteY19" fmla="*/ 1059703 h 2968432"/>
              <a:gd name="connsiteX20" fmla="*/ 1423248 w 1436399"/>
              <a:gd name="connsiteY20" fmla="*/ 955531 h 2968432"/>
              <a:gd name="connsiteX21" fmla="*/ 1423246 w 1436399"/>
              <a:gd name="connsiteY21" fmla="*/ 955533 h 2968432"/>
              <a:gd name="connsiteX22" fmla="*/ 1423248 w 1436399"/>
              <a:gd name="connsiteY22" fmla="*/ 955531 h 2968432"/>
              <a:gd name="connsiteX23" fmla="*/ 885063 w 1436399"/>
              <a:gd name="connsiteY23" fmla="*/ 0 h 2968432"/>
              <a:gd name="connsiteX24" fmla="*/ 1313137 w 1436399"/>
              <a:gd name="connsiteY24" fmla="*/ 428224 h 2968432"/>
              <a:gd name="connsiteX25" fmla="*/ 1203142 w 1436399"/>
              <a:gd name="connsiteY25" fmla="*/ 713935 h 2968432"/>
              <a:gd name="connsiteX26" fmla="*/ 1436399 w 1436399"/>
              <a:gd name="connsiteY26" fmla="*/ 942477 h 2968432"/>
              <a:gd name="connsiteX27" fmla="*/ 1436388 w 1436399"/>
              <a:gd name="connsiteY27" fmla="*/ 942488 h 2968432"/>
              <a:gd name="connsiteX28" fmla="*/ 1408845 w 1436399"/>
              <a:gd name="connsiteY28" fmla="*/ 966390 h 2968432"/>
              <a:gd name="connsiteX29" fmla="*/ 1408844 w 1436399"/>
              <a:gd name="connsiteY29" fmla="*/ 966390 h 2968432"/>
              <a:gd name="connsiteX30" fmla="*/ 1178081 w 1436399"/>
              <a:gd name="connsiteY30" fmla="*/ 740322 h 2968432"/>
              <a:gd name="connsiteX31" fmla="*/ 885063 w 1436399"/>
              <a:gd name="connsiteY31" fmla="*/ 856310 h 2968432"/>
              <a:gd name="connsiteX32" fmla="*/ 456876 w 1436399"/>
              <a:gd name="connsiteY32" fmla="*/ 428224 h 2968432"/>
              <a:gd name="connsiteX33" fmla="*/ 885063 w 1436399"/>
              <a:gd name="connsiteY33"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89681 w 1436399"/>
              <a:gd name="connsiteY6" fmla="*/ 1999706 h 2968432"/>
              <a:gd name="connsiteX7" fmla="*/ 1389680 w 1436399"/>
              <a:gd name="connsiteY7" fmla="*/ 1999706 h 2968432"/>
              <a:gd name="connsiteX8" fmla="*/ 1189988 w 1436399"/>
              <a:gd name="connsiteY8" fmla="*/ 2229348 h 2968432"/>
              <a:gd name="connsiteX9" fmla="*/ 1323910 w 1436399"/>
              <a:gd name="connsiteY9" fmla="*/ 2540208 h 2968432"/>
              <a:gd name="connsiteX10" fmla="*/ 895836 w 1436399"/>
              <a:gd name="connsiteY10" fmla="*/ 2968432 h 2968432"/>
              <a:gd name="connsiteX11" fmla="*/ 467649 w 1436399"/>
              <a:gd name="connsiteY11" fmla="*/ 2540208 h 2968432"/>
              <a:gd name="connsiteX12" fmla="*/ 895836 w 1436399"/>
              <a:gd name="connsiteY12" fmla="*/ 2112122 h 2968432"/>
              <a:gd name="connsiteX13" fmla="*/ 1162546 w 1436399"/>
              <a:gd name="connsiteY13" fmla="*/ 2205435 h 2968432"/>
              <a:gd name="connsiteX14" fmla="*/ 1362238 w 1436399"/>
              <a:gd name="connsiteY14" fmla="*/ 1975794 h 2968432"/>
              <a:gd name="connsiteX15" fmla="*/ 1145763 w 1436399"/>
              <a:gd name="connsiteY15" fmla="*/ 1508129 h 2968432"/>
              <a:gd name="connsiteX16" fmla="*/ 856374 w 1436399"/>
              <a:gd name="connsiteY16" fmla="*/ 1508129 h 2968432"/>
              <a:gd name="connsiteX17" fmla="*/ 428187 w 1436399"/>
              <a:gd name="connsiteY17" fmla="*/ 1916013 h 2968432"/>
              <a:gd name="connsiteX18" fmla="*/ 0 w 1436399"/>
              <a:gd name="connsiteY18" fmla="*/ 1487789 h 2968432"/>
              <a:gd name="connsiteX19" fmla="*/ 428187 w 1436399"/>
              <a:gd name="connsiteY19" fmla="*/ 1059703 h 2968432"/>
              <a:gd name="connsiteX20" fmla="*/ 1423248 w 1436399"/>
              <a:gd name="connsiteY20" fmla="*/ 955531 h 2968432"/>
              <a:gd name="connsiteX21" fmla="*/ 1423246 w 1436399"/>
              <a:gd name="connsiteY21" fmla="*/ 955533 h 2968432"/>
              <a:gd name="connsiteX22" fmla="*/ 1423248 w 1436399"/>
              <a:gd name="connsiteY22" fmla="*/ 955531 h 2968432"/>
              <a:gd name="connsiteX23" fmla="*/ 885063 w 1436399"/>
              <a:gd name="connsiteY23" fmla="*/ 0 h 2968432"/>
              <a:gd name="connsiteX24" fmla="*/ 1313137 w 1436399"/>
              <a:gd name="connsiteY24" fmla="*/ 428224 h 2968432"/>
              <a:gd name="connsiteX25" fmla="*/ 1203142 w 1436399"/>
              <a:gd name="connsiteY25" fmla="*/ 713935 h 2968432"/>
              <a:gd name="connsiteX26" fmla="*/ 1436399 w 1436399"/>
              <a:gd name="connsiteY26" fmla="*/ 942477 h 2968432"/>
              <a:gd name="connsiteX27" fmla="*/ 1436388 w 1436399"/>
              <a:gd name="connsiteY27" fmla="*/ 942488 h 2968432"/>
              <a:gd name="connsiteX28" fmla="*/ 1408845 w 1436399"/>
              <a:gd name="connsiteY28" fmla="*/ 966390 h 2968432"/>
              <a:gd name="connsiteX29" fmla="*/ 1408844 w 1436399"/>
              <a:gd name="connsiteY29" fmla="*/ 966390 h 2968432"/>
              <a:gd name="connsiteX30" fmla="*/ 1178081 w 1436399"/>
              <a:gd name="connsiteY30" fmla="*/ 740322 h 2968432"/>
              <a:gd name="connsiteX31" fmla="*/ 885063 w 1436399"/>
              <a:gd name="connsiteY31" fmla="*/ 856310 h 2968432"/>
              <a:gd name="connsiteX32" fmla="*/ 456876 w 1436399"/>
              <a:gd name="connsiteY32" fmla="*/ 428224 h 2968432"/>
              <a:gd name="connsiteX33" fmla="*/ 885063 w 1436399"/>
              <a:gd name="connsiteY33" fmla="*/ 0 h 296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6399" h="2968432">
                <a:moveTo>
                  <a:pt x="428187" y="1059703"/>
                </a:moveTo>
                <a:cubicBezTo>
                  <a:pt x="660197" y="1059703"/>
                  <a:pt x="847983" y="1242619"/>
                  <a:pt x="856374" y="1472260"/>
                </a:cubicBezTo>
                <a:lnTo>
                  <a:pt x="1145763" y="1472260"/>
                </a:lnTo>
                <a:cubicBezTo>
                  <a:pt x="1193995" y="1472260"/>
                  <a:pt x="1145764" y="1466282"/>
                  <a:pt x="1145764" y="1472260"/>
                </a:cubicBezTo>
                <a:lnTo>
                  <a:pt x="1145764" y="1508128"/>
                </a:lnTo>
                <a:cubicBezTo>
                  <a:pt x="1150527" y="1693518"/>
                  <a:pt x="1233080" y="1859805"/>
                  <a:pt x="1362239" y="1975794"/>
                </a:cubicBezTo>
                <a:lnTo>
                  <a:pt x="1389681" y="1999706"/>
                </a:lnTo>
                <a:cubicBezTo>
                  <a:pt x="1392956" y="2000620"/>
                  <a:pt x="1391212" y="2002707"/>
                  <a:pt x="1389680" y="1999706"/>
                </a:cubicBezTo>
                <a:lnTo>
                  <a:pt x="1189988" y="2229348"/>
                </a:lnTo>
                <a:cubicBezTo>
                  <a:pt x="1272541" y="2306994"/>
                  <a:pt x="1323910" y="2417073"/>
                  <a:pt x="1323910" y="2540208"/>
                </a:cubicBezTo>
                <a:cubicBezTo>
                  <a:pt x="1323910" y="2777133"/>
                  <a:pt x="1132609" y="2968432"/>
                  <a:pt x="895836" y="2968432"/>
                </a:cubicBezTo>
                <a:cubicBezTo>
                  <a:pt x="658950" y="2968432"/>
                  <a:pt x="467649" y="2777133"/>
                  <a:pt x="467649" y="2540208"/>
                </a:cubicBezTo>
                <a:cubicBezTo>
                  <a:pt x="467649" y="2303421"/>
                  <a:pt x="658950" y="2112122"/>
                  <a:pt x="895836" y="2112122"/>
                </a:cubicBezTo>
                <a:cubicBezTo>
                  <a:pt x="996306" y="2112122"/>
                  <a:pt x="1089518" y="2146754"/>
                  <a:pt x="1162546" y="2205435"/>
                </a:cubicBezTo>
                <a:lnTo>
                  <a:pt x="1362238" y="1975794"/>
                </a:lnTo>
                <a:cubicBezTo>
                  <a:pt x="1233079" y="1859805"/>
                  <a:pt x="1150526" y="1693518"/>
                  <a:pt x="1145763" y="1508129"/>
                </a:cubicBezTo>
                <a:lnTo>
                  <a:pt x="856374" y="1508129"/>
                </a:lnTo>
                <a:cubicBezTo>
                  <a:pt x="845601" y="1735433"/>
                  <a:pt x="657816" y="1916013"/>
                  <a:pt x="428187" y="1916013"/>
                </a:cubicBezTo>
                <a:cubicBezTo>
                  <a:pt x="191414" y="1916013"/>
                  <a:pt x="0" y="1724577"/>
                  <a:pt x="0" y="1487789"/>
                </a:cubicBezTo>
                <a:cubicBezTo>
                  <a:pt x="0" y="1251002"/>
                  <a:pt x="191414" y="1059703"/>
                  <a:pt x="428187" y="1059703"/>
                </a:cubicBezTo>
                <a:close/>
                <a:moveTo>
                  <a:pt x="1423248" y="955531"/>
                </a:moveTo>
                <a:lnTo>
                  <a:pt x="1423246" y="955533"/>
                </a:lnTo>
                <a:lnTo>
                  <a:pt x="1423248" y="955531"/>
                </a:lnTo>
                <a:close/>
                <a:moveTo>
                  <a:pt x="885063" y="0"/>
                </a:moveTo>
                <a:cubicBezTo>
                  <a:pt x="1121836" y="0"/>
                  <a:pt x="1313137" y="191299"/>
                  <a:pt x="1313137" y="428224"/>
                </a:cubicBezTo>
                <a:cubicBezTo>
                  <a:pt x="1313137" y="538166"/>
                  <a:pt x="1271293" y="638625"/>
                  <a:pt x="1203142" y="713935"/>
                </a:cubicBezTo>
                <a:lnTo>
                  <a:pt x="1436399" y="942477"/>
                </a:lnTo>
                <a:lnTo>
                  <a:pt x="1436388" y="942488"/>
                </a:lnTo>
                <a:lnTo>
                  <a:pt x="1408845" y="966390"/>
                </a:lnTo>
                <a:lnTo>
                  <a:pt x="1408844" y="966390"/>
                </a:lnTo>
                <a:lnTo>
                  <a:pt x="1178081" y="740322"/>
                </a:lnTo>
                <a:cubicBezTo>
                  <a:pt x="1101538" y="812059"/>
                  <a:pt x="998687" y="856310"/>
                  <a:pt x="885063" y="856310"/>
                </a:cubicBezTo>
                <a:cubicBezTo>
                  <a:pt x="648177" y="856310"/>
                  <a:pt x="456876" y="665011"/>
                  <a:pt x="456876" y="428224"/>
                </a:cubicBezTo>
                <a:cubicBezTo>
                  <a:pt x="456876" y="191299"/>
                  <a:pt x="648177" y="0"/>
                  <a:pt x="885063" y="0"/>
                </a:cubicBezTo>
                <a:close/>
              </a:path>
            </a:pathLst>
          </a:custGeom>
          <a:solidFill>
            <a:srgbClr val="F7931F">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grpSp>
        <p:nvGrpSpPr>
          <p:cNvPr id="103" name="Graphic 30" descr="Lightbulb">
            <a:extLst>
              <a:ext uri="{FF2B5EF4-FFF2-40B4-BE49-F238E27FC236}">
                <a16:creationId xmlns:a16="http://schemas.microsoft.com/office/drawing/2014/main" id="{51F5FD6A-C149-DFA0-6AC7-0E14661E1BE8}"/>
              </a:ext>
            </a:extLst>
          </p:cNvPr>
          <p:cNvGrpSpPr/>
          <p:nvPr/>
        </p:nvGrpSpPr>
        <p:grpSpPr>
          <a:xfrm>
            <a:off x="2622825" y="1261208"/>
            <a:ext cx="436293" cy="436293"/>
            <a:chOff x="3412361" y="950256"/>
            <a:chExt cx="582026" cy="582026"/>
          </a:xfrm>
        </p:grpSpPr>
        <p:sp>
          <p:nvSpPr>
            <p:cNvPr id="104" name="Freeform: Shape 103">
              <a:extLst>
                <a:ext uri="{FF2B5EF4-FFF2-40B4-BE49-F238E27FC236}">
                  <a16:creationId xmlns:a16="http://schemas.microsoft.com/office/drawing/2014/main" id="{4A9D4285-7C7F-ABF5-95E5-9E077C968130}"/>
                </a:ext>
              </a:extLst>
            </p:cNvPr>
            <p:cNvSpPr/>
            <p:nvPr/>
          </p:nvSpPr>
          <p:spPr>
            <a:xfrm>
              <a:off x="3624557" y="1338273"/>
              <a:ext cx="157632" cy="36376"/>
            </a:xfrm>
            <a:custGeom>
              <a:avLst/>
              <a:gdLst>
                <a:gd name="connsiteX0" fmla="*/ 18188 w 157632"/>
                <a:gd name="connsiteY0" fmla="*/ 0 h 36376"/>
                <a:gd name="connsiteX1" fmla="*/ 139444 w 157632"/>
                <a:gd name="connsiteY1" fmla="*/ 0 h 36376"/>
                <a:gd name="connsiteX2" fmla="*/ 157632 w 157632"/>
                <a:gd name="connsiteY2" fmla="*/ 18188 h 36376"/>
                <a:gd name="connsiteX3" fmla="*/ 139444 w 157632"/>
                <a:gd name="connsiteY3" fmla="*/ 36377 h 36376"/>
                <a:gd name="connsiteX4" fmla="*/ 18188 w 157632"/>
                <a:gd name="connsiteY4" fmla="*/ 36377 h 36376"/>
                <a:gd name="connsiteX5" fmla="*/ 0 w 157632"/>
                <a:gd name="connsiteY5" fmla="*/ 18188 h 36376"/>
                <a:gd name="connsiteX6" fmla="*/ 18188 w 157632"/>
                <a:gd name="connsiteY6" fmla="*/ 0 h 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32" h="36376">
                  <a:moveTo>
                    <a:pt x="18188" y="0"/>
                  </a:moveTo>
                  <a:lnTo>
                    <a:pt x="139444" y="0"/>
                  </a:lnTo>
                  <a:cubicBezTo>
                    <a:pt x="149750" y="0"/>
                    <a:pt x="157632" y="7882"/>
                    <a:pt x="157632" y="18188"/>
                  </a:cubicBezTo>
                  <a:cubicBezTo>
                    <a:pt x="157632" y="28495"/>
                    <a:pt x="149750" y="36377"/>
                    <a:pt x="139444" y="36377"/>
                  </a:cubicBezTo>
                  <a:lnTo>
                    <a:pt x="18188" y="36377"/>
                  </a:lnTo>
                  <a:cubicBezTo>
                    <a:pt x="7882" y="36377"/>
                    <a:pt x="0" y="28495"/>
                    <a:pt x="0" y="18188"/>
                  </a:cubicBezTo>
                  <a:cubicBezTo>
                    <a:pt x="0" y="7882"/>
                    <a:pt x="7882" y="0"/>
                    <a:pt x="18188" y="0"/>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5" name="Freeform: Shape 104">
              <a:extLst>
                <a:ext uri="{FF2B5EF4-FFF2-40B4-BE49-F238E27FC236}">
                  <a16:creationId xmlns:a16="http://schemas.microsoft.com/office/drawing/2014/main" id="{C9008500-822D-2F9B-D70B-91AD6A2DC296}"/>
                </a:ext>
              </a:extLst>
            </p:cNvPr>
            <p:cNvSpPr/>
            <p:nvPr/>
          </p:nvSpPr>
          <p:spPr>
            <a:xfrm>
              <a:off x="3624557" y="1398901"/>
              <a:ext cx="157632" cy="36376"/>
            </a:xfrm>
            <a:custGeom>
              <a:avLst/>
              <a:gdLst>
                <a:gd name="connsiteX0" fmla="*/ 18188 w 157632"/>
                <a:gd name="connsiteY0" fmla="*/ 0 h 36376"/>
                <a:gd name="connsiteX1" fmla="*/ 139444 w 157632"/>
                <a:gd name="connsiteY1" fmla="*/ 0 h 36376"/>
                <a:gd name="connsiteX2" fmla="*/ 157632 w 157632"/>
                <a:gd name="connsiteY2" fmla="*/ 18188 h 36376"/>
                <a:gd name="connsiteX3" fmla="*/ 139444 w 157632"/>
                <a:gd name="connsiteY3" fmla="*/ 36377 h 36376"/>
                <a:gd name="connsiteX4" fmla="*/ 18188 w 157632"/>
                <a:gd name="connsiteY4" fmla="*/ 36377 h 36376"/>
                <a:gd name="connsiteX5" fmla="*/ 0 w 157632"/>
                <a:gd name="connsiteY5" fmla="*/ 18188 h 36376"/>
                <a:gd name="connsiteX6" fmla="*/ 18188 w 157632"/>
                <a:gd name="connsiteY6" fmla="*/ 0 h 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32" h="36376">
                  <a:moveTo>
                    <a:pt x="18188" y="0"/>
                  </a:moveTo>
                  <a:lnTo>
                    <a:pt x="139444" y="0"/>
                  </a:lnTo>
                  <a:cubicBezTo>
                    <a:pt x="149750" y="0"/>
                    <a:pt x="157632" y="7882"/>
                    <a:pt x="157632" y="18188"/>
                  </a:cubicBezTo>
                  <a:cubicBezTo>
                    <a:pt x="157632" y="28495"/>
                    <a:pt x="149750" y="36377"/>
                    <a:pt x="139444" y="36377"/>
                  </a:cubicBezTo>
                  <a:lnTo>
                    <a:pt x="18188" y="36377"/>
                  </a:lnTo>
                  <a:cubicBezTo>
                    <a:pt x="7882" y="36377"/>
                    <a:pt x="0" y="28495"/>
                    <a:pt x="0" y="18188"/>
                  </a:cubicBezTo>
                  <a:cubicBezTo>
                    <a:pt x="0" y="7882"/>
                    <a:pt x="7882" y="0"/>
                    <a:pt x="18188" y="0"/>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6" name="Freeform: Shape 105">
              <a:extLst>
                <a:ext uri="{FF2B5EF4-FFF2-40B4-BE49-F238E27FC236}">
                  <a16:creationId xmlns:a16="http://schemas.microsoft.com/office/drawing/2014/main" id="{3723043B-C4A6-54C2-B59E-C21D2CA947C4}"/>
                </a:ext>
              </a:extLst>
            </p:cNvPr>
            <p:cNvSpPr/>
            <p:nvPr/>
          </p:nvSpPr>
          <p:spPr>
            <a:xfrm>
              <a:off x="3663965" y="1459528"/>
              <a:ext cx="78816" cy="36376"/>
            </a:xfrm>
            <a:custGeom>
              <a:avLst/>
              <a:gdLst>
                <a:gd name="connsiteX0" fmla="*/ 0 w 78816"/>
                <a:gd name="connsiteY0" fmla="*/ 0 h 36376"/>
                <a:gd name="connsiteX1" fmla="*/ 39408 w 78816"/>
                <a:gd name="connsiteY1" fmla="*/ 36377 h 36376"/>
                <a:gd name="connsiteX2" fmla="*/ 78816 w 78816"/>
                <a:gd name="connsiteY2" fmla="*/ 0 h 36376"/>
                <a:gd name="connsiteX3" fmla="*/ 0 w 78816"/>
                <a:gd name="connsiteY3" fmla="*/ 0 h 36376"/>
              </a:gdLst>
              <a:ahLst/>
              <a:cxnLst>
                <a:cxn ang="0">
                  <a:pos x="connsiteX0" y="connsiteY0"/>
                </a:cxn>
                <a:cxn ang="0">
                  <a:pos x="connsiteX1" y="connsiteY1"/>
                </a:cxn>
                <a:cxn ang="0">
                  <a:pos x="connsiteX2" y="connsiteY2"/>
                </a:cxn>
                <a:cxn ang="0">
                  <a:pos x="connsiteX3" y="connsiteY3"/>
                </a:cxn>
              </a:cxnLst>
              <a:rect l="l" t="t" r="r" b="b"/>
              <a:pathLst>
                <a:path w="78816" h="36376">
                  <a:moveTo>
                    <a:pt x="0" y="0"/>
                  </a:moveTo>
                  <a:cubicBezTo>
                    <a:pt x="1819" y="20613"/>
                    <a:pt x="18795" y="36377"/>
                    <a:pt x="39408" y="36377"/>
                  </a:cubicBezTo>
                  <a:cubicBezTo>
                    <a:pt x="60021" y="36377"/>
                    <a:pt x="76997" y="20613"/>
                    <a:pt x="78816" y="0"/>
                  </a:cubicBezTo>
                  <a:lnTo>
                    <a:pt x="0"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07" name="Freeform: Shape 106">
              <a:extLst>
                <a:ext uri="{FF2B5EF4-FFF2-40B4-BE49-F238E27FC236}">
                  <a16:creationId xmlns:a16="http://schemas.microsoft.com/office/drawing/2014/main" id="{6103ADD2-8746-B3A9-2112-626A69FD5D30}"/>
                </a:ext>
              </a:extLst>
            </p:cNvPr>
            <p:cNvSpPr/>
            <p:nvPr/>
          </p:nvSpPr>
          <p:spPr>
            <a:xfrm>
              <a:off x="3545741" y="986632"/>
              <a:ext cx="315264" cy="327389"/>
            </a:xfrm>
            <a:custGeom>
              <a:avLst/>
              <a:gdLst>
                <a:gd name="connsiteX0" fmla="*/ 157632 w 315264"/>
                <a:gd name="connsiteY0" fmla="*/ 0 h 327389"/>
                <a:gd name="connsiteX1" fmla="*/ 157632 w 315264"/>
                <a:gd name="connsiteY1" fmla="*/ 0 h 327389"/>
                <a:gd name="connsiteX2" fmla="*/ 157632 w 315264"/>
                <a:gd name="connsiteY2" fmla="*/ 0 h 327389"/>
                <a:gd name="connsiteX3" fmla="*/ 0 w 315264"/>
                <a:gd name="connsiteY3" fmla="*/ 155813 h 327389"/>
                <a:gd name="connsiteX4" fmla="*/ 0 w 315264"/>
                <a:gd name="connsiteY4" fmla="*/ 161270 h 327389"/>
                <a:gd name="connsiteX5" fmla="*/ 10913 w 315264"/>
                <a:gd name="connsiteY5" fmla="*/ 215835 h 327389"/>
                <a:gd name="connsiteX6" fmla="*/ 38195 w 315264"/>
                <a:gd name="connsiteY6" fmla="*/ 260699 h 327389"/>
                <a:gd name="connsiteX7" fmla="*/ 75178 w 315264"/>
                <a:gd name="connsiteY7" fmla="*/ 320721 h 327389"/>
                <a:gd name="connsiteX8" fmla="*/ 86091 w 315264"/>
                <a:gd name="connsiteY8" fmla="*/ 327390 h 327389"/>
                <a:gd name="connsiteX9" fmla="*/ 229173 w 315264"/>
                <a:gd name="connsiteY9" fmla="*/ 327390 h 327389"/>
                <a:gd name="connsiteX10" fmla="*/ 240086 w 315264"/>
                <a:gd name="connsiteY10" fmla="*/ 320721 h 327389"/>
                <a:gd name="connsiteX11" fmla="*/ 277069 w 315264"/>
                <a:gd name="connsiteY11" fmla="*/ 260699 h 327389"/>
                <a:gd name="connsiteX12" fmla="*/ 304351 w 315264"/>
                <a:gd name="connsiteY12" fmla="*/ 215835 h 327389"/>
                <a:gd name="connsiteX13" fmla="*/ 315264 w 315264"/>
                <a:gd name="connsiteY13" fmla="*/ 161270 h 327389"/>
                <a:gd name="connsiteX14" fmla="*/ 315264 w 315264"/>
                <a:gd name="connsiteY14" fmla="*/ 155813 h 327389"/>
                <a:gd name="connsiteX15" fmla="*/ 157632 w 315264"/>
                <a:gd name="connsiteY15" fmla="*/ 0 h 327389"/>
                <a:gd name="connsiteX16" fmla="*/ 278887 w 315264"/>
                <a:gd name="connsiteY16" fmla="*/ 160663 h 327389"/>
                <a:gd name="connsiteX17" fmla="*/ 270400 w 315264"/>
                <a:gd name="connsiteY17" fmla="*/ 203103 h 327389"/>
                <a:gd name="connsiteX18" fmla="*/ 249786 w 315264"/>
                <a:gd name="connsiteY18" fmla="*/ 236448 h 327389"/>
                <a:gd name="connsiteX19" fmla="*/ 214622 w 315264"/>
                <a:gd name="connsiteY19" fmla="*/ 291013 h 327389"/>
                <a:gd name="connsiteX20" fmla="*/ 157632 w 315264"/>
                <a:gd name="connsiteY20" fmla="*/ 291013 h 327389"/>
                <a:gd name="connsiteX21" fmla="*/ 101248 w 315264"/>
                <a:gd name="connsiteY21" fmla="*/ 291013 h 327389"/>
                <a:gd name="connsiteX22" fmla="*/ 66084 w 315264"/>
                <a:gd name="connsiteY22" fmla="*/ 236448 h 327389"/>
                <a:gd name="connsiteX23" fmla="*/ 45471 w 315264"/>
                <a:gd name="connsiteY23" fmla="*/ 203103 h 327389"/>
                <a:gd name="connsiteX24" fmla="*/ 36983 w 315264"/>
                <a:gd name="connsiteY24" fmla="*/ 160663 h 327389"/>
                <a:gd name="connsiteX25" fmla="*/ 36983 w 315264"/>
                <a:gd name="connsiteY25" fmla="*/ 155813 h 327389"/>
                <a:gd name="connsiteX26" fmla="*/ 158238 w 315264"/>
                <a:gd name="connsiteY26" fmla="*/ 35770 h 327389"/>
                <a:gd name="connsiteX27" fmla="*/ 158238 w 315264"/>
                <a:gd name="connsiteY27" fmla="*/ 35770 h 327389"/>
                <a:gd name="connsiteX28" fmla="*/ 158238 w 315264"/>
                <a:gd name="connsiteY28" fmla="*/ 35770 h 327389"/>
                <a:gd name="connsiteX29" fmla="*/ 158238 w 315264"/>
                <a:gd name="connsiteY29" fmla="*/ 35770 h 327389"/>
                <a:gd name="connsiteX30" fmla="*/ 158238 w 315264"/>
                <a:gd name="connsiteY30" fmla="*/ 35770 h 327389"/>
                <a:gd name="connsiteX31" fmla="*/ 158238 w 315264"/>
                <a:gd name="connsiteY31" fmla="*/ 35770 h 327389"/>
                <a:gd name="connsiteX32" fmla="*/ 158238 w 315264"/>
                <a:gd name="connsiteY32" fmla="*/ 35770 h 327389"/>
                <a:gd name="connsiteX33" fmla="*/ 279494 w 315264"/>
                <a:gd name="connsiteY33" fmla="*/ 155813 h 327389"/>
                <a:gd name="connsiteX34" fmla="*/ 279494 w 315264"/>
                <a:gd name="connsiteY34" fmla="*/ 160663 h 32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5264" h="327389">
                  <a:moveTo>
                    <a:pt x="157632" y="0"/>
                  </a:moveTo>
                  <a:cubicBezTo>
                    <a:pt x="157632" y="0"/>
                    <a:pt x="157632" y="0"/>
                    <a:pt x="157632" y="0"/>
                  </a:cubicBezTo>
                  <a:cubicBezTo>
                    <a:pt x="157632" y="0"/>
                    <a:pt x="157632" y="0"/>
                    <a:pt x="157632" y="0"/>
                  </a:cubicBezTo>
                  <a:cubicBezTo>
                    <a:pt x="71541" y="606"/>
                    <a:pt x="1819" y="69722"/>
                    <a:pt x="0" y="155813"/>
                  </a:cubicBezTo>
                  <a:lnTo>
                    <a:pt x="0" y="161270"/>
                  </a:lnTo>
                  <a:cubicBezTo>
                    <a:pt x="606" y="180064"/>
                    <a:pt x="4244" y="198253"/>
                    <a:pt x="10913" y="215835"/>
                  </a:cubicBezTo>
                  <a:cubicBezTo>
                    <a:pt x="17582" y="232204"/>
                    <a:pt x="26676" y="247361"/>
                    <a:pt x="38195" y="260699"/>
                  </a:cubicBezTo>
                  <a:cubicBezTo>
                    <a:pt x="52746" y="276462"/>
                    <a:pt x="68509" y="307383"/>
                    <a:pt x="75178" y="320721"/>
                  </a:cubicBezTo>
                  <a:cubicBezTo>
                    <a:pt x="76997" y="324965"/>
                    <a:pt x="81241" y="327390"/>
                    <a:pt x="86091" y="327390"/>
                  </a:cubicBezTo>
                  <a:lnTo>
                    <a:pt x="229173" y="327390"/>
                  </a:lnTo>
                  <a:cubicBezTo>
                    <a:pt x="234023" y="327390"/>
                    <a:pt x="238267" y="324965"/>
                    <a:pt x="240086" y="320721"/>
                  </a:cubicBezTo>
                  <a:cubicBezTo>
                    <a:pt x="246755" y="307383"/>
                    <a:pt x="262518" y="276462"/>
                    <a:pt x="277069" y="260699"/>
                  </a:cubicBezTo>
                  <a:cubicBezTo>
                    <a:pt x="288588" y="247361"/>
                    <a:pt x="298288" y="232204"/>
                    <a:pt x="304351" y="215835"/>
                  </a:cubicBezTo>
                  <a:cubicBezTo>
                    <a:pt x="311020" y="198253"/>
                    <a:pt x="314658" y="180064"/>
                    <a:pt x="315264" y="161270"/>
                  </a:cubicBezTo>
                  <a:lnTo>
                    <a:pt x="315264" y="155813"/>
                  </a:lnTo>
                  <a:cubicBezTo>
                    <a:pt x="313445" y="69722"/>
                    <a:pt x="243723" y="606"/>
                    <a:pt x="157632" y="0"/>
                  </a:cubicBezTo>
                  <a:close/>
                  <a:moveTo>
                    <a:pt x="278887" y="160663"/>
                  </a:moveTo>
                  <a:cubicBezTo>
                    <a:pt x="278281" y="175214"/>
                    <a:pt x="275250" y="189765"/>
                    <a:pt x="270400" y="203103"/>
                  </a:cubicBezTo>
                  <a:cubicBezTo>
                    <a:pt x="265549" y="215228"/>
                    <a:pt x="258880" y="226748"/>
                    <a:pt x="249786" y="236448"/>
                  </a:cubicBezTo>
                  <a:cubicBezTo>
                    <a:pt x="235842" y="253424"/>
                    <a:pt x="223716" y="271612"/>
                    <a:pt x="214622" y="291013"/>
                  </a:cubicBezTo>
                  <a:lnTo>
                    <a:pt x="157632" y="291013"/>
                  </a:lnTo>
                  <a:lnTo>
                    <a:pt x="101248" y="291013"/>
                  </a:lnTo>
                  <a:cubicBezTo>
                    <a:pt x="91548" y="271612"/>
                    <a:pt x="79422" y="253424"/>
                    <a:pt x="66084" y="236448"/>
                  </a:cubicBezTo>
                  <a:cubicBezTo>
                    <a:pt x="57596" y="226748"/>
                    <a:pt x="50321" y="215228"/>
                    <a:pt x="45471" y="203103"/>
                  </a:cubicBezTo>
                  <a:cubicBezTo>
                    <a:pt x="40014" y="189765"/>
                    <a:pt x="37589" y="175214"/>
                    <a:pt x="36983" y="160663"/>
                  </a:cubicBezTo>
                  <a:lnTo>
                    <a:pt x="36983" y="155813"/>
                  </a:lnTo>
                  <a:cubicBezTo>
                    <a:pt x="38195" y="89729"/>
                    <a:pt x="92154" y="36377"/>
                    <a:pt x="158238" y="35770"/>
                  </a:cubicBezTo>
                  <a:lnTo>
                    <a:pt x="158238" y="35770"/>
                  </a:lnTo>
                  <a:lnTo>
                    <a:pt x="158238" y="35770"/>
                  </a:lnTo>
                  <a:cubicBezTo>
                    <a:pt x="158238" y="35770"/>
                    <a:pt x="158238" y="35770"/>
                    <a:pt x="158238" y="35770"/>
                  </a:cubicBezTo>
                  <a:cubicBezTo>
                    <a:pt x="158238" y="35770"/>
                    <a:pt x="158238" y="35770"/>
                    <a:pt x="158238" y="35770"/>
                  </a:cubicBezTo>
                  <a:lnTo>
                    <a:pt x="158238" y="35770"/>
                  </a:lnTo>
                  <a:lnTo>
                    <a:pt x="158238" y="35770"/>
                  </a:lnTo>
                  <a:cubicBezTo>
                    <a:pt x="224323" y="36377"/>
                    <a:pt x="278281" y="89123"/>
                    <a:pt x="279494" y="155813"/>
                  </a:cubicBezTo>
                  <a:lnTo>
                    <a:pt x="279494" y="160663"/>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08" name="Graphic 29" descr="Upward trend">
            <a:extLst>
              <a:ext uri="{FF2B5EF4-FFF2-40B4-BE49-F238E27FC236}">
                <a16:creationId xmlns:a16="http://schemas.microsoft.com/office/drawing/2014/main" id="{3133521D-478B-9507-71CB-E9923E94A0BE}"/>
              </a:ext>
            </a:extLst>
          </p:cNvPr>
          <p:cNvGrpSpPr/>
          <p:nvPr/>
        </p:nvGrpSpPr>
        <p:grpSpPr>
          <a:xfrm>
            <a:off x="2277263" y="2066298"/>
            <a:ext cx="436293" cy="436293"/>
            <a:chOff x="2951372" y="2024268"/>
            <a:chExt cx="582026" cy="582026"/>
          </a:xfrm>
        </p:grpSpPr>
        <p:sp>
          <p:nvSpPr>
            <p:cNvPr id="109" name="Freeform: Shape 108">
              <a:extLst>
                <a:ext uri="{FF2B5EF4-FFF2-40B4-BE49-F238E27FC236}">
                  <a16:creationId xmlns:a16="http://schemas.microsoft.com/office/drawing/2014/main" id="{B696D879-CB3F-5B44-CB94-6B6E0C2CBF45}"/>
                </a:ext>
              </a:extLst>
            </p:cNvPr>
            <p:cNvSpPr/>
            <p:nvPr/>
          </p:nvSpPr>
          <p:spPr>
            <a:xfrm>
              <a:off x="3036250" y="2109146"/>
              <a:ext cx="412268" cy="412268"/>
            </a:xfrm>
            <a:custGeom>
              <a:avLst/>
              <a:gdLst>
                <a:gd name="connsiteX0" fmla="*/ 36377 w 412268"/>
                <a:gd name="connsiteY0" fmla="*/ 0 h 412268"/>
                <a:gd name="connsiteX1" fmla="*/ 0 w 412268"/>
                <a:gd name="connsiteY1" fmla="*/ 0 h 412268"/>
                <a:gd name="connsiteX2" fmla="*/ 0 w 412268"/>
                <a:gd name="connsiteY2" fmla="*/ 412268 h 412268"/>
                <a:gd name="connsiteX3" fmla="*/ 412268 w 412268"/>
                <a:gd name="connsiteY3" fmla="*/ 412268 h 412268"/>
                <a:gd name="connsiteX4" fmla="*/ 412268 w 412268"/>
                <a:gd name="connsiteY4" fmla="*/ 375892 h 412268"/>
                <a:gd name="connsiteX5" fmla="*/ 36377 w 412268"/>
                <a:gd name="connsiteY5" fmla="*/ 375892 h 41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268" h="412268">
                  <a:moveTo>
                    <a:pt x="36377" y="0"/>
                  </a:moveTo>
                  <a:lnTo>
                    <a:pt x="0" y="0"/>
                  </a:lnTo>
                  <a:lnTo>
                    <a:pt x="0" y="412268"/>
                  </a:lnTo>
                  <a:lnTo>
                    <a:pt x="412268" y="412268"/>
                  </a:lnTo>
                  <a:lnTo>
                    <a:pt x="412268" y="375892"/>
                  </a:lnTo>
                  <a:lnTo>
                    <a:pt x="36377" y="375892"/>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0" name="Freeform: Shape 109">
              <a:extLst>
                <a:ext uri="{FF2B5EF4-FFF2-40B4-BE49-F238E27FC236}">
                  <a16:creationId xmlns:a16="http://schemas.microsoft.com/office/drawing/2014/main" id="{507275C7-C8F3-F762-75D2-F31FCFA233E2}"/>
                </a:ext>
              </a:extLst>
            </p:cNvPr>
            <p:cNvSpPr/>
            <p:nvPr/>
          </p:nvSpPr>
          <p:spPr>
            <a:xfrm>
              <a:off x="3096272" y="2212213"/>
              <a:ext cx="352246" cy="206740"/>
            </a:xfrm>
            <a:custGeom>
              <a:avLst/>
              <a:gdLst>
                <a:gd name="connsiteX0" fmla="*/ 255243 w 352246"/>
                <a:gd name="connsiteY0" fmla="*/ 0 h 206740"/>
                <a:gd name="connsiteX1" fmla="*/ 291013 w 352246"/>
                <a:gd name="connsiteY1" fmla="*/ 35770 h 206740"/>
                <a:gd name="connsiteX2" fmla="*/ 243117 w 352246"/>
                <a:gd name="connsiteY2" fmla="*/ 83666 h 206740"/>
                <a:gd name="connsiteX3" fmla="*/ 206740 w 352246"/>
                <a:gd name="connsiteY3" fmla="*/ 47290 h 206740"/>
                <a:gd name="connsiteX4" fmla="*/ 146113 w 352246"/>
                <a:gd name="connsiteY4" fmla="*/ 107917 h 206740"/>
                <a:gd name="connsiteX5" fmla="*/ 109736 w 352246"/>
                <a:gd name="connsiteY5" fmla="*/ 71541 h 206740"/>
                <a:gd name="connsiteX6" fmla="*/ 0 w 352246"/>
                <a:gd name="connsiteY6" fmla="*/ 181277 h 206740"/>
                <a:gd name="connsiteX7" fmla="*/ 25464 w 352246"/>
                <a:gd name="connsiteY7" fmla="*/ 206740 h 206740"/>
                <a:gd name="connsiteX8" fmla="*/ 109736 w 352246"/>
                <a:gd name="connsiteY8" fmla="*/ 122468 h 206740"/>
                <a:gd name="connsiteX9" fmla="*/ 146113 w 352246"/>
                <a:gd name="connsiteY9" fmla="*/ 158845 h 206740"/>
                <a:gd name="connsiteX10" fmla="*/ 206740 w 352246"/>
                <a:gd name="connsiteY10" fmla="*/ 98217 h 206740"/>
                <a:gd name="connsiteX11" fmla="*/ 243117 w 352246"/>
                <a:gd name="connsiteY11" fmla="*/ 134594 h 206740"/>
                <a:gd name="connsiteX12" fmla="*/ 316477 w 352246"/>
                <a:gd name="connsiteY12" fmla="*/ 61234 h 206740"/>
                <a:gd name="connsiteX13" fmla="*/ 352247 w 352246"/>
                <a:gd name="connsiteY13" fmla="*/ 97004 h 206740"/>
                <a:gd name="connsiteX14" fmla="*/ 352247 w 352246"/>
                <a:gd name="connsiteY14" fmla="*/ 0 h 20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246" h="206740">
                  <a:moveTo>
                    <a:pt x="255243" y="0"/>
                  </a:moveTo>
                  <a:lnTo>
                    <a:pt x="291013" y="35770"/>
                  </a:lnTo>
                  <a:lnTo>
                    <a:pt x="243117" y="83666"/>
                  </a:lnTo>
                  <a:lnTo>
                    <a:pt x="206740" y="47290"/>
                  </a:lnTo>
                  <a:lnTo>
                    <a:pt x="146113" y="107917"/>
                  </a:lnTo>
                  <a:lnTo>
                    <a:pt x="109736" y="71541"/>
                  </a:lnTo>
                  <a:lnTo>
                    <a:pt x="0" y="181277"/>
                  </a:lnTo>
                  <a:lnTo>
                    <a:pt x="25464" y="206740"/>
                  </a:lnTo>
                  <a:lnTo>
                    <a:pt x="109736" y="122468"/>
                  </a:lnTo>
                  <a:lnTo>
                    <a:pt x="146113" y="158845"/>
                  </a:lnTo>
                  <a:lnTo>
                    <a:pt x="206740" y="98217"/>
                  </a:lnTo>
                  <a:lnTo>
                    <a:pt x="243117" y="134594"/>
                  </a:lnTo>
                  <a:lnTo>
                    <a:pt x="316477" y="61234"/>
                  </a:lnTo>
                  <a:lnTo>
                    <a:pt x="352247" y="97004"/>
                  </a:lnTo>
                  <a:lnTo>
                    <a:pt x="352247"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11" name="Graphic 28" descr="Bullseye">
            <a:extLst>
              <a:ext uri="{FF2B5EF4-FFF2-40B4-BE49-F238E27FC236}">
                <a16:creationId xmlns:a16="http://schemas.microsoft.com/office/drawing/2014/main" id="{068C6571-D421-A71A-CFC2-B78A9DA98BC2}"/>
              </a:ext>
            </a:extLst>
          </p:cNvPr>
          <p:cNvGrpSpPr/>
          <p:nvPr/>
        </p:nvGrpSpPr>
        <p:grpSpPr>
          <a:xfrm>
            <a:off x="2631244" y="2859679"/>
            <a:ext cx="436293" cy="436293"/>
            <a:chOff x="3423593" y="3082661"/>
            <a:chExt cx="582026" cy="582026"/>
          </a:xfrm>
        </p:grpSpPr>
        <p:sp>
          <p:nvSpPr>
            <p:cNvPr id="112" name="Freeform: Shape 111">
              <a:extLst>
                <a:ext uri="{FF2B5EF4-FFF2-40B4-BE49-F238E27FC236}">
                  <a16:creationId xmlns:a16="http://schemas.microsoft.com/office/drawing/2014/main" id="{DFF56F6E-5C78-15FA-B187-77C52E009DEB}"/>
                </a:ext>
              </a:extLst>
            </p:cNvPr>
            <p:cNvSpPr/>
            <p:nvPr/>
          </p:nvSpPr>
          <p:spPr>
            <a:xfrm>
              <a:off x="3644277" y="3134194"/>
              <a:ext cx="309807" cy="309201"/>
            </a:xfrm>
            <a:custGeom>
              <a:avLst/>
              <a:gdLst>
                <a:gd name="connsiteX0" fmla="*/ 255243 w 309807"/>
                <a:gd name="connsiteY0" fmla="*/ 54565 h 309201"/>
                <a:gd name="connsiteX1" fmla="*/ 249180 w 309807"/>
                <a:gd name="connsiteY1" fmla="*/ 0 h 309201"/>
                <a:gd name="connsiteX2" fmla="*/ 182489 w 309807"/>
                <a:gd name="connsiteY2" fmla="*/ 66690 h 309201"/>
                <a:gd name="connsiteX3" fmla="*/ 186127 w 309807"/>
                <a:gd name="connsiteY3" fmla="*/ 98217 h 309201"/>
                <a:gd name="connsiteX4" fmla="*/ 89123 w 309807"/>
                <a:gd name="connsiteY4" fmla="*/ 195221 h 309201"/>
                <a:gd name="connsiteX5" fmla="*/ 60628 w 309807"/>
                <a:gd name="connsiteY5" fmla="*/ 187946 h 309201"/>
                <a:gd name="connsiteX6" fmla="*/ 0 w 309807"/>
                <a:gd name="connsiteY6" fmla="*/ 248574 h 309201"/>
                <a:gd name="connsiteX7" fmla="*/ 60628 w 309807"/>
                <a:gd name="connsiteY7" fmla="*/ 309201 h 309201"/>
                <a:gd name="connsiteX8" fmla="*/ 121255 w 309807"/>
                <a:gd name="connsiteY8" fmla="*/ 248574 h 309201"/>
                <a:gd name="connsiteX9" fmla="*/ 114586 w 309807"/>
                <a:gd name="connsiteY9" fmla="*/ 220685 h 309201"/>
                <a:gd name="connsiteX10" fmla="*/ 211591 w 309807"/>
                <a:gd name="connsiteY10" fmla="*/ 123681 h 309201"/>
                <a:gd name="connsiteX11" fmla="*/ 243117 w 309807"/>
                <a:gd name="connsiteY11" fmla="*/ 127318 h 309201"/>
                <a:gd name="connsiteX12" fmla="*/ 309808 w 309807"/>
                <a:gd name="connsiteY12" fmla="*/ 60628 h 309201"/>
                <a:gd name="connsiteX13" fmla="*/ 255243 w 309807"/>
                <a:gd name="connsiteY13" fmla="*/ 54565 h 30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807" h="309201">
                  <a:moveTo>
                    <a:pt x="255243" y="54565"/>
                  </a:moveTo>
                  <a:lnTo>
                    <a:pt x="249180" y="0"/>
                  </a:lnTo>
                  <a:lnTo>
                    <a:pt x="182489" y="66690"/>
                  </a:lnTo>
                  <a:lnTo>
                    <a:pt x="186127" y="98217"/>
                  </a:lnTo>
                  <a:lnTo>
                    <a:pt x="89123" y="195221"/>
                  </a:lnTo>
                  <a:cubicBezTo>
                    <a:pt x="80635" y="190977"/>
                    <a:pt x="70934" y="187946"/>
                    <a:pt x="60628" y="187946"/>
                  </a:cubicBezTo>
                  <a:cubicBezTo>
                    <a:pt x="27282" y="187946"/>
                    <a:pt x="0" y="215228"/>
                    <a:pt x="0" y="248574"/>
                  </a:cubicBezTo>
                  <a:cubicBezTo>
                    <a:pt x="0" y="281919"/>
                    <a:pt x="27282" y="309201"/>
                    <a:pt x="60628" y="309201"/>
                  </a:cubicBezTo>
                  <a:cubicBezTo>
                    <a:pt x="93973" y="309201"/>
                    <a:pt x="121255" y="281919"/>
                    <a:pt x="121255" y="248574"/>
                  </a:cubicBezTo>
                  <a:cubicBezTo>
                    <a:pt x="121255" y="238267"/>
                    <a:pt x="118830" y="229173"/>
                    <a:pt x="114586" y="220685"/>
                  </a:cubicBezTo>
                  <a:lnTo>
                    <a:pt x="211591" y="123681"/>
                  </a:lnTo>
                  <a:lnTo>
                    <a:pt x="243117" y="127318"/>
                  </a:lnTo>
                  <a:lnTo>
                    <a:pt x="309808" y="60628"/>
                  </a:lnTo>
                  <a:lnTo>
                    <a:pt x="255243" y="5456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3" name="Freeform: Shape 112">
              <a:extLst>
                <a:ext uri="{FF2B5EF4-FFF2-40B4-BE49-F238E27FC236}">
                  <a16:creationId xmlns:a16="http://schemas.microsoft.com/office/drawing/2014/main" id="{B037310E-0691-D1B2-7AA9-E3D570140A2C}"/>
                </a:ext>
              </a:extLst>
            </p:cNvPr>
            <p:cNvSpPr/>
            <p:nvPr/>
          </p:nvSpPr>
          <p:spPr>
            <a:xfrm>
              <a:off x="3475126" y="3152382"/>
              <a:ext cx="460770" cy="460770"/>
            </a:xfrm>
            <a:custGeom>
              <a:avLst/>
              <a:gdLst>
                <a:gd name="connsiteX0" fmla="*/ 429244 w 460770"/>
                <a:gd name="connsiteY0" fmla="*/ 126106 h 460770"/>
                <a:gd name="connsiteX1" fmla="*/ 421363 w 460770"/>
                <a:gd name="connsiteY1" fmla="*/ 134594 h 460770"/>
                <a:gd name="connsiteX2" fmla="*/ 409843 w 460770"/>
                <a:gd name="connsiteY2" fmla="*/ 133381 h 460770"/>
                <a:gd name="connsiteX3" fmla="*/ 397112 w 460770"/>
                <a:gd name="connsiteY3" fmla="*/ 131562 h 460770"/>
                <a:gd name="connsiteX4" fmla="*/ 424394 w 460770"/>
                <a:gd name="connsiteY4" fmla="*/ 230385 h 460770"/>
                <a:gd name="connsiteX5" fmla="*/ 230385 w 460770"/>
                <a:gd name="connsiteY5" fmla="*/ 424394 h 460770"/>
                <a:gd name="connsiteX6" fmla="*/ 36377 w 460770"/>
                <a:gd name="connsiteY6" fmla="*/ 230385 h 460770"/>
                <a:gd name="connsiteX7" fmla="*/ 230385 w 460770"/>
                <a:gd name="connsiteY7" fmla="*/ 36377 h 460770"/>
                <a:gd name="connsiteX8" fmla="*/ 329208 w 460770"/>
                <a:gd name="connsiteY8" fmla="*/ 63659 h 460770"/>
                <a:gd name="connsiteX9" fmla="*/ 327996 w 460770"/>
                <a:gd name="connsiteY9" fmla="*/ 51534 h 460770"/>
                <a:gd name="connsiteX10" fmla="*/ 326177 w 460770"/>
                <a:gd name="connsiteY10" fmla="*/ 39408 h 460770"/>
                <a:gd name="connsiteX11" fmla="*/ 334665 w 460770"/>
                <a:gd name="connsiteY11" fmla="*/ 30920 h 460770"/>
                <a:gd name="connsiteX12" fmla="*/ 338909 w 460770"/>
                <a:gd name="connsiteY12" fmla="*/ 26676 h 460770"/>
                <a:gd name="connsiteX13" fmla="*/ 230385 w 460770"/>
                <a:gd name="connsiteY13" fmla="*/ 0 h 460770"/>
                <a:gd name="connsiteX14" fmla="*/ 0 w 460770"/>
                <a:gd name="connsiteY14" fmla="*/ 230385 h 460770"/>
                <a:gd name="connsiteX15" fmla="*/ 230385 w 460770"/>
                <a:gd name="connsiteY15" fmla="*/ 460771 h 460770"/>
                <a:gd name="connsiteX16" fmla="*/ 460771 w 460770"/>
                <a:gd name="connsiteY16" fmla="*/ 230385 h 460770"/>
                <a:gd name="connsiteX17" fmla="*/ 433488 w 460770"/>
                <a:gd name="connsiteY17" fmla="*/ 122468 h 460770"/>
                <a:gd name="connsiteX18" fmla="*/ 429244 w 460770"/>
                <a:gd name="connsiteY18" fmla="*/ 126106 h 46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0770" h="460770">
                  <a:moveTo>
                    <a:pt x="429244" y="126106"/>
                  </a:moveTo>
                  <a:lnTo>
                    <a:pt x="421363" y="134594"/>
                  </a:lnTo>
                  <a:lnTo>
                    <a:pt x="409843" y="133381"/>
                  </a:lnTo>
                  <a:lnTo>
                    <a:pt x="397112" y="131562"/>
                  </a:lnTo>
                  <a:cubicBezTo>
                    <a:pt x="414087" y="160663"/>
                    <a:pt x="424394" y="194009"/>
                    <a:pt x="424394" y="230385"/>
                  </a:cubicBezTo>
                  <a:cubicBezTo>
                    <a:pt x="424394" y="337090"/>
                    <a:pt x="337090" y="424394"/>
                    <a:pt x="230385" y="424394"/>
                  </a:cubicBezTo>
                  <a:cubicBezTo>
                    <a:pt x="123681" y="424394"/>
                    <a:pt x="36377" y="337090"/>
                    <a:pt x="36377" y="230385"/>
                  </a:cubicBezTo>
                  <a:cubicBezTo>
                    <a:pt x="36377" y="123681"/>
                    <a:pt x="123681" y="36377"/>
                    <a:pt x="230385" y="36377"/>
                  </a:cubicBezTo>
                  <a:cubicBezTo>
                    <a:pt x="266156" y="36377"/>
                    <a:pt x="300107" y="46077"/>
                    <a:pt x="329208" y="63659"/>
                  </a:cubicBezTo>
                  <a:lnTo>
                    <a:pt x="327996" y="51534"/>
                  </a:lnTo>
                  <a:lnTo>
                    <a:pt x="326177" y="39408"/>
                  </a:lnTo>
                  <a:lnTo>
                    <a:pt x="334665" y="30920"/>
                  </a:lnTo>
                  <a:lnTo>
                    <a:pt x="338909" y="26676"/>
                  </a:lnTo>
                  <a:cubicBezTo>
                    <a:pt x="306170" y="9700"/>
                    <a:pt x="269793" y="0"/>
                    <a:pt x="230385" y="0"/>
                  </a:cubicBezTo>
                  <a:cubicBezTo>
                    <a:pt x="103067" y="0"/>
                    <a:pt x="0" y="103067"/>
                    <a:pt x="0" y="230385"/>
                  </a:cubicBezTo>
                  <a:cubicBezTo>
                    <a:pt x="0" y="357703"/>
                    <a:pt x="103067" y="460771"/>
                    <a:pt x="230385" y="460771"/>
                  </a:cubicBezTo>
                  <a:cubicBezTo>
                    <a:pt x="357703" y="460771"/>
                    <a:pt x="460771" y="357703"/>
                    <a:pt x="460771" y="230385"/>
                  </a:cubicBezTo>
                  <a:cubicBezTo>
                    <a:pt x="460771" y="190977"/>
                    <a:pt x="451070" y="154601"/>
                    <a:pt x="433488" y="122468"/>
                  </a:cubicBezTo>
                  <a:lnTo>
                    <a:pt x="429244" y="126106"/>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4" name="Freeform: Shape 113">
              <a:extLst>
                <a:ext uri="{FF2B5EF4-FFF2-40B4-BE49-F238E27FC236}">
                  <a16:creationId xmlns:a16="http://schemas.microsoft.com/office/drawing/2014/main" id="{439A2C02-532F-E62B-6C04-76A0BDC50C63}"/>
                </a:ext>
              </a:extLst>
            </p:cNvPr>
            <p:cNvSpPr/>
            <p:nvPr/>
          </p:nvSpPr>
          <p:spPr>
            <a:xfrm>
              <a:off x="3560005" y="3237261"/>
              <a:ext cx="291013" cy="291013"/>
            </a:xfrm>
            <a:custGeom>
              <a:avLst/>
              <a:gdLst>
                <a:gd name="connsiteX0" fmla="*/ 246755 w 291013"/>
                <a:gd name="connsiteY0" fmla="*/ 104280 h 291013"/>
                <a:gd name="connsiteX1" fmla="*/ 254636 w 291013"/>
                <a:gd name="connsiteY1" fmla="*/ 145507 h 291013"/>
                <a:gd name="connsiteX2" fmla="*/ 145507 w 291013"/>
                <a:gd name="connsiteY2" fmla="*/ 254636 h 291013"/>
                <a:gd name="connsiteX3" fmla="*/ 36377 w 291013"/>
                <a:gd name="connsiteY3" fmla="*/ 145507 h 291013"/>
                <a:gd name="connsiteX4" fmla="*/ 145507 w 291013"/>
                <a:gd name="connsiteY4" fmla="*/ 36377 h 291013"/>
                <a:gd name="connsiteX5" fmla="*/ 186733 w 291013"/>
                <a:gd name="connsiteY5" fmla="*/ 44258 h 291013"/>
                <a:gd name="connsiteX6" fmla="*/ 214016 w 291013"/>
                <a:gd name="connsiteY6" fmla="*/ 16976 h 291013"/>
                <a:gd name="connsiteX7" fmla="*/ 145507 w 291013"/>
                <a:gd name="connsiteY7" fmla="*/ 0 h 291013"/>
                <a:gd name="connsiteX8" fmla="*/ 0 w 291013"/>
                <a:gd name="connsiteY8" fmla="*/ 145507 h 291013"/>
                <a:gd name="connsiteX9" fmla="*/ 145507 w 291013"/>
                <a:gd name="connsiteY9" fmla="*/ 291013 h 291013"/>
                <a:gd name="connsiteX10" fmla="*/ 291013 w 291013"/>
                <a:gd name="connsiteY10" fmla="*/ 145507 h 291013"/>
                <a:gd name="connsiteX11" fmla="*/ 274037 w 291013"/>
                <a:gd name="connsiteY11" fmla="*/ 76997 h 291013"/>
                <a:gd name="connsiteX12" fmla="*/ 246755 w 291013"/>
                <a:gd name="connsiteY12" fmla="*/ 104280 h 29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013" h="291013">
                  <a:moveTo>
                    <a:pt x="246755" y="104280"/>
                  </a:moveTo>
                  <a:cubicBezTo>
                    <a:pt x="252211" y="117011"/>
                    <a:pt x="254636" y="130956"/>
                    <a:pt x="254636" y="145507"/>
                  </a:cubicBezTo>
                  <a:cubicBezTo>
                    <a:pt x="254636" y="205528"/>
                    <a:pt x="205528" y="254636"/>
                    <a:pt x="145507" y="254636"/>
                  </a:cubicBezTo>
                  <a:cubicBezTo>
                    <a:pt x="85485" y="254636"/>
                    <a:pt x="36377" y="205528"/>
                    <a:pt x="36377" y="145507"/>
                  </a:cubicBezTo>
                  <a:cubicBezTo>
                    <a:pt x="36377" y="85485"/>
                    <a:pt x="85485" y="36377"/>
                    <a:pt x="145507" y="36377"/>
                  </a:cubicBezTo>
                  <a:cubicBezTo>
                    <a:pt x="160057" y="36377"/>
                    <a:pt x="174002" y="39408"/>
                    <a:pt x="186733" y="44258"/>
                  </a:cubicBezTo>
                  <a:lnTo>
                    <a:pt x="214016" y="16976"/>
                  </a:lnTo>
                  <a:cubicBezTo>
                    <a:pt x="193402" y="6063"/>
                    <a:pt x="170364" y="0"/>
                    <a:pt x="145507" y="0"/>
                  </a:cubicBezTo>
                  <a:cubicBezTo>
                    <a:pt x="65478" y="0"/>
                    <a:pt x="0" y="65478"/>
                    <a:pt x="0" y="145507"/>
                  </a:cubicBezTo>
                  <a:cubicBezTo>
                    <a:pt x="0" y="225535"/>
                    <a:pt x="65478" y="291013"/>
                    <a:pt x="145507" y="291013"/>
                  </a:cubicBezTo>
                  <a:cubicBezTo>
                    <a:pt x="225535" y="291013"/>
                    <a:pt x="291013" y="225535"/>
                    <a:pt x="291013" y="145507"/>
                  </a:cubicBezTo>
                  <a:cubicBezTo>
                    <a:pt x="291013" y="120649"/>
                    <a:pt x="284950" y="97611"/>
                    <a:pt x="274037" y="76997"/>
                  </a:cubicBezTo>
                  <a:lnTo>
                    <a:pt x="246755" y="10428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15" name="Graphic 27" descr="Speaker Phone">
            <a:extLst>
              <a:ext uri="{FF2B5EF4-FFF2-40B4-BE49-F238E27FC236}">
                <a16:creationId xmlns:a16="http://schemas.microsoft.com/office/drawing/2014/main" id="{AAC640B0-1679-F338-2D04-6FA5BD2F8834}"/>
              </a:ext>
            </a:extLst>
          </p:cNvPr>
          <p:cNvGrpSpPr/>
          <p:nvPr/>
        </p:nvGrpSpPr>
        <p:grpSpPr>
          <a:xfrm>
            <a:off x="2229936" y="4449575"/>
            <a:ext cx="302120" cy="297785"/>
            <a:chOff x="3041456" y="4433739"/>
            <a:chExt cx="403036" cy="397250"/>
          </a:xfrm>
        </p:grpSpPr>
        <p:sp>
          <p:nvSpPr>
            <p:cNvPr id="116" name="Freeform: Shape 115">
              <a:extLst>
                <a:ext uri="{FF2B5EF4-FFF2-40B4-BE49-F238E27FC236}">
                  <a16:creationId xmlns:a16="http://schemas.microsoft.com/office/drawing/2014/main" id="{53F0D513-D197-07FC-A802-DC1E0204F7E5}"/>
                </a:ext>
              </a:extLst>
            </p:cNvPr>
            <p:cNvSpPr/>
            <p:nvPr/>
          </p:nvSpPr>
          <p:spPr>
            <a:xfrm>
              <a:off x="3082120" y="4497580"/>
              <a:ext cx="94640" cy="94518"/>
            </a:xfrm>
            <a:custGeom>
              <a:avLst/>
              <a:gdLst>
                <a:gd name="connsiteX0" fmla="*/ 89547 w 94640"/>
                <a:gd name="connsiteY0" fmla="*/ 88213 h 94518"/>
                <a:gd name="connsiteX1" fmla="*/ 94640 w 94640"/>
                <a:gd name="connsiteY1" fmla="*/ 75603 h 94518"/>
                <a:gd name="connsiteX2" fmla="*/ 89365 w 94640"/>
                <a:gd name="connsiteY2" fmla="*/ 62871 h 94518"/>
                <a:gd name="connsiteX3" fmla="*/ 31890 w 94640"/>
                <a:gd name="connsiteY3" fmla="*/ 5335 h 94518"/>
                <a:gd name="connsiteX4" fmla="*/ 19098 w 94640"/>
                <a:gd name="connsiteY4" fmla="*/ 0 h 94518"/>
                <a:gd name="connsiteX5" fmla="*/ 6366 w 94640"/>
                <a:gd name="connsiteY5" fmla="*/ 5335 h 94518"/>
                <a:gd name="connsiteX6" fmla="*/ 0 w 94640"/>
                <a:gd name="connsiteY6" fmla="*/ 11762 h 94518"/>
                <a:gd name="connsiteX7" fmla="*/ 82939 w 94640"/>
                <a:gd name="connsiteY7" fmla="*/ 94519 h 9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40" h="94518">
                  <a:moveTo>
                    <a:pt x="89547" y="88213"/>
                  </a:moveTo>
                  <a:cubicBezTo>
                    <a:pt x="92811" y="84827"/>
                    <a:pt x="94637" y="80307"/>
                    <a:pt x="94640" y="75603"/>
                  </a:cubicBezTo>
                  <a:cubicBezTo>
                    <a:pt x="94660" y="70823"/>
                    <a:pt x="92759" y="66236"/>
                    <a:pt x="89365" y="62871"/>
                  </a:cubicBezTo>
                  <a:lnTo>
                    <a:pt x="31890" y="5335"/>
                  </a:lnTo>
                  <a:cubicBezTo>
                    <a:pt x="28497" y="1938"/>
                    <a:pt x="23899" y="20"/>
                    <a:pt x="19098" y="0"/>
                  </a:cubicBezTo>
                  <a:cubicBezTo>
                    <a:pt x="14318" y="36"/>
                    <a:pt x="9744" y="1953"/>
                    <a:pt x="6366" y="5335"/>
                  </a:cubicBezTo>
                  <a:lnTo>
                    <a:pt x="0" y="11762"/>
                  </a:lnTo>
                  <a:lnTo>
                    <a:pt x="82939" y="94519"/>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7" name="Freeform: Shape 116">
              <a:extLst>
                <a:ext uri="{FF2B5EF4-FFF2-40B4-BE49-F238E27FC236}">
                  <a16:creationId xmlns:a16="http://schemas.microsoft.com/office/drawing/2014/main" id="{7F7DF61F-1AB6-0B81-D73C-FCB9C8F28B2B}"/>
                </a:ext>
              </a:extLst>
            </p:cNvPr>
            <p:cNvSpPr/>
            <p:nvPr/>
          </p:nvSpPr>
          <p:spPr>
            <a:xfrm>
              <a:off x="3041456" y="4522013"/>
              <a:ext cx="309002" cy="308976"/>
            </a:xfrm>
            <a:custGeom>
              <a:avLst/>
              <a:gdLst>
                <a:gd name="connsiteX0" fmla="*/ 213574 w 309002"/>
                <a:gd name="connsiteY0" fmla="*/ 210984 h 308976"/>
                <a:gd name="connsiteX1" fmla="*/ 200885 w 309002"/>
                <a:gd name="connsiteY1" fmla="*/ 211087 h 308976"/>
                <a:gd name="connsiteX2" fmla="*/ 200782 w 309002"/>
                <a:gd name="connsiteY2" fmla="*/ 210984 h 308976"/>
                <a:gd name="connsiteX3" fmla="*/ 97715 w 309002"/>
                <a:gd name="connsiteY3" fmla="*/ 107917 h 308976"/>
                <a:gd name="connsiteX4" fmla="*/ 97715 w 309002"/>
                <a:gd name="connsiteY4" fmla="*/ 95064 h 308976"/>
                <a:gd name="connsiteX5" fmla="*/ 110568 w 309002"/>
                <a:gd name="connsiteY5" fmla="*/ 82575 h 308976"/>
                <a:gd name="connsiteX6" fmla="*/ 27932 w 309002"/>
                <a:gd name="connsiteY6" fmla="*/ 0 h 308976"/>
                <a:gd name="connsiteX7" fmla="*/ 13988 w 309002"/>
                <a:gd name="connsiteY7" fmla="*/ 13762 h 308976"/>
                <a:gd name="connsiteX8" fmla="*/ 104 w 309002"/>
                <a:gd name="connsiteY8" fmla="*/ 43591 h 308976"/>
                <a:gd name="connsiteX9" fmla="*/ 9804 w 309002"/>
                <a:gd name="connsiteY9" fmla="*/ 97732 h 308976"/>
                <a:gd name="connsiteX10" fmla="*/ 34844 w 309002"/>
                <a:gd name="connsiteY10" fmla="*/ 141323 h 308976"/>
                <a:gd name="connsiteX11" fmla="*/ 162162 w 309002"/>
                <a:gd name="connsiteY11" fmla="*/ 272764 h 308976"/>
                <a:gd name="connsiteX12" fmla="*/ 188474 w 309002"/>
                <a:gd name="connsiteY12" fmla="*/ 289437 h 308976"/>
                <a:gd name="connsiteX13" fmla="*/ 255165 w 309002"/>
                <a:gd name="connsiteY13" fmla="*/ 308838 h 308976"/>
                <a:gd name="connsiteX14" fmla="*/ 297604 w 309002"/>
                <a:gd name="connsiteY14" fmla="*/ 292165 h 308976"/>
                <a:gd name="connsiteX15" fmla="*/ 309002 w 309002"/>
                <a:gd name="connsiteY15" fmla="*/ 280767 h 308976"/>
                <a:gd name="connsiteX16" fmla="*/ 226064 w 309002"/>
                <a:gd name="connsiteY16" fmla="*/ 198131 h 30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002" h="308976">
                  <a:moveTo>
                    <a:pt x="213574" y="210984"/>
                  </a:moveTo>
                  <a:cubicBezTo>
                    <a:pt x="210098" y="214517"/>
                    <a:pt x="204418" y="214563"/>
                    <a:pt x="200885" y="211087"/>
                  </a:cubicBezTo>
                  <a:cubicBezTo>
                    <a:pt x="200850" y="211054"/>
                    <a:pt x="200816" y="211019"/>
                    <a:pt x="200782" y="210984"/>
                  </a:cubicBezTo>
                  <a:lnTo>
                    <a:pt x="97715" y="107917"/>
                  </a:lnTo>
                  <a:cubicBezTo>
                    <a:pt x="94169" y="104367"/>
                    <a:pt x="94169" y="98615"/>
                    <a:pt x="97715" y="95064"/>
                  </a:cubicBezTo>
                  <a:lnTo>
                    <a:pt x="110568" y="82575"/>
                  </a:lnTo>
                  <a:lnTo>
                    <a:pt x="27932" y="0"/>
                  </a:lnTo>
                  <a:cubicBezTo>
                    <a:pt x="22597" y="5335"/>
                    <a:pt x="17383" y="10549"/>
                    <a:pt x="13988" y="13762"/>
                  </a:cubicBezTo>
                  <a:cubicBezTo>
                    <a:pt x="5673" y="21533"/>
                    <a:pt x="696" y="32226"/>
                    <a:pt x="104" y="43591"/>
                  </a:cubicBezTo>
                  <a:cubicBezTo>
                    <a:pt x="-646" y="62129"/>
                    <a:pt x="2665" y="80608"/>
                    <a:pt x="9804" y="97732"/>
                  </a:cubicBezTo>
                  <a:cubicBezTo>
                    <a:pt x="16646" y="113077"/>
                    <a:pt x="25035" y="127683"/>
                    <a:pt x="34844" y="141323"/>
                  </a:cubicBezTo>
                  <a:cubicBezTo>
                    <a:pt x="68955" y="192500"/>
                    <a:pt x="112097" y="237040"/>
                    <a:pt x="162162" y="272764"/>
                  </a:cubicBezTo>
                  <a:cubicBezTo>
                    <a:pt x="170521" y="278947"/>
                    <a:pt x="179314" y="284519"/>
                    <a:pt x="188474" y="289437"/>
                  </a:cubicBezTo>
                  <a:cubicBezTo>
                    <a:pt x="209176" y="300317"/>
                    <a:pt x="231857" y="306915"/>
                    <a:pt x="255165" y="308838"/>
                  </a:cubicBezTo>
                  <a:cubicBezTo>
                    <a:pt x="271107" y="309997"/>
                    <a:pt x="286715" y="303865"/>
                    <a:pt x="297604" y="292165"/>
                  </a:cubicBezTo>
                  <a:lnTo>
                    <a:pt x="309002" y="280767"/>
                  </a:lnTo>
                  <a:lnTo>
                    <a:pt x="226064" y="198131"/>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8" name="Freeform: Shape 117">
              <a:extLst>
                <a:ext uri="{FF2B5EF4-FFF2-40B4-BE49-F238E27FC236}">
                  <a16:creationId xmlns:a16="http://schemas.microsoft.com/office/drawing/2014/main" id="{60768682-D069-613D-E7A4-FDBC67BA4270}"/>
                </a:ext>
              </a:extLst>
            </p:cNvPr>
            <p:cNvSpPr/>
            <p:nvPr/>
          </p:nvSpPr>
          <p:spPr>
            <a:xfrm>
              <a:off x="3280373" y="4695242"/>
              <a:ext cx="94381" cy="94866"/>
            </a:xfrm>
            <a:custGeom>
              <a:avLst/>
              <a:gdLst>
                <a:gd name="connsiteX0" fmla="*/ 89123 w 94381"/>
                <a:gd name="connsiteY0" fmla="*/ 62916 h 94866"/>
                <a:gd name="connsiteX1" fmla="*/ 31648 w 94381"/>
                <a:gd name="connsiteY1" fmla="*/ 5259 h 94866"/>
                <a:gd name="connsiteX2" fmla="*/ 6063 w 94381"/>
                <a:gd name="connsiteY2" fmla="*/ 5259 h 94866"/>
                <a:gd name="connsiteX3" fmla="*/ 0 w 94381"/>
                <a:gd name="connsiteY3" fmla="*/ 11807 h 94866"/>
                <a:gd name="connsiteX4" fmla="*/ 82696 w 94381"/>
                <a:gd name="connsiteY4" fmla="*/ 94867 h 94866"/>
                <a:gd name="connsiteX5" fmla="*/ 89123 w 94381"/>
                <a:gd name="connsiteY5" fmla="*/ 88804 h 94866"/>
                <a:gd name="connsiteX6" fmla="*/ 89123 w 94381"/>
                <a:gd name="connsiteY6" fmla="*/ 63219 h 9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81" h="94866">
                  <a:moveTo>
                    <a:pt x="89123" y="62916"/>
                  </a:moveTo>
                  <a:lnTo>
                    <a:pt x="31648" y="5259"/>
                  </a:lnTo>
                  <a:cubicBezTo>
                    <a:pt x="24561" y="-1753"/>
                    <a:pt x="13150" y="-1753"/>
                    <a:pt x="6063" y="5259"/>
                  </a:cubicBezTo>
                  <a:lnTo>
                    <a:pt x="0" y="11807"/>
                  </a:lnTo>
                  <a:lnTo>
                    <a:pt x="82696" y="94867"/>
                  </a:lnTo>
                  <a:lnTo>
                    <a:pt x="89123" y="88804"/>
                  </a:lnTo>
                  <a:cubicBezTo>
                    <a:pt x="96135" y="81717"/>
                    <a:pt x="96135" y="70306"/>
                    <a:pt x="89123" y="63219"/>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19" name="Freeform: Shape 118">
              <a:extLst>
                <a:ext uri="{FF2B5EF4-FFF2-40B4-BE49-F238E27FC236}">
                  <a16:creationId xmlns:a16="http://schemas.microsoft.com/office/drawing/2014/main" id="{73CF0263-BA13-08F2-2CE7-4AADA2B80692}"/>
                </a:ext>
              </a:extLst>
            </p:cNvPr>
            <p:cNvSpPr/>
            <p:nvPr/>
          </p:nvSpPr>
          <p:spPr>
            <a:xfrm>
              <a:off x="3238358" y="4549417"/>
              <a:ext cx="85727" cy="96519"/>
            </a:xfrm>
            <a:custGeom>
              <a:avLst/>
              <a:gdLst>
                <a:gd name="connsiteX0" fmla="*/ 85728 w 85727"/>
                <a:gd name="connsiteY0" fmla="*/ 96519 h 96519"/>
                <a:gd name="connsiteX1" fmla="*/ 61476 w 85727"/>
                <a:gd name="connsiteY1" fmla="*/ 96519 h 96519"/>
                <a:gd name="connsiteX2" fmla="*/ 0 w 85727"/>
                <a:gd name="connsiteY2" fmla="*/ 24736 h 96519"/>
                <a:gd name="connsiteX3" fmla="*/ 0 w 85727"/>
                <a:gd name="connsiteY3" fmla="*/ 0 h 96519"/>
                <a:gd name="connsiteX4" fmla="*/ 85728 w 85727"/>
                <a:gd name="connsiteY4" fmla="*/ 96519 h 9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7" h="96519">
                  <a:moveTo>
                    <a:pt x="85728" y="96519"/>
                  </a:moveTo>
                  <a:lnTo>
                    <a:pt x="61476" y="96519"/>
                  </a:lnTo>
                  <a:cubicBezTo>
                    <a:pt x="58848" y="61738"/>
                    <a:pt x="33962" y="32682"/>
                    <a:pt x="0" y="24736"/>
                  </a:cubicBezTo>
                  <a:lnTo>
                    <a:pt x="0" y="0"/>
                  </a:lnTo>
                  <a:cubicBezTo>
                    <a:pt x="47449" y="8492"/>
                    <a:pt x="82894" y="48399"/>
                    <a:pt x="85728" y="96519"/>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0" name="Freeform: Shape 119">
              <a:extLst>
                <a:ext uri="{FF2B5EF4-FFF2-40B4-BE49-F238E27FC236}">
                  <a16:creationId xmlns:a16="http://schemas.microsoft.com/office/drawing/2014/main" id="{57E5F236-0AA1-7D5C-0FE9-14DA82D66D5C}"/>
                </a:ext>
              </a:extLst>
            </p:cNvPr>
            <p:cNvSpPr/>
            <p:nvPr/>
          </p:nvSpPr>
          <p:spPr>
            <a:xfrm>
              <a:off x="3238358" y="4490123"/>
              <a:ext cx="143687" cy="155813"/>
            </a:xfrm>
            <a:custGeom>
              <a:avLst/>
              <a:gdLst>
                <a:gd name="connsiteX0" fmla="*/ 143688 w 143687"/>
                <a:gd name="connsiteY0" fmla="*/ 143688 h 155813"/>
                <a:gd name="connsiteX1" fmla="*/ 143142 w 143687"/>
                <a:gd name="connsiteY1" fmla="*/ 155813 h 155813"/>
                <a:gd name="connsiteX2" fmla="*/ 118891 w 143687"/>
                <a:gd name="connsiteY2" fmla="*/ 155813 h 155813"/>
                <a:gd name="connsiteX3" fmla="*/ 119497 w 143687"/>
                <a:gd name="connsiteY3" fmla="*/ 143688 h 155813"/>
                <a:gd name="connsiteX4" fmla="*/ 0 w 143687"/>
                <a:gd name="connsiteY4" fmla="*/ 24251 h 155813"/>
                <a:gd name="connsiteX5" fmla="*/ 0 w 143687"/>
                <a:gd name="connsiteY5" fmla="*/ 0 h 155813"/>
                <a:gd name="connsiteX6" fmla="*/ 143688 w 143687"/>
                <a:gd name="connsiteY6" fmla="*/ 143688 h 1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687" h="155813">
                  <a:moveTo>
                    <a:pt x="143688" y="143688"/>
                  </a:moveTo>
                  <a:cubicBezTo>
                    <a:pt x="143688" y="147750"/>
                    <a:pt x="143688" y="151812"/>
                    <a:pt x="143142" y="155813"/>
                  </a:cubicBezTo>
                  <a:lnTo>
                    <a:pt x="118891" y="155813"/>
                  </a:lnTo>
                  <a:cubicBezTo>
                    <a:pt x="119307" y="151785"/>
                    <a:pt x="119510" y="147738"/>
                    <a:pt x="119497" y="143688"/>
                  </a:cubicBezTo>
                  <a:cubicBezTo>
                    <a:pt x="119397" y="77742"/>
                    <a:pt x="65945" y="24318"/>
                    <a:pt x="0" y="24251"/>
                  </a:cubicBezTo>
                  <a:lnTo>
                    <a:pt x="0" y="0"/>
                  </a:lnTo>
                  <a:cubicBezTo>
                    <a:pt x="79329" y="67"/>
                    <a:pt x="143621" y="64359"/>
                    <a:pt x="143688" y="143688"/>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1" name="Freeform: Shape 120">
              <a:extLst>
                <a:ext uri="{FF2B5EF4-FFF2-40B4-BE49-F238E27FC236}">
                  <a16:creationId xmlns:a16="http://schemas.microsoft.com/office/drawing/2014/main" id="{83BE1B78-B5A0-5B0F-D07D-C006A0005F07}"/>
                </a:ext>
              </a:extLst>
            </p:cNvPr>
            <p:cNvSpPr/>
            <p:nvPr/>
          </p:nvSpPr>
          <p:spPr>
            <a:xfrm>
              <a:off x="3238358" y="4433739"/>
              <a:ext cx="206134" cy="212196"/>
            </a:xfrm>
            <a:custGeom>
              <a:avLst/>
              <a:gdLst>
                <a:gd name="connsiteX0" fmla="*/ 206134 w 206134"/>
                <a:gd name="connsiteY0" fmla="*/ 200071 h 212196"/>
                <a:gd name="connsiteX1" fmla="*/ 205710 w 206134"/>
                <a:gd name="connsiteY1" fmla="*/ 212197 h 212196"/>
                <a:gd name="connsiteX2" fmla="*/ 181459 w 206134"/>
                <a:gd name="connsiteY2" fmla="*/ 212197 h 212196"/>
                <a:gd name="connsiteX3" fmla="*/ 181944 w 206134"/>
                <a:gd name="connsiteY3" fmla="*/ 200071 h 212196"/>
                <a:gd name="connsiteX4" fmla="*/ 6123 w 206134"/>
                <a:gd name="connsiteY4" fmla="*/ 24251 h 212196"/>
                <a:gd name="connsiteX5" fmla="*/ 6063 w 206134"/>
                <a:gd name="connsiteY5" fmla="*/ 24251 h 212196"/>
                <a:gd name="connsiteX6" fmla="*/ 0 w 206134"/>
                <a:gd name="connsiteY6" fmla="*/ 24251 h 212196"/>
                <a:gd name="connsiteX7" fmla="*/ 0 w 206134"/>
                <a:gd name="connsiteY7" fmla="*/ 0 h 212196"/>
                <a:gd name="connsiteX8" fmla="*/ 6063 w 206134"/>
                <a:gd name="connsiteY8" fmla="*/ 0 h 212196"/>
                <a:gd name="connsiteX9" fmla="*/ 206134 w 206134"/>
                <a:gd name="connsiteY9" fmla="*/ 200071 h 21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134" h="212196">
                  <a:moveTo>
                    <a:pt x="206134" y="200071"/>
                  </a:moveTo>
                  <a:cubicBezTo>
                    <a:pt x="206134" y="204133"/>
                    <a:pt x="206134" y="208196"/>
                    <a:pt x="205710" y="212197"/>
                  </a:cubicBezTo>
                  <a:lnTo>
                    <a:pt x="181459" y="212197"/>
                  </a:lnTo>
                  <a:cubicBezTo>
                    <a:pt x="181459" y="208196"/>
                    <a:pt x="181944" y="204133"/>
                    <a:pt x="181944" y="200071"/>
                  </a:cubicBezTo>
                  <a:cubicBezTo>
                    <a:pt x="181944" y="102968"/>
                    <a:pt x="103227" y="24251"/>
                    <a:pt x="6123" y="24251"/>
                  </a:cubicBezTo>
                  <a:cubicBezTo>
                    <a:pt x="6103" y="24251"/>
                    <a:pt x="6083" y="24251"/>
                    <a:pt x="6063" y="24251"/>
                  </a:cubicBezTo>
                  <a:cubicBezTo>
                    <a:pt x="4001" y="24251"/>
                    <a:pt x="2001" y="24251"/>
                    <a:pt x="0" y="24251"/>
                  </a:cubicBezTo>
                  <a:lnTo>
                    <a:pt x="0" y="0"/>
                  </a:lnTo>
                  <a:lnTo>
                    <a:pt x="6063" y="0"/>
                  </a:lnTo>
                  <a:cubicBezTo>
                    <a:pt x="116559" y="0"/>
                    <a:pt x="206134" y="89575"/>
                    <a:pt x="206134" y="200071"/>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22" name="Graphic 31" descr="Stopwatch">
            <a:extLst>
              <a:ext uri="{FF2B5EF4-FFF2-40B4-BE49-F238E27FC236}">
                <a16:creationId xmlns:a16="http://schemas.microsoft.com/office/drawing/2014/main" id="{B4241141-0302-8C11-5D7B-896D0AEAAEF8}"/>
              </a:ext>
            </a:extLst>
          </p:cNvPr>
          <p:cNvGrpSpPr/>
          <p:nvPr/>
        </p:nvGrpSpPr>
        <p:grpSpPr>
          <a:xfrm>
            <a:off x="2578847" y="5232146"/>
            <a:ext cx="309306" cy="354235"/>
            <a:chOff x="3506971" y="5477824"/>
            <a:chExt cx="412629" cy="472565"/>
          </a:xfrm>
        </p:grpSpPr>
        <p:sp>
          <p:nvSpPr>
            <p:cNvPr id="123" name="Freeform: Shape 122">
              <a:extLst>
                <a:ext uri="{FF2B5EF4-FFF2-40B4-BE49-F238E27FC236}">
                  <a16:creationId xmlns:a16="http://schemas.microsoft.com/office/drawing/2014/main" id="{A9428C2A-C63D-7601-C50D-D2B5ACC7B867}"/>
                </a:ext>
              </a:extLst>
            </p:cNvPr>
            <p:cNvSpPr/>
            <p:nvPr/>
          </p:nvSpPr>
          <p:spPr>
            <a:xfrm>
              <a:off x="3700794" y="5611205"/>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4" name="Freeform: Shape 123">
              <a:extLst>
                <a:ext uri="{FF2B5EF4-FFF2-40B4-BE49-F238E27FC236}">
                  <a16:creationId xmlns:a16="http://schemas.microsoft.com/office/drawing/2014/main" id="{473121C2-48BD-6C3B-0458-05BD3DB747FF}"/>
                </a:ext>
              </a:extLst>
            </p:cNvPr>
            <p:cNvSpPr/>
            <p:nvPr/>
          </p:nvSpPr>
          <p:spPr>
            <a:xfrm>
              <a:off x="3700794" y="5853716"/>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5" name="Freeform: Shape 124">
              <a:extLst>
                <a:ext uri="{FF2B5EF4-FFF2-40B4-BE49-F238E27FC236}">
                  <a16:creationId xmlns:a16="http://schemas.microsoft.com/office/drawing/2014/main" id="{C56DF039-D779-CA24-76D2-461D75FE7674}"/>
                </a:ext>
              </a:extLst>
            </p:cNvPr>
            <p:cNvSpPr/>
            <p:nvPr/>
          </p:nvSpPr>
          <p:spPr>
            <a:xfrm>
              <a:off x="3822049" y="5726398"/>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6" name="Freeform: Shape 125">
              <a:extLst>
                <a:ext uri="{FF2B5EF4-FFF2-40B4-BE49-F238E27FC236}">
                  <a16:creationId xmlns:a16="http://schemas.microsoft.com/office/drawing/2014/main" id="{DBF6E897-B631-BDB9-4AAC-15CCB0327235}"/>
                </a:ext>
              </a:extLst>
            </p:cNvPr>
            <p:cNvSpPr/>
            <p:nvPr/>
          </p:nvSpPr>
          <p:spPr>
            <a:xfrm>
              <a:off x="3579539" y="5726398"/>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7" name="Freeform: Shape 126">
              <a:extLst>
                <a:ext uri="{FF2B5EF4-FFF2-40B4-BE49-F238E27FC236}">
                  <a16:creationId xmlns:a16="http://schemas.microsoft.com/office/drawing/2014/main" id="{321C6213-4BB2-265F-B473-A9834F63D351}"/>
                </a:ext>
              </a:extLst>
            </p:cNvPr>
            <p:cNvSpPr/>
            <p:nvPr/>
          </p:nvSpPr>
          <p:spPr>
            <a:xfrm>
              <a:off x="3700794" y="5653645"/>
              <a:ext cx="80634" cy="153388"/>
            </a:xfrm>
            <a:custGeom>
              <a:avLst/>
              <a:gdLst>
                <a:gd name="connsiteX0" fmla="*/ 24251 w 80634"/>
                <a:gd name="connsiteY0" fmla="*/ 0 h 153388"/>
                <a:gd name="connsiteX1" fmla="*/ 0 w 80634"/>
                <a:gd name="connsiteY1" fmla="*/ 0 h 153388"/>
                <a:gd name="connsiteX2" fmla="*/ 0 w 80634"/>
                <a:gd name="connsiteY2" fmla="*/ 84879 h 153388"/>
                <a:gd name="connsiteX3" fmla="*/ 3638 w 80634"/>
                <a:gd name="connsiteY3" fmla="*/ 93367 h 153388"/>
                <a:gd name="connsiteX4" fmla="*/ 63659 w 80634"/>
                <a:gd name="connsiteY4" fmla="*/ 153388 h 153388"/>
                <a:gd name="connsiteX5" fmla="*/ 80635 w 80634"/>
                <a:gd name="connsiteY5" fmla="*/ 136412 h 153388"/>
                <a:gd name="connsiteX6" fmla="*/ 24251 w 80634"/>
                <a:gd name="connsiteY6" fmla="*/ 80029 h 153388"/>
                <a:gd name="connsiteX7" fmla="*/ 24251 w 80634"/>
                <a:gd name="connsiteY7" fmla="*/ 0 h 1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4" h="153388">
                  <a:moveTo>
                    <a:pt x="24251" y="0"/>
                  </a:moveTo>
                  <a:lnTo>
                    <a:pt x="0" y="0"/>
                  </a:lnTo>
                  <a:lnTo>
                    <a:pt x="0" y="84879"/>
                  </a:lnTo>
                  <a:cubicBezTo>
                    <a:pt x="0" y="87910"/>
                    <a:pt x="1213" y="90942"/>
                    <a:pt x="3638" y="93367"/>
                  </a:cubicBezTo>
                  <a:lnTo>
                    <a:pt x="63659" y="153388"/>
                  </a:lnTo>
                  <a:lnTo>
                    <a:pt x="80635" y="136412"/>
                  </a:lnTo>
                  <a:lnTo>
                    <a:pt x="24251" y="80029"/>
                  </a:lnTo>
                  <a:lnTo>
                    <a:pt x="24251"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28" name="Freeform: Shape 127">
              <a:extLst>
                <a:ext uri="{FF2B5EF4-FFF2-40B4-BE49-F238E27FC236}">
                  <a16:creationId xmlns:a16="http://schemas.microsoft.com/office/drawing/2014/main" id="{C6B89618-CC24-7466-1884-E2D772C85174}"/>
                </a:ext>
              </a:extLst>
            </p:cNvPr>
            <p:cNvSpPr/>
            <p:nvPr/>
          </p:nvSpPr>
          <p:spPr>
            <a:xfrm>
              <a:off x="3506971" y="5477824"/>
              <a:ext cx="412629" cy="472565"/>
            </a:xfrm>
            <a:custGeom>
              <a:avLst/>
              <a:gdLst>
                <a:gd name="connsiteX0" fmla="*/ 205949 w 412629"/>
                <a:gd name="connsiteY0" fmla="*/ 436520 h 472565"/>
                <a:gd name="connsiteX1" fmla="*/ 36191 w 412629"/>
                <a:gd name="connsiteY1" fmla="*/ 266762 h 472565"/>
                <a:gd name="connsiteX2" fmla="*/ 205949 w 412629"/>
                <a:gd name="connsiteY2" fmla="*/ 97004 h 472565"/>
                <a:gd name="connsiteX3" fmla="*/ 375706 w 412629"/>
                <a:gd name="connsiteY3" fmla="*/ 266762 h 472565"/>
                <a:gd name="connsiteX4" fmla="*/ 205949 w 412629"/>
                <a:gd name="connsiteY4" fmla="*/ 436520 h 472565"/>
                <a:gd name="connsiteX5" fmla="*/ 205949 w 412629"/>
                <a:gd name="connsiteY5" fmla="*/ 436520 h 472565"/>
                <a:gd name="connsiteX6" fmla="*/ 349637 w 412629"/>
                <a:gd name="connsiteY6" fmla="*/ 118830 h 472565"/>
                <a:gd name="connsiteX7" fmla="*/ 367825 w 412629"/>
                <a:gd name="connsiteY7" fmla="*/ 100642 h 472565"/>
                <a:gd name="connsiteX8" fmla="*/ 367219 w 412629"/>
                <a:gd name="connsiteY8" fmla="*/ 75178 h 472565"/>
                <a:gd name="connsiteX9" fmla="*/ 341755 w 412629"/>
                <a:gd name="connsiteY9" fmla="*/ 74572 h 472565"/>
                <a:gd name="connsiteX10" fmla="*/ 321142 w 412629"/>
                <a:gd name="connsiteY10" fmla="*/ 95792 h 472565"/>
                <a:gd name="connsiteX11" fmla="*/ 224137 w 412629"/>
                <a:gd name="connsiteY11" fmla="*/ 61840 h 472565"/>
                <a:gd name="connsiteX12" fmla="*/ 224137 w 412629"/>
                <a:gd name="connsiteY12" fmla="*/ 36377 h 472565"/>
                <a:gd name="connsiteX13" fmla="*/ 278702 w 412629"/>
                <a:gd name="connsiteY13" fmla="*/ 36377 h 472565"/>
                <a:gd name="connsiteX14" fmla="*/ 278702 w 412629"/>
                <a:gd name="connsiteY14" fmla="*/ 0 h 472565"/>
                <a:gd name="connsiteX15" fmla="*/ 133196 w 412629"/>
                <a:gd name="connsiteY15" fmla="*/ 0 h 472565"/>
                <a:gd name="connsiteX16" fmla="*/ 133196 w 412629"/>
                <a:gd name="connsiteY16" fmla="*/ 36377 h 472565"/>
                <a:gd name="connsiteX17" fmla="*/ 187761 w 412629"/>
                <a:gd name="connsiteY17" fmla="*/ 36377 h 472565"/>
                <a:gd name="connsiteX18" fmla="*/ 187761 w 412629"/>
                <a:gd name="connsiteY18" fmla="*/ 61234 h 472565"/>
                <a:gd name="connsiteX19" fmla="*/ 1633 w 412629"/>
                <a:gd name="connsiteY19" fmla="*/ 240692 h 472565"/>
                <a:gd name="connsiteX20" fmla="*/ 137440 w 412629"/>
                <a:gd name="connsiteY20" fmla="*/ 460771 h 472565"/>
                <a:gd name="connsiteX21" fmla="*/ 381769 w 412629"/>
                <a:gd name="connsiteY21" fmla="*/ 375286 h 472565"/>
                <a:gd name="connsiteX22" fmla="*/ 349637 w 412629"/>
                <a:gd name="connsiteY22" fmla="*/ 118830 h 472565"/>
                <a:gd name="connsiteX23" fmla="*/ 349637 w 412629"/>
                <a:gd name="connsiteY23" fmla="*/ 118830 h 47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2629" h="472565">
                  <a:moveTo>
                    <a:pt x="205949" y="436520"/>
                  </a:moveTo>
                  <a:cubicBezTo>
                    <a:pt x="111976" y="436520"/>
                    <a:pt x="36191" y="360735"/>
                    <a:pt x="36191" y="266762"/>
                  </a:cubicBezTo>
                  <a:cubicBezTo>
                    <a:pt x="36191" y="172789"/>
                    <a:pt x="111976" y="97004"/>
                    <a:pt x="205949" y="97004"/>
                  </a:cubicBezTo>
                  <a:cubicBezTo>
                    <a:pt x="299922" y="97004"/>
                    <a:pt x="375706" y="172789"/>
                    <a:pt x="375706" y="266762"/>
                  </a:cubicBezTo>
                  <a:cubicBezTo>
                    <a:pt x="375706" y="360735"/>
                    <a:pt x="299922" y="436520"/>
                    <a:pt x="205949" y="436520"/>
                  </a:cubicBezTo>
                  <a:lnTo>
                    <a:pt x="205949" y="436520"/>
                  </a:lnTo>
                  <a:close/>
                  <a:moveTo>
                    <a:pt x="349637" y="118830"/>
                  </a:moveTo>
                  <a:lnTo>
                    <a:pt x="367825" y="100642"/>
                  </a:lnTo>
                  <a:cubicBezTo>
                    <a:pt x="374494" y="93367"/>
                    <a:pt x="374494" y="82454"/>
                    <a:pt x="367219" y="75178"/>
                  </a:cubicBezTo>
                  <a:cubicBezTo>
                    <a:pt x="360550" y="68509"/>
                    <a:pt x="349030" y="67903"/>
                    <a:pt x="341755" y="74572"/>
                  </a:cubicBezTo>
                  <a:lnTo>
                    <a:pt x="321142" y="95792"/>
                  </a:lnTo>
                  <a:cubicBezTo>
                    <a:pt x="292040" y="76391"/>
                    <a:pt x="258695" y="64265"/>
                    <a:pt x="224137" y="61840"/>
                  </a:cubicBezTo>
                  <a:lnTo>
                    <a:pt x="224137" y="36377"/>
                  </a:lnTo>
                  <a:lnTo>
                    <a:pt x="278702" y="36377"/>
                  </a:lnTo>
                  <a:lnTo>
                    <a:pt x="278702" y="0"/>
                  </a:lnTo>
                  <a:lnTo>
                    <a:pt x="133196" y="0"/>
                  </a:lnTo>
                  <a:lnTo>
                    <a:pt x="133196" y="36377"/>
                  </a:lnTo>
                  <a:lnTo>
                    <a:pt x="187761" y="36377"/>
                  </a:lnTo>
                  <a:lnTo>
                    <a:pt x="187761" y="61234"/>
                  </a:lnTo>
                  <a:cubicBezTo>
                    <a:pt x="91362" y="69722"/>
                    <a:pt x="13759" y="144294"/>
                    <a:pt x="1633" y="240692"/>
                  </a:cubicBezTo>
                  <a:cubicBezTo>
                    <a:pt x="-10492" y="337090"/>
                    <a:pt x="45892" y="428638"/>
                    <a:pt x="137440" y="460771"/>
                  </a:cubicBezTo>
                  <a:cubicBezTo>
                    <a:pt x="228987" y="492903"/>
                    <a:pt x="330236" y="457739"/>
                    <a:pt x="381769" y="375286"/>
                  </a:cubicBezTo>
                  <a:cubicBezTo>
                    <a:pt x="433303" y="292832"/>
                    <a:pt x="418752" y="186127"/>
                    <a:pt x="349637" y="118830"/>
                  </a:cubicBezTo>
                  <a:lnTo>
                    <a:pt x="349637" y="11883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29" name="Graphic 32" descr="Gears">
            <a:extLst>
              <a:ext uri="{FF2B5EF4-FFF2-40B4-BE49-F238E27FC236}">
                <a16:creationId xmlns:a16="http://schemas.microsoft.com/office/drawing/2014/main" id="{018E15D9-65C9-9214-C7C9-60482A7C2BF8}"/>
              </a:ext>
            </a:extLst>
          </p:cNvPr>
          <p:cNvGrpSpPr/>
          <p:nvPr/>
        </p:nvGrpSpPr>
        <p:grpSpPr>
          <a:xfrm>
            <a:off x="4192614" y="4912837"/>
            <a:ext cx="296317" cy="358577"/>
            <a:chOff x="5659700" y="5051777"/>
            <a:chExt cx="395293" cy="478352"/>
          </a:xfrm>
          <a:solidFill>
            <a:srgbClr val="FFFFFF"/>
          </a:solidFill>
        </p:grpSpPr>
        <p:sp>
          <p:nvSpPr>
            <p:cNvPr id="130" name="Freeform: Shape 129">
              <a:extLst>
                <a:ext uri="{FF2B5EF4-FFF2-40B4-BE49-F238E27FC236}">
                  <a16:creationId xmlns:a16="http://schemas.microsoft.com/office/drawing/2014/main" id="{F437D616-5679-6752-6858-062D46929F78}"/>
                </a:ext>
              </a:extLst>
            </p:cNvPr>
            <p:cNvSpPr/>
            <p:nvPr/>
          </p:nvSpPr>
          <p:spPr>
            <a:xfrm>
              <a:off x="5796719" y="5051777"/>
              <a:ext cx="258274" cy="257667"/>
            </a:xfrm>
            <a:custGeom>
              <a:avLst/>
              <a:gdLst>
                <a:gd name="connsiteX0" fmla="*/ 129137 w 258274"/>
                <a:gd name="connsiteY0" fmla="*/ 174608 h 257667"/>
                <a:gd name="connsiteX1" fmla="*/ 83666 w 258274"/>
                <a:gd name="connsiteY1" fmla="*/ 129137 h 257667"/>
                <a:gd name="connsiteX2" fmla="*/ 129137 w 258274"/>
                <a:gd name="connsiteY2" fmla="*/ 83666 h 257667"/>
                <a:gd name="connsiteX3" fmla="*/ 174608 w 258274"/>
                <a:gd name="connsiteY3" fmla="*/ 129137 h 257667"/>
                <a:gd name="connsiteX4" fmla="*/ 129137 w 258274"/>
                <a:gd name="connsiteY4" fmla="*/ 174608 h 257667"/>
                <a:gd name="connsiteX5" fmla="*/ 231598 w 258274"/>
                <a:gd name="connsiteY5" fmla="*/ 100642 h 257667"/>
                <a:gd name="connsiteX6" fmla="*/ 221897 w 258274"/>
                <a:gd name="connsiteY6" fmla="*/ 76997 h 257667"/>
                <a:gd name="connsiteX7" fmla="*/ 231598 w 258274"/>
                <a:gd name="connsiteY7" fmla="*/ 48502 h 257667"/>
                <a:gd name="connsiteX8" fmla="*/ 209772 w 258274"/>
                <a:gd name="connsiteY8" fmla="*/ 26676 h 257667"/>
                <a:gd name="connsiteX9" fmla="*/ 181277 w 258274"/>
                <a:gd name="connsiteY9" fmla="*/ 36377 h 257667"/>
                <a:gd name="connsiteX10" fmla="*/ 157632 w 258274"/>
                <a:gd name="connsiteY10" fmla="*/ 26676 h 257667"/>
                <a:gd name="connsiteX11" fmla="*/ 144294 w 258274"/>
                <a:gd name="connsiteY11" fmla="*/ 0 h 257667"/>
                <a:gd name="connsiteX12" fmla="*/ 113980 w 258274"/>
                <a:gd name="connsiteY12" fmla="*/ 0 h 257667"/>
                <a:gd name="connsiteX13" fmla="*/ 100642 w 258274"/>
                <a:gd name="connsiteY13" fmla="*/ 26676 h 257667"/>
                <a:gd name="connsiteX14" fmla="*/ 76997 w 258274"/>
                <a:gd name="connsiteY14" fmla="*/ 36377 h 257667"/>
                <a:gd name="connsiteX15" fmla="*/ 48502 w 258274"/>
                <a:gd name="connsiteY15" fmla="*/ 26676 h 257667"/>
                <a:gd name="connsiteX16" fmla="*/ 26676 w 258274"/>
                <a:gd name="connsiteY16" fmla="*/ 48502 h 257667"/>
                <a:gd name="connsiteX17" fmla="*/ 36377 w 258274"/>
                <a:gd name="connsiteY17" fmla="*/ 76997 h 257667"/>
                <a:gd name="connsiteX18" fmla="*/ 26676 w 258274"/>
                <a:gd name="connsiteY18" fmla="*/ 100642 h 257667"/>
                <a:gd name="connsiteX19" fmla="*/ 0 w 258274"/>
                <a:gd name="connsiteY19" fmla="*/ 113980 h 257667"/>
                <a:gd name="connsiteX20" fmla="*/ 0 w 258274"/>
                <a:gd name="connsiteY20" fmla="*/ 144294 h 257667"/>
                <a:gd name="connsiteX21" fmla="*/ 26676 w 258274"/>
                <a:gd name="connsiteY21" fmla="*/ 157632 h 257667"/>
                <a:gd name="connsiteX22" fmla="*/ 36377 w 258274"/>
                <a:gd name="connsiteY22" fmla="*/ 181277 h 257667"/>
                <a:gd name="connsiteX23" fmla="*/ 26676 w 258274"/>
                <a:gd name="connsiteY23" fmla="*/ 209772 h 257667"/>
                <a:gd name="connsiteX24" fmla="*/ 47896 w 258274"/>
                <a:gd name="connsiteY24" fmla="*/ 230992 h 257667"/>
                <a:gd name="connsiteX25" fmla="*/ 76391 w 258274"/>
                <a:gd name="connsiteY25" fmla="*/ 221291 h 257667"/>
                <a:gd name="connsiteX26" fmla="*/ 100036 w 258274"/>
                <a:gd name="connsiteY26" fmla="*/ 230992 h 257667"/>
                <a:gd name="connsiteX27" fmla="*/ 113374 w 258274"/>
                <a:gd name="connsiteY27" fmla="*/ 257668 h 257667"/>
                <a:gd name="connsiteX28" fmla="*/ 143688 w 258274"/>
                <a:gd name="connsiteY28" fmla="*/ 257668 h 257667"/>
                <a:gd name="connsiteX29" fmla="*/ 157026 w 258274"/>
                <a:gd name="connsiteY29" fmla="*/ 230992 h 257667"/>
                <a:gd name="connsiteX30" fmla="*/ 180671 w 258274"/>
                <a:gd name="connsiteY30" fmla="*/ 221291 h 257667"/>
                <a:gd name="connsiteX31" fmla="*/ 209166 w 258274"/>
                <a:gd name="connsiteY31" fmla="*/ 230992 h 257667"/>
                <a:gd name="connsiteX32" fmla="*/ 230992 w 258274"/>
                <a:gd name="connsiteY32" fmla="*/ 209772 h 257667"/>
                <a:gd name="connsiteX33" fmla="*/ 221291 w 258274"/>
                <a:gd name="connsiteY33" fmla="*/ 181277 h 257667"/>
                <a:gd name="connsiteX34" fmla="*/ 231598 w 258274"/>
                <a:gd name="connsiteY34" fmla="*/ 157632 h 257667"/>
                <a:gd name="connsiteX35" fmla="*/ 258274 w 258274"/>
                <a:gd name="connsiteY35" fmla="*/ 144294 h 257667"/>
                <a:gd name="connsiteX36" fmla="*/ 258274 w 258274"/>
                <a:gd name="connsiteY36" fmla="*/ 113980 h 257667"/>
                <a:gd name="connsiteX37" fmla="*/ 231598 w 258274"/>
                <a:gd name="connsiteY37" fmla="*/ 100642 h 25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8274" h="257667">
                  <a:moveTo>
                    <a:pt x="129137" y="174608"/>
                  </a:moveTo>
                  <a:cubicBezTo>
                    <a:pt x="103673" y="174608"/>
                    <a:pt x="83666" y="153994"/>
                    <a:pt x="83666" y="129137"/>
                  </a:cubicBezTo>
                  <a:cubicBezTo>
                    <a:pt x="83666" y="104280"/>
                    <a:pt x="104280" y="83666"/>
                    <a:pt x="129137" y="83666"/>
                  </a:cubicBezTo>
                  <a:cubicBezTo>
                    <a:pt x="154601" y="83666"/>
                    <a:pt x="174608" y="104280"/>
                    <a:pt x="174608" y="129137"/>
                  </a:cubicBezTo>
                  <a:cubicBezTo>
                    <a:pt x="174608" y="153994"/>
                    <a:pt x="153994" y="174608"/>
                    <a:pt x="129137" y="174608"/>
                  </a:cubicBezTo>
                  <a:close/>
                  <a:moveTo>
                    <a:pt x="231598" y="100642"/>
                  </a:moveTo>
                  <a:cubicBezTo>
                    <a:pt x="229173" y="92154"/>
                    <a:pt x="226141" y="84273"/>
                    <a:pt x="221897" y="76997"/>
                  </a:cubicBezTo>
                  <a:lnTo>
                    <a:pt x="231598" y="48502"/>
                  </a:lnTo>
                  <a:lnTo>
                    <a:pt x="209772" y="26676"/>
                  </a:lnTo>
                  <a:lnTo>
                    <a:pt x="181277" y="36377"/>
                  </a:lnTo>
                  <a:cubicBezTo>
                    <a:pt x="174002" y="32133"/>
                    <a:pt x="166120" y="29101"/>
                    <a:pt x="157632" y="26676"/>
                  </a:cubicBezTo>
                  <a:lnTo>
                    <a:pt x="144294" y="0"/>
                  </a:lnTo>
                  <a:lnTo>
                    <a:pt x="113980" y="0"/>
                  </a:lnTo>
                  <a:lnTo>
                    <a:pt x="100642" y="26676"/>
                  </a:lnTo>
                  <a:cubicBezTo>
                    <a:pt x="92154" y="29101"/>
                    <a:pt x="84273" y="32133"/>
                    <a:pt x="76997" y="36377"/>
                  </a:cubicBezTo>
                  <a:lnTo>
                    <a:pt x="48502" y="26676"/>
                  </a:lnTo>
                  <a:lnTo>
                    <a:pt x="26676" y="48502"/>
                  </a:lnTo>
                  <a:lnTo>
                    <a:pt x="36377" y="76997"/>
                  </a:lnTo>
                  <a:cubicBezTo>
                    <a:pt x="32133" y="84273"/>
                    <a:pt x="29101" y="92154"/>
                    <a:pt x="26676" y="100642"/>
                  </a:cubicBezTo>
                  <a:lnTo>
                    <a:pt x="0" y="113980"/>
                  </a:lnTo>
                  <a:lnTo>
                    <a:pt x="0" y="144294"/>
                  </a:lnTo>
                  <a:lnTo>
                    <a:pt x="26676" y="157632"/>
                  </a:lnTo>
                  <a:cubicBezTo>
                    <a:pt x="29101" y="166120"/>
                    <a:pt x="32133" y="174002"/>
                    <a:pt x="36377" y="181277"/>
                  </a:cubicBezTo>
                  <a:lnTo>
                    <a:pt x="26676" y="209772"/>
                  </a:lnTo>
                  <a:lnTo>
                    <a:pt x="47896" y="230992"/>
                  </a:lnTo>
                  <a:lnTo>
                    <a:pt x="76391" y="221291"/>
                  </a:lnTo>
                  <a:cubicBezTo>
                    <a:pt x="83666" y="225535"/>
                    <a:pt x="91548" y="228566"/>
                    <a:pt x="100036" y="230992"/>
                  </a:cubicBezTo>
                  <a:lnTo>
                    <a:pt x="113374" y="257668"/>
                  </a:lnTo>
                  <a:lnTo>
                    <a:pt x="143688" y="257668"/>
                  </a:lnTo>
                  <a:lnTo>
                    <a:pt x="157026" y="230992"/>
                  </a:lnTo>
                  <a:cubicBezTo>
                    <a:pt x="165514" y="228566"/>
                    <a:pt x="173395" y="225535"/>
                    <a:pt x="180671" y="221291"/>
                  </a:cubicBezTo>
                  <a:lnTo>
                    <a:pt x="209166" y="230992"/>
                  </a:lnTo>
                  <a:lnTo>
                    <a:pt x="230992" y="209772"/>
                  </a:lnTo>
                  <a:lnTo>
                    <a:pt x="221291" y="181277"/>
                  </a:lnTo>
                  <a:cubicBezTo>
                    <a:pt x="225535" y="174002"/>
                    <a:pt x="229173" y="165514"/>
                    <a:pt x="231598" y="157632"/>
                  </a:cubicBezTo>
                  <a:lnTo>
                    <a:pt x="258274" y="144294"/>
                  </a:lnTo>
                  <a:lnTo>
                    <a:pt x="258274" y="113980"/>
                  </a:lnTo>
                  <a:lnTo>
                    <a:pt x="231598" y="100642"/>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31" name="Freeform: Shape 130">
              <a:extLst>
                <a:ext uri="{FF2B5EF4-FFF2-40B4-BE49-F238E27FC236}">
                  <a16:creationId xmlns:a16="http://schemas.microsoft.com/office/drawing/2014/main" id="{42E7E6EC-C7C9-A6F9-E0F0-FF2733CAFE94}"/>
                </a:ext>
              </a:extLst>
            </p:cNvPr>
            <p:cNvSpPr/>
            <p:nvPr/>
          </p:nvSpPr>
          <p:spPr>
            <a:xfrm>
              <a:off x="5659700" y="5272462"/>
              <a:ext cx="258274" cy="257667"/>
            </a:xfrm>
            <a:custGeom>
              <a:avLst/>
              <a:gdLst>
                <a:gd name="connsiteX0" fmla="*/ 129137 w 258274"/>
                <a:gd name="connsiteY0" fmla="*/ 174608 h 257667"/>
                <a:gd name="connsiteX1" fmla="*/ 83666 w 258274"/>
                <a:gd name="connsiteY1" fmla="*/ 129137 h 257667"/>
                <a:gd name="connsiteX2" fmla="*/ 129137 w 258274"/>
                <a:gd name="connsiteY2" fmla="*/ 83666 h 257667"/>
                <a:gd name="connsiteX3" fmla="*/ 174608 w 258274"/>
                <a:gd name="connsiteY3" fmla="*/ 129137 h 257667"/>
                <a:gd name="connsiteX4" fmla="*/ 129137 w 258274"/>
                <a:gd name="connsiteY4" fmla="*/ 174608 h 257667"/>
                <a:gd name="connsiteX5" fmla="*/ 129137 w 258274"/>
                <a:gd name="connsiteY5" fmla="*/ 174608 h 257667"/>
                <a:gd name="connsiteX6" fmla="*/ 221897 w 258274"/>
                <a:gd name="connsiteY6" fmla="*/ 76997 h 257667"/>
                <a:gd name="connsiteX7" fmla="*/ 231598 w 258274"/>
                <a:gd name="connsiteY7" fmla="*/ 48502 h 257667"/>
                <a:gd name="connsiteX8" fmla="*/ 209772 w 258274"/>
                <a:gd name="connsiteY8" fmla="*/ 26676 h 257667"/>
                <a:gd name="connsiteX9" fmla="*/ 181277 w 258274"/>
                <a:gd name="connsiteY9" fmla="*/ 36377 h 257667"/>
                <a:gd name="connsiteX10" fmla="*/ 157632 w 258274"/>
                <a:gd name="connsiteY10" fmla="*/ 26676 h 257667"/>
                <a:gd name="connsiteX11" fmla="*/ 144294 w 258274"/>
                <a:gd name="connsiteY11" fmla="*/ 0 h 257667"/>
                <a:gd name="connsiteX12" fmla="*/ 113980 w 258274"/>
                <a:gd name="connsiteY12" fmla="*/ 0 h 257667"/>
                <a:gd name="connsiteX13" fmla="*/ 100642 w 258274"/>
                <a:gd name="connsiteY13" fmla="*/ 26676 h 257667"/>
                <a:gd name="connsiteX14" fmla="*/ 76997 w 258274"/>
                <a:gd name="connsiteY14" fmla="*/ 36377 h 257667"/>
                <a:gd name="connsiteX15" fmla="*/ 48502 w 258274"/>
                <a:gd name="connsiteY15" fmla="*/ 26676 h 257667"/>
                <a:gd name="connsiteX16" fmla="*/ 27282 w 258274"/>
                <a:gd name="connsiteY16" fmla="*/ 47896 h 257667"/>
                <a:gd name="connsiteX17" fmla="*/ 36377 w 258274"/>
                <a:gd name="connsiteY17" fmla="*/ 76391 h 257667"/>
                <a:gd name="connsiteX18" fmla="*/ 26676 w 258274"/>
                <a:gd name="connsiteY18" fmla="*/ 100036 h 257667"/>
                <a:gd name="connsiteX19" fmla="*/ 0 w 258274"/>
                <a:gd name="connsiteY19" fmla="*/ 113374 h 257667"/>
                <a:gd name="connsiteX20" fmla="*/ 0 w 258274"/>
                <a:gd name="connsiteY20" fmla="*/ 143688 h 257667"/>
                <a:gd name="connsiteX21" fmla="*/ 26676 w 258274"/>
                <a:gd name="connsiteY21" fmla="*/ 157026 h 257667"/>
                <a:gd name="connsiteX22" fmla="*/ 36377 w 258274"/>
                <a:gd name="connsiteY22" fmla="*/ 180671 h 257667"/>
                <a:gd name="connsiteX23" fmla="*/ 27282 w 258274"/>
                <a:gd name="connsiteY23" fmla="*/ 209166 h 257667"/>
                <a:gd name="connsiteX24" fmla="*/ 48502 w 258274"/>
                <a:gd name="connsiteY24" fmla="*/ 230385 h 257667"/>
                <a:gd name="connsiteX25" fmla="*/ 76997 w 258274"/>
                <a:gd name="connsiteY25" fmla="*/ 221291 h 257667"/>
                <a:gd name="connsiteX26" fmla="*/ 100642 w 258274"/>
                <a:gd name="connsiteY26" fmla="*/ 230992 h 257667"/>
                <a:gd name="connsiteX27" fmla="*/ 113980 w 258274"/>
                <a:gd name="connsiteY27" fmla="*/ 257668 h 257667"/>
                <a:gd name="connsiteX28" fmla="*/ 144294 w 258274"/>
                <a:gd name="connsiteY28" fmla="*/ 257668 h 257667"/>
                <a:gd name="connsiteX29" fmla="*/ 157632 w 258274"/>
                <a:gd name="connsiteY29" fmla="*/ 230992 h 257667"/>
                <a:gd name="connsiteX30" fmla="*/ 181277 w 258274"/>
                <a:gd name="connsiteY30" fmla="*/ 221291 h 257667"/>
                <a:gd name="connsiteX31" fmla="*/ 209772 w 258274"/>
                <a:gd name="connsiteY31" fmla="*/ 230992 h 257667"/>
                <a:gd name="connsiteX32" fmla="*/ 230992 w 258274"/>
                <a:gd name="connsiteY32" fmla="*/ 209166 h 257667"/>
                <a:gd name="connsiteX33" fmla="*/ 221897 w 258274"/>
                <a:gd name="connsiteY33" fmla="*/ 181277 h 257667"/>
                <a:gd name="connsiteX34" fmla="*/ 231598 w 258274"/>
                <a:gd name="connsiteY34" fmla="*/ 157632 h 257667"/>
                <a:gd name="connsiteX35" fmla="*/ 258274 w 258274"/>
                <a:gd name="connsiteY35" fmla="*/ 144294 h 257667"/>
                <a:gd name="connsiteX36" fmla="*/ 258274 w 258274"/>
                <a:gd name="connsiteY36" fmla="*/ 113980 h 257667"/>
                <a:gd name="connsiteX37" fmla="*/ 231598 w 258274"/>
                <a:gd name="connsiteY37" fmla="*/ 100642 h 257667"/>
                <a:gd name="connsiteX38" fmla="*/ 221897 w 258274"/>
                <a:gd name="connsiteY38" fmla="*/ 76997 h 25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8274" h="257667">
                  <a:moveTo>
                    <a:pt x="129137" y="174608"/>
                  </a:moveTo>
                  <a:cubicBezTo>
                    <a:pt x="103673" y="174608"/>
                    <a:pt x="83666" y="153994"/>
                    <a:pt x="83666" y="129137"/>
                  </a:cubicBezTo>
                  <a:cubicBezTo>
                    <a:pt x="83666" y="103673"/>
                    <a:pt x="104280" y="83666"/>
                    <a:pt x="129137" y="83666"/>
                  </a:cubicBezTo>
                  <a:cubicBezTo>
                    <a:pt x="154601" y="83666"/>
                    <a:pt x="174608" y="104280"/>
                    <a:pt x="174608" y="129137"/>
                  </a:cubicBezTo>
                  <a:cubicBezTo>
                    <a:pt x="174608" y="153994"/>
                    <a:pt x="154601" y="174608"/>
                    <a:pt x="129137" y="174608"/>
                  </a:cubicBezTo>
                  <a:lnTo>
                    <a:pt x="129137" y="174608"/>
                  </a:lnTo>
                  <a:close/>
                  <a:moveTo>
                    <a:pt x="221897" y="76997"/>
                  </a:moveTo>
                  <a:lnTo>
                    <a:pt x="231598" y="48502"/>
                  </a:lnTo>
                  <a:lnTo>
                    <a:pt x="209772" y="26676"/>
                  </a:lnTo>
                  <a:lnTo>
                    <a:pt x="181277" y="36377"/>
                  </a:lnTo>
                  <a:cubicBezTo>
                    <a:pt x="174002" y="32133"/>
                    <a:pt x="165514" y="29101"/>
                    <a:pt x="157632" y="26676"/>
                  </a:cubicBezTo>
                  <a:lnTo>
                    <a:pt x="144294" y="0"/>
                  </a:lnTo>
                  <a:lnTo>
                    <a:pt x="113980" y="0"/>
                  </a:lnTo>
                  <a:lnTo>
                    <a:pt x="100642" y="26676"/>
                  </a:lnTo>
                  <a:cubicBezTo>
                    <a:pt x="92154" y="29101"/>
                    <a:pt x="84273" y="32133"/>
                    <a:pt x="76997" y="36377"/>
                  </a:cubicBezTo>
                  <a:lnTo>
                    <a:pt x="48502" y="26676"/>
                  </a:lnTo>
                  <a:lnTo>
                    <a:pt x="27282" y="47896"/>
                  </a:lnTo>
                  <a:lnTo>
                    <a:pt x="36377" y="76391"/>
                  </a:lnTo>
                  <a:cubicBezTo>
                    <a:pt x="32133" y="83666"/>
                    <a:pt x="29101" y="92154"/>
                    <a:pt x="26676" y="100036"/>
                  </a:cubicBezTo>
                  <a:lnTo>
                    <a:pt x="0" y="113374"/>
                  </a:lnTo>
                  <a:lnTo>
                    <a:pt x="0" y="143688"/>
                  </a:lnTo>
                  <a:lnTo>
                    <a:pt x="26676" y="157026"/>
                  </a:lnTo>
                  <a:cubicBezTo>
                    <a:pt x="29101" y="165514"/>
                    <a:pt x="32133" y="173395"/>
                    <a:pt x="36377" y="180671"/>
                  </a:cubicBezTo>
                  <a:lnTo>
                    <a:pt x="27282" y="209166"/>
                  </a:lnTo>
                  <a:lnTo>
                    <a:pt x="48502" y="230385"/>
                  </a:lnTo>
                  <a:lnTo>
                    <a:pt x="76997" y="221291"/>
                  </a:lnTo>
                  <a:cubicBezTo>
                    <a:pt x="84273" y="225535"/>
                    <a:pt x="92154" y="228566"/>
                    <a:pt x="100642" y="230992"/>
                  </a:cubicBezTo>
                  <a:lnTo>
                    <a:pt x="113980" y="257668"/>
                  </a:lnTo>
                  <a:lnTo>
                    <a:pt x="144294" y="257668"/>
                  </a:lnTo>
                  <a:lnTo>
                    <a:pt x="157632" y="230992"/>
                  </a:lnTo>
                  <a:cubicBezTo>
                    <a:pt x="166120" y="228566"/>
                    <a:pt x="174002" y="225535"/>
                    <a:pt x="181277" y="221291"/>
                  </a:cubicBezTo>
                  <a:lnTo>
                    <a:pt x="209772" y="230992"/>
                  </a:lnTo>
                  <a:lnTo>
                    <a:pt x="230992" y="209166"/>
                  </a:lnTo>
                  <a:lnTo>
                    <a:pt x="221897" y="181277"/>
                  </a:lnTo>
                  <a:cubicBezTo>
                    <a:pt x="226141" y="174002"/>
                    <a:pt x="229173" y="166120"/>
                    <a:pt x="231598" y="157632"/>
                  </a:cubicBezTo>
                  <a:lnTo>
                    <a:pt x="258274" y="144294"/>
                  </a:lnTo>
                  <a:lnTo>
                    <a:pt x="258274" y="113980"/>
                  </a:lnTo>
                  <a:lnTo>
                    <a:pt x="231598" y="100642"/>
                  </a:lnTo>
                  <a:cubicBezTo>
                    <a:pt x="229173" y="92154"/>
                    <a:pt x="226141" y="84273"/>
                    <a:pt x="221897" y="76997"/>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35" name="Graphic 33" descr="Research">
            <a:extLst>
              <a:ext uri="{FF2B5EF4-FFF2-40B4-BE49-F238E27FC236}">
                <a16:creationId xmlns:a16="http://schemas.microsoft.com/office/drawing/2014/main" id="{C1F5768F-5D05-E487-5353-E5920CDE3CF3}"/>
              </a:ext>
            </a:extLst>
          </p:cNvPr>
          <p:cNvGrpSpPr/>
          <p:nvPr/>
        </p:nvGrpSpPr>
        <p:grpSpPr>
          <a:xfrm>
            <a:off x="6354176" y="3204497"/>
            <a:ext cx="436293" cy="436293"/>
            <a:chOff x="8199263" y="3303776"/>
            <a:chExt cx="582026" cy="582026"/>
          </a:xfrm>
        </p:grpSpPr>
        <p:sp>
          <p:nvSpPr>
            <p:cNvPr id="136" name="Freeform: Shape 135">
              <a:extLst>
                <a:ext uri="{FF2B5EF4-FFF2-40B4-BE49-F238E27FC236}">
                  <a16:creationId xmlns:a16="http://schemas.microsoft.com/office/drawing/2014/main" id="{592DEF66-2C10-8839-2FE5-A48EB8014F87}"/>
                </a:ext>
              </a:extLst>
            </p:cNvPr>
            <p:cNvSpPr/>
            <p:nvPr/>
          </p:nvSpPr>
          <p:spPr>
            <a:xfrm>
              <a:off x="8246549" y="3354093"/>
              <a:ext cx="479720" cy="480326"/>
            </a:xfrm>
            <a:custGeom>
              <a:avLst/>
              <a:gdLst>
                <a:gd name="connsiteX0" fmla="*/ 392265 w 479720"/>
                <a:gd name="connsiteY0" fmla="*/ 332243 h 480326"/>
                <a:gd name="connsiteX1" fmla="*/ 354675 w 479720"/>
                <a:gd name="connsiteY1" fmla="*/ 320724 h 480326"/>
                <a:gd name="connsiteX2" fmla="*/ 327393 w 479720"/>
                <a:gd name="connsiteY2" fmla="*/ 294048 h 480326"/>
                <a:gd name="connsiteX3" fmla="*/ 364982 w 479720"/>
                <a:gd name="connsiteY3" fmla="*/ 183705 h 480326"/>
                <a:gd name="connsiteX4" fmla="*/ 183099 w 479720"/>
                <a:gd name="connsiteY4" fmla="*/ 3 h 480326"/>
                <a:gd name="connsiteX5" fmla="*/ 3 w 479720"/>
                <a:gd name="connsiteY5" fmla="*/ 181886 h 480326"/>
                <a:gd name="connsiteX6" fmla="*/ 181886 w 479720"/>
                <a:gd name="connsiteY6" fmla="*/ 364982 h 480326"/>
                <a:gd name="connsiteX7" fmla="*/ 293441 w 479720"/>
                <a:gd name="connsiteY7" fmla="*/ 327393 h 480326"/>
                <a:gd name="connsiteX8" fmla="*/ 320118 w 479720"/>
                <a:gd name="connsiteY8" fmla="*/ 354069 h 480326"/>
                <a:gd name="connsiteX9" fmla="*/ 331637 w 479720"/>
                <a:gd name="connsiteY9" fmla="*/ 392265 h 480326"/>
                <a:gd name="connsiteX10" fmla="*/ 407422 w 479720"/>
                <a:gd name="connsiteY10" fmla="*/ 468049 h 480326"/>
                <a:gd name="connsiteX11" fmla="*/ 467443 w 479720"/>
                <a:gd name="connsiteY11" fmla="*/ 468049 h 480326"/>
                <a:gd name="connsiteX12" fmla="*/ 467443 w 479720"/>
                <a:gd name="connsiteY12" fmla="*/ 408028 h 480326"/>
                <a:gd name="connsiteX13" fmla="*/ 392265 w 479720"/>
                <a:gd name="connsiteY13" fmla="*/ 332243 h 480326"/>
                <a:gd name="connsiteX14" fmla="*/ 183099 w 479720"/>
                <a:gd name="connsiteY14" fmla="*/ 328606 h 480326"/>
                <a:gd name="connsiteX15" fmla="*/ 37593 w 479720"/>
                <a:gd name="connsiteY15" fmla="*/ 183099 h 480326"/>
                <a:gd name="connsiteX16" fmla="*/ 183099 w 479720"/>
                <a:gd name="connsiteY16" fmla="*/ 37593 h 480326"/>
                <a:gd name="connsiteX17" fmla="*/ 328606 w 479720"/>
                <a:gd name="connsiteY17" fmla="*/ 183099 h 480326"/>
                <a:gd name="connsiteX18" fmla="*/ 183099 w 479720"/>
                <a:gd name="connsiteY18" fmla="*/ 328606 h 4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9720" h="480326">
                  <a:moveTo>
                    <a:pt x="392265" y="332243"/>
                  </a:moveTo>
                  <a:cubicBezTo>
                    <a:pt x="382564" y="322543"/>
                    <a:pt x="368014" y="317693"/>
                    <a:pt x="354675" y="320724"/>
                  </a:cubicBezTo>
                  <a:lnTo>
                    <a:pt x="327393" y="294048"/>
                  </a:lnTo>
                  <a:cubicBezTo>
                    <a:pt x="351644" y="262521"/>
                    <a:pt x="364982" y="223720"/>
                    <a:pt x="364982" y="183705"/>
                  </a:cubicBezTo>
                  <a:cubicBezTo>
                    <a:pt x="365588" y="82457"/>
                    <a:pt x="283741" y="610"/>
                    <a:pt x="183099" y="3"/>
                  </a:cubicBezTo>
                  <a:cubicBezTo>
                    <a:pt x="82457" y="-603"/>
                    <a:pt x="610" y="81244"/>
                    <a:pt x="3" y="181886"/>
                  </a:cubicBezTo>
                  <a:cubicBezTo>
                    <a:pt x="-603" y="282528"/>
                    <a:pt x="81244" y="364376"/>
                    <a:pt x="181886" y="364982"/>
                  </a:cubicBezTo>
                  <a:cubicBezTo>
                    <a:pt x="221901" y="364982"/>
                    <a:pt x="261309" y="351644"/>
                    <a:pt x="293441" y="327393"/>
                  </a:cubicBezTo>
                  <a:lnTo>
                    <a:pt x="320118" y="354069"/>
                  </a:lnTo>
                  <a:cubicBezTo>
                    <a:pt x="317693" y="368014"/>
                    <a:pt x="321937" y="381958"/>
                    <a:pt x="331637" y="392265"/>
                  </a:cubicBezTo>
                  <a:lnTo>
                    <a:pt x="407422" y="468049"/>
                  </a:lnTo>
                  <a:cubicBezTo>
                    <a:pt x="423791" y="484419"/>
                    <a:pt x="451073" y="484419"/>
                    <a:pt x="467443" y="468049"/>
                  </a:cubicBezTo>
                  <a:cubicBezTo>
                    <a:pt x="483812" y="451680"/>
                    <a:pt x="483812" y="424397"/>
                    <a:pt x="467443" y="408028"/>
                  </a:cubicBezTo>
                  <a:lnTo>
                    <a:pt x="392265" y="332243"/>
                  </a:lnTo>
                  <a:close/>
                  <a:moveTo>
                    <a:pt x="183099" y="328606"/>
                  </a:moveTo>
                  <a:cubicBezTo>
                    <a:pt x="102464" y="328606"/>
                    <a:pt x="37593" y="263734"/>
                    <a:pt x="37593" y="183099"/>
                  </a:cubicBezTo>
                  <a:cubicBezTo>
                    <a:pt x="37593" y="102464"/>
                    <a:pt x="102464" y="37593"/>
                    <a:pt x="183099" y="37593"/>
                  </a:cubicBezTo>
                  <a:cubicBezTo>
                    <a:pt x="263734" y="37593"/>
                    <a:pt x="328606" y="102464"/>
                    <a:pt x="328606" y="183099"/>
                  </a:cubicBezTo>
                  <a:cubicBezTo>
                    <a:pt x="328606" y="263128"/>
                    <a:pt x="263128" y="328606"/>
                    <a:pt x="183099" y="32860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37" name="Freeform: Shape 136">
              <a:extLst>
                <a:ext uri="{FF2B5EF4-FFF2-40B4-BE49-F238E27FC236}">
                  <a16:creationId xmlns:a16="http://schemas.microsoft.com/office/drawing/2014/main" id="{C911FAE7-AEDD-B55F-BD27-71649E75245C}"/>
                </a:ext>
              </a:extLst>
            </p:cNvPr>
            <p:cNvSpPr/>
            <p:nvPr/>
          </p:nvSpPr>
          <p:spPr>
            <a:xfrm>
              <a:off x="8299298" y="3444199"/>
              <a:ext cx="261305" cy="191815"/>
            </a:xfrm>
            <a:custGeom>
              <a:avLst/>
              <a:gdLst>
                <a:gd name="connsiteX0" fmla="*/ 260699 w 261305"/>
                <a:gd name="connsiteY0" fmla="*/ 83899 h 191815"/>
                <a:gd name="connsiteX1" fmla="*/ 226141 w 261305"/>
                <a:gd name="connsiteY1" fmla="*/ 83899 h 191815"/>
                <a:gd name="connsiteX2" fmla="*/ 218260 w 261305"/>
                <a:gd name="connsiteY2" fmla="*/ 88749 h 191815"/>
                <a:gd name="connsiteX3" fmla="*/ 195221 w 261305"/>
                <a:gd name="connsiteY3" fmla="*/ 113606 h 191815"/>
                <a:gd name="connsiteX4" fmla="*/ 175820 w 261305"/>
                <a:gd name="connsiteY4" fmla="*/ 46309 h 191815"/>
                <a:gd name="connsiteX5" fmla="*/ 162482 w 261305"/>
                <a:gd name="connsiteY5" fmla="*/ 39034 h 191815"/>
                <a:gd name="connsiteX6" fmla="*/ 155207 w 261305"/>
                <a:gd name="connsiteY6" fmla="*/ 45703 h 191815"/>
                <a:gd name="connsiteX7" fmla="*/ 118830 w 261305"/>
                <a:gd name="connsiteY7" fmla="*/ 142101 h 191815"/>
                <a:gd name="connsiteX8" fmla="*/ 93973 w 261305"/>
                <a:gd name="connsiteY8" fmla="*/ 8720 h 191815"/>
                <a:gd name="connsiteX9" fmla="*/ 81847 w 261305"/>
                <a:gd name="connsiteY9" fmla="*/ 232 h 191815"/>
                <a:gd name="connsiteX10" fmla="*/ 73360 w 261305"/>
                <a:gd name="connsiteY10" fmla="*/ 7508 h 191815"/>
                <a:gd name="connsiteX11" fmla="*/ 47290 w 261305"/>
                <a:gd name="connsiteY11" fmla="*/ 83899 h 191815"/>
                <a:gd name="connsiteX12" fmla="*/ 0 w 261305"/>
                <a:gd name="connsiteY12" fmla="*/ 83899 h 191815"/>
                <a:gd name="connsiteX13" fmla="*/ 0 w 261305"/>
                <a:gd name="connsiteY13" fmla="*/ 108150 h 191815"/>
                <a:gd name="connsiteX14" fmla="*/ 55171 w 261305"/>
                <a:gd name="connsiteY14" fmla="*/ 108150 h 191815"/>
                <a:gd name="connsiteX15" fmla="*/ 65478 w 261305"/>
                <a:gd name="connsiteY15" fmla="*/ 99055 h 191815"/>
                <a:gd name="connsiteX16" fmla="*/ 80635 w 261305"/>
                <a:gd name="connsiteY16" fmla="*/ 52978 h 191815"/>
                <a:gd name="connsiteX17" fmla="*/ 104886 w 261305"/>
                <a:gd name="connsiteY17" fmla="*/ 183328 h 191815"/>
                <a:gd name="connsiteX18" fmla="*/ 114586 w 261305"/>
                <a:gd name="connsiteY18" fmla="*/ 191816 h 191815"/>
                <a:gd name="connsiteX19" fmla="*/ 115799 w 261305"/>
                <a:gd name="connsiteY19" fmla="*/ 191816 h 191815"/>
                <a:gd name="connsiteX20" fmla="*/ 126106 w 261305"/>
                <a:gd name="connsiteY20" fmla="*/ 185147 h 191815"/>
                <a:gd name="connsiteX21" fmla="*/ 164907 w 261305"/>
                <a:gd name="connsiteY21" fmla="*/ 83292 h 191815"/>
                <a:gd name="connsiteX22" fmla="*/ 180671 w 261305"/>
                <a:gd name="connsiteY22" fmla="*/ 137857 h 191815"/>
                <a:gd name="connsiteX23" fmla="*/ 194009 w 261305"/>
                <a:gd name="connsiteY23" fmla="*/ 145133 h 191815"/>
                <a:gd name="connsiteX24" fmla="*/ 198859 w 261305"/>
                <a:gd name="connsiteY24" fmla="*/ 142101 h 191815"/>
                <a:gd name="connsiteX25" fmla="*/ 231598 w 261305"/>
                <a:gd name="connsiteY25" fmla="*/ 108150 h 191815"/>
                <a:gd name="connsiteX26" fmla="*/ 261305 w 261305"/>
                <a:gd name="connsiteY26" fmla="*/ 108150 h 191815"/>
                <a:gd name="connsiteX27" fmla="*/ 261305 w 261305"/>
                <a:gd name="connsiteY27" fmla="*/ 83899 h 191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305" h="191815">
                  <a:moveTo>
                    <a:pt x="260699" y="83899"/>
                  </a:moveTo>
                  <a:lnTo>
                    <a:pt x="226141" y="83899"/>
                  </a:lnTo>
                  <a:cubicBezTo>
                    <a:pt x="223110" y="84505"/>
                    <a:pt x="220079" y="86324"/>
                    <a:pt x="218260" y="88749"/>
                  </a:cubicBezTo>
                  <a:lnTo>
                    <a:pt x="195221" y="113606"/>
                  </a:lnTo>
                  <a:lnTo>
                    <a:pt x="175820" y="46309"/>
                  </a:lnTo>
                  <a:cubicBezTo>
                    <a:pt x="174002" y="40853"/>
                    <a:pt x="167939" y="37215"/>
                    <a:pt x="162482" y="39034"/>
                  </a:cubicBezTo>
                  <a:cubicBezTo>
                    <a:pt x="159451" y="40247"/>
                    <a:pt x="156419" y="42065"/>
                    <a:pt x="155207" y="45703"/>
                  </a:cubicBezTo>
                  <a:lnTo>
                    <a:pt x="118830" y="142101"/>
                  </a:lnTo>
                  <a:lnTo>
                    <a:pt x="93973" y="8720"/>
                  </a:lnTo>
                  <a:cubicBezTo>
                    <a:pt x="92760" y="2657"/>
                    <a:pt x="87304" y="-980"/>
                    <a:pt x="81847" y="232"/>
                  </a:cubicBezTo>
                  <a:cubicBezTo>
                    <a:pt x="78210" y="839"/>
                    <a:pt x="75178" y="3870"/>
                    <a:pt x="73360" y="7508"/>
                  </a:cubicBezTo>
                  <a:lnTo>
                    <a:pt x="47290" y="83899"/>
                  </a:lnTo>
                  <a:lnTo>
                    <a:pt x="0" y="83899"/>
                  </a:lnTo>
                  <a:lnTo>
                    <a:pt x="0" y="108150"/>
                  </a:lnTo>
                  <a:lnTo>
                    <a:pt x="55171" y="108150"/>
                  </a:lnTo>
                  <a:cubicBezTo>
                    <a:pt x="60021" y="107543"/>
                    <a:pt x="64265" y="103906"/>
                    <a:pt x="65478" y="99055"/>
                  </a:cubicBezTo>
                  <a:lnTo>
                    <a:pt x="80635" y="52978"/>
                  </a:lnTo>
                  <a:lnTo>
                    <a:pt x="104886" y="183328"/>
                  </a:lnTo>
                  <a:cubicBezTo>
                    <a:pt x="105492" y="188178"/>
                    <a:pt x="109736" y="191816"/>
                    <a:pt x="114586" y="191816"/>
                  </a:cubicBezTo>
                  <a:lnTo>
                    <a:pt x="115799" y="191816"/>
                  </a:lnTo>
                  <a:cubicBezTo>
                    <a:pt x="120043" y="191816"/>
                    <a:pt x="124287" y="189391"/>
                    <a:pt x="126106" y="185147"/>
                  </a:cubicBezTo>
                  <a:lnTo>
                    <a:pt x="164907" y="83292"/>
                  </a:lnTo>
                  <a:lnTo>
                    <a:pt x="180671" y="137857"/>
                  </a:lnTo>
                  <a:cubicBezTo>
                    <a:pt x="182489" y="143314"/>
                    <a:pt x="187946" y="146951"/>
                    <a:pt x="194009" y="145133"/>
                  </a:cubicBezTo>
                  <a:cubicBezTo>
                    <a:pt x="195828" y="144526"/>
                    <a:pt x="197646" y="143314"/>
                    <a:pt x="198859" y="142101"/>
                  </a:cubicBezTo>
                  <a:lnTo>
                    <a:pt x="231598" y="108150"/>
                  </a:lnTo>
                  <a:lnTo>
                    <a:pt x="261305" y="108150"/>
                  </a:lnTo>
                  <a:lnTo>
                    <a:pt x="261305" y="83899"/>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sp>
        <p:nvSpPr>
          <p:cNvPr id="138" name="Graphic 34" descr="Hourglass">
            <a:extLst>
              <a:ext uri="{FF2B5EF4-FFF2-40B4-BE49-F238E27FC236}">
                <a16:creationId xmlns:a16="http://schemas.microsoft.com/office/drawing/2014/main" id="{319DEF04-072B-0B2E-5426-810A4C589875}"/>
              </a:ext>
            </a:extLst>
          </p:cNvPr>
          <p:cNvSpPr/>
          <p:nvPr/>
        </p:nvSpPr>
        <p:spPr>
          <a:xfrm>
            <a:off x="6786099" y="4037628"/>
            <a:ext cx="254503" cy="363577"/>
          </a:xfrm>
          <a:custGeom>
            <a:avLst/>
            <a:gdLst>
              <a:gd name="connsiteX0" fmla="*/ 203709 w 339515"/>
              <a:gd name="connsiteY0" fmla="*/ 274644 h 485021"/>
              <a:gd name="connsiteX1" fmla="*/ 258274 w 339515"/>
              <a:gd name="connsiteY1" fmla="*/ 351641 h 485021"/>
              <a:gd name="connsiteX2" fmla="*/ 81241 w 339515"/>
              <a:gd name="connsiteY2" fmla="*/ 351641 h 485021"/>
              <a:gd name="connsiteX3" fmla="*/ 135806 w 339515"/>
              <a:gd name="connsiteY3" fmla="*/ 274644 h 485021"/>
              <a:gd name="connsiteX4" fmla="*/ 151569 w 339515"/>
              <a:gd name="connsiteY4" fmla="*/ 242511 h 485021"/>
              <a:gd name="connsiteX5" fmla="*/ 135806 w 339515"/>
              <a:gd name="connsiteY5" fmla="*/ 210378 h 485021"/>
              <a:gd name="connsiteX6" fmla="*/ 52746 w 339515"/>
              <a:gd name="connsiteY6" fmla="*/ 36377 h 485021"/>
              <a:gd name="connsiteX7" fmla="*/ 287375 w 339515"/>
              <a:gd name="connsiteY7" fmla="*/ 36377 h 485021"/>
              <a:gd name="connsiteX8" fmla="*/ 204315 w 339515"/>
              <a:gd name="connsiteY8" fmla="*/ 210378 h 485021"/>
              <a:gd name="connsiteX9" fmla="*/ 187946 w 339515"/>
              <a:gd name="connsiteY9" fmla="*/ 242511 h 485021"/>
              <a:gd name="connsiteX10" fmla="*/ 203709 w 339515"/>
              <a:gd name="connsiteY10" fmla="*/ 274644 h 485021"/>
              <a:gd name="connsiteX11" fmla="*/ 323146 w 339515"/>
              <a:gd name="connsiteY11" fmla="*/ 36377 h 485021"/>
              <a:gd name="connsiteX12" fmla="*/ 339515 w 339515"/>
              <a:gd name="connsiteY12" fmla="*/ 36377 h 485021"/>
              <a:gd name="connsiteX13" fmla="*/ 339515 w 339515"/>
              <a:gd name="connsiteY13" fmla="*/ 0 h 485021"/>
              <a:gd name="connsiteX14" fmla="*/ 0 w 339515"/>
              <a:gd name="connsiteY14" fmla="*/ 0 h 485021"/>
              <a:gd name="connsiteX15" fmla="*/ 0 w 339515"/>
              <a:gd name="connsiteY15" fmla="*/ 36377 h 485021"/>
              <a:gd name="connsiteX16" fmla="*/ 15763 w 339515"/>
              <a:gd name="connsiteY16" fmla="*/ 36377 h 485021"/>
              <a:gd name="connsiteX17" fmla="*/ 117618 w 339515"/>
              <a:gd name="connsiteY17" fmla="*/ 242511 h 485021"/>
              <a:gd name="connsiteX18" fmla="*/ 15763 w 339515"/>
              <a:gd name="connsiteY18" fmla="*/ 448645 h 485021"/>
              <a:gd name="connsiteX19" fmla="*/ 0 w 339515"/>
              <a:gd name="connsiteY19" fmla="*/ 448645 h 485021"/>
              <a:gd name="connsiteX20" fmla="*/ 0 w 339515"/>
              <a:gd name="connsiteY20" fmla="*/ 485022 h 485021"/>
              <a:gd name="connsiteX21" fmla="*/ 339515 w 339515"/>
              <a:gd name="connsiteY21" fmla="*/ 485022 h 485021"/>
              <a:gd name="connsiteX22" fmla="*/ 339515 w 339515"/>
              <a:gd name="connsiteY22" fmla="*/ 448645 h 485021"/>
              <a:gd name="connsiteX23" fmla="*/ 323146 w 339515"/>
              <a:gd name="connsiteY23" fmla="*/ 448645 h 485021"/>
              <a:gd name="connsiteX24" fmla="*/ 221291 w 339515"/>
              <a:gd name="connsiteY24" fmla="*/ 242511 h 485021"/>
              <a:gd name="connsiteX25" fmla="*/ 323146 w 339515"/>
              <a:gd name="connsiteY25" fmla="*/ 36377 h 48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515" h="485021">
                <a:moveTo>
                  <a:pt x="203709" y="274644"/>
                </a:moveTo>
                <a:cubicBezTo>
                  <a:pt x="224323" y="291013"/>
                  <a:pt x="243723" y="319508"/>
                  <a:pt x="258274" y="351641"/>
                </a:cubicBezTo>
                <a:lnTo>
                  <a:pt x="81241" y="351641"/>
                </a:lnTo>
                <a:cubicBezTo>
                  <a:pt x="96398" y="319508"/>
                  <a:pt x="115193" y="290407"/>
                  <a:pt x="135806" y="274644"/>
                </a:cubicBezTo>
                <a:cubicBezTo>
                  <a:pt x="145507" y="266762"/>
                  <a:pt x="151569" y="255243"/>
                  <a:pt x="151569" y="242511"/>
                </a:cubicBezTo>
                <a:cubicBezTo>
                  <a:pt x="151569" y="229779"/>
                  <a:pt x="145507" y="218260"/>
                  <a:pt x="135806" y="210378"/>
                </a:cubicBezTo>
                <a:cubicBezTo>
                  <a:pt x="94579" y="178245"/>
                  <a:pt x="58809" y="95792"/>
                  <a:pt x="52746" y="36377"/>
                </a:cubicBezTo>
                <a:lnTo>
                  <a:pt x="287375" y="36377"/>
                </a:lnTo>
                <a:cubicBezTo>
                  <a:pt x="280706" y="95792"/>
                  <a:pt x="245542" y="178245"/>
                  <a:pt x="204315" y="210378"/>
                </a:cubicBezTo>
                <a:cubicBezTo>
                  <a:pt x="194009" y="218260"/>
                  <a:pt x="187946" y="229779"/>
                  <a:pt x="187946" y="242511"/>
                </a:cubicBezTo>
                <a:cubicBezTo>
                  <a:pt x="187946" y="255243"/>
                  <a:pt x="194009" y="266762"/>
                  <a:pt x="203709" y="274644"/>
                </a:cubicBezTo>
                <a:close/>
                <a:moveTo>
                  <a:pt x="323146" y="36377"/>
                </a:moveTo>
                <a:lnTo>
                  <a:pt x="339515" y="36377"/>
                </a:lnTo>
                <a:lnTo>
                  <a:pt x="339515" y="0"/>
                </a:lnTo>
                <a:lnTo>
                  <a:pt x="0" y="0"/>
                </a:lnTo>
                <a:lnTo>
                  <a:pt x="0" y="36377"/>
                </a:lnTo>
                <a:lnTo>
                  <a:pt x="15763" y="36377"/>
                </a:lnTo>
                <a:cubicBezTo>
                  <a:pt x="22432" y="103673"/>
                  <a:pt x="61234" y="201890"/>
                  <a:pt x="117618" y="242511"/>
                </a:cubicBezTo>
                <a:cubicBezTo>
                  <a:pt x="61234" y="283131"/>
                  <a:pt x="21826" y="381348"/>
                  <a:pt x="15763" y="448645"/>
                </a:cubicBezTo>
                <a:lnTo>
                  <a:pt x="0" y="448645"/>
                </a:lnTo>
                <a:lnTo>
                  <a:pt x="0" y="485022"/>
                </a:lnTo>
                <a:lnTo>
                  <a:pt x="339515" y="485022"/>
                </a:lnTo>
                <a:lnTo>
                  <a:pt x="339515" y="448645"/>
                </a:lnTo>
                <a:lnTo>
                  <a:pt x="323146" y="448645"/>
                </a:lnTo>
                <a:cubicBezTo>
                  <a:pt x="317083" y="381348"/>
                  <a:pt x="277675" y="283131"/>
                  <a:pt x="221291" y="242511"/>
                </a:cubicBezTo>
                <a:cubicBezTo>
                  <a:pt x="277675" y="201890"/>
                  <a:pt x="317083" y="103673"/>
                  <a:pt x="323146" y="36377"/>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nvGrpSpPr>
          <p:cNvPr id="139" name="Graphic 35" descr="Bar graph with downward trend">
            <a:extLst>
              <a:ext uri="{FF2B5EF4-FFF2-40B4-BE49-F238E27FC236}">
                <a16:creationId xmlns:a16="http://schemas.microsoft.com/office/drawing/2014/main" id="{F37B87BB-C8B1-4047-8826-E687E9BC223F}"/>
              </a:ext>
            </a:extLst>
          </p:cNvPr>
          <p:cNvGrpSpPr/>
          <p:nvPr/>
        </p:nvGrpSpPr>
        <p:grpSpPr>
          <a:xfrm>
            <a:off x="6354176" y="4788522"/>
            <a:ext cx="436293" cy="436293"/>
            <a:chOff x="8199263" y="5416910"/>
            <a:chExt cx="582026" cy="582026"/>
          </a:xfrm>
        </p:grpSpPr>
        <p:sp>
          <p:nvSpPr>
            <p:cNvPr id="140" name="Freeform: Shape 139">
              <a:extLst>
                <a:ext uri="{FF2B5EF4-FFF2-40B4-BE49-F238E27FC236}">
                  <a16:creationId xmlns:a16="http://schemas.microsoft.com/office/drawing/2014/main" id="{DA832145-4226-C563-821F-217E02F8500F}"/>
                </a:ext>
              </a:extLst>
            </p:cNvPr>
            <p:cNvSpPr/>
            <p:nvPr/>
          </p:nvSpPr>
          <p:spPr>
            <a:xfrm>
              <a:off x="8278079" y="5495726"/>
              <a:ext cx="418331" cy="424393"/>
            </a:xfrm>
            <a:custGeom>
              <a:avLst/>
              <a:gdLst>
                <a:gd name="connsiteX0" fmla="*/ 36377 w 418331"/>
                <a:gd name="connsiteY0" fmla="*/ 0 h 424393"/>
                <a:gd name="connsiteX1" fmla="*/ 0 w 418331"/>
                <a:gd name="connsiteY1" fmla="*/ 0 h 424393"/>
                <a:gd name="connsiteX2" fmla="*/ 0 w 418331"/>
                <a:gd name="connsiteY2" fmla="*/ 424394 h 424393"/>
                <a:gd name="connsiteX3" fmla="*/ 418331 w 418331"/>
                <a:gd name="connsiteY3" fmla="*/ 424394 h 424393"/>
                <a:gd name="connsiteX4" fmla="*/ 418331 w 418331"/>
                <a:gd name="connsiteY4" fmla="*/ 388017 h 424393"/>
                <a:gd name="connsiteX5" fmla="*/ 36377 w 418331"/>
                <a:gd name="connsiteY5" fmla="*/ 388017 h 424393"/>
                <a:gd name="connsiteX6" fmla="*/ 36377 w 418331"/>
                <a:gd name="connsiteY6" fmla="*/ 0 h 42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331" h="424393">
                  <a:moveTo>
                    <a:pt x="36377" y="0"/>
                  </a:moveTo>
                  <a:lnTo>
                    <a:pt x="0" y="0"/>
                  </a:lnTo>
                  <a:lnTo>
                    <a:pt x="0" y="424394"/>
                  </a:lnTo>
                  <a:lnTo>
                    <a:pt x="418331" y="424394"/>
                  </a:lnTo>
                  <a:lnTo>
                    <a:pt x="418331" y="388017"/>
                  </a:lnTo>
                  <a:lnTo>
                    <a:pt x="36377" y="388017"/>
                  </a:lnTo>
                  <a:lnTo>
                    <a:pt x="36377"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41" name="Freeform: Shape 140">
              <a:extLst>
                <a:ext uri="{FF2B5EF4-FFF2-40B4-BE49-F238E27FC236}">
                  <a16:creationId xmlns:a16="http://schemas.microsoft.com/office/drawing/2014/main" id="{E0EAB050-66B8-DC0E-F4CA-D2C50271E80B}"/>
                </a:ext>
              </a:extLst>
            </p:cNvPr>
            <p:cNvSpPr/>
            <p:nvPr/>
          </p:nvSpPr>
          <p:spPr>
            <a:xfrm>
              <a:off x="8350832" y="5495726"/>
              <a:ext cx="90941" cy="351640"/>
            </a:xfrm>
            <a:custGeom>
              <a:avLst/>
              <a:gdLst>
                <a:gd name="connsiteX0" fmla="*/ 0 w 90941"/>
                <a:gd name="connsiteY0" fmla="*/ 0 h 351640"/>
                <a:gd name="connsiteX1" fmla="*/ 90942 w 90941"/>
                <a:gd name="connsiteY1" fmla="*/ 0 h 351640"/>
                <a:gd name="connsiteX2" fmla="*/ 90942 w 90941"/>
                <a:gd name="connsiteY2" fmla="*/ 351641 h 351640"/>
                <a:gd name="connsiteX3" fmla="*/ 0 w 90941"/>
                <a:gd name="connsiteY3" fmla="*/ 351641 h 351640"/>
              </a:gdLst>
              <a:ahLst/>
              <a:cxnLst>
                <a:cxn ang="0">
                  <a:pos x="connsiteX0" y="connsiteY0"/>
                </a:cxn>
                <a:cxn ang="0">
                  <a:pos x="connsiteX1" y="connsiteY1"/>
                </a:cxn>
                <a:cxn ang="0">
                  <a:pos x="connsiteX2" y="connsiteY2"/>
                </a:cxn>
                <a:cxn ang="0">
                  <a:pos x="connsiteX3" y="connsiteY3"/>
                </a:cxn>
              </a:cxnLst>
              <a:rect l="l" t="t" r="r" b="b"/>
              <a:pathLst>
                <a:path w="90941" h="351640">
                  <a:moveTo>
                    <a:pt x="0" y="0"/>
                  </a:moveTo>
                  <a:lnTo>
                    <a:pt x="90942" y="0"/>
                  </a:lnTo>
                  <a:lnTo>
                    <a:pt x="90942" y="351641"/>
                  </a:lnTo>
                  <a:lnTo>
                    <a:pt x="0" y="351641"/>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42" name="Freeform: Shape 141">
              <a:extLst>
                <a:ext uri="{FF2B5EF4-FFF2-40B4-BE49-F238E27FC236}">
                  <a16:creationId xmlns:a16="http://schemas.microsoft.com/office/drawing/2014/main" id="{A6E88908-B0CE-08D9-06EE-606EA08A74D0}"/>
                </a:ext>
              </a:extLst>
            </p:cNvPr>
            <p:cNvSpPr/>
            <p:nvPr/>
          </p:nvSpPr>
          <p:spPr>
            <a:xfrm>
              <a:off x="8478150" y="5616981"/>
              <a:ext cx="90941" cy="230385"/>
            </a:xfrm>
            <a:custGeom>
              <a:avLst/>
              <a:gdLst>
                <a:gd name="connsiteX0" fmla="*/ 0 w 90941"/>
                <a:gd name="connsiteY0" fmla="*/ 0 h 230385"/>
                <a:gd name="connsiteX1" fmla="*/ 90942 w 90941"/>
                <a:gd name="connsiteY1" fmla="*/ 0 h 230385"/>
                <a:gd name="connsiteX2" fmla="*/ 90942 w 90941"/>
                <a:gd name="connsiteY2" fmla="*/ 230385 h 230385"/>
                <a:gd name="connsiteX3" fmla="*/ 0 w 90941"/>
                <a:gd name="connsiteY3" fmla="*/ 230385 h 230385"/>
              </a:gdLst>
              <a:ahLst/>
              <a:cxnLst>
                <a:cxn ang="0">
                  <a:pos x="connsiteX0" y="connsiteY0"/>
                </a:cxn>
                <a:cxn ang="0">
                  <a:pos x="connsiteX1" y="connsiteY1"/>
                </a:cxn>
                <a:cxn ang="0">
                  <a:pos x="connsiteX2" y="connsiteY2"/>
                </a:cxn>
                <a:cxn ang="0">
                  <a:pos x="connsiteX3" y="connsiteY3"/>
                </a:cxn>
              </a:cxnLst>
              <a:rect l="l" t="t" r="r" b="b"/>
              <a:pathLst>
                <a:path w="90941" h="230385">
                  <a:moveTo>
                    <a:pt x="0" y="0"/>
                  </a:moveTo>
                  <a:lnTo>
                    <a:pt x="90942" y="0"/>
                  </a:lnTo>
                  <a:lnTo>
                    <a:pt x="90942" y="230385"/>
                  </a:lnTo>
                  <a:lnTo>
                    <a:pt x="0" y="23038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43" name="Freeform: Shape 142">
              <a:extLst>
                <a:ext uri="{FF2B5EF4-FFF2-40B4-BE49-F238E27FC236}">
                  <a16:creationId xmlns:a16="http://schemas.microsoft.com/office/drawing/2014/main" id="{174E064D-D87D-CC2A-9D00-36969FBE6E7E}"/>
                </a:ext>
              </a:extLst>
            </p:cNvPr>
            <p:cNvSpPr/>
            <p:nvPr/>
          </p:nvSpPr>
          <p:spPr>
            <a:xfrm>
              <a:off x="8605468" y="5726111"/>
              <a:ext cx="90941" cy="121255"/>
            </a:xfrm>
            <a:custGeom>
              <a:avLst/>
              <a:gdLst>
                <a:gd name="connsiteX0" fmla="*/ 0 w 90941"/>
                <a:gd name="connsiteY0" fmla="*/ 0 h 121255"/>
                <a:gd name="connsiteX1" fmla="*/ 90942 w 90941"/>
                <a:gd name="connsiteY1" fmla="*/ 0 h 121255"/>
                <a:gd name="connsiteX2" fmla="*/ 90942 w 90941"/>
                <a:gd name="connsiteY2" fmla="*/ 121255 h 121255"/>
                <a:gd name="connsiteX3" fmla="*/ 0 w 90941"/>
                <a:gd name="connsiteY3" fmla="*/ 121255 h 121255"/>
              </a:gdLst>
              <a:ahLst/>
              <a:cxnLst>
                <a:cxn ang="0">
                  <a:pos x="connsiteX0" y="connsiteY0"/>
                </a:cxn>
                <a:cxn ang="0">
                  <a:pos x="connsiteX1" y="connsiteY1"/>
                </a:cxn>
                <a:cxn ang="0">
                  <a:pos x="connsiteX2" y="connsiteY2"/>
                </a:cxn>
                <a:cxn ang="0">
                  <a:pos x="connsiteX3" y="connsiteY3"/>
                </a:cxn>
              </a:cxnLst>
              <a:rect l="l" t="t" r="r" b="b"/>
              <a:pathLst>
                <a:path w="90941" h="121255">
                  <a:moveTo>
                    <a:pt x="0" y="0"/>
                  </a:moveTo>
                  <a:lnTo>
                    <a:pt x="90942" y="0"/>
                  </a:lnTo>
                  <a:lnTo>
                    <a:pt x="90942" y="121255"/>
                  </a:lnTo>
                  <a:lnTo>
                    <a:pt x="0" y="12125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44" name="Freeform: Shape 143">
              <a:extLst>
                <a:ext uri="{FF2B5EF4-FFF2-40B4-BE49-F238E27FC236}">
                  <a16:creationId xmlns:a16="http://schemas.microsoft.com/office/drawing/2014/main" id="{706BC004-D990-D094-E059-9C48750D41BB}"/>
                </a:ext>
              </a:extLst>
            </p:cNvPr>
            <p:cNvSpPr/>
            <p:nvPr/>
          </p:nvSpPr>
          <p:spPr>
            <a:xfrm>
              <a:off x="8493853" y="5493240"/>
              <a:ext cx="196494" cy="196494"/>
            </a:xfrm>
            <a:custGeom>
              <a:avLst/>
              <a:gdLst>
                <a:gd name="connsiteX0" fmla="*/ 163392 w 196494"/>
                <a:gd name="connsiteY0" fmla="*/ 146295 h 196494"/>
                <a:gd name="connsiteX1" fmla="*/ 17097 w 196494"/>
                <a:gd name="connsiteY1" fmla="*/ 0 h 196494"/>
                <a:gd name="connsiteX2" fmla="*/ 0 w 196494"/>
                <a:gd name="connsiteY2" fmla="*/ 17097 h 196494"/>
                <a:gd name="connsiteX3" fmla="*/ 146295 w 196494"/>
                <a:gd name="connsiteY3" fmla="*/ 163392 h 196494"/>
                <a:gd name="connsiteX4" fmla="*/ 113192 w 196494"/>
                <a:gd name="connsiteY4" fmla="*/ 196494 h 196494"/>
                <a:gd name="connsiteX5" fmla="*/ 196494 w 196494"/>
                <a:gd name="connsiteY5" fmla="*/ 196494 h 196494"/>
                <a:gd name="connsiteX6" fmla="*/ 196494 w 196494"/>
                <a:gd name="connsiteY6" fmla="*/ 113192 h 196494"/>
                <a:gd name="connsiteX7" fmla="*/ 163392 w 196494"/>
                <a:gd name="connsiteY7" fmla="*/ 146295 h 19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494" h="196494">
                  <a:moveTo>
                    <a:pt x="163392" y="146295"/>
                  </a:moveTo>
                  <a:lnTo>
                    <a:pt x="17097" y="0"/>
                  </a:lnTo>
                  <a:lnTo>
                    <a:pt x="0" y="17097"/>
                  </a:lnTo>
                  <a:lnTo>
                    <a:pt x="146295" y="163392"/>
                  </a:lnTo>
                  <a:lnTo>
                    <a:pt x="113192" y="196494"/>
                  </a:lnTo>
                  <a:lnTo>
                    <a:pt x="196494" y="196494"/>
                  </a:lnTo>
                  <a:lnTo>
                    <a:pt x="196494" y="113192"/>
                  </a:lnTo>
                  <a:lnTo>
                    <a:pt x="163392" y="14629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spTree>
    <p:extLst>
      <p:ext uri="{BB962C8B-B14F-4D97-AF65-F5344CB8AC3E}">
        <p14:creationId xmlns:p14="http://schemas.microsoft.com/office/powerpoint/2010/main" val="2511482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D9AE-3158-7124-7C62-47596B23B8A5}"/>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99C2458D-26D9-AF1C-A95A-C5BDEB070E9C}"/>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147" name="Freeform: Shape 146">
            <a:extLst>
              <a:ext uri="{FF2B5EF4-FFF2-40B4-BE49-F238E27FC236}">
                <a16:creationId xmlns:a16="http://schemas.microsoft.com/office/drawing/2014/main" id="{D00B0E09-9AFA-A9AE-2446-EA65D770D57A}"/>
              </a:ext>
            </a:extLst>
          </p:cNvPr>
          <p:cNvSpPr/>
          <p:nvPr/>
        </p:nvSpPr>
        <p:spPr>
          <a:xfrm>
            <a:off x="1687496" y="3980920"/>
            <a:ext cx="2595414" cy="1435336"/>
          </a:xfrm>
          <a:custGeom>
            <a:avLst/>
            <a:gdLst>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421942 w 3462355"/>
              <a:gd name="connsiteY4" fmla="*/ 952021 h 1914779"/>
              <a:gd name="connsiteX5" fmla="*/ 1448190 w 3462355"/>
              <a:gd name="connsiteY5" fmla="*/ 974798 h 1914779"/>
              <a:gd name="connsiteX6" fmla="*/ 1435120 w 3462355"/>
              <a:gd name="connsiteY6" fmla="*/ 961631 h 1914779"/>
              <a:gd name="connsiteX7" fmla="*/ 1435190 w 3462355"/>
              <a:gd name="connsiteY7" fmla="*/ 961673 h 1914779"/>
              <a:gd name="connsiteX8" fmla="*/ 1448258 w 3462355"/>
              <a:gd name="connsiteY8" fmla="*/ 974765 h 1914779"/>
              <a:gd name="connsiteX9" fmla="*/ 1206695 w 3462355"/>
              <a:gd name="connsiteY9" fmla="*/ 1204348 h 1914779"/>
              <a:gd name="connsiteX10" fmla="*/ 1313130 w 3462355"/>
              <a:gd name="connsiteY10" fmla="*/ 1486600 h 1914779"/>
              <a:gd name="connsiteX11" fmla="*/ 884985 w 3462355"/>
              <a:gd name="connsiteY11" fmla="*/ 1914779 h 1914779"/>
              <a:gd name="connsiteX12" fmla="*/ 456839 w 3462355"/>
              <a:gd name="connsiteY12" fmla="*/ 1486600 h 1914779"/>
              <a:gd name="connsiteX13" fmla="*/ 884985 w 3462355"/>
              <a:gd name="connsiteY13" fmla="*/ 1058420 h 1914779"/>
              <a:gd name="connsiteX14" fmla="*/ 1182811 w 3462355"/>
              <a:gd name="connsiteY14" fmla="*/ 1179202 h 1914779"/>
              <a:gd name="connsiteX15" fmla="*/ 2303806 w 3462355"/>
              <a:gd name="connsiteY15" fmla="*/ 851373 h 1914779"/>
              <a:gd name="connsiteX16" fmla="*/ 2297702 w 3462355"/>
              <a:gd name="connsiteY16" fmla="*/ 860060 h 1914779"/>
              <a:gd name="connsiteX17" fmla="*/ 2297329 w 3462355"/>
              <a:gd name="connsiteY17" fmla="*/ 859135 h 1914779"/>
              <a:gd name="connsiteX18" fmla="*/ 3033087 w 3462355"/>
              <a:gd name="connsiteY18" fmla="*/ 631528 h 1914779"/>
              <a:gd name="connsiteX19" fmla="*/ 3462355 w 3462355"/>
              <a:gd name="connsiteY19" fmla="*/ 1059608 h 1914779"/>
              <a:gd name="connsiteX20" fmla="*/ 3034209 w 3462355"/>
              <a:gd name="connsiteY20" fmla="*/ 1487788 h 1914779"/>
              <a:gd name="connsiteX21" fmla="*/ 2606063 w 3462355"/>
              <a:gd name="connsiteY21" fmla="*/ 1059608 h 1914779"/>
              <a:gd name="connsiteX22" fmla="*/ 2644374 w 3462355"/>
              <a:gd name="connsiteY22" fmla="*/ 882694 h 1914779"/>
              <a:gd name="connsiteX23" fmla="*/ 2383575 w 3462355"/>
              <a:gd name="connsiteY23" fmla="*/ 737954 h 1914779"/>
              <a:gd name="connsiteX24" fmla="*/ 2337491 w 3462355"/>
              <a:gd name="connsiteY24" fmla="*/ 811006 h 1914779"/>
              <a:gd name="connsiteX25" fmla="*/ 2303806 w 3462355"/>
              <a:gd name="connsiteY25" fmla="*/ 851373 h 1914779"/>
              <a:gd name="connsiteX26" fmla="*/ 2383514 w 3462355"/>
              <a:gd name="connsiteY26" fmla="*/ 737926 h 1914779"/>
              <a:gd name="connsiteX27" fmla="*/ 2399137 w 3462355"/>
              <a:gd name="connsiteY27" fmla="*/ 705725 h 1914779"/>
              <a:gd name="connsiteX28" fmla="*/ 2399148 w 3462355"/>
              <a:gd name="connsiteY28" fmla="*/ 705693 h 1914779"/>
              <a:gd name="connsiteX29" fmla="*/ 2659922 w 3462355"/>
              <a:gd name="connsiteY29" fmla="*/ 850320 h 1914779"/>
              <a:gd name="connsiteX30" fmla="*/ 3033087 w 3462355"/>
              <a:gd name="connsiteY30" fmla="*/ 631528 h 1914779"/>
              <a:gd name="connsiteX31" fmla="*/ 2446121 w 3462355"/>
              <a:gd name="connsiteY31" fmla="*/ 562483 h 1914779"/>
              <a:gd name="connsiteX32" fmla="*/ 2445008 w 3462355"/>
              <a:gd name="connsiteY32" fmla="*/ 572313 h 1914779"/>
              <a:gd name="connsiteX33" fmla="*/ 2435513 w 3462355"/>
              <a:gd name="connsiteY33" fmla="*/ 599910 h 1914779"/>
              <a:gd name="connsiteX34" fmla="*/ 2444995 w 3462355"/>
              <a:gd name="connsiteY34" fmla="*/ 572330 h 1914779"/>
              <a:gd name="connsiteX35" fmla="*/ 2446110 w 3462355"/>
              <a:gd name="connsiteY35" fmla="*/ 562495 h 1914779"/>
              <a:gd name="connsiteX36" fmla="*/ 1216751 w 3462355"/>
              <a:gd name="connsiteY36" fmla="*/ 382312 h 1914779"/>
              <a:gd name="connsiteX37" fmla="*/ 1216752 w 3462355"/>
              <a:gd name="connsiteY37" fmla="*/ 382319 h 1914779"/>
              <a:gd name="connsiteX38" fmla="*/ 1212786 w 3462355"/>
              <a:gd name="connsiteY38" fmla="*/ 429368 h 1914779"/>
              <a:gd name="connsiteX39" fmla="*/ 1215578 w 3462355"/>
              <a:gd name="connsiteY39" fmla="*/ 462494 h 1914779"/>
              <a:gd name="connsiteX40" fmla="*/ 1215578 w 3462355"/>
              <a:gd name="connsiteY40" fmla="*/ 462500 h 1914779"/>
              <a:gd name="connsiteX41" fmla="*/ 1212781 w 3462355"/>
              <a:gd name="connsiteY41" fmla="*/ 429353 h 1914779"/>
              <a:gd name="connsiteX42" fmla="*/ 1181719 w 3462355"/>
              <a:gd name="connsiteY42" fmla="*/ 251505 h 1914779"/>
              <a:gd name="connsiteX43" fmla="*/ 1157663 w 3462355"/>
              <a:gd name="connsiteY43" fmla="*/ 410145 h 1914779"/>
              <a:gd name="connsiteX44" fmla="*/ 1164902 w 3462355"/>
              <a:gd name="connsiteY44" fmla="*/ 329258 h 1914779"/>
              <a:gd name="connsiteX45" fmla="*/ 1187699 w 3462355"/>
              <a:gd name="connsiteY45" fmla="*/ 237054 h 1914779"/>
              <a:gd name="connsiteX46" fmla="*/ 1187705 w 3462355"/>
              <a:gd name="connsiteY46" fmla="*/ 237083 h 1914779"/>
              <a:gd name="connsiteX47" fmla="*/ 1181752 w 3462355"/>
              <a:gd name="connsiteY47" fmla="*/ 251350 h 1914779"/>
              <a:gd name="connsiteX48" fmla="*/ 1181719 w 3462355"/>
              <a:gd name="connsiteY48" fmla="*/ 251505 h 1914779"/>
              <a:gd name="connsiteX49" fmla="*/ 1181747 w 3462355"/>
              <a:gd name="connsiteY49" fmla="*/ 251320 h 1914779"/>
              <a:gd name="connsiteX50" fmla="*/ 428146 w 3462355"/>
              <a:gd name="connsiteY50" fmla="*/ 0 h 1914779"/>
              <a:gd name="connsiteX51" fmla="*/ 856292 w 3462355"/>
              <a:gd name="connsiteY51" fmla="*/ 410261 h 1914779"/>
              <a:gd name="connsiteX52" fmla="*/ 1157645 w 3462355"/>
              <a:gd name="connsiteY52" fmla="*/ 410261 h 1914779"/>
              <a:gd name="connsiteX53" fmla="*/ 1157663 w 3462355"/>
              <a:gd name="connsiteY53" fmla="*/ 410145 h 1914779"/>
              <a:gd name="connsiteX54" fmla="*/ 1157647 w 3462355"/>
              <a:gd name="connsiteY54" fmla="*/ 410319 h 1914779"/>
              <a:gd name="connsiteX55" fmla="*/ 1158849 w 3462355"/>
              <a:gd name="connsiteY55" fmla="*/ 446039 h 1914779"/>
              <a:gd name="connsiteX56" fmla="*/ 1158858 w 3462355"/>
              <a:gd name="connsiteY56" fmla="*/ 446099 h 1914779"/>
              <a:gd name="connsiteX57" fmla="*/ 856292 w 3462355"/>
              <a:gd name="connsiteY57" fmla="*/ 446099 h 1914779"/>
              <a:gd name="connsiteX58" fmla="*/ 428146 w 3462355"/>
              <a:gd name="connsiteY58" fmla="*/ 856359 h 1914779"/>
              <a:gd name="connsiteX59" fmla="*/ 0 w 3462355"/>
              <a:gd name="connsiteY59" fmla="*/ 428180 h 1914779"/>
              <a:gd name="connsiteX60" fmla="*/ 428146 w 3462355"/>
              <a:gd name="connsiteY60"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7699 w 3462355"/>
              <a:gd name="connsiteY50" fmla="*/ 237054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1181747 w 3462355"/>
              <a:gd name="connsiteY54" fmla="*/ 251320 h 1914779"/>
              <a:gd name="connsiteX55" fmla="*/ 1187699 w 3462355"/>
              <a:gd name="connsiteY55" fmla="*/ 237054 h 1914779"/>
              <a:gd name="connsiteX56" fmla="*/ 428146 w 3462355"/>
              <a:gd name="connsiteY56" fmla="*/ 0 h 1914779"/>
              <a:gd name="connsiteX57" fmla="*/ 856292 w 3462355"/>
              <a:gd name="connsiteY57" fmla="*/ 410261 h 1914779"/>
              <a:gd name="connsiteX58" fmla="*/ 1157645 w 3462355"/>
              <a:gd name="connsiteY58" fmla="*/ 410261 h 1914779"/>
              <a:gd name="connsiteX59" fmla="*/ 1157663 w 3462355"/>
              <a:gd name="connsiteY59" fmla="*/ 410145 h 1914779"/>
              <a:gd name="connsiteX60" fmla="*/ 1157647 w 3462355"/>
              <a:gd name="connsiteY60" fmla="*/ 410319 h 1914779"/>
              <a:gd name="connsiteX61" fmla="*/ 1158849 w 3462355"/>
              <a:gd name="connsiteY61" fmla="*/ 446039 h 1914779"/>
              <a:gd name="connsiteX62" fmla="*/ 1158858 w 3462355"/>
              <a:gd name="connsiteY62" fmla="*/ 446099 h 1914779"/>
              <a:gd name="connsiteX63" fmla="*/ 856292 w 3462355"/>
              <a:gd name="connsiteY63" fmla="*/ 446099 h 1914779"/>
              <a:gd name="connsiteX64" fmla="*/ 428146 w 3462355"/>
              <a:gd name="connsiteY64" fmla="*/ 856359 h 1914779"/>
              <a:gd name="connsiteX65" fmla="*/ 0 w 3462355"/>
              <a:gd name="connsiteY65" fmla="*/ 428180 h 1914779"/>
              <a:gd name="connsiteX66" fmla="*/ 428146 w 3462355"/>
              <a:gd name="connsiteY66"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47 w 3462355"/>
              <a:gd name="connsiteY50" fmla="*/ 251320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1181747 w 3462355"/>
              <a:gd name="connsiteY54" fmla="*/ 251320 h 1914779"/>
              <a:gd name="connsiteX55" fmla="*/ 428146 w 3462355"/>
              <a:gd name="connsiteY55" fmla="*/ 0 h 1914779"/>
              <a:gd name="connsiteX56" fmla="*/ 856292 w 3462355"/>
              <a:gd name="connsiteY56" fmla="*/ 410261 h 1914779"/>
              <a:gd name="connsiteX57" fmla="*/ 1157645 w 3462355"/>
              <a:gd name="connsiteY57" fmla="*/ 410261 h 1914779"/>
              <a:gd name="connsiteX58" fmla="*/ 1157663 w 3462355"/>
              <a:gd name="connsiteY58" fmla="*/ 410145 h 1914779"/>
              <a:gd name="connsiteX59" fmla="*/ 1157647 w 3462355"/>
              <a:gd name="connsiteY59" fmla="*/ 410319 h 1914779"/>
              <a:gd name="connsiteX60" fmla="*/ 1158849 w 3462355"/>
              <a:gd name="connsiteY60" fmla="*/ 446039 h 1914779"/>
              <a:gd name="connsiteX61" fmla="*/ 1158858 w 3462355"/>
              <a:gd name="connsiteY61" fmla="*/ 446099 h 1914779"/>
              <a:gd name="connsiteX62" fmla="*/ 856292 w 3462355"/>
              <a:gd name="connsiteY62" fmla="*/ 446099 h 1914779"/>
              <a:gd name="connsiteX63" fmla="*/ 428146 w 3462355"/>
              <a:gd name="connsiteY63" fmla="*/ 856359 h 1914779"/>
              <a:gd name="connsiteX64" fmla="*/ 0 w 3462355"/>
              <a:gd name="connsiteY64" fmla="*/ 428180 h 1914779"/>
              <a:gd name="connsiteX65" fmla="*/ 428146 w 3462355"/>
              <a:gd name="connsiteY65"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19 w 3462355"/>
              <a:gd name="connsiteY50" fmla="*/ 251505 h 1914779"/>
              <a:gd name="connsiteX51" fmla="*/ 1187705 w 3462355"/>
              <a:gd name="connsiteY51" fmla="*/ 237083 h 1914779"/>
              <a:gd name="connsiteX52" fmla="*/ 1181752 w 3462355"/>
              <a:gd name="connsiteY52" fmla="*/ 251350 h 1914779"/>
              <a:gd name="connsiteX53" fmla="*/ 1181719 w 3462355"/>
              <a:gd name="connsiteY53" fmla="*/ 251505 h 1914779"/>
              <a:gd name="connsiteX54" fmla="*/ 428146 w 3462355"/>
              <a:gd name="connsiteY54" fmla="*/ 0 h 1914779"/>
              <a:gd name="connsiteX55" fmla="*/ 856292 w 3462355"/>
              <a:gd name="connsiteY55" fmla="*/ 410261 h 1914779"/>
              <a:gd name="connsiteX56" fmla="*/ 1157645 w 3462355"/>
              <a:gd name="connsiteY56" fmla="*/ 410261 h 1914779"/>
              <a:gd name="connsiteX57" fmla="*/ 1157663 w 3462355"/>
              <a:gd name="connsiteY57" fmla="*/ 410145 h 1914779"/>
              <a:gd name="connsiteX58" fmla="*/ 1157647 w 3462355"/>
              <a:gd name="connsiteY58" fmla="*/ 410319 h 1914779"/>
              <a:gd name="connsiteX59" fmla="*/ 1158849 w 3462355"/>
              <a:gd name="connsiteY59" fmla="*/ 446039 h 1914779"/>
              <a:gd name="connsiteX60" fmla="*/ 1158858 w 3462355"/>
              <a:gd name="connsiteY60" fmla="*/ 446099 h 1914779"/>
              <a:gd name="connsiteX61" fmla="*/ 856292 w 3462355"/>
              <a:gd name="connsiteY61" fmla="*/ 446099 h 1914779"/>
              <a:gd name="connsiteX62" fmla="*/ 428146 w 3462355"/>
              <a:gd name="connsiteY62" fmla="*/ 856359 h 1914779"/>
              <a:gd name="connsiteX63" fmla="*/ 0 w 3462355"/>
              <a:gd name="connsiteY63" fmla="*/ 428180 h 1914779"/>
              <a:gd name="connsiteX64" fmla="*/ 428146 w 3462355"/>
              <a:gd name="connsiteY64"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1181752 w 3462355"/>
              <a:gd name="connsiteY50" fmla="*/ 251350 h 1914779"/>
              <a:gd name="connsiteX51" fmla="*/ 1187705 w 3462355"/>
              <a:gd name="connsiteY51" fmla="*/ 237083 h 1914779"/>
              <a:gd name="connsiteX52" fmla="*/ 1181752 w 3462355"/>
              <a:gd name="connsiteY52" fmla="*/ 251350 h 1914779"/>
              <a:gd name="connsiteX53" fmla="*/ 428146 w 3462355"/>
              <a:gd name="connsiteY53" fmla="*/ 0 h 1914779"/>
              <a:gd name="connsiteX54" fmla="*/ 856292 w 3462355"/>
              <a:gd name="connsiteY54" fmla="*/ 410261 h 1914779"/>
              <a:gd name="connsiteX55" fmla="*/ 1157645 w 3462355"/>
              <a:gd name="connsiteY55" fmla="*/ 410261 h 1914779"/>
              <a:gd name="connsiteX56" fmla="*/ 1157663 w 3462355"/>
              <a:gd name="connsiteY56" fmla="*/ 410145 h 1914779"/>
              <a:gd name="connsiteX57" fmla="*/ 1157647 w 3462355"/>
              <a:gd name="connsiteY57" fmla="*/ 410319 h 1914779"/>
              <a:gd name="connsiteX58" fmla="*/ 1158849 w 3462355"/>
              <a:gd name="connsiteY58" fmla="*/ 446039 h 1914779"/>
              <a:gd name="connsiteX59" fmla="*/ 1158858 w 3462355"/>
              <a:gd name="connsiteY59" fmla="*/ 446099 h 1914779"/>
              <a:gd name="connsiteX60" fmla="*/ 856292 w 3462355"/>
              <a:gd name="connsiteY60" fmla="*/ 446099 h 1914779"/>
              <a:gd name="connsiteX61" fmla="*/ 428146 w 3462355"/>
              <a:gd name="connsiteY61" fmla="*/ 856359 h 1914779"/>
              <a:gd name="connsiteX62" fmla="*/ 0 w 3462355"/>
              <a:gd name="connsiteY62" fmla="*/ 428180 h 1914779"/>
              <a:gd name="connsiteX63" fmla="*/ 428146 w 3462355"/>
              <a:gd name="connsiteY63"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81719 w 3462355"/>
              <a:gd name="connsiteY46" fmla="*/ 251505 h 1914779"/>
              <a:gd name="connsiteX47" fmla="*/ 1157663 w 3462355"/>
              <a:gd name="connsiteY47" fmla="*/ 410145 h 1914779"/>
              <a:gd name="connsiteX48" fmla="*/ 1164902 w 3462355"/>
              <a:gd name="connsiteY48" fmla="*/ 329258 h 1914779"/>
              <a:gd name="connsiteX49" fmla="*/ 1181719 w 3462355"/>
              <a:gd name="connsiteY49" fmla="*/ 251505 h 1914779"/>
              <a:gd name="connsiteX50" fmla="*/ 428146 w 3462355"/>
              <a:gd name="connsiteY50" fmla="*/ 0 h 1914779"/>
              <a:gd name="connsiteX51" fmla="*/ 856292 w 3462355"/>
              <a:gd name="connsiteY51" fmla="*/ 410261 h 1914779"/>
              <a:gd name="connsiteX52" fmla="*/ 1157645 w 3462355"/>
              <a:gd name="connsiteY52" fmla="*/ 410261 h 1914779"/>
              <a:gd name="connsiteX53" fmla="*/ 1157663 w 3462355"/>
              <a:gd name="connsiteY53" fmla="*/ 410145 h 1914779"/>
              <a:gd name="connsiteX54" fmla="*/ 1157647 w 3462355"/>
              <a:gd name="connsiteY54" fmla="*/ 410319 h 1914779"/>
              <a:gd name="connsiteX55" fmla="*/ 1158849 w 3462355"/>
              <a:gd name="connsiteY55" fmla="*/ 446039 h 1914779"/>
              <a:gd name="connsiteX56" fmla="*/ 1158858 w 3462355"/>
              <a:gd name="connsiteY56" fmla="*/ 446099 h 1914779"/>
              <a:gd name="connsiteX57" fmla="*/ 856292 w 3462355"/>
              <a:gd name="connsiteY57" fmla="*/ 446099 h 1914779"/>
              <a:gd name="connsiteX58" fmla="*/ 428146 w 3462355"/>
              <a:gd name="connsiteY58" fmla="*/ 856359 h 1914779"/>
              <a:gd name="connsiteX59" fmla="*/ 0 w 3462355"/>
              <a:gd name="connsiteY59" fmla="*/ 428180 h 1914779"/>
              <a:gd name="connsiteX60" fmla="*/ 428146 w 3462355"/>
              <a:gd name="connsiteY60"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1164902 w 3462355"/>
              <a:gd name="connsiteY46" fmla="*/ 329258 h 1914779"/>
              <a:gd name="connsiteX47" fmla="*/ 1157663 w 3462355"/>
              <a:gd name="connsiteY47" fmla="*/ 410145 h 1914779"/>
              <a:gd name="connsiteX48" fmla="*/ 1164902 w 3462355"/>
              <a:gd name="connsiteY48" fmla="*/ 329258 h 1914779"/>
              <a:gd name="connsiteX49" fmla="*/ 428146 w 3462355"/>
              <a:gd name="connsiteY49" fmla="*/ 0 h 1914779"/>
              <a:gd name="connsiteX50" fmla="*/ 856292 w 3462355"/>
              <a:gd name="connsiteY50" fmla="*/ 410261 h 1914779"/>
              <a:gd name="connsiteX51" fmla="*/ 1157645 w 3462355"/>
              <a:gd name="connsiteY51" fmla="*/ 410261 h 1914779"/>
              <a:gd name="connsiteX52" fmla="*/ 1157663 w 3462355"/>
              <a:gd name="connsiteY52" fmla="*/ 410145 h 1914779"/>
              <a:gd name="connsiteX53" fmla="*/ 1157647 w 3462355"/>
              <a:gd name="connsiteY53" fmla="*/ 410319 h 1914779"/>
              <a:gd name="connsiteX54" fmla="*/ 1158849 w 3462355"/>
              <a:gd name="connsiteY54" fmla="*/ 446039 h 1914779"/>
              <a:gd name="connsiteX55" fmla="*/ 1158858 w 3462355"/>
              <a:gd name="connsiteY55" fmla="*/ 446099 h 1914779"/>
              <a:gd name="connsiteX56" fmla="*/ 856292 w 3462355"/>
              <a:gd name="connsiteY56" fmla="*/ 446099 h 1914779"/>
              <a:gd name="connsiteX57" fmla="*/ 428146 w 3462355"/>
              <a:gd name="connsiteY57" fmla="*/ 856359 h 1914779"/>
              <a:gd name="connsiteX58" fmla="*/ 0 w 3462355"/>
              <a:gd name="connsiteY58" fmla="*/ 428180 h 1914779"/>
              <a:gd name="connsiteX59" fmla="*/ 428146 w 3462355"/>
              <a:gd name="connsiteY59"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6751 w 3462355"/>
              <a:gd name="connsiteY40" fmla="*/ 382312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1216751 w 3462355"/>
              <a:gd name="connsiteY45" fmla="*/ 382312 h 1914779"/>
              <a:gd name="connsiteX46" fmla="*/ 428146 w 3462355"/>
              <a:gd name="connsiteY46" fmla="*/ 0 h 1914779"/>
              <a:gd name="connsiteX47" fmla="*/ 856292 w 3462355"/>
              <a:gd name="connsiteY47" fmla="*/ 410261 h 1914779"/>
              <a:gd name="connsiteX48" fmla="*/ 1157645 w 3462355"/>
              <a:gd name="connsiteY48" fmla="*/ 410261 h 1914779"/>
              <a:gd name="connsiteX49" fmla="*/ 1157663 w 3462355"/>
              <a:gd name="connsiteY49" fmla="*/ 410145 h 1914779"/>
              <a:gd name="connsiteX50" fmla="*/ 1157647 w 3462355"/>
              <a:gd name="connsiteY50" fmla="*/ 410319 h 1914779"/>
              <a:gd name="connsiteX51" fmla="*/ 1158849 w 3462355"/>
              <a:gd name="connsiteY51" fmla="*/ 446039 h 1914779"/>
              <a:gd name="connsiteX52" fmla="*/ 1158858 w 3462355"/>
              <a:gd name="connsiteY52" fmla="*/ 446099 h 1914779"/>
              <a:gd name="connsiteX53" fmla="*/ 856292 w 3462355"/>
              <a:gd name="connsiteY53" fmla="*/ 446099 h 1914779"/>
              <a:gd name="connsiteX54" fmla="*/ 428146 w 3462355"/>
              <a:gd name="connsiteY54" fmla="*/ 856359 h 1914779"/>
              <a:gd name="connsiteX55" fmla="*/ 0 w 3462355"/>
              <a:gd name="connsiteY55" fmla="*/ 428180 h 1914779"/>
              <a:gd name="connsiteX56" fmla="*/ 428146 w 3462355"/>
              <a:gd name="connsiteY56"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2781 w 3462355"/>
              <a:gd name="connsiteY40" fmla="*/ 429353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1212781 w 3462355"/>
              <a:gd name="connsiteY44" fmla="*/ 429353 h 1914779"/>
              <a:gd name="connsiteX45" fmla="*/ 428146 w 3462355"/>
              <a:gd name="connsiteY45" fmla="*/ 0 h 1914779"/>
              <a:gd name="connsiteX46" fmla="*/ 856292 w 3462355"/>
              <a:gd name="connsiteY46" fmla="*/ 410261 h 1914779"/>
              <a:gd name="connsiteX47" fmla="*/ 1157645 w 3462355"/>
              <a:gd name="connsiteY47" fmla="*/ 410261 h 1914779"/>
              <a:gd name="connsiteX48" fmla="*/ 1157663 w 3462355"/>
              <a:gd name="connsiteY48" fmla="*/ 410145 h 1914779"/>
              <a:gd name="connsiteX49" fmla="*/ 1157647 w 3462355"/>
              <a:gd name="connsiteY49" fmla="*/ 410319 h 1914779"/>
              <a:gd name="connsiteX50" fmla="*/ 1158849 w 3462355"/>
              <a:gd name="connsiteY50" fmla="*/ 446039 h 1914779"/>
              <a:gd name="connsiteX51" fmla="*/ 1158858 w 3462355"/>
              <a:gd name="connsiteY51" fmla="*/ 446099 h 1914779"/>
              <a:gd name="connsiteX52" fmla="*/ 856292 w 3462355"/>
              <a:gd name="connsiteY52" fmla="*/ 446099 h 1914779"/>
              <a:gd name="connsiteX53" fmla="*/ 428146 w 3462355"/>
              <a:gd name="connsiteY53" fmla="*/ 856359 h 1914779"/>
              <a:gd name="connsiteX54" fmla="*/ 0 w 3462355"/>
              <a:gd name="connsiteY54" fmla="*/ 428180 h 1914779"/>
              <a:gd name="connsiteX55" fmla="*/ 428146 w 3462355"/>
              <a:gd name="connsiteY55"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5578 w 3462355"/>
              <a:gd name="connsiteY40" fmla="*/ 462494 h 1914779"/>
              <a:gd name="connsiteX41" fmla="*/ 1216752 w 3462355"/>
              <a:gd name="connsiteY41" fmla="*/ 382319 h 1914779"/>
              <a:gd name="connsiteX42" fmla="*/ 1212786 w 3462355"/>
              <a:gd name="connsiteY42" fmla="*/ 429368 h 1914779"/>
              <a:gd name="connsiteX43" fmla="*/ 1215578 w 3462355"/>
              <a:gd name="connsiteY43" fmla="*/ 462494 h 1914779"/>
              <a:gd name="connsiteX44" fmla="*/ 428146 w 3462355"/>
              <a:gd name="connsiteY44" fmla="*/ 0 h 1914779"/>
              <a:gd name="connsiteX45" fmla="*/ 856292 w 3462355"/>
              <a:gd name="connsiteY45" fmla="*/ 410261 h 1914779"/>
              <a:gd name="connsiteX46" fmla="*/ 1157645 w 3462355"/>
              <a:gd name="connsiteY46" fmla="*/ 410261 h 1914779"/>
              <a:gd name="connsiteX47" fmla="*/ 1157663 w 3462355"/>
              <a:gd name="connsiteY47" fmla="*/ 410145 h 1914779"/>
              <a:gd name="connsiteX48" fmla="*/ 1157647 w 3462355"/>
              <a:gd name="connsiteY48" fmla="*/ 410319 h 1914779"/>
              <a:gd name="connsiteX49" fmla="*/ 1158849 w 3462355"/>
              <a:gd name="connsiteY49" fmla="*/ 446039 h 1914779"/>
              <a:gd name="connsiteX50" fmla="*/ 1158858 w 3462355"/>
              <a:gd name="connsiteY50" fmla="*/ 446099 h 1914779"/>
              <a:gd name="connsiteX51" fmla="*/ 856292 w 3462355"/>
              <a:gd name="connsiteY51" fmla="*/ 446099 h 1914779"/>
              <a:gd name="connsiteX52" fmla="*/ 428146 w 3462355"/>
              <a:gd name="connsiteY52" fmla="*/ 856359 h 1914779"/>
              <a:gd name="connsiteX53" fmla="*/ 0 w 3462355"/>
              <a:gd name="connsiteY53" fmla="*/ 428180 h 1914779"/>
              <a:gd name="connsiteX54" fmla="*/ 428146 w 3462355"/>
              <a:gd name="connsiteY54"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1212786 w 3462355"/>
              <a:gd name="connsiteY40" fmla="*/ 429368 h 1914779"/>
              <a:gd name="connsiteX41" fmla="*/ 1216752 w 3462355"/>
              <a:gd name="connsiteY41" fmla="*/ 382319 h 1914779"/>
              <a:gd name="connsiteX42" fmla="*/ 1212786 w 3462355"/>
              <a:gd name="connsiteY42" fmla="*/ 429368 h 1914779"/>
              <a:gd name="connsiteX43" fmla="*/ 428146 w 3462355"/>
              <a:gd name="connsiteY43" fmla="*/ 0 h 1914779"/>
              <a:gd name="connsiteX44" fmla="*/ 856292 w 3462355"/>
              <a:gd name="connsiteY44" fmla="*/ 410261 h 1914779"/>
              <a:gd name="connsiteX45" fmla="*/ 1157645 w 3462355"/>
              <a:gd name="connsiteY45" fmla="*/ 410261 h 1914779"/>
              <a:gd name="connsiteX46" fmla="*/ 1157663 w 3462355"/>
              <a:gd name="connsiteY46" fmla="*/ 410145 h 1914779"/>
              <a:gd name="connsiteX47" fmla="*/ 1157647 w 3462355"/>
              <a:gd name="connsiteY47" fmla="*/ 410319 h 1914779"/>
              <a:gd name="connsiteX48" fmla="*/ 1158849 w 3462355"/>
              <a:gd name="connsiteY48" fmla="*/ 446039 h 1914779"/>
              <a:gd name="connsiteX49" fmla="*/ 1158858 w 3462355"/>
              <a:gd name="connsiteY49" fmla="*/ 446099 h 1914779"/>
              <a:gd name="connsiteX50" fmla="*/ 856292 w 3462355"/>
              <a:gd name="connsiteY50" fmla="*/ 446099 h 1914779"/>
              <a:gd name="connsiteX51" fmla="*/ 428146 w 3462355"/>
              <a:gd name="connsiteY51" fmla="*/ 856359 h 1914779"/>
              <a:gd name="connsiteX52" fmla="*/ 0 w 3462355"/>
              <a:gd name="connsiteY52" fmla="*/ 428180 h 1914779"/>
              <a:gd name="connsiteX53" fmla="*/ 428146 w 3462355"/>
              <a:gd name="connsiteY53" fmla="*/ 0 h 1914779"/>
              <a:gd name="connsiteX0" fmla="*/ 1816810 w 3462355"/>
              <a:gd name="connsiteY0" fmla="*/ 1079492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816810 w 3462355"/>
              <a:gd name="connsiteY4" fmla="*/ 1079492 h 1914779"/>
              <a:gd name="connsiteX5" fmla="*/ 1421942 w 3462355"/>
              <a:gd name="connsiteY5" fmla="*/ 952021 h 1914779"/>
              <a:gd name="connsiteX6" fmla="*/ 1448190 w 3462355"/>
              <a:gd name="connsiteY6" fmla="*/ 974798 h 1914779"/>
              <a:gd name="connsiteX7" fmla="*/ 1435120 w 3462355"/>
              <a:gd name="connsiteY7" fmla="*/ 961631 h 1914779"/>
              <a:gd name="connsiteX8" fmla="*/ 1435190 w 3462355"/>
              <a:gd name="connsiteY8" fmla="*/ 961673 h 1914779"/>
              <a:gd name="connsiteX9" fmla="*/ 1448258 w 3462355"/>
              <a:gd name="connsiteY9" fmla="*/ 974765 h 1914779"/>
              <a:gd name="connsiteX10" fmla="*/ 1206695 w 3462355"/>
              <a:gd name="connsiteY10" fmla="*/ 1204348 h 1914779"/>
              <a:gd name="connsiteX11" fmla="*/ 1313130 w 3462355"/>
              <a:gd name="connsiteY11" fmla="*/ 1486600 h 1914779"/>
              <a:gd name="connsiteX12" fmla="*/ 884985 w 3462355"/>
              <a:gd name="connsiteY12" fmla="*/ 1914779 h 1914779"/>
              <a:gd name="connsiteX13" fmla="*/ 456839 w 3462355"/>
              <a:gd name="connsiteY13" fmla="*/ 1486600 h 1914779"/>
              <a:gd name="connsiteX14" fmla="*/ 884985 w 3462355"/>
              <a:gd name="connsiteY14" fmla="*/ 1058420 h 1914779"/>
              <a:gd name="connsiteX15" fmla="*/ 1182811 w 3462355"/>
              <a:gd name="connsiteY15" fmla="*/ 1179202 h 1914779"/>
              <a:gd name="connsiteX16" fmla="*/ 1421942 w 3462355"/>
              <a:gd name="connsiteY16" fmla="*/ 952021 h 1914779"/>
              <a:gd name="connsiteX17" fmla="*/ 2303806 w 3462355"/>
              <a:gd name="connsiteY17" fmla="*/ 851373 h 1914779"/>
              <a:gd name="connsiteX18" fmla="*/ 2297702 w 3462355"/>
              <a:gd name="connsiteY18" fmla="*/ 860060 h 1914779"/>
              <a:gd name="connsiteX19" fmla="*/ 2297329 w 3462355"/>
              <a:gd name="connsiteY19" fmla="*/ 859135 h 1914779"/>
              <a:gd name="connsiteX20" fmla="*/ 2303806 w 3462355"/>
              <a:gd name="connsiteY20" fmla="*/ 851373 h 1914779"/>
              <a:gd name="connsiteX21" fmla="*/ 3033087 w 3462355"/>
              <a:gd name="connsiteY21" fmla="*/ 631528 h 1914779"/>
              <a:gd name="connsiteX22" fmla="*/ 3462355 w 3462355"/>
              <a:gd name="connsiteY22" fmla="*/ 1059608 h 1914779"/>
              <a:gd name="connsiteX23" fmla="*/ 3034209 w 3462355"/>
              <a:gd name="connsiteY23" fmla="*/ 1487788 h 1914779"/>
              <a:gd name="connsiteX24" fmla="*/ 2606063 w 3462355"/>
              <a:gd name="connsiteY24" fmla="*/ 1059608 h 1914779"/>
              <a:gd name="connsiteX25" fmla="*/ 2644374 w 3462355"/>
              <a:gd name="connsiteY25" fmla="*/ 882694 h 1914779"/>
              <a:gd name="connsiteX26" fmla="*/ 2383575 w 3462355"/>
              <a:gd name="connsiteY26" fmla="*/ 737954 h 1914779"/>
              <a:gd name="connsiteX27" fmla="*/ 2337491 w 3462355"/>
              <a:gd name="connsiteY27" fmla="*/ 811006 h 1914779"/>
              <a:gd name="connsiteX28" fmla="*/ 2303806 w 3462355"/>
              <a:gd name="connsiteY28" fmla="*/ 851373 h 1914779"/>
              <a:gd name="connsiteX29" fmla="*/ 2383514 w 3462355"/>
              <a:gd name="connsiteY29" fmla="*/ 737926 h 1914779"/>
              <a:gd name="connsiteX30" fmla="*/ 2399137 w 3462355"/>
              <a:gd name="connsiteY30" fmla="*/ 705725 h 1914779"/>
              <a:gd name="connsiteX31" fmla="*/ 2399148 w 3462355"/>
              <a:gd name="connsiteY31" fmla="*/ 705693 h 1914779"/>
              <a:gd name="connsiteX32" fmla="*/ 2659922 w 3462355"/>
              <a:gd name="connsiteY32" fmla="*/ 850320 h 1914779"/>
              <a:gd name="connsiteX33" fmla="*/ 3033087 w 3462355"/>
              <a:gd name="connsiteY33" fmla="*/ 631528 h 1914779"/>
              <a:gd name="connsiteX34" fmla="*/ 2446121 w 3462355"/>
              <a:gd name="connsiteY34" fmla="*/ 562483 h 1914779"/>
              <a:gd name="connsiteX35" fmla="*/ 2445008 w 3462355"/>
              <a:gd name="connsiteY35" fmla="*/ 572313 h 1914779"/>
              <a:gd name="connsiteX36" fmla="*/ 2435513 w 3462355"/>
              <a:gd name="connsiteY36" fmla="*/ 599910 h 1914779"/>
              <a:gd name="connsiteX37" fmla="*/ 2444995 w 3462355"/>
              <a:gd name="connsiteY37" fmla="*/ 572330 h 1914779"/>
              <a:gd name="connsiteX38" fmla="*/ 2446110 w 3462355"/>
              <a:gd name="connsiteY38" fmla="*/ 562495 h 1914779"/>
              <a:gd name="connsiteX39" fmla="*/ 2446121 w 3462355"/>
              <a:gd name="connsiteY39" fmla="*/ 562483 h 1914779"/>
              <a:gd name="connsiteX40" fmla="*/ 428146 w 3462355"/>
              <a:gd name="connsiteY40" fmla="*/ 0 h 1914779"/>
              <a:gd name="connsiteX41" fmla="*/ 856292 w 3462355"/>
              <a:gd name="connsiteY41" fmla="*/ 410261 h 1914779"/>
              <a:gd name="connsiteX42" fmla="*/ 1157645 w 3462355"/>
              <a:gd name="connsiteY42" fmla="*/ 410261 h 1914779"/>
              <a:gd name="connsiteX43" fmla="*/ 1157663 w 3462355"/>
              <a:gd name="connsiteY43" fmla="*/ 410145 h 1914779"/>
              <a:gd name="connsiteX44" fmla="*/ 1157647 w 3462355"/>
              <a:gd name="connsiteY44" fmla="*/ 410319 h 1914779"/>
              <a:gd name="connsiteX45" fmla="*/ 1158849 w 3462355"/>
              <a:gd name="connsiteY45" fmla="*/ 446039 h 1914779"/>
              <a:gd name="connsiteX46" fmla="*/ 1158858 w 3462355"/>
              <a:gd name="connsiteY46" fmla="*/ 446099 h 1914779"/>
              <a:gd name="connsiteX47" fmla="*/ 856292 w 3462355"/>
              <a:gd name="connsiteY47" fmla="*/ 446099 h 1914779"/>
              <a:gd name="connsiteX48" fmla="*/ 428146 w 3462355"/>
              <a:gd name="connsiteY48" fmla="*/ 856359 h 1914779"/>
              <a:gd name="connsiteX49" fmla="*/ 0 w 3462355"/>
              <a:gd name="connsiteY49" fmla="*/ 428180 h 1914779"/>
              <a:gd name="connsiteX50" fmla="*/ 428146 w 3462355"/>
              <a:gd name="connsiteY50" fmla="*/ 0 h 1914779"/>
              <a:gd name="connsiteX0" fmla="*/ 1809525 w 3462355"/>
              <a:gd name="connsiteY0" fmla="*/ 1080000 h 1914779"/>
              <a:gd name="connsiteX1" fmla="*/ 1816846 w 3462355"/>
              <a:gd name="connsiteY1" fmla="*/ 1079495 h 1914779"/>
              <a:gd name="connsiteX2" fmla="*/ 1809562 w 3462355"/>
              <a:gd name="connsiteY2" fmla="*/ 1080003 h 1914779"/>
              <a:gd name="connsiteX3" fmla="*/ 1809525 w 3462355"/>
              <a:gd name="connsiteY3" fmla="*/ 1080000 h 1914779"/>
              <a:gd name="connsiteX4" fmla="*/ 1421942 w 3462355"/>
              <a:gd name="connsiteY4" fmla="*/ 952021 h 1914779"/>
              <a:gd name="connsiteX5" fmla="*/ 1448190 w 3462355"/>
              <a:gd name="connsiteY5" fmla="*/ 974798 h 1914779"/>
              <a:gd name="connsiteX6" fmla="*/ 1435120 w 3462355"/>
              <a:gd name="connsiteY6" fmla="*/ 961631 h 1914779"/>
              <a:gd name="connsiteX7" fmla="*/ 1435190 w 3462355"/>
              <a:gd name="connsiteY7" fmla="*/ 961673 h 1914779"/>
              <a:gd name="connsiteX8" fmla="*/ 1448258 w 3462355"/>
              <a:gd name="connsiteY8" fmla="*/ 974765 h 1914779"/>
              <a:gd name="connsiteX9" fmla="*/ 1206695 w 3462355"/>
              <a:gd name="connsiteY9" fmla="*/ 1204348 h 1914779"/>
              <a:gd name="connsiteX10" fmla="*/ 1313130 w 3462355"/>
              <a:gd name="connsiteY10" fmla="*/ 1486600 h 1914779"/>
              <a:gd name="connsiteX11" fmla="*/ 884985 w 3462355"/>
              <a:gd name="connsiteY11" fmla="*/ 1914779 h 1914779"/>
              <a:gd name="connsiteX12" fmla="*/ 456839 w 3462355"/>
              <a:gd name="connsiteY12" fmla="*/ 1486600 h 1914779"/>
              <a:gd name="connsiteX13" fmla="*/ 884985 w 3462355"/>
              <a:gd name="connsiteY13" fmla="*/ 1058420 h 1914779"/>
              <a:gd name="connsiteX14" fmla="*/ 1182811 w 3462355"/>
              <a:gd name="connsiteY14" fmla="*/ 1179202 h 1914779"/>
              <a:gd name="connsiteX15" fmla="*/ 1421942 w 3462355"/>
              <a:gd name="connsiteY15" fmla="*/ 952021 h 1914779"/>
              <a:gd name="connsiteX16" fmla="*/ 2303806 w 3462355"/>
              <a:gd name="connsiteY16" fmla="*/ 851373 h 1914779"/>
              <a:gd name="connsiteX17" fmla="*/ 2297702 w 3462355"/>
              <a:gd name="connsiteY17" fmla="*/ 860060 h 1914779"/>
              <a:gd name="connsiteX18" fmla="*/ 2297329 w 3462355"/>
              <a:gd name="connsiteY18" fmla="*/ 859135 h 1914779"/>
              <a:gd name="connsiteX19" fmla="*/ 2303806 w 3462355"/>
              <a:gd name="connsiteY19" fmla="*/ 851373 h 1914779"/>
              <a:gd name="connsiteX20" fmla="*/ 3033087 w 3462355"/>
              <a:gd name="connsiteY20" fmla="*/ 631528 h 1914779"/>
              <a:gd name="connsiteX21" fmla="*/ 3462355 w 3462355"/>
              <a:gd name="connsiteY21" fmla="*/ 1059608 h 1914779"/>
              <a:gd name="connsiteX22" fmla="*/ 3034209 w 3462355"/>
              <a:gd name="connsiteY22" fmla="*/ 1487788 h 1914779"/>
              <a:gd name="connsiteX23" fmla="*/ 2606063 w 3462355"/>
              <a:gd name="connsiteY23" fmla="*/ 1059608 h 1914779"/>
              <a:gd name="connsiteX24" fmla="*/ 2644374 w 3462355"/>
              <a:gd name="connsiteY24" fmla="*/ 882694 h 1914779"/>
              <a:gd name="connsiteX25" fmla="*/ 2383575 w 3462355"/>
              <a:gd name="connsiteY25" fmla="*/ 737954 h 1914779"/>
              <a:gd name="connsiteX26" fmla="*/ 2337491 w 3462355"/>
              <a:gd name="connsiteY26" fmla="*/ 811006 h 1914779"/>
              <a:gd name="connsiteX27" fmla="*/ 2303806 w 3462355"/>
              <a:gd name="connsiteY27" fmla="*/ 851373 h 1914779"/>
              <a:gd name="connsiteX28" fmla="*/ 2383514 w 3462355"/>
              <a:gd name="connsiteY28" fmla="*/ 737926 h 1914779"/>
              <a:gd name="connsiteX29" fmla="*/ 2399137 w 3462355"/>
              <a:gd name="connsiteY29" fmla="*/ 705725 h 1914779"/>
              <a:gd name="connsiteX30" fmla="*/ 2399148 w 3462355"/>
              <a:gd name="connsiteY30" fmla="*/ 705693 h 1914779"/>
              <a:gd name="connsiteX31" fmla="*/ 2659922 w 3462355"/>
              <a:gd name="connsiteY31" fmla="*/ 850320 h 1914779"/>
              <a:gd name="connsiteX32" fmla="*/ 3033087 w 3462355"/>
              <a:gd name="connsiteY32" fmla="*/ 631528 h 1914779"/>
              <a:gd name="connsiteX33" fmla="*/ 2446121 w 3462355"/>
              <a:gd name="connsiteY33" fmla="*/ 562483 h 1914779"/>
              <a:gd name="connsiteX34" fmla="*/ 2445008 w 3462355"/>
              <a:gd name="connsiteY34" fmla="*/ 572313 h 1914779"/>
              <a:gd name="connsiteX35" fmla="*/ 2435513 w 3462355"/>
              <a:gd name="connsiteY35" fmla="*/ 599910 h 1914779"/>
              <a:gd name="connsiteX36" fmla="*/ 2444995 w 3462355"/>
              <a:gd name="connsiteY36" fmla="*/ 572330 h 1914779"/>
              <a:gd name="connsiteX37" fmla="*/ 2446110 w 3462355"/>
              <a:gd name="connsiteY37" fmla="*/ 562495 h 1914779"/>
              <a:gd name="connsiteX38" fmla="*/ 2446121 w 3462355"/>
              <a:gd name="connsiteY38" fmla="*/ 562483 h 1914779"/>
              <a:gd name="connsiteX39" fmla="*/ 428146 w 3462355"/>
              <a:gd name="connsiteY39" fmla="*/ 0 h 1914779"/>
              <a:gd name="connsiteX40" fmla="*/ 856292 w 3462355"/>
              <a:gd name="connsiteY40" fmla="*/ 410261 h 1914779"/>
              <a:gd name="connsiteX41" fmla="*/ 1157645 w 3462355"/>
              <a:gd name="connsiteY41" fmla="*/ 410261 h 1914779"/>
              <a:gd name="connsiteX42" fmla="*/ 1157663 w 3462355"/>
              <a:gd name="connsiteY42" fmla="*/ 410145 h 1914779"/>
              <a:gd name="connsiteX43" fmla="*/ 1157647 w 3462355"/>
              <a:gd name="connsiteY43" fmla="*/ 410319 h 1914779"/>
              <a:gd name="connsiteX44" fmla="*/ 1158849 w 3462355"/>
              <a:gd name="connsiteY44" fmla="*/ 446039 h 1914779"/>
              <a:gd name="connsiteX45" fmla="*/ 1158858 w 3462355"/>
              <a:gd name="connsiteY45" fmla="*/ 446099 h 1914779"/>
              <a:gd name="connsiteX46" fmla="*/ 856292 w 3462355"/>
              <a:gd name="connsiteY46" fmla="*/ 446099 h 1914779"/>
              <a:gd name="connsiteX47" fmla="*/ 428146 w 3462355"/>
              <a:gd name="connsiteY47" fmla="*/ 856359 h 1914779"/>
              <a:gd name="connsiteX48" fmla="*/ 0 w 3462355"/>
              <a:gd name="connsiteY48" fmla="*/ 428180 h 1914779"/>
              <a:gd name="connsiteX49" fmla="*/ 428146 w 3462355"/>
              <a:gd name="connsiteY49" fmla="*/ 0 h 1914779"/>
              <a:gd name="connsiteX0" fmla="*/ 1809562 w 3462355"/>
              <a:gd name="connsiteY0" fmla="*/ 1080003 h 1914779"/>
              <a:gd name="connsiteX1" fmla="*/ 1816846 w 3462355"/>
              <a:gd name="connsiteY1" fmla="*/ 1079495 h 1914779"/>
              <a:gd name="connsiteX2" fmla="*/ 1809562 w 3462355"/>
              <a:gd name="connsiteY2" fmla="*/ 1080003 h 1914779"/>
              <a:gd name="connsiteX3" fmla="*/ 1421942 w 3462355"/>
              <a:gd name="connsiteY3" fmla="*/ 952021 h 1914779"/>
              <a:gd name="connsiteX4" fmla="*/ 1448190 w 3462355"/>
              <a:gd name="connsiteY4" fmla="*/ 974798 h 1914779"/>
              <a:gd name="connsiteX5" fmla="*/ 1435120 w 3462355"/>
              <a:gd name="connsiteY5" fmla="*/ 961631 h 1914779"/>
              <a:gd name="connsiteX6" fmla="*/ 1435190 w 3462355"/>
              <a:gd name="connsiteY6" fmla="*/ 961673 h 1914779"/>
              <a:gd name="connsiteX7" fmla="*/ 1448258 w 3462355"/>
              <a:gd name="connsiteY7" fmla="*/ 974765 h 1914779"/>
              <a:gd name="connsiteX8" fmla="*/ 1206695 w 3462355"/>
              <a:gd name="connsiteY8" fmla="*/ 1204348 h 1914779"/>
              <a:gd name="connsiteX9" fmla="*/ 1313130 w 3462355"/>
              <a:gd name="connsiteY9" fmla="*/ 1486600 h 1914779"/>
              <a:gd name="connsiteX10" fmla="*/ 884985 w 3462355"/>
              <a:gd name="connsiteY10" fmla="*/ 1914779 h 1914779"/>
              <a:gd name="connsiteX11" fmla="*/ 456839 w 3462355"/>
              <a:gd name="connsiteY11" fmla="*/ 1486600 h 1914779"/>
              <a:gd name="connsiteX12" fmla="*/ 884985 w 3462355"/>
              <a:gd name="connsiteY12" fmla="*/ 1058420 h 1914779"/>
              <a:gd name="connsiteX13" fmla="*/ 1182811 w 3462355"/>
              <a:gd name="connsiteY13" fmla="*/ 1179202 h 1914779"/>
              <a:gd name="connsiteX14" fmla="*/ 1421942 w 3462355"/>
              <a:gd name="connsiteY14" fmla="*/ 952021 h 1914779"/>
              <a:gd name="connsiteX15" fmla="*/ 2303806 w 3462355"/>
              <a:gd name="connsiteY15" fmla="*/ 851373 h 1914779"/>
              <a:gd name="connsiteX16" fmla="*/ 2297702 w 3462355"/>
              <a:gd name="connsiteY16" fmla="*/ 860060 h 1914779"/>
              <a:gd name="connsiteX17" fmla="*/ 2297329 w 3462355"/>
              <a:gd name="connsiteY17" fmla="*/ 859135 h 1914779"/>
              <a:gd name="connsiteX18" fmla="*/ 2303806 w 3462355"/>
              <a:gd name="connsiteY18" fmla="*/ 851373 h 1914779"/>
              <a:gd name="connsiteX19" fmla="*/ 3033087 w 3462355"/>
              <a:gd name="connsiteY19" fmla="*/ 631528 h 1914779"/>
              <a:gd name="connsiteX20" fmla="*/ 3462355 w 3462355"/>
              <a:gd name="connsiteY20" fmla="*/ 1059608 h 1914779"/>
              <a:gd name="connsiteX21" fmla="*/ 3034209 w 3462355"/>
              <a:gd name="connsiteY21" fmla="*/ 1487788 h 1914779"/>
              <a:gd name="connsiteX22" fmla="*/ 2606063 w 3462355"/>
              <a:gd name="connsiteY22" fmla="*/ 1059608 h 1914779"/>
              <a:gd name="connsiteX23" fmla="*/ 2644374 w 3462355"/>
              <a:gd name="connsiteY23" fmla="*/ 882694 h 1914779"/>
              <a:gd name="connsiteX24" fmla="*/ 2383575 w 3462355"/>
              <a:gd name="connsiteY24" fmla="*/ 737954 h 1914779"/>
              <a:gd name="connsiteX25" fmla="*/ 2337491 w 3462355"/>
              <a:gd name="connsiteY25" fmla="*/ 811006 h 1914779"/>
              <a:gd name="connsiteX26" fmla="*/ 2303806 w 3462355"/>
              <a:gd name="connsiteY26" fmla="*/ 851373 h 1914779"/>
              <a:gd name="connsiteX27" fmla="*/ 2383514 w 3462355"/>
              <a:gd name="connsiteY27" fmla="*/ 737926 h 1914779"/>
              <a:gd name="connsiteX28" fmla="*/ 2399137 w 3462355"/>
              <a:gd name="connsiteY28" fmla="*/ 705725 h 1914779"/>
              <a:gd name="connsiteX29" fmla="*/ 2399148 w 3462355"/>
              <a:gd name="connsiteY29" fmla="*/ 705693 h 1914779"/>
              <a:gd name="connsiteX30" fmla="*/ 2659922 w 3462355"/>
              <a:gd name="connsiteY30" fmla="*/ 850320 h 1914779"/>
              <a:gd name="connsiteX31" fmla="*/ 3033087 w 3462355"/>
              <a:gd name="connsiteY31" fmla="*/ 631528 h 1914779"/>
              <a:gd name="connsiteX32" fmla="*/ 2446121 w 3462355"/>
              <a:gd name="connsiteY32" fmla="*/ 562483 h 1914779"/>
              <a:gd name="connsiteX33" fmla="*/ 2445008 w 3462355"/>
              <a:gd name="connsiteY33" fmla="*/ 572313 h 1914779"/>
              <a:gd name="connsiteX34" fmla="*/ 2435513 w 3462355"/>
              <a:gd name="connsiteY34" fmla="*/ 599910 h 1914779"/>
              <a:gd name="connsiteX35" fmla="*/ 2444995 w 3462355"/>
              <a:gd name="connsiteY35" fmla="*/ 572330 h 1914779"/>
              <a:gd name="connsiteX36" fmla="*/ 2446110 w 3462355"/>
              <a:gd name="connsiteY36" fmla="*/ 562495 h 1914779"/>
              <a:gd name="connsiteX37" fmla="*/ 2446121 w 3462355"/>
              <a:gd name="connsiteY37" fmla="*/ 562483 h 1914779"/>
              <a:gd name="connsiteX38" fmla="*/ 428146 w 3462355"/>
              <a:gd name="connsiteY38" fmla="*/ 0 h 1914779"/>
              <a:gd name="connsiteX39" fmla="*/ 856292 w 3462355"/>
              <a:gd name="connsiteY39" fmla="*/ 410261 h 1914779"/>
              <a:gd name="connsiteX40" fmla="*/ 1157645 w 3462355"/>
              <a:gd name="connsiteY40" fmla="*/ 410261 h 1914779"/>
              <a:gd name="connsiteX41" fmla="*/ 1157663 w 3462355"/>
              <a:gd name="connsiteY41" fmla="*/ 410145 h 1914779"/>
              <a:gd name="connsiteX42" fmla="*/ 1157647 w 3462355"/>
              <a:gd name="connsiteY42" fmla="*/ 410319 h 1914779"/>
              <a:gd name="connsiteX43" fmla="*/ 1158849 w 3462355"/>
              <a:gd name="connsiteY43" fmla="*/ 446039 h 1914779"/>
              <a:gd name="connsiteX44" fmla="*/ 1158858 w 3462355"/>
              <a:gd name="connsiteY44" fmla="*/ 446099 h 1914779"/>
              <a:gd name="connsiteX45" fmla="*/ 856292 w 3462355"/>
              <a:gd name="connsiteY45" fmla="*/ 446099 h 1914779"/>
              <a:gd name="connsiteX46" fmla="*/ 428146 w 3462355"/>
              <a:gd name="connsiteY46" fmla="*/ 856359 h 1914779"/>
              <a:gd name="connsiteX47" fmla="*/ 0 w 3462355"/>
              <a:gd name="connsiteY47" fmla="*/ 428180 h 1914779"/>
              <a:gd name="connsiteX48" fmla="*/ 428146 w 3462355"/>
              <a:gd name="connsiteY48"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303806 w 3462355"/>
              <a:gd name="connsiteY12" fmla="*/ 851373 h 1914779"/>
              <a:gd name="connsiteX13" fmla="*/ 2297702 w 3462355"/>
              <a:gd name="connsiteY13" fmla="*/ 860060 h 1914779"/>
              <a:gd name="connsiteX14" fmla="*/ 2297329 w 3462355"/>
              <a:gd name="connsiteY14" fmla="*/ 859135 h 1914779"/>
              <a:gd name="connsiteX15" fmla="*/ 2303806 w 3462355"/>
              <a:gd name="connsiteY15" fmla="*/ 851373 h 1914779"/>
              <a:gd name="connsiteX16" fmla="*/ 3033087 w 3462355"/>
              <a:gd name="connsiteY16" fmla="*/ 631528 h 1914779"/>
              <a:gd name="connsiteX17" fmla="*/ 3462355 w 3462355"/>
              <a:gd name="connsiteY17" fmla="*/ 1059608 h 1914779"/>
              <a:gd name="connsiteX18" fmla="*/ 3034209 w 3462355"/>
              <a:gd name="connsiteY18" fmla="*/ 1487788 h 1914779"/>
              <a:gd name="connsiteX19" fmla="*/ 2606063 w 3462355"/>
              <a:gd name="connsiteY19" fmla="*/ 1059608 h 1914779"/>
              <a:gd name="connsiteX20" fmla="*/ 2644374 w 3462355"/>
              <a:gd name="connsiteY20" fmla="*/ 882694 h 1914779"/>
              <a:gd name="connsiteX21" fmla="*/ 2383575 w 3462355"/>
              <a:gd name="connsiteY21" fmla="*/ 737954 h 1914779"/>
              <a:gd name="connsiteX22" fmla="*/ 2337491 w 3462355"/>
              <a:gd name="connsiteY22" fmla="*/ 811006 h 1914779"/>
              <a:gd name="connsiteX23" fmla="*/ 2303806 w 3462355"/>
              <a:gd name="connsiteY23" fmla="*/ 851373 h 1914779"/>
              <a:gd name="connsiteX24" fmla="*/ 2383514 w 3462355"/>
              <a:gd name="connsiteY24" fmla="*/ 737926 h 1914779"/>
              <a:gd name="connsiteX25" fmla="*/ 2399137 w 3462355"/>
              <a:gd name="connsiteY25" fmla="*/ 705725 h 1914779"/>
              <a:gd name="connsiteX26" fmla="*/ 2399148 w 3462355"/>
              <a:gd name="connsiteY26" fmla="*/ 705693 h 1914779"/>
              <a:gd name="connsiteX27" fmla="*/ 2659922 w 3462355"/>
              <a:gd name="connsiteY27" fmla="*/ 850320 h 1914779"/>
              <a:gd name="connsiteX28" fmla="*/ 3033087 w 3462355"/>
              <a:gd name="connsiteY28" fmla="*/ 631528 h 1914779"/>
              <a:gd name="connsiteX29" fmla="*/ 2446121 w 3462355"/>
              <a:gd name="connsiteY29" fmla="*/ 562483 h 1914779"/>
              <a:gd name="connsiteX30" fmla="*/ 2445008 w 3462355"/>
              <a:gd name="connsiteY30" fmla="*/ 572313 h 1914779"/>
              <a:gd name="connsiteX31" fmla="*/ 2435513 w 3462355"/>
              <a:gd name="connsiteY31" fmla="*/ 599910 h 1914779"/>
              <a:gd name="connsiteX32" fmla="*/ 2444995 w 3462355"/>
              <a:gd name="connsiteY32" fmla="*/ 572330 h 1914779"/>
              <a:gd name="connsiteX33" fmla="*/ 2446110 w 3462355"/>
              <a:gd name="connsiteY33" fmla="*/ 562495 h 1914779"/>
              <a:gd name="connsiteX34" fmla="*/ 2446121 w 3462355"/>
              <a:gd name="connsiteY34" fmla="*/ 562483 h 1914779"/>
              <a:gd name="connsiteX35" fmla="*/ 428146 w 3462355"/>
              <a:gd name="connsiteY35" fmla="*/ 0 h 1914779"/>
              <a:gd name="connsiteX36" fmla="*/ 856292 w 3462355"/>
              <a:gd name="connsiteY36" fmla="*/ 410261 h 1914779"/>
              <a:gd name="connsiteX37" fmla="*/ 1157645 w 3462355"/>
              <a:gd name="connsiteY37" fmla="*/ 410261 h 1914779"/>
              <a:gd name="connsiteX38" fmla="*/ 1157663 w 3462355"/>
              <a:gd name="connsiteY38" fmla="*/ 410145 h 1914779"/>
              <a:gd name="connsiteX39" fmla="*/ 1157647 w 3462355"/>
              <a:gd name="connsiteY39" fmla="*/ 410319 h 1914779"/>
              <a:gd name="connsiteX40" fmla="*/ 1158849 w 3462355"/>
              <a:gd name="connsiteY40" fmla="*/ 446039 h 1914779"/>
              <a:gd name="connsiteX41" fmla="*/ 1158858 w 3462355"/>
              <a:gd name="connsiteY41" fmla="*/ 446099 h 1914779"/>
              <a:gd name="connsiteX42" fmla="*/ 856292 w 3462355"/>
              <a:gd name="connsiteY42" fmla="*/ 446099 h 1914779"/>
              <a:gd name="connsiteX43" fmla="*/ 428146 w 3462355"/>
              <a:gd name="connsiteY43" fmla="*/ 856359 h 1914779"/>
              <a:gd name="connsiteX44" fmla="*/ 0 w 3462355"/>
              <a:gd name="connsiteY44" fmla="*/ 428180 h 1914779"/>
              <a:gd name="connsiteX45" fmla="*/ 428146 w 3462355"/>
              <a:gd name="connsiteY45"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303806 w 3462355"/>
              <a:gd name="connsiteY12" fmla="*/ 851373 h 1914779"/>
              <a:gd name="connsiteX13" fmla="*/ 2297702 w 3462355"/>
              <a:gd name="connsiteY13" fmla="*/ 860060 h 1914779"/>
              <a:gd name="connsiteX14" fmla="*/ 2297329 w 3462355"/>
              <a:gd name="connsiteY14" fmla="*/ 859135 h 1914779"/>
              <a:gd name="connsiteX15" fmla="*/ 2303806 w 3462355"/>
              <a:gd name="connsiteY15" fmla="*/ 851373 h 1914779"/>
              <a:gd name="connsiteX16" fmla="*/ 3033087 w 3462355"/>
              <a:gd name="connsiteY16" fmla="*/ 631528 h 1914779"/>
              <a:gd name="connsiteX17" fmla="*/ 3462355 w 3462355"/>
              <a:gd name="connsiteY17" fmla="*/ 1059608 h 1914779"/>
              <a:gd name="connsiteX18" fmla="*/ 3034209 w 3462355"/>
              <a:gd name="connsiteY18" fmla="*/ 1487788 h 1914779"/>
              <a:gd name="connsiteX19" fmla="*/ 2606063 w 3462355"/>
              <a:gd name="connsiteY19" fmla="*/ 1059608 h 1914779"/>
              <a:gd name="connsiteX20" fmla="*/ 2644374 w 3462355"/>
              <a:gd name="connsiteY20" fmla="*/ 882694 h 1914779"/>
              <a:gd name="connsiteX21" fmla="*/ 2383575 w 3462355"/>
              <a:gd name="connsiteY21" fmla="*/ 737954 h 1914779"/>
              <a:gd name="connsiteX22" fmla="*/ 2337491 w 3462355"/>
              <a:gd name="connsiteY22" fmla="*/ 811006 h 1914779"/>
              <a:gd name="connsiteX23" fmla="*/ 2383514 w 3462355"/>
              <a:gd name="connsiteY23" fmla="*/ 737926 h 1914779"/>
              <a:gd name="connsiteX24" fmla="*/ 2399137 w 3462355"/>
              <a:gd name="connsiteY24" fmla="*/ 705725 h 1914779"/>
              <a:gd name="connsiteX25" fmla="*/ 2399148 w 3462355"/>
              <a:gd name="connsiteY25" fmla="*/ 705693 h 1914779"/>
              <a:gd name="connsiteX26" fmla="*/ 2659922 w 3462355"/>
              <a:gd name="connsiteY26" fmla="*/ 850320 h 1914779"/>
              <a:gd name="connsiteX27" fmla="*/ 3033087 w 3462355"/>
              <a:gd name="connsiteY27" fmla="*/ 631528 h 1914779"/>
              <a:gd name="connsiteX28" fmla="*/ 2446121 w 3462355"/>
              <a:gd name="connsiteY28" fmla="*/ 562483 h 1914779"/>
              <a:gd name="connsiteX29" fmla="*/ 2445008 w 3462355"/>
              <a:gd name="connsiteY29" fmla="*/ 572313 h 1914779"/>
              <a:gd name="connsiteX30" fmla="*/ 2435513 w 3462355"/>
              <a:gd name="connsiteY30" fmla="*/ 599910 h 1914779"/>
              <a:gd name="connsiteX31" fmla="*/ 2444995 w 3462355"/>
              <a:gd name="connsiteY31" fmla="*/ 572330 h 1914779"/>
              <a:gd name="connsiteX32" fmla="*/ 2446110 w 3462355"/>
              <a:gd name="connsiteY32" fmla="*/ 562495 h 1914779"/>
              <a:gd name="connsiteX33" fmla="*/ 2446121 w 3462355"/>
              <a:gd name="connsiteY33" fmla="*/ 562483 h 1914779"/>
              <a:gd name="connsiteX34" fmla="*/ 428146 w 3462355"/>
              <a:gd name="connsiteY34" fmla="*/ 0 h 1914779"/>
              <a:gd name="connsiteX35" fmla="*/ 856292 w 3462355"/>
              <a:gd name="connsiteY35" fmla="*/ 410261 h 1914779"/>
              <a:gd name="connsiteX36" fmla="*/ 1157645 w 3462355"/>
              <a:gd name="connsiteY36" fmla="*/ 410261 h 1914779"/>
              <a:gd name="connsiteX37" fmla="*/ 1157663 w 3462355"/>
              <a:gd name="connsiteY37" fmla="*/ 410145 h 1914779"/>
              <a:gd name="connsiteX38" fmla="*/ 1157647 w 3462355"/>
              <a:gd name="connsiteY38" fmla="*/ 410319 h 1914779"/>
              <a:gd name="connsiteX39" fmla="*/ 1158849 w 3462355"/>
              <a:gd name="connsiteY39" fmla="*/ 446039 h 1914779"/>
              <a:gd name="connsiteX40" fmla="*/ 1158858 w 3462355"/>
              <a:gd name="connsiteY40" fmla="*/ 446099 h 1914779"/>
              <a:gd name="connsiteX41" fmla="*/ 856292 w 3462355"/>
              <a:gd name="connsiteY41" fmla="*/ 446099 h 1914779"/>
              <a:gd name="connsiteX42" fmla="*/ 428146 w 3462355"/>
              <a:gd name="connsiteY42" fmla="*/ 856359 h 1914779"/>
              <a:gd name="connsiteX43" fmla="*/ 0 w 3462355"/>
              <a:gd name="connsiteY43" fmla="*/ 428180 h 1914779"/>
              <a:gd name="connsiteX44" fmla="*/ 428146 w 3462355"/>
              <a:gd name="connsiteY44"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2297329 w 3462355"/>
              <a:gd name="connsiteY12" fmla="*/ 859135 h 1914779"/>
              <a:gd name="connsiteX13" fmla="*/ 2297702 w 3462355"/>
              <a:gd name="connsiteY13" fmla="*/ 860060 h 1914779"/>
              <a:gd name="connsiteX14" fmla="*/ 2297329 w 3462355"/>
              <a:gd name="connsiteY14" fmla="*/ 859135 h 1914779"/>
              <a:gd name="connsiteX15" fmla="*/ 3033087 w 3462355"/>
              <a:gd name="connsiteY15" fmla="*/ 631528 h 1914779"/>
              <a:gd name="connsiteX16" fmla="*/ 3462355 w 3462355"/>
              <a:gd name="connsiteY16" fmla="*/ 1059608 h 1914779"/>
              <a:gd name="connsiteX17" fmla="*/ 3034209 w 3462355"/>
              <a:gd name="connsiteY17" fmla="*/ 1487788 h 1914779"/>
              <a:gd name="connsiteX18" fmla="*/ 2606063 w 3462355"/>
              <a:gd name="connsiteY18" fmla="*/ 1059608 h 1914779"/>
              <a:gd name="connsiteX19" fmla="*/ 2644374 w 3462355"/>
              <a:gd name="connsiteY19" fmla="*/ 882694 h 1914779"/>
              <a:gd name="connsiteX20" fmla="*/ 2383575 w 3462355"/>
              <a:gd name="connsiteY20" fmla="*/ 737954 h 1914779"/>
              <a:gd name="connsiteX21" fmla="*/ 2337491 w 3462355"/>
              <a:gd name="connsiteY21" fmla="*/ 811006 h 1914779"/>
              <a:gd name="connsiteX22" fmla="*/ 2383514 w 3462355"/>
              <a:gd name="connsiteY22" fmla="*/ 737926 h 1914779"/>
              <a:gd name="connsiteX23" fmla="*/ 2399137 w 3462355"/>
              <a:gd name="connsiteY23" fmla="*/ 705725 h 1914779"/>
              <a:gd name="connsiteX24" fmla="*/ 2399148 w 3462355"/>
              <a:gd name="connsiteY24" fmla="*/ 705693 h 1914779"/>
              <a:gd name="connsiteX25" fmla="*/ 2659922 w 3462355"/>
              <a:gd name="connsiteY25" fmla="*/ 850320 h 1914779"/>
              <a:gd name="connsiteX26" fmla="*/ 3033087 w 3462355"/>
              <a:gd name="connsiteY26" fmla="*/ 631528 h 1914779"/>
              <a:gd name="connsiteX27" fmla="*/ 2446121 w 3462355"/>
              <a:gd name="connsiteY27" fmla="*/ 562483 h 1914779"/>
              <a:gd name="connsiteX28" fmla="*/ 2445008 w 3462355"/>
              <a:gd name="connsiteY28" fmla="*/ 572313 h 1914779"/>
              <a:gd name="connsiteX29" fmla="*/ 2435513 w 3462355"/>
              <a:gd name="connsiteY29" fmla="*/ 599910 h 1914779"/>
              <a:gd name="connsiteX30" fmla="*/ 2444995 w 3462355"/>
              <a:gd name="connsiteY30" fmla="*/ 572330 h 1914779"/>
              <a:gd name="connsiteX31" fmla="*/ 2446110 w 3462355"/>
              <a:gd name="connsiteY31" fmla="*/ 562495 h 1914779"/>
              <a:gd name="connsiteX32" fmla="*/ 2446121 w 3462355"/>
              <a:gd name="connsiteY32" fmla="*/ 562483 h 1914779"/>
              <a:gd name="connsiteX33" fmla="*/ 428146 w 3462355"/>
              <a:gd name="connsiteY33" fmla="*/ 0 h 1914779"/>
              <a:gd name="connsiteX34" fmla="*/ 856292 w 3462355"/>
              <a:gd name="connsiteY34" fmla="*/ 410261 h 1914779"/>
              <a:gd name="connsiteX35" fmla="*/ 1157645 w 3462355"/>
              <a:gd name="connsiteY35" fmla="*/ 410261 h 1914779"/>
              <a:gd name="connsiteX36" fmla="*/ 1157663 w 3462355"/>
              <a:gd name="connsiteY36" fmla="*/ 410145 h 1914779"/>
              <a:gd name="connsiteX37" fmla="*/ 1157647 w 3462355"/>
              <a:gd name="connsiteY37" fmla="*/ 410319 h 1914779"/>
              <a:gd name="connsiteX38" fmla="*/ 1158849 w 3462355"/>
              <a:gd name="connsiteY38" fmla="*/ 446039 h 1914779"/>
              <a:gd name="connsiteX39" fmla="*/ 1158858 w 3462355"/>
              <a:gd name="connsiteY39" fmla="*/ 446099 h 1914779"/>
              <a:gd name="connsiteX40" fmla="*/ 856292 w 3462355"/>
              <a:gd name="connsiteY40" fmla="*/ 446099 h 1914779"/>
              <a:gd name="connsiteX41" fmla="*/ 428146 w 3462355"/>
              <a:gd name="connsiteY41" fmla="*/ 856359 h 1914779"/>
              <a:gd name="connsiteX42" fmla="*/ 0 w 3462355"/>
              <a:gd name="connsiteY42" fmla="*/ 428180 h 1914779"/>
              <a:gd name="connsiteX43" fmla="*/ 428146 w 3462355"/>
              <a:gd name="connsiteY43"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37491 w 3462355"/>
              <a:gd name="connsiteY18" fmla="*/ 811006 h 1914779"/>
              <a:gd name="connsiteX19" fmla="*/ 2383514 w 3462355"/>
              <a:gd name="connsiteY19" fmla="*/ 737926 h 1914779"/>
              <a:gd name="connsiteX20" fmla="*/ 2399137 w 3462355"/>
              <a:gd name="connsiteY20" fmla="*/ 705725 h 1914779"/>
              <a:gd name="connsiteX21" fmla="*/ 2399148 w 3462355"/>
              <a:gd name="connsiteY21" fmla="*/ 705693 h 1914779"/>
              <a:gd name="connsiteX22" fmla="*/ 2659922 w 3462355"/>
              <a:gd name="connsiteY22" fmla="*/ 850320 h 1914779"/>
              <a:gd name="connsiteX23" fmla="*/ 3033087 w 3462355"/>
              <a:gd name="connsiteY23" fmla="*/ 631528 h 1914779"/>
              <a:gd name="connsiteX24" fmla="*/ 2446121 w 3462355"/>
              <a:gd name="connsiteY24" fmla="*/ 562483 h 1914779"/>
              <a:gd name="connsiteX25" fmla="*/ 2445008 w 3462355"/>
              <a:gd name="connsiteY25" fmla="*/ 572313 h 1914779"/>
              <a:gd name="connsiteX26" fmla="*/ 2435513 w 3462355"/>
              <a:gd name="connsiteY26" fmla="*/ 599910 h 1914779"/>
              <a:gd name="connsiteX27" fmla="*/ 2444995 w 3462355"/>
              <a:gd name="connsiteY27" fmla="*/ 572330 h 1914779"/>
              <a:gd name="connsiteX28" fmla="*/ 2446110 w 3462355"/>
              <a:gd name="connsiteY28" fmla="*/ 562495 h 1914779"/>
              <a:gd name="connsiteX29" fmla="*/ 2446121 w 3462355"/>
              <a:gd name="connsiteY29" fmla="*/ 562483 h 1914779"/>
              <a:gd name="connsiteX30" fmla="*/ 428146 w 3462355"/>
              <a:gd name="connsiteY30" fmla="*/ 0 h 1914779"/>
              <a:gd name="connsiteX31" fmla="*/ 856292 w 3462355"/>
              <a:gd name="connsiteY31" fmla="*/ 410261 h 1914779"/>
              <a:gd name="connsiteX32" fmla="*/ 1157645 w 3462355"/>
              <a:gd name="connsiteY32" fmla="*/ 410261 h 1914779"/>
              <a:gd name="connsiteX33" fmla="*/ 1157663 w 3462355"/>
              <a:gd name="connsiteY33" fmla="*/ 410145 h 1914779"/>
              <a:gd name="connsiteX34" fmla="*/ 1157647 w 3462355"/>
              <a:gd name="connsiteY34" fmla="*/ 410319 h 1914779"/>
              <a:gd name="connsiteX35" fmla="*/ 1158849 w 3462355"/>
              <a:gd name="connsiteY35" fmla="*/ 446039 h 1914779"/>
              <a:gd name="connsiteX36" fmla="*/ 1158858 w 3462355"/>
              <a:gd name="connsiteY36" fmla="*/ 446099 h 1914779"/>
              <a:gd name="connsiteX37" fmla="*/ 856292 w 3462355"/>
              <a:gd name="connsiteY37" fmla="*/ 446099 h 1914779"/>
              <a:gd name="connsiteX38" fmla="*/ 428146 w 3462355"/>
              <a:gd name="connsiteY38" fmla="*/ 856359 h 1914779"/>
              <a:gd name="connsiteX39" fmla="*/ 0 w 3462355"/>
              <a:gd name="connsiteY39" fmla="*/ 428180 h 1914779"/>
              <a:gd name="connsiteX40" fmla="*/ 428146 w 3462355"/>
              <a:gd name="connsiteY40"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45008 w 3462355"/>
              <a:gd name="connsiteY24" fmla="*/ 572313 h 1914779"/>
              <a:gd name="connsiteX25" fmla="*/ 2435513 w 3462355"/>
              <a:gd name="connsiteY25" fmla="*/ 599910 h 1914779"/>
              <a:gd name="connsiteX26" fmla="*/ 2444995 w 3462355"/>
              <a:gd name="connsiteY26" fmla="*/ 572330 h 1914779"/>
              <a:gd name="connsiteX27" fmla="*/ 2446110 w 3462355"/>
              <a:gd name="connsiteY27" fmla="*/ 562495 h 1914779"/>
              <a:gd name="connsiteX28" fmla="*/ 2446121 w 3462355"/>
              <a:gd name="connsiteY28" fmla="*/ 562483 h 1914779"/>
              <a:gd name="connsiteX29" fmla="*/ 428146 w 3462355"/>
              <a:gd name="connsiteY29" fmla="*/ 0 h 1914779"/>
              <a:gd name="connsiteX30" fmla="*/ 856292 w 3462355"/>
              <a:gd name="connsiteY30" fmla="*/ 410261 h 1914779"/>
              <a:gd name="connsiteX31" fmla="*/ 1157645 w 3462355"/>
              <a:gd name="connsiteY31" fmla="*/ 410261 h 1914779"/>
              <a:gd name="connsiteX32" fmla="*/ 1157663 w 3462355"/>
              <a:gd name="connsiteY32" fmla="*/ 410145 h 1914779"/>
              <a:gd name="connsiteX33" fmla="*/ 1157647 w 3462355"/>
              <a:gd name="connsiteY33" fmla="*/ 410319 h 1914779"/>
              <a:gd name="connsiteX34" fmla="*/ 1158849 w 3462355"/>
              <a:gd name="connsiteY34" fmla="*/ 446039 h 1914779"/>
              <a:gd name="connsiteX35" fmla="*/ 1158858 w 3462355"/>
              <a:gd name="connsiteY35" fmla="*/ 446099 h 1914779"/>
              <a:gd name="connsiteX36" fmla="*/ 856292 w 3462355"/>
              <a:gd name="connsiteY36" fmla="*/ 446099 h 1914779"/>
              <a:gd name="connsiteX37" fmla="*/ 428146 w 3462355"/>
              <a:gd name="connsiteY37" fmla="*/ 856359 h 1914779"/>
              <a:gd name="connsiteX38" fmla="*/ 0 w 3462355"/>
              <a:gd name="connsiteY38" fmla="*/ 428180 h 1914779"/>
              <a:gd name="connsiteX39" fmla="*/ 428146 w 3462355"/>
              <a:gd name="connsiteY39"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45008 w 3462355"/>
              <a:gd name="connsiteY24" fmla="*/ 572313 h 1914779"/>
              <a:gd name="connsiteX25" fmla="*/ 2435513 w 3462355"/>
              <a:gd name="connsiteY25" fmla="*/ 599910 h 1914779"/>
              <a:gd name="connsiteX26" fmla="*/ 2446110 w 3462355"/>
              <a:gd name="connsiteY26" fmla="*/ 562495 h 1914779"/>
              <a:gd name="connsiteX27" fmla="*/ 2446121 w 3462355"/>
              <a:gd name="connsiteY27" fmla="*/ 562483 h 1914779"/>
              <a:gd name="connsiteX28" fmla="*/ 428146 w 3462355"/>
              <a:gd name="connsiteY28" fmla="*/ 0 h 1914779"/>
              <a:gd name="connsiteX29" fmla="*/ 856292 w 3462355"/>
              <a:gd name="connsiteY29" fmla="*/ 410261 h 1914779"/>
              <a:gd name="connsiteX30" fmla="*/ 1157645 w 3462355"/>
              <a:gd name="connsiteY30" fmla="*/ 410261 h 1914779"/>
              <a:gd name="connsiteX31" fmla="*/ 1157663 w 3462355"/>
              <a:gd name="connsiteY31" fmla="*/ 410145 h 1914779"/>
              <a:gd name="connsiteX32" fmla="*/ 1157647 w 3462355"/>
              <a:gd name="connsiteY32" fmla="*/ 410319 h 1914779"/>
              <a:gd name="connsiteX33" fmla="*/ 1158849 w 3462355"/>
              <a:gd name="connsiteY33" fmla="*/ 446039 h 1914779"/>
              <a:gd name="connsiteX34" fmla="*/ 1158858 w 3462355"/>
              <a:gd name="connsiteY34" fmla="*/ 446099 h 1914779"/>
              <a:gd name="connsiteX35" fmla="*/ 856292 w 3462355"/>
              <a:gd name="connsiteY35" fmla="*/ 446099 h 1914779"/>
              <a:gd name="connsiteX36" fmla="*/ 428146 w 3462355"/>
              <a:gd name="connsiteY36" fmla="*/ 856359 h 1914779"/>
              <a:gd name="connsiteX37" fmla="*/ 0 w 3462355"/>
              <a:gd name="connsiteY37" fmla="*/ 428180 h 1914779"/>
              <a:gd name="connsiteX38" fmla="*/ 428146 w 3462355"/>
              <a:gd name="connsiteY38"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21 w 3462355"/>
              <a:gd name="connsiteY23" fmla="*/ 562483 h 1914779"/>
              <a:gd name="connsiteX24" fmla="*/ 2435513 w 3462355"/>
              <a:gd name="connsiteY24" fmla="*/ 599910 h 1914779"/>
              <a:gd name="connsiteX25" fmla="*/ 2446110 w 3462355"/>
              <a:gd name="connsiteY25" fmla="*/ 562495 h 1914779"/>
              <a:gd name="connsiteX26" fmla="*/ 2446121 w 3462355"/>
              <a:gd name="connsiteY26" fmla="*/ 562483 h 1914779"/>
              <a:gd name="connsiteX27" fmla="*/ 428146 w 3462355"/>
              <a:gd name="connsiteY27" fmla="*/ 0 h 1914779"/>
              <a:gd name="connsiteX28" fmla="*/ 856292 w 3462355"/>
              <a:gd name="connsiteY28" fmla="*/ 410261 h 1914779"/>
              <a:gd name="connsiteX29" fmla="*/ 1157645 w 3462355"/>
              <a:gd name="connsiteY29" fmla="*/ 410261 h 1914779"/>
              <a:gd name="connsiteX30" fmla="*/ 1157663 w 3462355"/>
              <a:gd name="connsiteY30" fmla="*/ 410145 h 1914779"/>
              <a:gd name="connsiteX31" fmla="*/ 1157647 w 3462355"/>
              <a:gd name="connsiteY31" fmla="*/ 410319 h 1914779"/>
              <a:gd name="connsiteX32" fmla="*/ 1158849 w 3462355"/>
              <a:gd name="connsiteY32" fmla="*/ 446039 h 1914779"/>
              <a:gd name="connsiteX33" fmla="*/ 1158858 w 3462355"/>
              <a:gd name="connsiteY33" fmla="*/ 446099 h 1914779"/>
              <a:gd name="connsiteX34" fmla="*/ 856292 w 3462355"/>
              <a:gd name="connsiteY34" fmla="*/ 446099 h 1914779"/>
              <a:gd name="connsiteX35" fmla="*/ 428146 w 3462355"/>
              <a:gd name="connsiteY35" fmla="*/ 856359 h 1914779"/>
              <a:gd name="connsiteX36" fmla="*/ 0 w 3462355"/>
              <a:gd name="connsiteY36" fmla="*/ 428180 h 1914779"/>
              <a:gd name="connsiteX37" fmla="*/ 428146 w 3462355"/>
              <a:gd name="connsiteY37"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2446110 w 3462355"/>
              <a:gd name="connsiteY23" fmla="*/ 562495 h 1914779"/>
              <a:gd name="connsiteX24" fmla="*/ 2435513 w 3462355"/>
              <a:gd name="connsiteY24" fmla="*/ 599910 h 1914779"/>
              <a:gd name="connsiteX25" fmla="*/ 2446110 w 3462355"/>
              <a:gd name="connsiteY25" fmla="*/ 562495 h 1914779"/>
              <a:gd name="connsiteX26" fmla="*/ 428146 w 3462355"/>
              <a:gd name="connsiteY26" fmla="*/ 0 h 1914779"/>
              <a:gd name="connsiteX27" fmla="*/ 856292 w 3462355"/>
              <a:gd name="connsiteY27" fmla="*/ 410261 h 1914779"/>
              <a:gd name="connsiteX28" fmla="*/ 1157645 w 3462355"/>
              <a:gd name="connsiteY28" fmla="*/ 410261 h 1914779"/>
              <a:gd name="connsiteX29" fmla="*/ 1157663 w 3462355"/>
              <a:gd name="connsiteY29" fmla="*/ 410145 h 1914779"/>
              <a:gd name="connsiteX30" fmla="*/ 1157647 w 3462355"/>
              <a:gd name="connsiteY30" fmla="*/ 410319 h 1914779"/>
              <a:gd name="connsiteX31" fmla="*/ 1158849 w 3462355"/>
              <a:gd name="connsiteY31" fmla="*/ 446039 h 1914779"/>
              <a:gd name="connsiteX32" fmla="*/ 1158858 w 3462355"/>
              <a:gd name="connsiteY32" fmla="*/ 446099 h 1914779"/>
              <a:gd name="connsiteX33" fmla="*/ 856292 w 3462355"/>
              <a:gd name="connsiteY33" fmla="*/ 446099 h 1914779"/>
              <a:gd name="connsiteX34" fmla="*/ 428146 w 3462355"/>
              <a:gd name="connsiteY34" fmla="*/ 856359 h 1914779"/>
              <a:gd name="connsiteX35" fmla="*/ 0 w 3462355"/>
              <a:gd name="connsiteY35" fmla="*/ 428180 h 1914779"/>
              <a:gd name="connsiteX36" fmla="*/ 428146 w 3462355"/>
              <a:gd name="connsiteY36" fmla="*/ 0 h 1914779"/>
              <a:gd name="connsiteX0" fmla="*/ 1421942 w 3462355"/>
              <a:gd name="connsiteY0" fmla="*/ 952021 h 1914779"/>
              <a:gd name="connsiteX1" fmla="*/ 1448190 w 3462355"/>
              <a:gd name="connsiteY1" fmla="*/ 974798 h 1914779"/>
              <a:gd name="connsiteX2" fmla="*/ 1435120 w 3462355"/>
              <a:gd name="connsiteY2" fmla="*/ 961631 h 1914779"/>
              <a:gd name="connsiteX3" fmla="*/ 1435190 w 3462355"/>
              <a:gd name="connsiteY3" fmla="*/ 961673 h 1914779"/>
              <a:gd name="connsiteX4" fmla="*/ 1448258 w 3462355"/>
              <a:gd name="connsiteY4" fmla="*/ 974765 h 1914779"/>
              <a:gd name="connsiteX5" fmla="*/ 1206695 w 3462355"/>
              <a:gd name="connsiteY5" fmla="*/ 1204348 h 1914779"/>
              <a:gd name="connsiteX6" fmla="*/ 1313130 w 3462355"/>
              <a:gd name="connsiteY6" fmla="*/ 1486600 h 1914779"/>
              <a:gd name="connsiteX7" fmla="*/ 884985 w 3462355"/>
              <a:gd name="connsiteY7" fmla="*/ 1914779 h 1914779"/>
              <a:gd name="connsiteX8" fmla="*/ 456839 w 3462355"/>
              <a:gd name="connsiteY8" fmla="*/ 1486600 h 1914779"/>
              <a:gd name="connsiteX9" fmla="*/ 884985 w 3462355"/>
              <a:gd name="connsiteY9" fmla="*/ 1058420 h 1914779"/>
              <a:gd name="connsiteX10" fmla="*/ 1182811 w 3462355"/>
              <a:gd name="connsiteY10" fmla="*/ 1179202 h 1914779"/>
              <a:gd name="connsiteX11" fmla="*/ 1421942 w 3462355"/>
              <a:gd name="connsiteY11" fmla="*/ 952021 h 1914779"/>
              <a:gd name="connsiteX12" fmla="*/ 3033087 w 3462355"/>
              <a:gd name="connsiteY12" fmla="*/ 631528 h 1914779"/>
              <a:gd name="connsiteX13" fmla="*/ 3462355 w 3462355"/>
              <a:gd name="connsiteY13" fmla="*/ 1059608 h 1914779"/>
              <a:gd name="connsiteX14" fmla="*/ 3034209 w 3462355"/>
              <a:gd name="connsiteY14" fmla="*/ 1487788 h 1914779"/>
              <a:gd name="connsiteX15" fmla="*/ 2606063 w 3462355"/>
              <a:gd name="connsiteY15" fmla="*/ 1059608 h 1914779"/>
              <a:gd name="connsiteX16" fmla="*/ 2644374 w 3462355"/>
              <a:gd name="connsiteY16" fmla="*/ 882694 h 1914779"/>
              <a:gd name="connsiteX17" fmla="*/ 2383575 w 3462355"/>
              <a:gd name="connsiteY17" fmla="*/ 737954 h 1914779"/>
              <a:gd name="connsiteX18" fmla="*/ 2383514 w 3462355"/>
              <a:gd name="connsiteY18" fmla="*/ 737926 h 1914779"/>
              <a:gd name="connsiteX19" fmla="*/ 2399137 w 3462355"/>
              <a:gd name="connsiteY19" fmla="*/ 705725 h 1914779"/>
              <a:gd name="connsiteX20" fmla="*/ 2399148 w 3462355"/>
              <a:gd name="connsiteY20" fmla="*/ 705693 h 1914779"/>
              <a:gd name="connsiteX21" fmla="*/ 2659922 w 3462355"/>
              <a:gd name="connsiteY21" fmla="*/ 850320 h 1914779"/>
              <a:gd name="connsiteX22" fmla="*/ 3033087 w 3462355"/>
              <a:gd name="connsiteY22" fmla="*/ 631528 h 1914779"/>
              <a:gd name="connsiteX23" fmla="*/ 428146 w 3462355"/>
              <a:gd name="connsiteY23" fmla="*/ 0 h 1914779"/>
              <a:gd name="connsiteX24" fmla="*/ 856292 w 3462355"/>
              <a:gd name="connsiteY24" fmla="*/ 410261 h 1914779"/>
              <a:gd name="connsiteX25" fmla="*/ 1157645 w 3462355"/>
              <a:gd name="connsiteY25" fmla="*/ 410261 h 1914779"/>
              <a:gd name="connsiteX26" fmla="*/ 1157663 w 3462355"/>
              <a:gd name="connsiteY26" fmla="*/ 410145 h 1914779"/>
              <a:gd name="connsiteX27" fmla="*/ 1157647 w 3462355"/>
              <a:gd name="connsiteY27" fmla="*/ 410319 h 1914779"/>
              <a:gd name="connsiteX28" fmla="*/ 1158849 w 3462355"/>
              <a:gd name="connsiteY28" fmla="*/ 446039 h 1914779"/>
              <a:gd name="connsiteX29" fmla="*/ 1158858 w 3462355"/>
              <a:gd name="connsiteY29" fmla="*/ 446099 h 1914779"/>
              <a:gd name="connsiteX30" fmla="*/ 856292 w 3462355"/>
              <a:gd name="connsiteY30" fmla="*/ 446099 h 1914779"/>
              <a:gd name="connsiteX31" fmla="*/ 428146 w 3462355"/>
              <a:gd name="connsiteY31" fmla="*/ 856359 h 1914779"/>
              <a:gd name="connsiteX32" fmla="*/ 0 w 3462355"/>
              <a:gd name="connsiteY32" fmla="*/ 428180 h 1914779"/>
              <a:gd name="connsiteX33" fmla="*/ 428146 w 3462355"/>
              <a:gd name="connsiteY33" fmla="*/ 0 h 191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62355" h="1914779">
                <a:moveTo>
                  <a:pt x="1421942" y="952021"/>
                </a:moveTo>
                <a:lnTo>
                  <a:pt x="1448190" y="974798"/>
                </a:lnTo>
                <a:lnTo>
                  <a:pt x="1435120" y="961631"/>
                </a:lnTo>
                <a:lnTo>
                  <a:pt x="1435190" y="961673"/>
                </a:lnTo>
                <a:lnTo>
                  <a:pt x="1448258" y="974765"/>
                </a:lnTo>
                <a:lnTo>
                  <a:pt x="1206695" y="1204348"/>
                </a:lnTo>
                <a:cubicBezTo>
                  <a:pt x="1273698" y="1279688"/>
                  <a:pt x="1313130" y="1378986"/>
                  <a:pt x="1313130" y="1486600"/>
                </a:cubicBezTo>
                <a:cubicBezTo>
                  <a:pt x="1313130" y="1723410"/>
                  <a:pt x="1121899" y="1914779"/>
                  <a:pt x="884985" y="1914779"/>
                </a:cubicBezTo>
                <a:cubicBezTo>
                  <a:pt x="648230" y="1914779"/>
                  <a:pt x="456839" y="1723410"/>
                  <a:pt x="456839" y="1486600"/>
                </a:cubicBezTo>
                <a:cubicBezTo>
                  <a:pt x="456839" y="1249789"/>
                  <a:pt x="648230" y="1058420"/>
                  <a:pt x="884985" y="1058420"/>
                </a:cubicBezTo>
                <a:cubicBezTo>
                  <a:pt x="1001038" y="1058420"/>
                  <a:pt x="1106351" y="1105050"/>
                  <a:pt x="1182811" y="1179202"/>
                </a:cubicBezTo>
                <a:lnTo>
                  <a:pt x="1421942" y="952021"/>
                </a:lnTo>
                <a:close/>
                <a:moveTo>
                  <a:pt x="3033087" y="631528"/>
                </a:moveTo>
                <a:cubicBezTo>
                  <a:pt x="3268559" y="631528"/>
                  <a:pt x="3462355" y="822798"/>
                  <a:pt x="3462355" y="1059608"/>
                </a:cubicBezTo>
                <a:cubicBezTo>
                  <a:pt x="3462355" y="1296419"/>
                  <a:pt x="3270964" y="1487788"/>
                  <a:pt x="3034209" y="1487788"/>
                </a:cubicBezTo>
                <a:cubicBezTo>
                  <a:pt x="2797455" y="1487788"/>
                  <a:pt x="2606063" y="1296419"/>
                  <a:pt x="2606063" y="1059608"/>
                </a:cubicBezTo>
                <a:cubicBezTo>
                  <a:pt x="2606063" y="996248"/>
                  <a:pt x="2620330" y="936451"/>
                  <a:pt x="2644374" y="882694"/>
                </a:cubicBezTo>
                <a:lnTo>
                  <a:pt x="2383575" y="737954"/>
                </a:lnTo>
                <a:cubicBezTo>
                  <a:pt x="2340098" y="713826"/>
                  <a:pt x="2380920" y="743297"/>
                  <a:pt x="2383514" y="737926"/>
                </a:cubicBezTo>
                <a:cubicBezTo>
                  <a:pt x="2388772" y="727236"/>
                  <a:pt x="2393879" y="716415"/>
                  <a:pt x="2399137" y="705725"/>
                </a:cubicBezTo>
                <a:cubicBezTo>
                  <a:pt x="2399141" y="705714"/>
                  <a:pt x="2399144" y="705704"/>
                  <a:pt x="2399148" y="705693"/>
                </a:cubicBezTo>
                <a:lnTo>
                  <a:pt x="2659922" y="850320"/>
                </a:lnTo>
                <a:cubicBezTo>
                  <a:pt x="2732856" y="720035"/>
                  <a:pt x="2872793" y="631528"/>
                  <a:pt x="3033087" y="631528"/>
                </a:cubicBezTo>
                <a:close/>
                <a:moveTo>
                  <a:pt x="428146" y="0"/>
                </a:moveTo>
                <a:cubicBezTo>
                  <a:pt x="658970" y="0"/>
                  <a:pt x="846674" y="181766"/>
                  <a:pt x="856292" y="410261"/>
                </a:cubicBezTo>
                <a:lnTo>
                  <a:pt x="1157645" y="410261"/>
                </a:lnTo>
                <a:cubicBezTo>
                  <a:pt x="1157651" y="410222"/>
                  <a:pt x="1157657" y="410184"/>
                  <a:pt x="1157663" y="410145"/>
                </a:cubicBezTo>
                <a:cubicBezTo>
                  <a:pt x="1157658" y="410203"/>
                  <a:pt x="1157652" y="410261"/>
                  <a:pt x="1157647" y="410319"/>
                </a:cubicBezTo>
                <a:cubicBezTo>
                  <a:pt x="1158098" y="422182"/>
                  <a:pt x="1158398" y="434176"/>
                  <a:pt x="1158849" y="446039"/>
                </a:cubicBezTo>
                <a:lnTo>
                  <a:pt x="1158858" y="446099"/>
                </a:lnTo>
                <a:lnTo>
                  <a:pt x="856292" y="446099"/>
                </a:lnTo>
                <a:cubicBezTo>
                  <a:pt x="846674" y="674494"/>
                  <a:pt x="658970" y="856359"/>
                  <a:pt x="428146" y="856359"/>
                </a:cubicBezTo>
                <a:cubicBezTo>
                  <a:pt x="191391" y="856359"/>
                  <a:pt x="0" y="664990"/>
                  <a:pt x="0" y="428180"/>
                </a:cubicBezTo>
                <a:cubicBezTo>
                  <a:pt x="0" y="191370"/>
                  <a:pt x="191391" y="0"/>
                  <a:pt x="428146" y="0"/>
                </a:cubicBezTo>
                <a:close/>
              </a:path>
            </a:pathLst>
          </a:custGeom>
          <a:solidFill>
            <a:srgbClr val="A2B969">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sp>
        <p:nvSpPr>
          <p:cNvPr id="148" name="Freeform: Shape 147">
            <a:extLst>
              <a:ext uri="{FF2B5EF4-FFF2-40B4-BE49-F238E27FC236}">
                <a16:creationId xmlns:a16="http://schemas.microsoft.com/office/drawing/2014/main" id="{761FAD84-15F6-06AD-453B-CDF8266DDF81}"/>
              </a:ext>
            </a:extLst>
          </p:cNvPr>
          <p:cNvSpPr/>
          <p:nvPr/>
        </p:nvSpPr>
        <p:spPr>
          <a:xfrm>
            <a:off x="5578514" y="3716960"/>
            <a:ext cx="1076735" cy="2223374"/>
          </a:xfrm>
          <a:custGeom>
            <a:avLst/>
            <a:gdLst>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188216 w 1489116"/>
              <a:gd name="connsiteY4" fmla="*/ 1897760 h 2966042"/>
              <a:gd name="connsiteX5" fmla="*/ 186126 w 1489116"/>
              <a:gd name="connsiteY5" fmla="*/ 1900829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86124 w 1489116"/>
              <a:gd name="connsiteY16" fmla="*/ 1900827 h 2966042"/>
              <a:gd name="connsiteX17" fmla="*/ 188211 w 1489116"/>
              <a:gd name="connsiteY17" fmla="*/ 1897763 h 2966042"/>
              <a:gd name="connsiteX18" fmla="*/ 1060930 w 1489116"/>
              <a:gd name="connsiteY18" fmla="*/ 1052533 h 2966042"/>
              <a:gd name="connsiteX19" fmla="*/ 1489116 w 1489116"/>
              <a:gd name="connsiteY19" fmla="*/ 1478215 h 2966042"/>
              <a:gd name="connsiteX20" fmla="*/ 1060930 w 1489116"/>
              <a:gd name="connsiteY20" fmla="*/ 1906369 h 2966042"/>
              <a:gd name="connsiteX21" fmla="*/ 632745 w 1489116"/>
              <a:gd name="connsiteY21" fmla="*/ 1493732 h 2966042"/>
              <a:gd name="connsiteX22" fmla="*/ 343357 w 1489116"/>
              <a:gd name="connsiteY22" fmla="*/ 1493732 h 2966042"/>
              <a:gd name="connsiteX23" fmla="*/ 338861 w 1489116"/>
              <a:gd name="connsiteY23" fmla="*/ 1545363 h 2966042"/>
              <a:gd name="connsiteX24" fmla="*/ 338859 w 1489116"/>
              <a:gd name="connsiteY24" fmla="*/ 1545362 h 2966042"/>
              <a:gd name="connsiteX25" fmla="*/ 343355 w 1489116"/>
              <a:gd name="connsiteY25" fmla="*/ 1493730 h 2966042"/>
              <a:gd name="connsiteX26" fmla="*/ 343355 w 1489116"/>
              <a:gd name="connsiteY26" fmla="*/ 1460362 h 2966042"/>
              <a:gd name="connsiteX27" fmla="*/ 331871 w 1489116"/>
              <a:gd name="connsiteY27" fmla="*/ 1371541 h 2966042"/>
              <a:gd name="connsiteX28" fmla="*/ 334086 w 1489116"/>
              <a:gd name="connsiteY28" fmla="*/ 1370787 h 2966042"/>
              <a:gd name="connsiteX29" fmla="*/ 343357 w 1489116"/>
              <a:gd name="connsiteY29" fmla="*/ 1460364 h 2966042"/>
              <a:gd name="connsiteX30" fmla="*/ 632858 w 1489116"/>
              <a:gd name="connsiteY30" fmla="*/ 1460364 h 2966042"/>
              <a:gd name="connsiteX31" fmla="*/ 1060930 w 1489116"/>
              <a:gd name="connsiteY31" fmla="*/ 1052533 h 2966042"/>
              <a:gd name="connsiteX32" fmla="*/ 605303 w 1489116"/>
              <a:gd name="connsiteY32" fmla="*/ 0 h 2966042"/>
              <a:gd name="connsiteX33" fmla="*/ 1033488 w 1489116"/>
              <a:gd name="connsiteY33" fmla="*/ 428154 h 2966042"/>
              <a:gd name="connsiteX34" fmla="*/ 605303 w 1489116"/>
              <a:gd name="connsiteY34" fmla="*/ 856307 h 2966042"/>
              <a:gd name="connsiteX35" fmla="*/ 338594 w 1489116"/>
              <a:gd name="connsiteY35" fmla="*/ 763069 h 2966042"/>
              <a:gd name="connsiteX36" fmla="*/ 134027 w 1489116"/>
              <a:gd name="connsiteY36" fmla="*/ 998705 h 2966042"/>
              <a:gd name="connsiteX37" fmla="*/ 134025 w 1489116"/>
              <a:gd name="connsiteY37" fmla="*/ 998703 h 2966042"/>
              <a:gd name="connsiteX38" fmla="*/ 106585 w 1489116"/>
              <a:gd name="connsiteY38" fmla="*/ 974674 h 2966042"/>
              <a:gd name="connsiteX39" fmla="*/ 311039 w 1489116"/>
              <a:gd name="connsiteY39" fmla="*/ 739176 h 2966042"/>
              <a:gd name="connsiteX40" fmla="*/ 177117 w 1489116"/>
              <a:gd name="connsiteY40" fmla="*/ 428154 h 2966042"/>
              <a:gd name="connsiteX41" fmla="*/ 605303 w 1489116"/>
              <a:gd name="connsiteY41"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188211 w 1489116"/>
              <a:gd name="connsiteY5" fmla="*/ 1897763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86124 w 1489116"/>
              <a:gd name="connsiteY17" fmla="*/ 1900827 h 2966042"/>
              <a:gd name="connsiteX18" fmla="*/ 188211 w 1489116"/>
              <a:gd name="connsiteY18" fmla="*/ 1897763 h 2966042"/>
              <a:gd name="connsiteX19" fmla="*/ 1060930 w 1489116"/>
              <a:gd name="connsiteY19" fmla="*/ 1052533 h 2966042"/>
              <a:gd name="connsiteX20" fmla="*/ 1489116 w 1489116"/>
              <a:gd name="connsiteY20" fmla="*/ 1478215 h 2966042"/>
              <a:gd name="connsiteX21" fmla="*/ 1060930 w 1489116"/>
              <a:gd name="connsiteY21" fmla="*/ 1906369 h 2966042"/>
              <a:gd name="connsiteX22" fmla="*/ 632745 w 1489116"/>
              <a:gd name="connsiteY22" fmla="*/ 1493732 h 2966042"/>
              <a:gd name="connsiteX23" fmla="*/ 343357 w 1489116"/>
              <a:gd name="connsiteY23" fmla="*/ 1493732 h 2966042"/>
              <a:gd name="connsiteX24" fmla="*/ 338861 w 1489116"/>
              <a:gd name="connsiteY24" fmla="*/ 1545363 h 2966042"/>
              <a:gd name="connsiteX25" fmla="*/ 338859 w 1489116"/>
              <a:gd name="connsiteY25" fmla="*/ 1545362 h 2966042"/>
              <a:gd name="connsiteX26" fmla="*/ 343355 w 1489116"/>
              <a:gd name="connsiteY26" fmla="*/ 1493730 h 2966042"/>
              <a:gd name="connsiteX27" fmla="*/ 343355 w 1489116"/>
              <a:gd name="connsiteY27" fmla="*/ 1460362 h 2966042"/>
              <a:gd name="connsiteX28" fmla="*/ 331871 w 1489116"/>
              <a:gd name="connsiteY28" fmla="*/ 1371541 h 2966042"/>
              <a:gd name="connsiteX29" fmla="*/ 334086 w 1489116"/>
              <a:gd name="connsiteY29" fmla="*/ 1370787 h 2966042"/>
              <a:gd name="connsiteX30" fmla="*/ 343357 w 1489116"/>
              <a:gd name="connsiteY30" fmla="*/ 1460364 h 2966042"/>
              <a:gd name="connsiteX31" fmla="*/ 632858 w 1489116"/>
              <a:gd name="connsiteY31" fmla="*/ 1460364 h 2966042"/>
              <a:gd name="connsiteX32" fmla="*/ 1060930 w 1489116"/>
              <a:gd name="connsiteY32" fmla="*/ 1052533 h 2966042"/>
              <a:gd name="connsiteX33" fmla="*/ 605303 w 1489116"/>
              <a:gd name="connsiteY33" fmla="*/ 0 h 2966042"/>
              <a:gd name="connsiteX34" fmla="*/ 1033488 w 1489116"/>
              <a:gd name="connsiteY34" fmla="*/ 428154 h 2966042"/>
              <a:gd name="connsiteX35" fmla="*/ 605303 w 1489116"/>
              <a:gd name="connsiteY35" fmla="*/ 856307 h 2966042"/>
              <a:gd name="connsiteX36" fmla="*/ 338594 w 1489116"/>
              <a:gd name="connsiteY36" fmla="*/ 763069 h 2966042"/>
              <a:gd name="connsiteX37" fmla="*/ 134027 w 1489116"/>
              <a:gd name="connsiteY37" fmla="*/ 998705 h 2966042"/>
              <a:gd name="connsiteX38" fmla="*/ 134025 w 1489116"/>
              <a:gd name="connsiteY38" fmla="*/ 998703 h 2966042"/>
              <a:gd name="connsiteX39" fmla="*/ 106585 w 1489116"/>
              <a:gd name="connsiteY39" fmla="*/ 974674 h 2966042"/>
              <a:gd name="connsiteX40" fmla="*/ 311039 w 1489116"/>
              <a:gd name="connsiteY40" fmla="*/ 739176 h 2966042"/>
              <a:gd name="connsiteX41" fmla="*/ 177117 w 1489116"/>
              <a:gd name="connsiteY41" fmla="*/ 428154 h 2966042"/>
              <a:gd name="connsiteX42" fmla="*/ 605303 w 1489116"/>
              <a:gd name="connsiteY42"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186124 w 1489116"/>
              <a:gd name="connsiteY5" fmla="*/ 1900827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86124 w 1489116"/>
              <a:gd name="connsiteY17" fmla="*/ 1900827 h 2966042"/>
              <a:gd name="connsiteX18" fmla="*/ 1060930 w 1489116"/>
              <a:gd name="connsiteY18" fmla="*/ 1052533 h 2966042"/>
              <a:gd name="connsiteX19" fmla="*/ 1489116 w 1489116"/>
              <a:gd name="connsiteY19" fmla="*/ 1478215 h 2966042"/>
              <a:gd name="connsiteX20" fmla="*/ 1060930 w 1489116"/>
              <a:gd name="connsiteY20" fmla="*/ 1906369 h 2966042"/>
              <a:gd name="connsiteX21" fmla="*/ 632745 w 1489116"/>
              <a:gd name="connsiteY21" fmla="*/ 1493732 h 2966042"/>
              <a:gd name="connsiteX22" fmla="*/ 343357 w 1489116"/>
              <a:gd name="connsiteY22" fmla="*/ 1493732 h 2966042"/>
              <a:gd name="connsiteX23" fmla="*/ 338861 w 1489116"/>
              <a:gd name="connsiteY23" fmla="*/ 1545363 h 2966042"/>
              <a:gd name="connsiteX24" fmla="*/ 338859 w 1489116"/>
              <a:gd name="connsiteY24" fmla="*/ 1545362 h 2966042"/>
              <a:gd name="connsiteX25" fmla="*/ 343355 w 1489116"/>
              <a:gd name="connsiteY25" fmla="*/ 1493730 h 2966042"/>
              <a:gd name="connsiteX26" fmla="*/ 343355 w 1489116"/>
              <a:gd name="connsiteY26" fmla="*/ 1460362 h 2966042"/>
              <a:gd name="connsiteX27" fmla="*/ 331871 w 1489116"/>
              <a:gd name="connsiteY27" fmla="*/ 1371541 h 2966042"/>
              <a:gd name="connsiteX28" fmla="*/ 334086 w 1489116"/>
              <a:gd name="connsiteY28" fmla="*/ 1370787 h 2966042"/>
              <a:gd name="connsiteX29" fmla="*/ 343357 w 1489116"/>
              <a:gd name="connsiteY29" fmla="*/ 1460364 h 2966042"/>
              <a:gd name="connsiteX30" fmla="*/ 632858 w 1489116"/>
              <a:gd name="connsiteY30" fmla="*/ 1460364 h 2966042"/>
              <a:gd name="connsiteX31" fmla="*/ 1060930 w 1489116"/>
              <a:gd name="connsiteY31" fmla="*/ 1052533 h 2966042"/>
              <a:gd name="connsiteX32" fmla="*/ 605303 w 1489116"/>
              <a:gd name="connsiteY32" fmla="*/ 0 h 2966042"/>
              <a:gd name="connsiteX33" fmla="*/ 1033488 w 1489116"/>
              <a:gd name="connsiteY33" fmla="*/ 428154 h 2966042"/>
              <a:gd name="connsiteX34" fmla="*/ 605303 w 1489116"/>
              <a:gd name="connsiteY34" fmla="*/ 856307 h 2966042"/>
              <a:gd name="connsiteX35" fmla="*/ 338594 w 1489116"/>
              <a:gd name="connsiteY35" fmla="*/ 763069 h 2966042"/>
              <a:gd name="connsiteX36" fmla="*/ 134027 w 1489116"/>
              <a:gd name="connsiteY36" fmla="*/ 998705 h 2966042"/>
              <a:gd name="connsiteX37" fmla="*/ 134025 w 1489116"/>
              <a:gd name="connsiteY37" fmla="*/ 998703 h 2966042"/>
              <a:gd name="connsiteX38" fmla="*/ 106585 w 1489116"/>
              <a:gd name="connsiteY38" fmla="*/ 974674 h 2966042"/>
              <a:gd name="connsiteX39" fmla="*/ 311039 w 1489116"/>
              <a:gd name="connsiteY39" fmla="*/ 739176 h 2966042"/>
              <a:gd name="connsiteX40" fmla="*/ 177117 w 1489116"/>
              <a:gd name="connsiteY40" fmla="*/ 428154 h 2966042"/>
              <a:gd name="connsiteX41" fmla="*/ 605303 w 1489116"/>
              <a:gd name="connsiteY41"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186126 w 1489116"/>
              <a:gd name="connsiteY6" fmla="*/ 1900829 h 2966042"/>
              <a:gd name="connsiteX7" fmla="*/ 80277 w 1489116"/>
              <a:gd name="connsiteY7" fmla="*/ 1999744 h 2966042"/>
              <a:gd name="connsiteX8" fmla="*/ 311039 w 1489116"/>
              <a:gd name="connsiteY8" fmla="*/ 2225767 h 2966042"/>
              <a:gd name="connsiteX9" fmla="*/ 604055 w 1489116"/>
              <a:gd name="connsiteY9" fmla="*/ 2109735 h 2966042"/>
              <a:gd name="connsiteX10" fmla="*/ 1032241 w 1489116"/>
              <a:gd name="connsiteY10" fmla="*/ 2537888 h 2966042"/>
              <a:gd name="connsiteX11" fmla="*/ 604055 w 1489116"/>
              <a:gd name="connsiteY11" fmla="*/ 2966042 h 2966042"/>
              <a:gd name="connsiteX12" fmla="*/ 175983 w 1489116"/>
              <a:gd name="connsiteY12" fmla="*/ 2537888 h 2966042"/>
              <a:gd name="connsiteX13" fmla="*/ 285978 w 1489116"/>
              <a:gd name="connsiteY13" fmla="*/ 2251995 h 2966042"/>
              <a:gd name="connsiteX14" fmla="*/ 52721 w 1489116"/>
              <a:gd name="connsiteY14" fmla="*/ 2023637 h 2966042"/>
              <a:gd name="connsiteX15" fmla="*/ 52750 w 1489116"/>
              <a:gd name="connsiteY15" fmla="*/ 2023609 h 2966042"/>
              <a:gd name="connsiteX16" fmla="*/ 80275 w 1489116"/>
              <a:gd name="connsiteY16" fmla="*/ 1999742 h 2966042"/>
              <a:gd name="connsiteX17" fmla="*/ 1060930 w 1489116"/>
              <a:gd name="connsiteY17" fmla="*/ 1052533 h 2966042"/>
              <a:gd name="connsiteX18" fmla="*/ 1489116 w 1489116"/>
              <a:gd name="connsiteY18" fmla="*/ 1478215 h 2966042"/>
              <a:gd name="connsiteX19" fmla="*/ 1060930 w 1489116"/>
              <a:gd name="connsiteY19" fmla="*/ 1906369 h 2966042"/>
              <a:gd name="connsiteX20" fmla="*/ 632745 w 1489116"/>
              <a:gd name="connsiteY20" fmla="*/ 1493732 h 2966042"/>
              <a:gd name="connsiteX21" fmla="*/ 343357 w 1489116"/>
              <a:gd name="connsiteY21" fmla="*/ 1493732 h 2966042"/>
              <a:gd name="connsiteX22" fmla="*/ 338861 w 1489116"/>
              <a:gd name="connsiteY22" fmla="*/ 1545363 h 2966042"/>
              <a:gd name="connsiteX23" fmla="*/ 338859 w 1489116"/>
              <a:gd name="connsiteY23" fmla="*/ 1545362 h 2966042"/>
              <a:gd name="connsiteX24" fmla="*/ 343355 w 1489116"/>
              <a:gd name="connsiteY24" fmla="*/ 1493730 h 2966042"/>
              <a:gd name="connsiteX25" fmla="*/ 343355 w 1489116"/>
              <a:gd name="connsiteY25" fmla="*/ 1460362 h 2966042"/>
              <a:gd name="connsiteX26" fmla="*/ 331871 w 1489116"/>
              <a:gd name="connsiteY26" fmla="*/ 1371541 h 2966042"/>
              <a:gd name="connsiteX27" fmla="*/ 334086 w 1489116"/>
              <a:gd name="connsiteY27" fmla="*/ 1370787 h 2966042"/>
              <a:gd name="connsiteX28" fmla="*/ 343357 w 1489116"/>
              <a:gd name="connsiteY28" fmla="*/ 1460364 h 2966042"/>
              <a:gd name="connsiteX29" fmla="*/ 632858 w 1489116"/>
              <a:gd name="connsiteY29" fmla="*/ 1460364 h 2966042"/>
              <a:gd name="connsiteX30" fmla="*/ 1060930 w 1489116"/>
              <a:gd name="connsiteY30" fmla="*/ 1052533 h 2966042"/>
              <a:gd name="connsiteX31" fmla="*/ 605303 w 1489116"/>
              <a:gd name="connsiteY31" fmla="*/ 0 h 2966042"/>
              <a:gd name="connsiteX32" fmla="*/ 1033488 w 1489116"/>
              <a:gd name="connsiteY32" fmla="*/ 428154 h 2966042"/>
              <a:gd name="connsiteX33" fmla="*/ 605303 w 1489116"/>
              <a:gd name="connsiteY33" fmla="*/ 856307 h 2966042"/>
              <a:gd name="connsiteX34" fmla="*/ 338594 w 1489116"/>
              <a:gd name="connsiteY34" fmla="*/ 763069 h 2966042"/>
              <a:gd name="connsiteX35" fmla="*/ 134027 w 1489116"/>
              <a:gd name="connsiteY35" fmla="*/ 998705 h 2966042"/>
              <a:gd name="connsiteX36" fmla="*/ 134025 w 1489116"/>
              <a:gd name="connsiteY36" fmla="*/ 998703 h 2966042"/>
              <a:gd name="connsiteX37" fmla="*/ 106585 w 1489116"/>
              <a:gd name="connsiteY37" fmla="*/ 974674 h 2966042"/>
              <a:gd name="connsiteX38" fmla="*/ 311039 w 1489116"/>
              <a:gd name="connsiteY38" fmla="*/ 739176 h 2966042"/>
              <a:gd name="connsiteX39" fmla="*/ 177117 w 1489116"/>
              <a:gd name="connsiteY39" fmla="*/ 428154 h 2966042"/>
              <a:gd name="connsiteX40" fmla="*/ 605303 w 1489116"/>
              <a:gd name="connsiteY40"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31871 w 1489116"/>
              <a:gd name="connsiteY25" fmla="*/ 1371541 h 2966042"/>
              <a:gd name="connsiteX26" fmla="*/ 334086 w 1489116"/>
              <a:gd name="connsiteY26" fmla="*/ 1370787 h 2966042"/>
              <a:gd name="connsiteX27" fmla="*/ 343357 w 1489116"/>
              <a:gd name="connsiteY27" fmla="*/ 1460364 h 2966042"/>
              <a:gd name="connsiteX28" fmla="*/ 632858 w 1489116"/>
              <a:gd name="connsiteY28" fmla="*/ 1460364 h 2966042"/>
              <a:gd name="connsiteX29" fmla="*/ 1060930 w 1489116"/>
              <a:gd name="connsiteY29" fmla="*/ 1052533 h 2966042"/>
              <a:gd name="connsiteX30" fmla="*/ 605303 w 1489116"/>
              <a:gd name="connsiteY30" fmla="*/ 0 h 2966042"/>
              <a:gd name="connsiteX31" fmla="*/ 1033488 w 1489116"/>
              <a:gd name="connsiteY31" fmla="*/ 428154 h 2966042"/>
              <a:gd name="connsiteX32" fmla="*/ 605303 w 1489116"/>
              <a:gd name="connsiteY32" fmla="*/ 856307 h 2966042"/>
              <a:gd name="connsiteX33" fmla="*/ 338594 w 1489116"/>
              <a:gd name="connsiteY33" fmla="*/ 763069 h 2966042"/>
              <a:gd name="connsiteX34" fmla="*/ 134027 w 1489116"/>
              <a:gd name="connsiteY34" fmla="*/ 998705 h 2966042"/>
              <a:gd name="connsiteX35" fmla="*/ 134025 w 1489116"/>
              <a:gd name="connsiteY35" fmla="*/ 998703 h 2966042"/>
              <a:gd name="connsiteX36" fmla="*/ 106585 w 1489116"/>
              <a:gd name="connsiteY36" fmla="*/ 974674 h 2966042"/>
              <a:gd name="connsiteX37" fmla="*/ 311039 w 1489116"/>
              <a:gd name="connsiteY37" fmla="*/ 739176 h 2966042"/>
              <a:gd name="connsiteX38" fmla="*/ 177117 w 1489116"/>
              <a:gd name="connsiteY38" fmla="*/ 428154 h 2966042"/>
              <a:gd name="connsiteX39" fmla="*/ 605303 w 1489116"/>
              <a:gd name="connsiteY39"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31871 w 1489116"/>
              <a:gd name="connsiteY25" fmla="*/ 1371541 h 2966042"/>
              <a:gd name="connsiteX26" fmla="*/ 343357 w 1489116"/>
              <a:gd name="connsiteY26" fmla="*/ 1460364 h 2966042"/>
              <a:gd name="connsiteX27" fmla="*/ 632858 w 1489116"/>
              <a:gd name="connsiteY27" fmla="*/ 1460364 h 2966042"/>
              <a:gd name="connsiteX28" fmla="*/ 1060930 w 1489116"/>
              <a:gd name="connsiteY28" fmla="*/ 1052533 h 2966042"/>
              <a:gd name="connsiteX29" fmla="*/ 605303 w 1489116"/>
              <a:gd name="connsiteY29" fmla="*/ 0 h 2966042"/>
              <a:gd name="connsiteX30" fmla="*/ 1033488 w 1489116"/>
              <a:gd name="connsiteY30" fmla="*/ 428154 h 2966042"/>
              <a:gd name="connsiteX31" fmla="*/ 605303 w 1489116"/>
              <a:gd name="connsiteY31" fmla="*/ 856307 h 2966042"/>
              <a:gd name="connsiteX32" fmla="*/ 338594 w 1489116"/>
              <a:gd name="connsiteY32" fmla="*/ 763069 h 2966042"/>
              <a:gd name="connsiteX33" fmla="*/ 134027 w 1489116"/>
              <a:gd name="connsiteY33" fmla="*/ 998705 h 2966042"/>
              <a:gd name="connsiteX34" fmla="*/ 134025 w 1489116"/>
              <a:gd name="connsiteY34" fmla="*/ 998703 h 2966042"/>
              <a:gd name="connsiteX35" fmla="*/ 106585 w 1489116"/>
              <a:gd name="connsiteY35" fmla="*/ 974674 h 2966042"/>
              <a:gd name="connsiteX36" fmla="*/ 311039 w 1489116"/>
              <a:gd name="connsiteY36" fmla="*/ 739176 h 2966042"/>
              <a:gd name="connsiteX37" fmla="*/ 177117 w 1489116"/>
              <a:gd name="connsiteY37" fmla="*/ 428154 h 2966042"/>
              <a:gd name="connsiteX38" fmla="*/ 605303 w 1489116"/>
              <a:gd name="connsiteY38"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38859 w 1489116"/>
              <a:gd name="connsiteY22" fmla="*/ 1545362 h 2966042"/>
              <a:gd name="connsiteX23" fmla="*/ 343355 w 1489116"/>
              <a:gd name="connsiteY23" fmla="*/ 1493730 h 2966042"/>
              <a:gd name="connsiteX24" fmla="*/ 343355 w 1489116"/>
              <a:gd name="connsiteY24" fmla="*/ 1460362 h 2966042"/>
              <a:gd name="connsiteX25" fmla="*/ 343357 w 1489116"/>
              <a:gd name="connsiteY25" fmla="*/ 1460364 h 2966042"/>
              <a:gd name="connsiteX26" fmla="*/ 632858 w 1489116"/>
              <a:gd name="connsiteY26" fmla="*/ 1460364 h 2966042"/>
              <a:gd name="connsiteX27" fmla="*/ 1060930 w 1489116"/>
              <a:gd name="connsiteY27" fmla="*/ 1052533 h 2966042"/>
              <a:gd name="connsiteX28" fmla="*/ 605303 w 1489116"/>
              <a:gd name="connsiteY28" fmla="*/ 0 h 2966042"/>
              <a:gd name="connsiteX29" fmla="*/ 1033488 w 1489116"/>
              <a:gd name="connsiteY29" fmla="*/ 428154 h 2966042"/>
              <a:gd name="connsiteX30" fmla="*/ 605303 w 1489116"/>
              <a:gd name="connsiteY30" fmla="*/ 856307 h 2966042"/>
              <a:gd name="connsiteX31" fmla="*/ 338594 w 1489116"/>
              <a:gd name="connsiteY31" fmla="*/ 763069 h 2966042"/>
              <a:gd name="connsiteX32" fmla="*/ 134027 w 1489116"/>
              <a:gd name="connsiteY32" fmla="*/ 998705 h 2966042"/>
              <a:gd name="connsiteX33" fmla="*/ 134025 w 1489116"/>
              <a:gd name="connsiteY33" fmla="*/ 998703 h 2966042"/>
              <a:gd name="connsiteX34" fmla="*/ 106585 w 1489116"/>
              <a:gd name="connsiteY34" fmla="*/ 974674 h 2966042"/>
              <a:gd name="connsiteX35" fmla="*/ 311039 w 1489116"/>
              <a:gd name="connsiteY35" fmla="*/ 739176 h 2966042"/>
              <a:gd name="connsiteX36" fmla="*/ 177117 w 1489116"/>
              <a:gd name="connsiteY36" fmla="*/ 428154 h 2966042"/>
              <a:gd name="connsiteX37" fmla="*/ 605303 w 1489116"/>
              <a:gd name="connsiteY37"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38861 w 1489116"/>
              <a:gd name="connsiteY21" fmla="*/ 1545363 h 2966042"/>
              <a:gd name="connsiteX22" fmla="*/ 343355 w 1489116"/>
              <a:gd name="connsiteY22" fmla="*/ 1493730 h 2966042"/>
              <a:gd name="connsiteX23" fmla="*/ 343355 w 1489116"/>
              <a:gd name="connsiteY23" fmla="*/ 1460362 h 2966042"/>
              <a:gd name="connsiteX24" fmla="*/ 343357 w 1489116"/>
              <a:gd name="connsiteY24" fmla="*/ 1460364 h 2966042"/>
              <a:gd name="connsiteX25" fmla="*/ 632858 w 1489116"/>
              <a:gd name="connsiteY25" fmla="*/ 1460364 h 2966042"/>
              <a:gd name="connsiteX26" fmla="*/ 1060930 w 1489116"/>
              <a:gd name="connsiteY26" fmla="*/ 1052533 h 2966042"/>
              <a:gd name="connsiteX27" fmla="*/ 605303 w 1489116"/>
              <a:gd name="connsiteY27" fmla="*/ 0 h 2966042"/>
              <a:gd name="connsiteX28" fmla="*/ 1033488 w 1489116"/>
              <a:gd name="connsiteY28" fmla="*/ 428154 h 2966042"/>
              <a:gd name="connsiteX29" fmla="*/ 605303 w 1489116"/>
              <a:gd name="connsiteY29" fmla="*/ 856307 h 2966042"/>
              <a:gd name="connsiteX30" fmla="*/ 338594 w 1489116"/>
              <a:gd name="connsiteY30" fmla="*/ 763069 h 2966042"/>
              <a:gd name="connsiteX31" fmla="*/ 134027 w 1489116"/>
              <a:gd name="connsiteY31" fmla="*/ 998705 h 2966042"/>
              <a:gd name="connsiteX32" fmla="*/ 134025 w 1489116"/>
              <a:gd name="connsiteY32" fmla="*/ 998703 h 2966042"/>
              <a:gd name="connsiteX33" fmla="*/ 106585 w 1489116"/>
              <a:gd name="connsiteY33" fmla="*/ 974674 h 2966042"/>
              <a:gd name="connsiteX34" fmla="*/ 311039 w 1489116"/>
              <a:gd name="connsiteY34" fmla="*/ 739176 h 2966042"/>
              <a:gd name="connsiteX35" fmla="*/ 177117 w 1489116"/>
              <a:gd name="connsiteY35" fmla="*/ 428154 h 2966042"/>
              <a:gd name="connsiteX36" fmla="*/ 605303 w 1489116"/>
              <a:gd name="connsiteY36"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0 w 1489116"/>
              <a:gd name="connsiteY3" fmla="*/ 2049861 h 2966042"/>
              <a:gd name="connsiteX4" fmla="*/ 65874 w 1489116"/>
              <a:gd name="connsiteY4" fmla="*/ 2010452 h 2966042"/>
              <a:gd name="connsiteX5" fmla="*/ 80275 w 1489116"/>
              <a:gd name="connsiteY5" fmla="*/ 1999742 h 2966042"/>
              <a:gd name="connsiteX6" fmla="*/ 80277 w 1489116"/>
              <a:gd name="connsiteY6" fmla="*/ 1999744 h 2966042"/>
              <a:gd name="connsiteX7" fmla="*/ 311039 w 1489116"/>
              <a:gd name="connsiteY7" fmla="*/ 2225767 h 2966042"/>
              <a:gd name="connsiteX8" fmla="*/ 604055 w 1489116"/>
              <a:gd name="connsiteY8" fmla="*/ 2109735 h 2966042"/>
              <a:gd name="connsiteX9" fmla="*/ 1032241 w 1489116"/>
              <a:gd name="connsiteY9" fmla="*/ 2537888 h 2966042"/>
              <a:gd name="connsiteX10" fmla="*/ 604055 w 1489116"/>
              <a:gd name="connsiteY10" fmla="*/ 2966042 h 2966042"/>
              <a:gd name="connsiteX11" fmla="*/ 175983 w 1489116"/>
              <a:gd name="connsiteY11" fmla="*/ 2537888 h 2966042"/>
              <a:gd name="connsiteX12" fmla="*/ 285978 w 1489116"/>
              <a:gd name="connsiteY12" fmla="*/ 2251995 h 2966042"/>
              <a:gd name="connsiteX13" fmla="*/ 52721 w 1489116"/>
              <a:gd name="connsiteY13" fmla="*/ 2023637 h 2966042"/>
              <a:gd name="connsiteX14" fmla="*/ 52750 w 1489116"/>
              <a:gd name="connsiteY14" fmla="*/ 2023609 h 2966042"/>
              <a:gd name="connsiteX15" fmla="*/ 80275 w 1489116"/>
              <a:gd name="connsiteY15" fmla="*/ 1999742 h 2966042"/>
              <a:gd name="connsiteX16" fmla="*/ 1060930 w 1489116"/>
              <a:gd name="connsiteY16" fmla="*/ 1052533 h 2966042"/>
              <a:gd name="connsiteX17" fmla="*/ 1489116 w 1489116"/>
              <a:gd name="connsiteY17" fmla="*/ 1478215 h 2966042"/>
              <a:gd name="connsiteX18" fmla="*/ 1060930 w 1489116"/>
              <a:gd name="connsiteY18" fmla="*/ 1906369 h 2966042"/>
              <a:gd name="connsiteX19" fmla="*/ 632745 w 1489116"/>
              <a:gd name="connsiteY19" fmla="*/ 1493732 h 2966042"/>
              <a:gd name="connsiteX20" fmla="*/ 343357 w 1489116"/>
              <a:gd name="connsiteY20" fmla="*/ 1493732 h 2966042"/>
              <a:gd name="connsiteX21" fmla="*/ 343355 w 1489116"/>
              <a:gd name="connsiteY21" fmla="*/ 1493730 h 2966042"/>
              <a:gd name="connsiteX22" fmla="*/ 343355 w 1489116"/>
              <a:gd name="connsiteY22" fmla="*/ 1460362 h 2966042"/>
              <a:gd name="connsiteX23" fmla="*/ 343357 w 1489116"/>
              <a:gd name="connsiteY23" fmla="*/ 1460364 h 2966042"/>
              <a:gd name="connsiteX24" fmla="*/ 632858 w 1489116"/>
              <a:gd name="connsiteY24" fmla="*/ 1460364 h 2966042"/>
              <a:gd name="connsiteX25" fmla="*/ 1060930 w 1489116"/>
              <a:gd name="connsiteY25" fmla="*/ 1052533 h 2966042"/>
              <a:gd name="connsiteX26" fmla="*/ 605303 w 1489116"/>
              <a:gd name="connsiteY26" fmla="*/ 0 h 2966042"/>
              <a:gd name="connsiteX27" fmla="*/ 1033488 w 1489116"/>
              <a:gd name="connsiteY27" fmla="*/ 428154 h 2966042"/>
              <a:gd name="connsiteX28" fmla="*/ 605303 w 1489116"/>
              <a:gd name="connsiteY28" fmla="*/ 856307 h 2966042"/>
              <a:gd name="connsiteX29" fmla="*/ 338594 w 1489116"/>
              <a:gd name="connsiteY29" fmla="*/ 763069 h 2966042"/>
              <a:gd name="connsiteX30" fmla="*/ 134027 w 1489116"/>
              <a:gd name="connsiteY30" fmla="*/ 998705 h 2966042"/>
              <a:gd name="connsiteX31" fmla="*/ 134025 w 1489116"/>
              <a:gd name="connsiteY31" fmla="*/ 998703 h 2966042"/>
              <a:gd name="connsiteX32" fmla="*/ 106585 w 1489116"/>
              <a:gd name="connsiteY32" fmla="*/ 974674 h 2966042"/>
              <a:gd name="connsiteX33" fmla="*/ 311039 w 1489116"/>
              <a:gd name="connsiteY33" fmla="*/ 739176 h 2966042"/>
              <a:gd name="connsiteX34" fmla="*/ 177117 w 1489116"/>
              <a:gd name="connsiteY34" fmla="*/ 428154 h 2966042"/>
              <a:gd name="connsiteX35" fmla="*/ 605303 w 1489116"/>
              <a:gd name="connsiteY35" fmla="*/ 0 h 2966042"/>
              <a:gd name="connsiteX0" fmla="*/ 65874 w 1489116"/>
              <a:gd name="connsiteY0" fmla="*/ 2010452 h 2966042"/>
              <a:gd name="connsiteX1" fmla="*/ 65865 w 1489116"/>
              <a:gd name="connsiteY1" fmla="*/ 2010461 h 2966042"/>
              <a:gd name="connsiteX2" fmla="*/ 0 w 1489116"/>
              <a:gd name="connsiteY2" fmla="*/ 2049865 h 2966042"/>
              <a:gd name="connsiteX3" fmla="*/ 65874 w 1489116"/>
              <a:gd name="connsiteY3" fmla="*/ 2010452 h 2966042"/>
              <a:gd name="connsiteX4" fmla="*/ 80275 w 1489116"/>
              <a:gd name="connsiteY4" fmla="*/ 1999742 h 2966042"/>
              <a:gd name="connsiteX5" fmla="*/ 80277 w 1489116"/>
              <a:gd name="connsiteY5" fmla="*/ 1999744 h 2966042"/>
              <a:gd name="connsiteX6" fmla="*/ 311039 w 1489116"/>
              <a:gd name="connsiteY6" fmla="*/ 2225767 h 2966042"/>
              <a:gd name="connsiteX7" fmla="*/ 604055 w 1489116"/>
              <a:gd name="connsiteY7" fmla="*/ 2109735 h 2966042"/>
              <a:gd name="connsiteX8" fmla="*/ 1032241 w 1489116"/>
              <a:gd name="connsiteY8" fmla="*/ 2537888 h 2966042"/>
              <a:gd name="connsiteX9" fmla="*/ 604055 w 1489116"/>
              <a:gd name="connsiteY9" fmla="*/ 2966042 h 2966042"/>
              <a:gd name="connsiteX10" fmla="*/ 175983 w 1489116"/>
              <a:gd name="connsiteY10" fmla="*/ 2537888 h 2966042"/>
              <a:gd name="connsiteX11" fmla="*/ 285978 w 1489116"/>
              <a:gd name="connsiteY11" fmla="*/ 2251995 h 2966042"/>
              <a:gd name="connsiteX12" fmla="*/ 52721 w 1489116"/>
              <a:gd name="connsiteY12" fmla="*/ 2023637 h 2966042"/>
              <a:gd name="connsiteX13" fmla="*/ 52750 w 1489116"/>
              <a:gd name="connsiteY13" fmla="*/ 2023609 h 2966042"/>
              <a:gd name="connsiteX14" fmla="*/ 80275 w 1489116"/>
              <a:gd name="connsiteY14" fmla="*/ 1999742 h 2966042"/>
              <a:gd name="connsiteX15" fmla="*/ 1060930 w 1489116"/>
              <a:gd name="connsiteY15" fmla="*/ 1052533 h 2966042"/>
              <a:gd name="connsiteX16" fmla="*/ 1489116 w 1489116"/>
              <a:gd name="connsiteY16" fmla="*/ 1478215 h 2966042"/>
              <a:gd name="connsiteX17" fmla="*/ 1060930 w 1489116"/>
              <a:gd name="connsiteY17" fmla="*/ 1906369 h 2966042"/>
              <a:gd name="connsiteX18" fmla="*/ 632745 w 1489116"/>
              <a:gd name="connsiteY18" fmla="*/ 1493732 h 2966042"/>
              <a:gd name="connsiteX19" fmla="*/ 343357 w 1489116"/>
              <a:gd name="connsiteY19" fmla="*/ 1493732 h 2966042"/>
              <a:gd name="connsiteX20" fmla="*/ 343355 w 1489116"/>
              <a:gd name="connsiteY20" fmla="*/ 1493730 h 2966042"/>
              <a:gd name="connsiteX21" fmla="*/ 343355 w 1489116"/>
              <a:gd name="connsiteY21" fmla="*/ 1460362 h 2966042"/>
              <a:gd name="connsiteX22" fmla="*/ 343357 w 1489116"/>
              <a:gd name="connsiteY22" fmla="*/ 1460364 h 2966042"/>
              <a:gd name="connsiteX23" fmla="*/ 632858 w 1489116"/>
              <a:gd name="connsiteY23" fmla="*/ 1460364 h 2966042"/>
              <a:gd name="connsiteX24" fmla="*/ 1060930 w 1489116"/>
              <a:gd name="connsiteY24" fmla="*/ 1052533 h 2966042"/>
              <a:gd name="connsiteX25" fmla="*/ 605303 w 1489116"/>
              <a:gd name="connsiteY25" fmla="*/ 0 h 2966042"/>
              <a:gd name="connsiteX26" fmla="*/ 1033488 w 1489116"/>
              <a:gd name="connsiteY26" fmla="*/ 428154 h 2966042"/>
              <a:gd name="connsiteX27" fmla="*/ 605303 w 1489116"/>
              <a:gd name="connsiteY27" fmla="*/ 856307 h 2966042"/>
              <a:gd name="connsiteX28" fmla="*/ 338594 w 1489116"/>
              <a:gd name="connsiteY28" fmla="*/ 763069 h 2966042"/>
              <a:gd name="connsiteX29" fmla="*/ 134027 w 1489116"/>
              <a:gd name="connsiteY29" fmla="*/ 998705 h 2966042"/>
              <a:gd name="connsiteX30" fmla="*/ 134025 w 1489116"/>
              <a:gd name="connsiteY30" fmla="*/ 998703 h 2966042"/>
              <a:gd name="connsiteX31" fmla="*/ 106585 w 1489116"/>
              <a:gd name="connsiteY31" fmla="*/ 974674 h 2966042"/>
              <a:gd name="connsiteX32" fmla="*/ 311039 w 1489116"/>
              <a:gd name="connsiteY32" fmla="*/ 739176 h 2966042"/>
              <a:gd name="connsiteX33" fmla="*/ 177117 w 1489116"/>
              <a:gd name="connsiteY33" fmla="*/ 428154 h 2966042"/>
              <a:gd name="connsiteX34" fmla="*/ 605303 w 1489116"/>
              <a:gd name="connsiteY34" fmla="*/ 0 h 2966042"/>
              <a:gd name="connsiteX0" fmla="*/ 13153 w 1436395"/>
              <a:gd name="connsiteY0" fmla="*/ 2010452 h 2966042"/>
              <a:gd name="connsiteX1" fmla="*/ 13144 w 1436395"/>
              <a:gd name="connsiteY1" fmla="*/ 2010461 h 2966042"/>
              <a:gd name="connsiteX2" fmla="*/ 13153 w 1436395"/>
              <a:gd name="connsiteY2" fmla="*/ 2010452 h 2966042"/>
              <a:gd name="connsiteX3" fmla="*/ 27554 w 1436395"/>
              <a:gd name="connsiteY3" fmla="*/ 1999742 h 2966042"/>
              <a:gd name="connsiteX4" fmla="*/ 27556 w 1436395"/>
              <a:gd name="connsiteY4" fmla="*/ 1999744 h 2966042"/>
              <a:gd name="connsiteX5" fmla="*/ 258318 w 1436395"/>
              <a:gd name="connsiteY5" fmla="*/ 2225767 h 2966042"/>
              <a:gd name="connsiteX6" fmla="*/ 551334 w 1436395"/>
              <a:gd name="connsiteY6" fmla="*/ 2109735 h 2966042"/>
              <a:gd name="connsiteX7" fmla="*/ 979520 w 1436395"/>
              <a:gd name="connsiteY7" fmla="*/ 2537888 h 2966042"/>
              <a:gd name="connsiteX8" fmla="*/ 551334 w 1436395"/>
              <a:gd name="connsiteY8" fmla="*/ 2966042 h 2966042"/>
              <a:gd name="connsiteX9" fmla="*/ 123262 w 1436395"/>
              <a:gd name="connsiteY9" fmla="*/ 2537888 h 2966042"/>
              <a:gd name="connsiteX10" fmla="*/ 233257 w 1436395"/>
              <a:gd name="connsiteY10" fmla="*/ 2251995 h 2966042"/>
              <a:gd name="connsiteX11" fmla="*/ 0 w 1436395"/>
              <a:gd name="connsiteY11" fmla="*/ 2023637 h 2966042"/>
              <a:gd name="connsiteX12" fmla="*/ 29 w 1436395"/>
              <a:gd name="connsiteY12" fmla="*/ 2023609 h 2966042"/>
              <a:gd name="connsiteX13" fmla="*/ 27554 w 1436395"/>
              <a:gd name="connsiteY13" fmla="*/ 1999742 h 2966042"/>
              <a:gd name="connsiteX14" fmla="*/ 1008209 w 1436395"/>
              <a:gd name="connsiteY14" fmla="*/ 1052533 h 2966042"/>
              <a:gd name="connsiteX15" fmla="*/ 1436395 w 1436395"/>
              <a:gd name="connsiteY15" fmla="*/ 1478215 h 2966042"/>
              <a:gd name="connsiteX16" fmla="*/ 1008209 w 1436395"/>
              <a:gd name="connsiteY16" fmla="*/ 1906369 h 2966042"/>
              <a:gd name="connsiteX17" fmla="*/ 580024 w 1436395"/>
              <a:gd name="connsiteY17" fmla="*/ 1493732 h 2966042"/>
              <a:gd name="connsiteX18" fmla="*/ 290636 w 1436395"/>
              <a:gd name="connsiteY18" fmla="*/ 1493732 h 2966042"/>
              <a:gd name="connsiteX19" fmla="*/ 290634 w 1436395"/>
              <a:gd name="connsiteY19" fmla="*/ 1493730 h 2966042"/>
              <a:gd name="connsiteX20" fmla="*/ 290634 w 1436395"/>
              <a:gd name="connsiteY20" fmla="*/ 1460362 h 2966042"/>
              <a:gd name="connsiteX21" fmla="*/ 290636 w 1436395"/>
              <a:gd name="connsiteY21" fmla="*/ 1460364 h 2966042"/>
              <a:gd name="connsiteX22" fmla="*/ 580137 w 1436395"/>
              <a:gd name="connsiteY22" fmla="*/ 1460364 h 2966042"/>
              <a:gd name="connsiteX23" fmla="*/ 1008209 w 1436395"/>
              <a:gd name="connsiteY23" fmla="*/ 1052533 h 2966042"/>
              <a:gd name="connsiteX24" fmla="*/ 552582 w 1436395"/>
              <a:gd name="connsiteY24" fmla="*/ 0 h 2966042"/>
              <a:gd name="connsiteX25" fmla="*/ 980767 w 1436395"/>
              <a:gd name="connsiteY25" fmla="*/ 428154 h 2966042"/>
              <a:gd name="connsiteX26" fmla="*/ 552582 w 1436395"/>
              <a:gd name="connsiteY26" fmla="*/ 856307 h 2966042"/>
              <a:gd name="connsiteX27" fmla="*/ 285873 w 1436395"/>
              <a:gd name="connsiteY27" fmla="*/ 763069 h 2966042"/>
              <a:gd name="connsiteX28" fmla="*/ 81306 w 1436395"/>
              <a:gd name="connsiteY28" fmla="*/ 998705 h 2966042"/>
              <a:gd name="connsiteX29" fmla="*/ 81304 w 1436395"/>
              <a:gd name="connsiteY29" fmla="*/ 998703 h 2966042"/>
              <a:gd name="connsiteX30" fmla="*/ 53864 w 1436395"/>
              <a:gd name="connsiteY30" fmla="*/ 974674 h 2966042"/>
              <a:gd name="connsiteX31" fmla="*/ 258318 w 1436395"/>
              <a:gd name="connsiteY31" fmla="*/ 739176 h 2966042"/>
              <a:gd name="connsiteX32" fmla="*/ 124396 w 1436395"/>
              <a:gd name="connsiteY32" fmla="*/ 428154 h 2966042"/>
              <a:gd name="connsiteX33" fmla="*/ 552582 w 1436395"/>
              <a:gd name="connsiteY33" fmla="*/ 0 h 296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6395" h="2966042">
                <a:moveTo>
                  <a:pt x="13153" y="2010452"/>
                </a:moveTo>
                <a:lnTo>
                  <a:pt x="13144" y="2010461"/>
                </a:lnTo>
                <a:lnTo>
                  <a:pt x="13153" y="2010452"/>
                </a:lnTo>
                <a:close/>
                <a:moveTo>
                  <a:pt x="27554" y="1999742"/>
                </a:moveTo>
                <a:cubicBezTo>
                  <a:pt x="32142" y="1995765"/>
                  <a:pt x="-10905" y="1962073"/>
                  <a:pt x="27556" y="1999744"/>
                </a:cubicBezTo>
                <a:lnTo>
                  <a:pt x="258318" y="2225767"/>
                </a:lnTo>
                <a:cubicBezTo>
                  <a:pt x="334860" y="2153951"/>
                  <a:pt x="437711" y="2109735"/>
                  <a:pt x="551334" y="2109735"/>
                </a:cubicBezTo>
                <a:cubicBezTo>
                  <a:pt x="788220" y="2109735"/>
                  <a:pt x="979520" y="2301017"/>
                  <a:pt x="979520" y="2537888"/>
                </a:cubicBezTo>
                <a:cubicBezTo>
                  <a:pt x="979520" y="2774623"/>
                  <a:pt x="788220" y="2966042"/>
                  <a:pt x="551334" y="2966042"/>
                </a:cubicBezTo>
                <a:cubicBezTo>
                  <a:pt x="314562" y="2966042"/>
                  <a:pt x="123262" y="2774623"/>
                  <a:pt x="123262" y="2537888"/>
                </a:cubicBezTo>
                <a:cubicBezTo>
                  <a:pt x="123262" y="2427898"/>
                  <a:pt x="165106" y="2327382"/>
                  <a:pt x="233257" y="2251995"/>
                </a:cubicBezTo>
                <a:lnTo>
                  <a:pt x="0" y="2023637"/>
                </a:lnTo>
                <a:cubicBezTo>
                  <a:pt x="10" y="2023628"/>
                  <a:pt x="19" y="2023618"/>
                  <a:pt x="29" y="2023609"/>
                </a:cubicBezTo>
                <a:lnTo>
                  <a:pt x="27554" y="1999742"/>
                </a:lnTo>
                <a:close/>
                <a:moveTo>
                  <a:pt x="1008209" y="1052533"/>
                </a:moveTo>
                <a:cubicBezTo>
                  <a:pt x="1243847" y="1052533"/>
                  <a:pt x="1436395" y="1241481"/>
                  <a:pt x="1436395" y="1478215"/>
                </a:cubicBezTo>
                <a:cubicBezTo>
                  <a:pt x="1436395" y="1715087"/>
                  <a:pt x="1244981" y="1906369"/>
                  <a:pt x="1008209" y="1906369"/>
                </a:cubicBezTo>
                <a:cubicBezTo>
                  <a:pt x="776200" y="1906369"/>
                  <a:pt x="588415" y="1723463"/>
                  <a:pt x="580024" y="1493732"/>
                </a:cubicBezTo>
                <a:lnTo>
                  <a:pt x="290636" y="1493732"/>
                </a:lnTo>
                <a:lnTo>
                  <a:pt x="290634" y="1493730"/>
                </a:lnTo>
                <a:lnTo>
                  <a:pt x="290634" y="1460362"/>
                </a:lnTo>
                <a:lnTo>
                  <a:pt x="290636" y="1460364"/>
                </a:lnTo>
                <a:lnTo>
                  <a:pt x="580137" y="1460364"/>
                </a:lnTo>
                <a:cubicBezTo>
                  <a:pt x="590796" y="1233105"/>
                  <a:pt x="778581" y="1052533"/>
                  <a:pt x="1008209" y="1052533"/>
                </a:cubicBezTo>
                <a:close/>
                <a:moveTo>
                  <a:pt x="552582" y="0"/>
                </a:moveTo>
                <a:cubicBezTo>
                  <a:pt x="789354" y="0"/>
                  <a:pt x="980767" y="191420"/>
                  <a:pt x="980767" y="428154"/>
                </a:cubicBezTo>
                <a:cubicBezTo>
                  <a:pt x="980767" y="665025"/>
                  <a:pt x="789354" y="856307"/>
                  <a:pt x="552582" y="856307"/>
                </a:cubicBezTo>
                <a:cubicBezTo>
                  <a:pt x="452113" y="856307"/>
                  <a:pt x="358787" y="821704"/>
                  <a:pt x="285873" y="763069"/>
                </a:cubicBezTo>
                <a:lnTo>
                  <a:pt x="81306" y="998705"/>
                </a:lnTo>
                <a:lnTo>
                  <a:pt x="81304" y="998703"/>
                </a:lnTo>
                <a:lnTo>
                  <a:pt x="53864" y="974674"/>
                </a:lnTo>
                <a:lnTo>
                  <a:pt x="258318" y="739176"/>
                </a:lnTo>
                <a:cubicBezTo>
                  <a:pt x="175878" y="661318"/>
                  <a:pt x="124396" y="551327"/>
                  <a:pt x="124396" y="428154"/>
                </a:cubicBezTo>
                <a:cubicBezTo>
                  <a:pt x="124396" y="191420"/>
                  <a:pt x="315810" y="0"/>
                  <a:pt x="552582" y="0"/>
                </a:cubicBezTo>
                <a:close/>
              </a:path>
            </a:pathLst>
          </a:custGeom>
          <a:solidFill>
            <a:srgbClr val="4CC1EF">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sp>
        <p:nvSpPr>
          <p:cNvPr id="149" name="Freeform: Shape 148">
            <a:extLst>
              <a:ext uri="{FF2B5EF4-FFF2-40B4-BE49-F238E27FC236}">
                <a16:creationId xmlns:a16="http://schemas.microsoft.com/office/drawing/2014/main" id="{61640169-7BE4-3827-DBA0-D585426634B2}"/>
              </a:ext>
            </a:extLst>
          </p:cNvPr>
          <p:cNvSpPr/>
          <p:nvPr/>
        </p:nvSpPr>
        <p:spPr>
          <a:xfrm>
            <a:off x="3578878" y="999881"/>
            <a:ext cx="2594527" cy="1435333"/>
          </a:xfrm>
          <a:custGeom>
            <a:avLst/>
            <a:gdLst>
              <a:gd name="connsiteX0" fmla="*/ 2025425 w 3461170"/>
              <a:gd name="connsiteY0" fmla="*/ 1075174 h 2138418"/>
              <a:gd name="connsiteX1" fmla="*/ 2025425 w 3461170"/>
              <a:gd name="connsiteY1" fmla="*/ 1075174 h 2138418"/>
              <a:gd name="connsiteX2" fmla="*/ 1973007 w 3461170"/>
              <a:gd name="connsiteY2" fmla="*/ 1086850 h 2138418"/>
              <a:gd name="connsiteX3" fmla="*/ 1929122 w 3461170"/>
              <a:gd name="connsiteY3" fmla="*/ 1121878 h 2138418"/>
              <a:gd name="connsiteX4" fmla="*/ 1804776 w 3461170"/>
              <a:gd name="connsiteY4" fmla="*/ 1486597 h 2138418"/>
              <a:gd name="connsiteX5" fmla="*/ 1929122 w 3461170"/>
              <a:gd name="connsiteY5" fmla="*/ 1851415 h 2138418"/>
              <a:gd name="connsiteX6" fmla="*/ 1973007 w 3461170"/>
              <a:gd name="connsiteY6" fmla="*/ 1886387 h 2138418"/>
              <a:gd name="connsiteX7" fmla="*/ 2025425 w 3461170"/>
              <a:gd name="connsiteY7" fmla="*/ 1898044 h 2138418"/>
              <a:gd name="connsiteX8" fmla="*/ 2025425 w 3461170"/>
              <a:gd name="connsiteY8" fmla="*/ 1898044 h 2138418"/>
              <a:gd name="connsiteX9" fmla="*/ 1929121 w 3461170"/>
              <a:gd name="connsiteY9" fmla="*/ 1851415 h 2138418"/>
              <a:gd name="connsiteX10" fmla="*/ 1804776 w 3461170"/>
              <a:gd name="connsiteY10" fmla="*/ 1486597 h 2138418"/>
              <a:gd name="connsiteX11" fmla="*/ 1929121 w 3461170"/>
              <a:gd name="connsiteY11" fmla="*/ 1121878 h 2138418"/>
              <a:gd name="connsiteX12" fmla="*/ 2025425 w 3461170"/>
              <a:gd name="connsiteY12" fmla="*/ 1075174 h 2138418"/>
              <a:gd name="connsiteX13" fmla="*/ 1652869 w 3461170"/>
              <a:gd name="connsiteY13" fmla="*/ 834775 h 2138418"/>
              <a:gd name="connsiteX14" fmla="*/ 1943328 w 3461170"/>
              <a:gd name="connsiteY14" fmla="*/ 903397 h 2138418"/>
              <a:gd name="connsiteX15" fmla="*/ 2027187 w 3461170"/>
              <a:gd name="connsiteY15" fmla="*/ 953179 h 2138418"/>
              <a:gd name="connsiteX16" fmla="*/ 2027188 w 3461170"/>
              <a:gd name="connsiteY16" fmla="*/ 953180 h 2138418"/>
              <a:gd name="connsiteX17" fmla="*/ 1652869 w 3461170"/>
              <a:gd name="connsiteY17" fmla="*/ 834775 h 2138418"/>
              <a:gd name="connsiteX18" fmla="*/ 428160 w 3461170"/>
              <a:gd name="connsiteY18" fmla="*/ 426991 h 2138418"/>
              <a:gd name="connsiteX19" fmla="*/ 856319 w 3461170"/>
              <a:gd name="connsiteY19" fmla="*/ 855169 h 2138418"/>
              <a:gd name="connsiteX20" fmla="*/ 818022 w 3461170"/>
              <a:gd name="connsiteY20" fmla="*/ 1032084 h 2138418"/>
              <a:gd name="connsiteX21" fmla="*/ 1078732 w 3461170"/>
              <a:gd name="connsiteY21" fmla="*/ 1176823 h 2138418"/>
              <a:gd name="connsiteX22" fmla="*/ 1062067 w 3461170"/>
              <a:gd name="connsiteY22" fmla="*/ 1209097 h 2138418"/>
              <a:gd name="connsiteX23" fmla="*/ 999894 w 3461170"/>
              <a:gd name="connsiteY23" fmla="*/ 1486597 h 2138418"/>
              <a:gd name="connsiteX24" fmla="*/ 1651587 w 3461170"/>
              <a:gd name="connsiteY24" fmla="*/ 2138418 h 2138418"/>
              <a:gd name="connsiteX25" fmla="*/ 999894 w 3461170"/>
              <a:gd name="connsiteY25" fmla="*/ 1486597 h 2138418"/>
              <a:gd name="connsiteX26" fmla="*/ 1062067 w 3461170"/>
              <a:gd name="connsiteY26" fmla="*/ 1209097 h 2138418"/>
              <a:gd name="connsiteX27" fmla="*/ 801357 w 3461170"/>
              <a:gd name="connsiteY27" fmla="*/ 1064457 h 2138418"/>
              <a:gd name="connsiteX28" fmla="*/ 428160 w 3461170"/>
              <a:gd name="connsiteY28" fmla="*/ 1283249 h 2138418"/>
              <a:gd name="connsiteX29" fmla="*/ 0 w 3461170"/>
              <a:gd name="connsiteY29" fmla="*/ 855169 h 2138418"/>
              <a:gd name="connsiteX30" fmla="*/ 428160 w 3461170"/>
              <a:gd name="connsiteY30" fmla="*/ 426991 h 2138418"/>
              <a:gd name="connsiteX31" fmla="*/ 2577290 w 3461170"/>
              <a:gd name="connsiteY31" fmla="*/ 0 h 2138418"/>
              <a:gd name="connsiteX32" fmla="*/ 3005449 w 3461170"/>
              <a:gd name="connsiteY32" fmla="*/ 428179 h 2138418"/>
              <a:gd name="connsiteX33" fmla="*/ 2577290 w 3461170"/>
              <a:gd name="connsiteY33" fmla="*/ 856357 h 2138418"/>
              <a:gd name="connsiteX34" fmla="*/ 2279565 w 3461170"/>
              <a:gd name="connsiteY34" fmla="*/ 735576 h 2138418"/>
              <a:gd name="connsiteX35" fmla="*/ 2040328 w 3461170"/>
              <a:gd name="connsiteY35" fmla="*/ 962783 h 2138418"/>
              <a:gd name="connsiteX36" fmla="*/ 2303441 w 3461170"/>
              <a:gd name="connsiteY36" fmla="*/ 1468678 h 2138418"/>
              <a:gd name="connsiteX37" fmla="*/ 2605973 w 3461170"/>
              <a:gd name="connsiteY37" fmla="*/ 1468678 h 2138418"/>
              <a:gd name="connsiteX38" fmla="*/ 3034132 w 3461170"/>
              <a:gd name="connsiteY38" fmla="*/ 1058418 h 2138418"/>
              <a:gd name="connsiteX39" fmla="*/ 3461170 w 3461170"/>
              <a:gd name="connsiteY39" fmla="*/ 1486597 h 2138418"/>
              <a:gd name="connsiteX40" fmla="*/ 3033011 w 3461170"/>
              <a:gd name="connsiteY40" fmla="*/ 1914775 h 2138418"/>
              <a:gd name="connsiteX41" fmla="*/ 2604851 w 3461170"/>
              <a:gd name="connsiteY41" fmla="*/ 1504516 h 2138418"/>
              <a:gd name="connsiteX42" fmla="*/ 2303441 w 3461170"/>
              <a:gd name="connsiteY42" fmla="*/ 1504516 h 2138418"/>
              <a:gd name="connsiteX43" fmla="*/ 1651587 w 3461170"/>
              <a:gd name="connsiteY43" fmla="*/ 2138418 h 2138418"/>
              <a:gd name="connsiteX44" fmla="*/ 2303440 w 3461170"/>
              <a:gd name="connsiteY44" fmla="*/ 1504516 h 2138418"/>
              <a:gd name="connsiteX45" fmla="*/ 2303440 w 3461170"/>
              <a:gd name="connsiteY45" fmla="*/ 1468678 h 2138418"/>
              <a:gd name="connsiteX46" fmla="*/ 2040327 w 3461170"/>
              <a:gd name="connsiteY46" fmla="*/ 962783 h 2138418"/>
              <a:gd name="connsiteX47" fmla="*/ 2014051 w 3461170"/>
              <a:gd name="connsiteY47" fmla="*/ 940015 h 2138418"/>
              <a:gd name="connsiteX48" fmla="*/ 2014049 w 3461170"/>
              <a:gd name="connsiteY48" fmla="*/ 940013 h 2138418"/>
              <a:gd name="connsiteX49" fmla="*/ 2255689 w 3461170"/>
              <a:gd name="connsiteY49" fmla="*/ 710430 h 2138418"/>
              <a:gd name="connsiteX50" fmla="*/ 2149130 w 3461170"/>
              <a:gd name="connsiteY50" fmla="*/ 428179 h 2138418"/>
              <a:gd name="connsiteX51" fmla="*/ 2577290 w 3461170"/>
              <a:gd name="connsiteY51" fmla="*/ 0 h 2138418"/>
              <a:gd name="connsiteX0" fmla="*/ 2025425 w 3461170"/>
              <a:gd name="connsiteY0" fmla="*/ 1075174 h 2142674"/>
              <a:gd name="connsiteX1" fmla="*/ 2025425 w 3461170"/>
              <a:gd name="connsiteY1" fmla="*/ 1075174 h 2142674"/>
              <a:gd name="connsiteX2" fmla="*/ 1973007 w 3461170"/>
              <a:gd name="connsiteY2" fmla="*/ 1086850 h 2142674"/>
              <a:gd name="connsiteX3" fmla="*/ 1929122 w 3461170"/>
              <a:gd name="connsiteY3" fmla="*/ 1121878 h 2142674"/>
              <a:gd name="connsiteX4" fmla="*/ 1804776 w 3461170"/>
              <a:gd name="connsiteY4" fmla="*/ 1486597 h 2142674"/>
              <a:gd name="connsiteX5" fmla="*/ 1929122 w 3461170"/>
              <a:gd name="connsiteY5" fmla="*/ 1851415 h 2142674"/>
              <a:gd name="connsiteX6" fmla="*/ 1973007 w 3461170"/>
              <a:gd name="connsiteY6" fmla="*/ 1886387 h 2142674"/>
              <a:gd name="connsiteX7" fmla="*/ 2025425 w 3461170"/>
              <a:gd name="connsiteY7" fmla="*/ 1898044 h 2142674"/>
              <a:gd name="connsiteX8" fmla="*/ 2025425 w 3461170"/>
              <a:gd name="connsiteY8" fmla="*/ 1898044 h 2142674"/>
              <a:gd name="connsiteX9" fmla="*/ 1929121 w 3461170"/>
              <a:gd name="connsiteY9" fmla="*/ 1851415 h 2142674"/>
              <a:gd name="connsiteX10" fmla="*/ 1804776 w 3461170"/>
              <a:gd name="connsiteY10" fmla="*/ 1486597 h 2142674"/>
              <a:gd name="connsiteX11" fmla="*/ 1929121 w 3461170"/>
              <a:gd name="connsiteY11" fmla="*/ 1121878 h 2142674"/>
              <a:gd name="connsiteX12" fmla="*/ 2025425 w 3461170"/>
              <a:gd name="connsiteY12" fmla="*/ 1075174 h 2142674"/>
              <a:gd name="connsiteX13" fmla="*/ 1652869 w 3461170"/>
              <a:gd name="connsiteY13" fmla="*/ 834775 h 2142674"/>
              <a:gd name="connsiteX14" fmla="*/ 1943328 w 3461170"/>
              <a:gd name="connsiteY14" fmla="*/ 903397 h 2142674"/>
              <a:gd name="connsiteX15" fmla="*/ 2027187 w 3461170"/>
              <a:gd name="connsiteY15" fmla="*/ 953179 h 2142674"/>
              <a:gd name="connsiteX16" fmla="*/ 2027188 w 3461170"/>
              <a:gd name="connsiteY16" fmla="*/ 953180 h 2142674"/>
              <a:gd name="connsiteX17" fmla="*/ 1652869 w 3461170"/>
              <a:gd name="connsiteY17" fmla="*/ 834775 h 2142674"/>
              <a:gd name="connsiteX18" fmla="*/ 428160 w 3461170"/>
              <a:gd name="connsiteY18" fmla="*/ 426991 h 2142674"/>
              <a:gd name="connsiteX19" fmla="*/ 856319 w 3461170"/>
              <a:gd name="connsiteY19" fmla="*/ 855169 h 2142674"/>
              <a:gd name="connsiteX20" fmla="*/ 818022 w 3461170"/>
              <a:gd name="connsiteY20" fmla="*/ 1032084 h 2142674"/>
              <a:gd name="connsiteX21" fmla="*/ 1078732 w 3461170"/>
              <a:gd name="connsiteY21" fmla="*/ 1176823 h 2142674"/>
              <a:gd name="connsiteX22" fmla="*/ 1062067 w 3461170"/>
              <a:gd name="connsiteY22" fmla="*/ 1209097 h 2142674"/>
              <a:gd name="connsiteX23" fmla="*/ 999894 w 3461170"/>
              <a:gd name="connsiteY23" fmla="*/ 1486597 h 2142674"/>
              <a:gd name="connsiteX24" fmla="*/ 1651587 w 3461170"/>
              <a:gd name="connsiteY24" fmla="*/ 2138418 h 2142674"/>
              <a:gd name="connsiteX25" fmla="*/ 1062067 w 3461170"/>
              <a:gd name="connsiteY25" fmla="*/ 1209097 h 2142674"/>
              <a:gd name="connsiteX26" fmla="*/ 801357 w 3461170"/>
              <a:gd name="connsiteY26" fmla="*/ 1064457 h 2142674"/>
              <a:gd name="connsiteX27" fmla="*/ 428160 w 3461170"/>
              <a:gd name="connsiteY27" fmla="*/ 1283249 h 2142674"/>
              <a:gd name="connsiteX28" fmla="*/ 0 w 3461170"/>
              <a:gd name="connsiteY28" fmla="*/ 855169 h 2142674"/>
              <a:gd name="connsiteX29" fmla="*/ 428160 w 3461170"/>
              <a:gd name="connsiteY29" fmla="*/ 426991 h 2142674"/>
              <a:gd name="connsiteX30" fmla="*/ 2577290 w 3461170"/>
              <a:gd name="connsiteY30" fmla="*/ 0 h 2142674"/>
              <a:gd name="connsiteX31" fmla="*/ 3005449 w 3461170"/>
              <a:gd name="connsiteY31" fmla="*/ 428179 h 2142674"/>
              <a:gd name="connsiteX32" fmla="*/ 2577290 w 3461170"/>
              <a:gd name="connsiteY32" fmla="*/ 856357 h 2142674"/>
              <a:gd name="connsiteX33" fmla="*/ 2279565 w 3461170"/>
              <a:gd name="connsiteY33" fmla="*/ 735576 h 2142674"/>
              <a:gd name="connsiteX34" fmla="*/ 2040328 w 3461170"/>
              <a:gd name="connsiteY34" fmla="*/ 962783 h 2142674"/>
              <a:gd name="connsiteX35" fmla="*/ 2303441 w 3461170"/>
              <a:gd name="connsiteY35" fmla="*/ 1468678 h 2142674"/>
              <a:gd name="connsiteX36" fmla="*/ 2605973 w 3461170"/>
              <a:gd name="connsiteY36" fmla="*/ 1468678 h 2142674"/>
              <a:gd name="connsiteX37" fmla="*/ 3034132 w 3461170"/>
              <a:gd name="connsiteY37" fmla="*/ 1058418 h 2142674"/>
              <a:gd name="connsiteX38" fmla="*/ 3461170 w 3461170"/>
              <a:gd name="connsiteY38" fmla="*/ 1486597 h 2142674"/>
              <a:gd name="connsiteX39" fmla="*/ 3033011 w 3461170"/>
              <a:gd name="connsiteY39" fmla="*/ 1914775 h 2142674"/>
              <a:gd name="connsiteX40" fmla="*/ 2604851 w 3461170"/>
              <a:gd name="connsiteY40" fmla="*/ 1504516 h 2142674"/>
              <a:gd name="connsiteX41" fmla="*/ 2303441 w 3461170"/>
              <a:gd name="connsiteY41" fmla="*/ 1504516 h 2142674"/>
              <a:gd name="connsiteX42" fmla="*/ 1651587 w 3461170"/>
              <a:gd name="connsiteY42" fmla="*/ 2138418 h 2142674"/>
              <a:gd name="connsiteX43" fmla="*/ 2303440 w 3461170"/>
              <a:gd name="connsiteY43" fmla="*/ 1504516 h 2142674"/>
              <a:gd name="connsiteX44" fmla="*/ 2303440 w 3461170"/>
              <a:gd name="connsiteY44" fmla="*/ 1468678 h 2142674"/>
              <a:gd name="connsiteX45" fmla="*/ 2040327 w 3461170"/>
              <a:gd name="connsiteY45" fmla="*/ 962783 h 2142674"/>
              <a:gd name="connsiteX46" fmla="*/ 2014051 w 3461170"/>
              <a:gd name="connsiteY46" fmla="*/ 940015 h 2142674"/>
              <a:gd name="connsiteX47" fmla="*/ 2014049 w 3461170"/>
              <a:gd name="connsiteY47" fmla="*/ 940013 h 2142674"/>
              <a:gd name="connsiteX48" fmla="*/ 2255689 w 3461170"/>
              <a:gd name="connsiteY48" fmla="*/ 710430 h 2142674"/>
              <a:gd name="connsiteX49" fmla="*/ 2149130 w 3461170"/>
              <a:gd name="connsiteY49" fmla="*/ 428179 h 2142674"/>
              <a:gd name="connsiteX50" fmla="*/ 2577290 w 3461170"/>
              <a:gd name="connsiteY50" fmla="*/ 0 h 2142674"/>
              <a:gd name="connsiteX0" fmla="*/ 2025425 w 3461170"/>
              <a:gd name="connsiteY0" fmla="*/ 1075174 h 2138418"/>
              <a:gd name="connsiteX1" fmla="*/ 2025425 w 3461170"/>
              <a:gd name="connsiteY1" fmla="*/ 1075174 h 2138418"/>
              <a:gd name="connsiteX2" fmla="*/ 1973007 w 3461170"/>
              <a:gd name="connsiteY2" fmla="*/ 1086850 h 2138418"/>
              <a:gd name="connsiteX3" fmla="*/ 1929122 w 3461170"/>
              <a:gd name="connsiteY3" fmla="*/ 1121878 h 2138418"/>
              <a:gd name="connsiteX4" fmla="*/ 1804776 w 3461170"/>
              <a:gd name="connsiteY4" fmla="*/ 1486597 h 2138418"/>
              <a:gd name="connsiteX5" fmla="*/ 1929122 w 3461170"/>
              <a:gd name="connsiteY5" fmla="*/ 1851415 h 2138418"/>
              <a:gd name="connsiteX6" fmla="*/ 1973007 w 3461170"/>
              <a:gd name="connsiteY6" fmla="*/ 1886387 h 2138418"/>
              <a:gd name="connsiteX7" fmla="*/ 2025425 w 3461170"/>
              <a:gd name="connsiteY7" fmla="*/ 1898044 h 2138418"/>
              <a:gd name="connsiteX8" fmla="*/ 2025425 w 3461170"/>
              <a:gd name="connsiteY8" fmla="*/ 1898044 h 2138418"/>
              <a:gd name="connsiteX9" fmla="*/ 1929121 w 3461170"/>
              <a:gd name="connsiteY9" fmla="*/ 1851415 h 2138418"/>
              <a:gd name="connsiteX10" fmla="*/ 1804776 w 3461170"/>
              <a:gd name="connsiteY10" fmla="*/ 1486597 h 2138418"/>
              <a:gd name="connsiteX11" fmla="*/ 1929121 w 3461170"/>
              <a:gd name="connsiteY11" fmla="*/ 1121878 h 2138418"/>
              <a:gd name="connsiteX12" fmla="*/ 2025425 w 3461170"/>
              <a:gd name="connsiteY12" fmla="*/ 1075174 h 2138418"/>
              <a:gd name="connsiteX13" fmla="*/ 1652869 w 3461170"/>
              <a:gd name="connsiteY13" fmla="*/ 834775 h 2138418"/>
              <a:gd name="connsiteX14" fmla="*/ 1943328 w 3461170"/>
              <a:gd name="connsiteY14" fmla="*/ 903397 h 2138418"/>
              <a:gd name="connsiteX15" fmla="*/ 2027187 w 3461170"/>
              <a:gd name="connsiteY15" fmla="*/ 953179 h 2138418"/>
              <a:gd name="connsiteX16" fmla="*/ 2027188 w 3461170"/>
              <a:gd name="connsiteY16" fmla="*/ 953180 h 2138418"/>
              <a:gd name="connsiteX17" fmla="*/ 1652869 w 3461170"/>
              <a:gd name="connsiteY17" fmla="*/ 834775 h 2138418"/>
              <a:gd name="connsiteX18" fmla="*/ 428160 w 3461170"/>
              <a:gd name="connsiteY18" fmla="*/ 426991 h 2138418"/>
              <a:gd name="connsiteX19" fmla="*/ 856319 w 3461170"/>
              <a:gd name="connsiteY19" fmla="*/ 855169 h 2138418"/>
              <a:gd name="connsiteX20" fmla="*/ 818022 w 3461170"/>
              <a:gd name="connsiteY20" fmla="*/ 1032084 h 2138418"/>
              <a:gd name="connsiteX21" fmla="*/ 1078732 w 3461170"/>
              <a:gd name="connsiteY21" fmla="*/ 1176823 h 2138418"/>
              <a:gd name="connsiteX22" fmla="*/ 1062067 w 3461170"/>
              <a:gd name="connsiteY22" fmla="*/ 1209097 h 2138418"/>
              <a:gd name="connsiteX23" fmla="*/ 1651587 w 3461170"/>
              <a:gd name="connsiteY23" fmla="*/ 2138418 h 2138418"/>
              <a:gd name="connsiteX24" fmla="*/ 1062067 w 3461170"/>
              <a:gd name="connsiteY24" fmla="*/ 1209097 h 2138418"/>
              <a:gd name="connsiteX25" fmla="*/ 801357 w 3461170"/>
              <a:gd name="connsiteY25" fmla="*/ 1064457 h 2138418"/>
              <a:gd name="connsiteX26" fmla="*/ 428160 w 3461170"/>
              <a:gd name="connsiteY26" fmla="*/ 1283249 h 2138418"/>
              <a:gd name="connsiteX27" fmla="*/ 0 w 3461170"/>
              <a:gd name="connsiteY27" fmla="*/ 855169 h 2138418"/>
              <a:gd name="connsiteX28" fmla="*/ 428160 w 3461170"/>
              <a:gd name="connsiteY28" fmla="*/ 426991 h 2138418"/>
              <a:gd name="connsiteX29" fmla="*/ 2577290 w 3461170"/>
              <a:gd name="connsiteY29" fmla="*/ 0 h 2138418"/>
              <a:gd name="connsiteX30" fmla="*/ 3005449 w 3461170"/>
              <a:gd name="connsiteY30" fmla="*/ 428179 h 2138418"/>
              <a:gd name="connsiteX31" fmla="*/ 2577290 w 3461170"/>
              <a:gd name="connsiteY31" fmla="*/ 856357 h 2138418"/>
              <a:gd name="connsiteX32" fmla="*/ 2279565 w 3461170"/>
              <a:gd name="connsiteY32" fmla="*/ 735576 h 2138418"/>
              <a:gd name="connsiteX33" fmla="*/ 2040328 w 3461170"/>
              <a:gd name="connsiteY33" fmla="*/ 962783 h 2138418"/>
              <a:gd name="connsiteX34" fmla="*/ 2303441 w 3461170"/>
              <a:gd name="connsiteY34" fmla="*/ 1468678 h 2138418"/>
              <a:gd name="connsiteX35" fmla="*/ 2605973 w 3461170"/>
              <a:gd name="connsiteY35" fmla="*/ 1468678 h 2138418"/>
              <a:gd name="connsiteX36" fmla="*/ 3034132 w 3461170"/>
              <a:gd name="connsiteY36" fmla="*/ 1058418 h 2138418"/>
              <a:gd name="connsiteX37" fmla="*/ 3461170 w 3461170"/>
              <a:gd name="connsiteY37" fmla="*/ 1486597 h 2138418"/>
              <a:gd name="connsiteX38" fmla="*/ 3033011 w 3461170"/>
              <a:gd name="connsiteY38" fmla="*/ 1914775 h 2138418"/>
              <a:gd name="connsiteX39" fmla="*/ 2604851 w 3461170"/>
              <a:gd name="connsiteY39" fmla="*/ 1504516 h 2138418"/>
              <a:gd name="connsiteX40" fmla="*/ 2303441 w 3461170"/>
              <a:gd name="connsiteY40" fmla="*/ 1504516 h 2138418"/>
              <a:gd name="connsiteX41" fmla="*/ 1651587 w 3461170"/>
              <a:gd name="connsiteY41" fmla="*/ 2138418 h 2138418"/>
              <a:gd name="connsiteX42" fmla="*/ 2303440 w 3461170"/>
              <a:gd name="connsiteY42" fmla="*/ 1504516 h 2138418"/>
              <a:gd name="connsiteX43" fmla="*/ 2303440 w 3461170"/>
              <a:gd name="connsiteY43" fmla="*/ 1468678 h 2138418"/>
              <a:gd name="connsiteX44" fmla="*/ 2040327 w 3461170"/>
              <a:gd name="connsiteY44" fmla="*/ 962783 h 2138418"/>
              <a:gd name="connsiteX45" fmla="*/ 2014051 w 3461170"/>
              <a:gd name="connsiteY45" fmla="*/ 940015 h 2138418"/>
              <a:gd name="connsiteX46" fmla="*/ 2014049 w 3461170"/>
              <a:gd name="connsiteY46" fmla="*/ 940013 h 2138418"/>
              <a:gd name="connsiteX47" fmla="*/ 2255689 w 3461170"/>
              <a:gd name="connsiteY47" fmla="*/ 710430 h 2138418"/>
              <a:gd name="connsiteX48" fmla="*/ 2149130 w 3461170"/>
              <a:gd name="connsiteY48" fmla="*/ 428179 h 2138418"/>
              <a:gd name="connsiteX49" fmla="*/ 2577290 w 3461170"/>
              <a:gd name="connsiteY49" fmla="*/ 0 h 2138418"/>
              <a:gd name="connsiteX0" fmla="*/ 2025425 w 3461170"/>
              <a:gd name="connsiteY0" fmla="*/ 1075174 h 2138418"/>
              <a:gd name="connsiteX1" fmla="*/ 2025425 w 3461170"/>
              <a:gd name="connsiteY1" fmla="*/ 1075174 h 2138418"/>
              <a:gd name="connsiteX2" fmla="*/ 1973007 w 3461170"/>
              <a:gd name="connsiteY2" fmla="*/ 1086850 h 2138418"/>
              <a:gd name="connsiteX3" fmla="*/ 1929122 w 3461170"/>
              <a:gd name="connsiteY3" fmla="*/ 1121878 h 2138418"/>
              <a:gd name="connsiteX4" fmla="*/ 1804776 w 3461170"/>
              <a:gd name="connsiteY4" fmla="*/ 1486597 h 2138418"/>
              <a:gd name="connsiteX5" fmla="*/ 1929122 w 3461170"/>
              <a:gd name="connsiteY5" fmla="*/ 1851415 h 2138418"/>
              <a:gd name="connsiteX6" fmla="*/ 1973007 w 3461170"/>
              <a:gd name="connsiteY6" fmla="*/ 1886387 h 2138418"/>
              <a:gd name="connsiteX7" fmla="*/ 2025425 w 3461170"/>
              <a:gd name="connsiteY7" fmla="*/ 1898044 h 2138418"/>
              <a:gd name="connsiteX8" fmla="*/ 2025425 w 3461170"/>
              <a:gd name="connsiteY8" fmla="*/ 1898044 h 2138418"/>
              <a:gd name="connsiteX9" fmla="*/ 1929121 w 3461170"/>
              <a:gd name="connsiteY9" fmla="*/ 1851415 h 2138418"/>
              <a:gd name="connsiteX10" fmla="*/ 1804776 w 3461170"/>
              <a:gd name="connsiteY10" fmla="*/ 1486597 h 2138418"/>
              <a:gd name="connsiteX11" fmla="*/ 1929121 w 3461170"/>
              <a:gd name="connsiteY11" fmla="*/ 1121878 h 2138418"/>
              <a:gd name="connsiteX12" fmla="*/ 2025425 w 3461170"/>
              <a:gd name="connsiteY12" fmla="*/ 1075174 h 2138418"/>
              <a:gd name="connsiteX13" fmla="*/ 1652869 w 3461170"/>
              <a:gd name="connsiteY13" fmla="*/ 834775 h 2138418"/>
              <a:gd name="connsiteX14" fmla="*/ 1943328 w 3461170"/>
              <a:gd name="connsiteY14" fmla="*/ 903397 h 2138418"/>
              <a:gd name="connsiteX15" fmla="*/ 2027187 w 3461170"/>
              <a:gd name="connsiteY15" fmla="*/ 953179 h 2138418"/>
              <a:gd name="connsiteX16" fmla="*/ 2027188 w 3461170"/>
              <a:gd name="connsiteY16" fmla="*/ 953180 h 2138418"/>
              <a:gd name="connsiteX17" fmla="*/ 1652869 w 3461170"/>
              <a:gd name="connsiteY17" fmla="*/ 834775 h 2138418"/>
              <a:gd name="connsiteX18" fmla="*/ 428160 w 3461170"/>
              <a:gd name="connsiteY18" fmla="*/ 426991 h 2138418"/>
              <a:gd name="connsiteX19" fmla="*/ 856319 w 3461170"/>
              <a:gd name="connsiteY19" fmla="*/ 855169 h 2138418"/>
              <a:gd name="connsiteX20" fmla="*/ 818022 w 3461170"/>
              <a:gd name="connsiteY20" fmla="*/ 1032084 h 2138418"/>
              <a:gd name="connsiteX21" fmla="*/ 1078732 w 3461170"/>
              <a:gd name="connsiteY21" fmla="*/ 1176823 h 2138418"/>
              <a:gd name="connsiteX22" fmla="*/ 1062067 w 3461170"/>
              <a:gd name="connsiteY22" fmla="*/ 1209097 h 2138418"/>
              <a:gd name="connsiteX23" fmla="*/ 1651587 w 3461170"/>
              <a:gd name="connsiteY23" fmla="*/ 2138418 h 2138418"/>
              <a:gd name="connsiteX24" fmla="*/ 1062067 w 3461170"/>
              <a:gd name="connsiteY24" fmla="*/ 1209097 h 2138418"/>
              <a:gd name="connsiteX25" fmla="*/ 801357 w 3461170"/>
              <a:gd name="connsiteY25" fmla="*/ 1064457 h 2138418"/>
              <a:gd name="connsiteX26" fmla="*/ 428160 w 3461170"/>
              <a:gd name="connsiteY26" fmla="*/ 1283249 h 2138418"/>
              <a:gd name="connsiteX27" fmla="*/ 0 w 3461170"/>
              <a:gd name="connsiteY27" fmla="*/ 855169 h 2138418"/>
              <a:gd name="connsiteX28" fmla="*/ 428160 w 3461170"/>
              <a:gd name="connsiteY28" fmla="*/ 426991 h 2138418"/>
              <a:gd name="connsiteX29" fmla="*/ 2577290 w 3461170"/>
              <a:gd name="connsiteY29" fmla="*/ 0 h 2138418"/>
              <a:gd name="connsiteX30" fmla="*/ 3005449 w 3461170"/>
              <a:gd name="connsiteY30" fmla="*/ 428179 h 2138418"/>
              <a:gd name="connsiteX31" fmla="*/ 2577290 w 3461170"/>
              <a:gd name="connsiteY31" fmla="*/ 856357 h 2138418"/>
              <a:gd name="connsiteX32" fmla="*/ 2279565 w 3461170"/>
              <a:gd name="connsiteY32" fmla="*/ 735576 h 2138418"/>
              <a:gd name="connsiteX33" fmla="*/ 2040328 w 3461170"/>
              <a:gd name="connsiteY33" fmla="*/ 962783 h 2138418"/>
              <a:gd name="connsiteX34" fmla="*/ 2303441 w 3461170"/>
              <a:gd name="connsiteY34" fmla="*/ 1468678 h 2138418"/>
              <a:gd name="connsiteX35" fmla="*/ 2605973 w 3461170"/>
              <a:gd name="connsiteY35" fmla="*/ 1468678 h 2138418"/>
              <a:gd name="connsiteX36" fmla="*/ 3034132 w 3461170"/>
              <a:gd name="connsiteY36" fmla="*/ 1058418 h 2138418"/>
              <a:gd name="connsiteX37" fmla="*/ 3461170 w 3461170"/>
              <a:gd name="connsiteY37" fmla="*/ 1486597 h 2138418"/>
              <a:gd name="connsiteX38" fmla="*/ 3033011 w 3461170"/>
              <a:gd name="connsiteY38" fmla="*/ 1914775 h 2138418"/>
              <a:gd name="connsiteX39" fmla="*/ 2604851 w 3461170"/>
              <a:gd name="connsiteY39" fmla="*/ 1504516 h 2138418"/>
              <a:gd name="connsiteX40" fmla="*/ 2303441 w 3461170"/>
              <a:gd name="connsiteY40" fmla="*/ 1504516 h 2138418"/>
              <a:gd name="connsiteX41" fmla="*/ 2303440 w 3461170"/>
              <a:gd name="connsiteY41" fmla="*/ 1504516 h 2138418"/>
              <a:gd name="connsiteX42" fmla="*/ 2303440 w 3461170"/>
              <a:gd name="connsiteY42" fmla="*/ 1468678 h 2138418"/>
              <a:gd name="connsiteX43" fmla="*/ 2040327 w 3461170"/>
              <a:gd name="connsiteY43" fmla="*/ 962783 h 2138418"/>
              <a:gd name="connsiteX44" fmla="*/ 2014051 w 3461170"/>
              <a:gd name="connsiteY44" fmla="*/ 940015 h 2138418"/>
              <a:gd name="connsiteX45" fmla="*/ 2014049 w 3461170"/>
              <a:gd name="connsiteY45" fmla="*/ 940013 h 2138418"/>
              <a:gd name="connsiteX46" fmla="*/ 2255689 w 3461170"/>
              <a:gd name="connsiteY46" fmla="*/ 710430 h 2138418"/>
              <a:gd name="connsiteX47" fmla="*/ 2149130 w 3461170"/>
              <a:gd name="connsiteY47" fmla="*/ 428179 h 2138418"/>
              <a:gd name="connsiteX48" fmla="*/ 2577290 w 3461170"/>
              <a:gd name="connsiteY48" fmla="*/ 0 h 2138418"/>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2 w 3461170"/>
              <a:gd name="connsiteY5" fmla="*/ 1851415 h 1914775"/>
              <a:gd name="connsiteX6" fmla="*/ 1973007 w 3461170"/>
              <a:gd name="connsiteY6" fmla="*/ 1886387 h 1914775"/>
              <a:gd name="connsiteX7" fmla="*/ 2025425 w 3461170"/>
              <a:gd name="connsiteY7" fmla="*/ 1898044 h 1914775"/>
              <a:gd name="connsiteX8" fmla="*/ 2025425 w 3461170"/>
              <a:gd name="connsiteY8" fmla="*/ 1898044 h 1914775"/>
              <a:gd name="connsiteX9" fmla="*/ 1929121 w 3461170"/>
              <a:gd name="connsiteY9" fmla="*/ 1851415 h 1914775"/>
              <a:gd name="connsiteX10" fmla="*/ 1804776 w 3461170"/>
              <a:gd name="connsiteY10" fmla="*/ 1486597 h 1914775"/>
              <a:gd name="connsiteX11" fmla="*/ 1929121 w 3461170"/>
              <a:gd name="connsiteY11" fmla="*/ 1121878 h 1914775"/>
              <a:gd name="connsiteX12" fmla="*/ 2025425 w 3461170"/>
              <a:gd name="connsiteY12" fmla="*/ 1075174 h 1914775"/>
              <a:gd name="connsiteX13" fmla="*/ 1652869 w 3461170"/>
              <a:gd name="connsiteY13" fmla="*/ 834775 h 1914775"/>
              <a:gd name="connsiteX14" fmla="*/ 1943328 w 3461170"/>
              <a:gd name="connsiteY14" fmla="*/ 903397 h 1914775"/>
              <a:gd name="connsiteX15" fmla="*/ 2027187 w 3461170"/>
              <a:gd name="connsiteY15" fmla="*/ 953179 h 1914775"/>
              <a:gd name="connsiteX16" fmla="*/ 2027188 w 3461170"/>
              <a:gd name="connsiteY16" fmla="*/ 953180 h 1914775"/>
              <a:gd name="connsiteX17" fmla="*/ 1652869 w 3461170"/>
              <a:gd name="connsiteY17" fmla="*/ 834775 h 1914775"/>
              <a:gd name="connsiteX18" fmla="*/ 428160 w 3461170"/>
              <a:gd name="connsiteY18" fmla="*/ 426991 h 1914775"/>
              <a:gd name="connsiteX19" fmla="*/ 856319 w 3461170"/>
              <a:gd name="connsiteY19" fmla="*/ 855169 h 1914775"/>
              <a:gd name="connsiteX20" fmla="*/ 818022 w 3461170"/>
              <a:gd name="connsiteY20" fmla="*/ 1032084 h 1914775"/>
              <a:gd name="connsiteX21" fmla="*/ 1078732 w 3461170"/>
              <a:gd name="connsiteY21" fmla="*/ 1176823 h 1914775"/>
              <a:gd name="connsiteX22" fmla="*/ 1062067 w 3461170"/>
              <a:gd name="connsiteY22" fmla="*/ 1209097 h 1914775"/>
              <a:gd name="connsiteX23" fmla="*/ 1062067 w 3461170"/>
              <a:gd name="connsiteY23" fmla="*/ 1209097 h 1914775"/>
              <a:gd name="connsiteX24" fmla="*/ 801357 w 3461170"/>
              <a:gd name="connsiteY24" fmla="*/ 1064457 h 1914775"/>
              <a:gd name="connsiteX25" fmla="*/ 428160 w 3461170"/>
              <a:gd name="connsiteY25" fmla="*/ 1283249 h 1914775"/>
              <a:gd name="connsiteX26" fmla="*/ 0 w 3461170"/>
              <a:gd name="connsiteY26" fmla="*/ 855169 h 1914775"/>
              <a:gd name="connsiteX27" fmla="*/ 428160 w 3461170"/>
              <a:gd name="connsiteY27" fmla="*/ 426991 h 1914775"/>
              <a:gd name="connsiteX28" fmla="*/ 2577290 w 3461170"/>
              <a:gd name="connsiteY28" fmla="*/ 0 h 1914775"/>
              <a:gd name="connsiteX29" fmla="*/ 3005449 w 3461170"/>
              <a:gd name="connsiteY29" fmla="*/ 428179 h 1914775"/>
              <a:gd name="connsiteX30" fmla="*/ 2577290 w 3461170"/>
              <a:gd name="connsiteY30" fmla="*/ 856357 h 1914775"/>
              <a:gd name="connsiteX31" fmla="*/ 2279565 w 3461170"/>
              <a:gd name="connsiteY31" fmla="*/ 735576 h 1914775"/>
              <a:gd name="connsiteX32" fmla="*/ 2040328 w 3461170"/>
              <a:gd name="connsiteY32" fmla="*/ 962783 h 1914775"/>
              <a:gd name="connsiteX33" fmla="*/ 2303441 w 3461170"/>
              <a:gd name="connsiteY33" fmla="*/ 1468678 h 1914775"/>
              <a:gd name="connsiteX34" fmla="*/ 2605973 w 3461170"/>
              <a:gd name="connsiteY34" fmla="*/ 1468678 h 1914775"/>
              <a:gd name="connsiteX35" fmla="*/ 3034132 w 3461170"/>
              <a:gd name="connsiteY35" fmla="*/ 1058418 h 1914775"/>
              <a:gd name="connsiteX36" fmla="*/ 3461170 w 3461170"/>
              <a:gd name="connsiteY36" fmla="*/ 1486597 h 1914775"/>
              <a:gd name="connsiteX37" fmla="*/ 3033011 w 3461170"/>
              <a:gd name="connsiteY37" fmla="*/ 1914775 h 1914775"/>
              <a:gd name="connsiteX38" fmla="*/ 2604851 w 3461170"/>
              <a:gd name="connsiteY38" fmla="*/ 1504516 h 1914775"/>
              <a:gd name="connsiteX39" fmla="*/ 2303441 w 3461170"/>
              <a:gd name="connsiteY39" fmla="*/ 1504516 h 1914775"/>
              <a:gd name="connsiteX40" fmla="*/ 2303440 w 3461170"/>
              <a:gd name="connsiteY40" fmla="*/ 1504516 h 1914775"/>
              <a:gd name="connsiteX41" fmla="*/ 2303440 w 3461170"/>
              <a:gd name="connsiteY41" fmla="*/ 1468678 h 1914775"/>
              <a:gd name="connsiteX42" fmla="*/ 2040327 w 3461170"/>
              <a:gd name="connsiteY42" fmla="*/ 962783 h 1914775"/>
              <a:gd name="connsiteX43" fmla="*/ 2014051 w 3461170"/>
              <a:gd name="connsiteY43" fmla="*/ 940015 h 1914775"/>
              <a:gd name="connsiteX44" fmla="*/ 2014049 w 3461170"/>
              <a:gd name="connsiteY44" fmla="*/ 940013 h 1914775"/>
              <a:gd name="connsiteX45" fmla="*/ 2255689 w 3461170"/>
              <a:gd name="connsiteY45" fmla="*/ 710430 h 1914775"/>
              <a:gd name="connsiteX46" fmla="*/ 2149130 w 3461170"/>
              <a:gd name="connsiteY46" fmla="*/ 428179 h 1914775"/>
              <a:gd name="connsiteX47" fmla="*/ 2577290 w 3461170"/>
              <a:gd name="connsiteY47"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2 w 3461170"/>
              <a:gd name="connsiteY5" fmla="*/ 1851415 h 1914775"/>
              <a:gd name="connsiteX6" fmla="*/ 1973007 w 3461170"/>
              <a:gd name="connsiteY6" fmla="*/ 1886387 h 1914775"/>
              <a:gd name="connsiteX7" fmla="*/ 2025425 w 3461170"/>
              <a:gd name="connsiteY7" fmla="*/ 1898044 h 1914775"/>
              <a:gd name="connsiteX8" fmla="*/ 1929121 w 3461170"/>
              <a:gd name="connsiteY8" fmla="*/ 1851415 h 1914775"/>
              <a:gd name="connsiteX9" fmla="*/ 1804776 w 3461170"/>
              <a:gd name="connsiteY9" fmla="*/ 1486597 h 1914775"/>
              <a:gd name="connsiteX10" fmla="*/ 1929121 w 3461170"/>
              <a:gd name="connsiteY10" fmla="*/ 1121878 h 1914775"/>
              <a:gd name="connsiteX11" fmla="*/ 2025425 w 3461170"/>
              <a:gd name="connsiteY11" fmla="*/ 1075174 h 1914775"/>
              <a:gd name="connsiteX12" fmla="*/ 1652869 w 3461170"/>
              <a:gd name="connsiteY12" fmla="*/ 834775 h 1914775"/>
              <a:gd name="connsiteX13" fmla="*/ 1943328 w 3461170"/>
              <a:gd name="connsiteY13" fmla="*/ 903397 h 1914775"/>
              <a:gd name="connsiteX14" fmla="*/ 2027187 w 3461170"/>
              <a:gd name="connsiteY14" fmla="*/ 953179 h 1914775"/>
              <a:gd name="connsiteX15" fmla="*/ 2027188 w 3461170"/>
              <a:gd name="connsiteY15" fmla="*/ 953180 h 1914775"/>
              <a:gd name="connsiteX16" fmla="*/ 1652869 w 3461170"/>
              <a:gd name="connsiteY16" fmla="*/ 834775 h 1914775"/>
              <a:gd name="connsiteX17" fmla="*/ 428160 w 3461170"/>
              <a:gd name="connsiteY17" fmla="*/ 426991 h 1914775"/>
              <a:gd name="connsiteX18" fmla="*/ 856319 w 3461170"/>
              <a:gd name="connsiteY18" fmla="*/ 855169 h 1914775"/>
              <a:gd name="connsiteX19" fmla="*/ 818022 w 3461170"/>
              <a:gd name="connsiteY19" fmla="*/ 1032084 h 1914775"/>
              <a:gd name="connsiteX20" fmla="*/ 1078732 w 3461170"/>
              <a:gd name="connsiteY20" fmla="*/ 1176823 h 1914775"/>
              <a:gd name="connsiteX21" fmla="*/ 1062067 w 3461170"/>
              <a:gd name="connsiteY21" fmla="*/ 1209097 h 1914775"/>
              <a:gd name="connsiteX22" fmla="*/ 1062067 w 3461170"/>
              <a:gd name="connsiteY22" fmla="*/ 1209097 h 1914775"/>
              <a:gd name="connsiteX23" fmla="*/ 801357 w 3461170"/>
              <a:gd name="connsiteY23" fmla="*/ 1064457 h 1914775"/>
              <a:gd name="connsiteX24" fmla="*/ 428160 w 3461170"/>
              <a:gd name="connsiteY24" fmla="*/ 1283249 h 1914775"/>
              <a:gd name="connsiteX25" fmla="*/ 0 w 3461170"/>
              <a:gd name="connsiteY25" fmla="*/ 855169 h 1914775"/>
              <a:gd name="connsiteX26" fmla="*/ 428160 w 3461170"/>
              <a:gd name="connsiteY26" fmla="*/ 426991 h 1914775"/>
              <a:gd name="connsiteX27" fmla="*/ 2577290 w 3461170"/>
              <a:gd name="connsiteY27" fmla="*/ 0 h 1914775"/>
              <a:gd name="connsiteX28" fmla="*/ 3005449 w 3461170"/>
              <a:gd name="connsiteY28" fmla="*/ 428179 h 1914775"/>
              <a:gd name="connsiteX29" fmla="*/ 2577290 w 3461170"/>
              <a:gd name="connsiteY29" fmla="*/ 856357 h 1914775"/>
              <a:gd name="connsiteX30" fmla="*/ 2279565 w 3461170"/>
              <a:gd name="connsiteY30" fmla="*/ 735576 h 1914775"/>
              <a:gd name="connsiteX31" fmla="*/ 2040328 w 3461170"/>
              <a:gd name="connsiteY31" fmla="*/ 962783 h 1914775"/>
              <a:gd name="connsiteX32" fmla="*/ 2303441 w 3461170"/>
              <a:gd name="connsiteY32" fmla="*/ 1468678 h 1914775"/>
              <a:gd name="connsiteX33" fmla="*/ 2605973 w 3461170"/>
              <a:gd name="connsiteY33" fmla="*/ 1468678 h 1914775"/>
              <a:gd name="connsiteX34" fmla="*/ 3034132 w 3461170"/>
              <a:gd name="connsiteY34" fmla="*/ 1058418 h 1914775"/>
              <a:gd name="connsiteX35" fmla="*/ 3461170 w 3461170"/>
              <a:gd name="connsiteY35" fmla="*/ 1486597 h 1914775"/>
              <a:gd name="connsiteX36" fmla="*/ 3033011 w 3461170"/>
              <a:gd name="connsiteY36" fmla="*/ 1914775 h 1914775"/>
              <a:gd name="connsiteX37" fmla="*/ 2604851 w 3461170"/>
              <a:gd name="connsiteY37" fmla="*/ 1504516 h 1914775"/>
              <a:gd name="connsiteX38" fmla="*/ 2303441 w 3461170"/>
              <a:gd name="connsiteY38" fmla="*/ 1504516 h 1914775"/>
              <a:gd name="connsiteX39" fmla="*/ 2303440 w 3461170"/>
              <a:gd name="connsiteY39" fmla="*/ 1504516 h 1914775"/>
              <a:gd name="connsiteX40" fmla="*/ 2303440 w 3461170"/>
              <a:gd name="connsiteY40" fmla="*/ 1468678 h 1914775"/>
              <a:gd name="connsiteX41" fmla="*/ 2040327 w 3461170"/>
              <a:gd name="connsiteY41" fmla="*/ 962783 h 1914775"/>
              <a:gd name="connsiteX42" fmla="*/ 2014051 w 3461170"/>
              <a:gd name="connsiteY42" fmla="*/ 940015 h 1914775"/>
              <a:gd name="connsiteX43" fmla="*/ 2014049 w 3461170"/>
              <a:gd name="connsiteY43" fmla="*/ 940013 h 1914775"/>
              <a:gd name="connsiteX44" fmla="*/ 2255689 w 3461170"/>
              <a:gd name="connsiteY44" fmla="*/ 710430 h 1914775"/>
              <a:gd name="connsiteX45" fmla="*/ 2149130 w 3461170"/>
              <a:gd name="connsiteY45" fmla="*/ 428179 h 1914775"/>
              <a:gd name="connsiteX46" fmla="*/ 2577290 w 3461170"/>
              <a:gd name="connsiteY46"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2 w 3461170"/>
              <a:gd name="connsiteY5" fmla="*/ 1851415 h 1914775"/>
              <a:gd name="connsiteX6" fmla="*/ 1973007 w 3461170"/>
              <a:gd name="connsiteY6" fmla="*/ 1886387 h 1914775"/>
              <a:gd name="connsiteX7" fmla="*/ 1929121 w 3461170"/>
              <a:gd name="connsiteY7" fmla="*/ 1851415 h 1914775"/>
              <a:gd name="connsiteX8" fmla="*/ 1804776 w 3461170"/>
              <a:gd name="connsiteY8" fmla="*/ 1486597 h 1914775"/>
              <a:gd name="connsiteX9" fmla="*/ 1929121 w 3461170"/>
              <a:gd name="connsiteY9" fmla="*/ 1121878 h 1914775"/>
              <a:gd name="connsiteX10" fmla="*/ 2025425 w 3461170"/>
              <a:gd name="connsiteY10" fmla="*/ 1075174 h 1914775"/>
              <a:gd name="connsiteX11" fmla="*/ 1652869 w 3461170"/>
              <a:gd name="connsiteY11" fmla="*/ 834775 h 1914775"/>
              <a:gd name="connsiteX12" fmla="*/ 1943328 w 3461170"/>
              <a:gd name="connsiteY12" fmla="*/ 903397 h 1914775"/>
              <a:gd name="connsiteX13" fmla="*/ 2027187 w 3461170"/>
              <a:gd name="connsiteY13" fmla="*/ 953179 h 1914775"/>
              <a:gd name="connsiteX14" fmla="*/ 2027188 w 3461170"/>
              <a:gd name="connsiteY14" fmla="*/ 953180 h 1914775"/>
              <a:gd name="connsiteX15" fmla="*/ 1652869 w 3461170"/>
              <a:gd name="connsiteY15" fmla="*/ 834775 h 1914775"/>
              <a:gd name="connsiteX16" fmla="*/ 428160 w 3461170"/>
              <a:gd name="connsiteY16" fmla="*/ 426991 h 1914775"/>
              <a:gd name="connsiteX17" fmla="*/ 856319 w 3461170"/>
              <a:gd name="connsiteY17" fmla="*/ 855169 h 1914775"/>
              <a:gd name="connsiteX18" fmla="*/ 818022 w 3461170"/>
              <a:gd name="connsiteY18" fmla="*/ 1032084 h 1914775"/>
              <a:gd name="connsiteX19" fmla="*/ 1078732 w 3461170"/>
              <a:gd name="connsiteY19" fmla="*/ 1176823 h 1914775"/>
              <a:gd name="connsiteX20" fmla="*/ 1062067 w 3461170"/>
              <a:gd name="connsiteY20" fmla="*/ 1209097 h 1914775"/>
              <a:gd name="connsiteX21" fmla="*/ 1062067 w 3461170"/>
              <a:gd name="connsiteY21" fmla="*/ 1209097 h 1914775"/>
              <a:gd name="connsiteX22" fmla="*/ 801357 w 3461170"/>
              <a:gd name="connsiteY22" fmla="*/ 1064457 h 1914775"/>
              <a:gd name="connsiteX23" fmla="*/ 428160 w 3461170"/>
              <a:gd name="connsiteY23" fmla="*/ 1283249 h 1914775"/>
              <a:gd name="connsiteX24" fmla="*/ 0 w 3461170"/>
              <a:gd name="connsiteY24" fmla="*/ 855169 h 1914775"/>
              <a:gd name="connsiteX25" fmla="*/ 428160 w 3461170"/>
              <a:gd name="connsiteY25" fmla="*/ 426991 h 1914775"/>
              <a:gd name="connsiteX26" fmla="*/ 2577290 w 3461170"/>
              <a:gd name="connsiteY26" fmla="*/ 0 h 1914775"/>
              <a:gd name="connsiteX27" fmla="*/ 3005449 w 3461170"/>
              <a:gd name="connsiteY27" fmla="*/ 428179 h 1914775"/>
              <a:gd name="connsiteX28" fmla="*/ 2577290 w 3461170"/>
              <a:gd name="connsiteY28" fmla="*/ 856357 h 1914775"/>
              <a:gd name="connsiteX29" fmla="*/ 2279565 w 3461170"/>
              <a:gd name="connsiteY29" fmla="*/ 735576 h 1914775"/>
              <a:gd name="connsiteX30" fmla="*/ 2040328 w 3461170"/>
              <a:gd name="connsiteY30" fmla="*/ 962783 h 1914775"/>
              <a:gd name="connsiteX31" fmla="*/ 2303441 w 3461170"/>
              <a:gd name="connsiteY31" fmla="*/ 1468678 h 1914775"/>
              <a:gd name="connsiteX32" fmla="*/ 2605973 w 3461170"/>
              <a:gd name="connsiteY32" fmla="*/ 1468678 h 1914775"/>
              <a:gd name="connsiteX33" fmla="*/ 3034132 w 3461170"/>
              <a:gd name="connsiteY33" fmla="*/ 1058418 h 1914775"/>
              <a:gd name="connsiteX34" fmla="*/ 3461170 w 3461170"/>
              <a:gd name="connsiteY34" fmla="*/ 1486597 h 1914775"/>
              <a:gd name="connsiteX35" fmla="*/ 3033011 w 3461170"/>
              <a:gd name="connsiteY35" fmla="*/ 1914775 h 1914775"/>
              <a:gd name="connsiteX36" fmla="*/ 2604851 w 3461170"/>
              <a:gd name="connsiteY36" fmla="*/ 1504516 h 1914775"/>
              <a:gd name="connsiteX37" fmla="*/ 2303441 w 3461170"/>
              <a:gd name="connsiteY37" fmla="*/ 1504516 h 1914775"/>
              <a:gd name="connsiteX38" fmla="*/ 2303440 w 3461170"/>
              <a:gd name="connsiteY38" fmla="*/ 1504516 h 1914775"/>
              <a:gd name="connsiteX39" fmla="*/ 2303440 w 3461170"/>
              <a:gd name="connsiteY39" fmla="*/ 1468678 h 1914775"/>
              <a:gd name="connsiteX40" fmla="*/ 2040327 w 3461170"/>
              <a:gd name="connsiteY40" fmla="*/ 962783 h 1914775"/>
              <a:gd name="connsiteX41" fmla="*/ 2014051 w 3461170"/>
              <a:gd name="connsiteY41" fmla="*/ 940015 h 1914775"/>
              <a:gd name="connsiteX42" fmla="*/ 2014049 w 3461170"/>
              <a:gd name="connsiteY42" fmla="*/ 940013 h 1914775"/>
              <a:gd name="connsiteX43" fmla="*/ 2255689 w 3461170"/>
              <a:gd name="connsiteY43" fmla="*/ 710430 h 1914775"/>
              <a:gd name="connsiteX44" fmla="*/ 2149130 w 3461170"/>
              <a:gd name="connsiteY44" fmla="*/ 428179 h 1914775"/>
              <a:gd name="connsiteX45" fmla="*/ 2577290 w 3461170"/>
              <a:gd name="connsiteY45"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2 w 3461170"/>
              <a:gd name="connsiteY5" fmla="*/ 1851415 h 1914775"/>
              <a:gd name="connsiteX6" fmla="*/ 1929121 w 3461170"/>
              <a:gd name="connsiteY6" fmla="*/ 1851415 h 1914775"/>
              <a:gd name="connsiteX7" fmla="*/ 1804776 w 3461170"/>
              <a:gd name="connsiteY7" fmla="*/ 1486597 h 1914775"/>
              <a:gd name="connsiteX8" fmla="*/ 1929121 w 3461170"/>
              <a:gd name="connsiteY8" fmla="*/ 1121878 h 1914775"/>
              <a:gd name="connsiteX9" fmla="*/ 2025425 w 3461170"/>
              <a:gd name="connsiteY9" fmla="*/ 1075174 h 1914775"/>
              <a:gd name="connsiteX10" fmla="*/ 1652869 w 3461170"/>
              <a:gd name="connsiteY10" fmla="*/ 834775 h 1914775"/>
              <a:gd name="connsiteX11" fmla="*/ 1943328 w 3461170"/>
              <a:gd name="connsiteY11" fmla="*/ 903397 h 1914775"/>
              <a:gd name="connsiteX12" fmla="*/ 2027187 w 3461170"/>
              <a:gd name="connsiteY12" fmla="*/ 953179 h 1914775"/>
              <a:gd name="connsiteX13" fmla="*/ 2027188 w 3461170"/>
              <a:gd name="connsiteY13" fmla="*/ 953180 h 1914775"/>
              <a:gd name="connsiteX14" fmla="*/ 1652869 w 3461170"/>
              <a:gd name="connsiteY14" fmla="*/ 834775 h 1914775"/>
              <a:gd name="connsiteX15" fmla="*/ 428160 w 3461170"/>
              <a:gd name="connsiteY15" fmla="*/ 426991 h 1914775"/>
              <a:gd name="connsiteX16" fmla="*/ 856319 w 3461170"/>
              <a:gd name="connsiteY16" fmla="*/ 855169 h 1914775"/>
              <a:gd name="connsiteX17" fmla="*/ 818022 w 3461170"/>
              <a:gd name="connsiteY17" fmla="*/ 1032084 h 1914775"/>
              <a:gd name="connsiteX18" fmla="*/ 1078732 w 3461170"/>
              <a:gd name="connsiteY18" fmla="*/ 1176823 h 1914775"/>
              <a:gd name="connsiteX19" fmla="*/ 1062067 w 3461170"/>
              <a:gd name="connsiteY19" fmla="*/ 1209097 h 1914775"/>
              <a:gd name="connsiteX20" fmla="*/ 1062067 w 3461170"/>
              <a:gd name="connsiteY20" fmla="*/ 1209097 h 1914775"/>
              <a:gd name="connsiteX21" fmla="*/ 801357 w 3461170"/>
              <a:gd name="connsiteY21" fmla="*/ 1064457 h 1914775"/>
              <a:gd name="connsiteX22" fmla="*/ 428160 w 3461170"/>
              <a:gd name="connsiteY22" fmla="*/ 1283249 h 1914775"/>
              <a:gd name="connsiteX23" fmla="*/ 0 w 3461170"/>
              <a:gd name="connsiteY23" fmla="*/ 855169 h 1914775"/>
              <a:gd name="connsiteX24" fmla="*/ 428160 w 3461170"/>
              <a:gd name="connsiteY24" fmla="*/ 426991 h 1914775"/>
              <a:gd name="connsiteX25" fmla="*/ 2577290 w 3461170"/>
              <a:gd name="connsiteY25" fmla="*/ 0 h 1914775"/>
              <a:gd name="connsiteX26" fmla="*/ 3005449 w 3461170"/>
              <a:gd name="connsiteY26" fmla="*/ 428179 h 1914775"/>
              <a:gd name="connsiteX27" fmla="*/ 2577290 w 3461170"/>
              <a:gd name="connsiteY27" fmla="*/ 856357 h 1914775"/>
              <a:gd name="connsiteX28" fmla="*/ 2279565 w 3461170"/>
              <a:gd name="connsiteY28" fmla="*/ 735576 h 1914775"/>
              <a:gd name="connsiteX29" fmla="*/ 2040328 w 3461170"/>
              <a:gd name="connsiteY29" fmla="*/ 962783 h 1914775"/>
              <a:gd name="connsiteX30" fmla="*/ 2303441 w 3461170"/>
              <a:gd name="connsiteY30" fmla="*/ 1468678 h 1914775"/>
              <a:gd name="connsiteX31" fmla="*/ 2605973 w 3461170"/>
              <a:gd name="connsiteY31" fmla="*/ 1468678 h 1914775"/>
              <a:gd name="connsiteX32" fmla="*/ 3034132 w 3461170"/>
              <a:gd name="connsiteY32" fmla="*/ 1058418 h 1914775"/>
              <a:gd name="connsiteX33" fmla="*/ 3461170 w 3461170"/>
              <a:gd name="connsiteY33" fmla="*/ 1486597 h 1914775"/>
              <a:gd name="connsiteX34" fmla="*/ 3033011 w 3461170"/>
              <a:gd name="connsiteY34" fmla="*/ 1914775 h 1914775"/>
              <a:gd name="connsiteX35" fmla="*/ 2604851 w 3461170"/>
              <a:gd name="connsiteY35" fmla="*/ 1504516 h 1914775"/>
              <a:gd name="connsiteX36" fmla="*/ 2303441 w 3461170"/>
              <a:gd name="connsiteY36" fmla="*/ 1504516 h 1914775"/>
              <a:gd name="connsiteX37" fmla="*/ 2303440 w 3461170"/>
              <a:gd name="connsiteY37" fmla="*/ 1504516 h 1914775"/>
              <a:gd name="connsiteX38" fmla="*/ 2303440 w 3461170"/>
              <a:gd name="connsiteY38" fmla="*/ 1468678 h 1914775"/>
              <a:gd name="connsiteX39" fmla="*/ 2040327 w 3461170"/>
              <a:gd name="connsiteY39" fmla="*/ 962783 h 1914775"/>
              <a:gd name="connsiteX40" fmla="*/ 2014051 w 3461170"/>
              <a:gd name="connsiteY40" fmla="*/ 940015 h 1914775"/>
              <a:gd name="connsiteX41" fmla="*/ 2014049 w 3461170"/>
              <a:gd name="connsiteY41" fmla="*/ 940013 h 1914775"/>
              <a:gd name="connsiteX42" fmla="*/ 2255689 w 3461170"/>
              <a:gd name="connsiteY42" fmla="*/ 710430 h 1914775"/>
              <a:gd name="connsiteX43" fmla="*/ 2149130 w 3461170"/>
              <a:gd name="connsiteY43" fmla="*/ 428179 h 1914775"/>
              <a:gd name="connsiteX44" fmla="*/ 2577290 w 3461170"/>
              <a:gd name="connsiteY44"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2 w 3461170"/>
              <a:gd name="connsiteY5" fmla="*/ 1851415 h 1914775"/>
              <a:gd name="connsiteX6" fmla="*/ 1804776 w 3461170"/>
              <a:gd name="connsiteY6" fmla="*/ 1486597 h 1914775"/>
              <a:gd name="connsiteX7" fmla="*/ 1929121 w 3461170"/>
              <a:gd name="connsiteY7" fmla="*/ 1121878 h 1914775"/>
              <a:gd name="connsiteX8" fmla="*/ 2025425 w 3461170"/>
              <a:gd name="connsiteY8" fmla="*/ 1075174 h 1914775"/>
              <a:gd name="connsiteX9" fmla="*/ 1652869 w 3461170"/>
              <a:gd name="connsiteY9" fmla="*/ 834775 h 1914775"/>
              <a:gd name="connsiteX10" fmla="*/ 1943328 w 3461170"/>
              <a:gd name="connsiteY10" fmla="*/ 903397 h 1914775"/>
              <a:gd name="connsiteX11" fmla="*/ 2027187 w 3461170"/>
              <a:gd name="connsiteY11" fmla="*/ 953179 h 1914775"/>
              <a:gd name="connsiteX12" fmla="*/ 2027188 w 3461170"/>
              <a:gd name="connsiteY12" fmla="*/ 953180 h 1914775"/>
              <a:gd name="connsiteX13" fmla="*/ 1652869 w 3461170"/>
              <a:gd name="connsiteY13" fmla="*/ 834775 h 1914775"/>
              <a:gd name="connsiteX14" fmla="*/ 428160 w 3461170"/>
              <a:gd name="connsiteY14" fmla="*/ 426991 h 1914775"/>
              <a:gd name="connsiteX15" fmla="*/ 856319 w 3461170"/>
              <a:gd name="connsiteY15" fmla="*/ 855169 h 1914775"/>
              <a:gd name="connsiteX16" fmla="*/ 818022 w 3461170"/>
              <a:gd name="connsiteY16" fmla="*/ 1032084 h 1914775"/>
              <a:gd name="connsiteX17" fmla="*/ 1078732 w 3461170"/>
              <a:gd name="connsiteY17" fmla="*/ 1176823 h 1914775"/>
              <a:gd name="connsiteX18" fmla="*/ 1062067 w 3461170"/>
              <a:gd name="connsiteY18" fmla="*/ 1209097 h 1914775"/>
              <a:gd name="connsiteX19" fmla="*/ 1062067 w 3461170"/>
              <a:gd name="connsiteY19" fmla="*/ 1209097 h 1914775"/>
              <a:gd name="connsiteX20" fmla="*/ 801357 w 3461170"/>
              <a:gd name="connsiteY20" fmla="*/ 1064457 h 1914775"/>
              <a:gd name="connsiteX21" fmla="*/ 428160 w 3461170"/>
              <a:gd name="connsiteY21" fmla="*/ 1283249 h 1914775"/>
              <a:gd name="connsiteX22" fmla="*/ 0 w 3461170"/>
              <a:gd name="connsiteY22" fmla="*/ 855169 h 1914775"/>
              <a:gd name="connsiteX23" fmla="*/ 428160 w 3461170"/>
              <a:gd name="connsiteY23" fmla="*/ 426991 h 1914775"/>
              <a:gd name="connsiteX24" fmla="*/ 2577290 w 3461170"/>
              <a:gd name="connsiteY24" fmla="*/ 0 h 1914775"/>
              <a:gd name="connsiteX25" fmla="*/ 3005449 w 3461170"/>
              <a:gd name="connsiteY25" fmla="*/ 428179 h 1914775"/>
              <a:gd name="connsiteX26" fmla="*/ 2577290 w 3461170"/>
              <a:gd name="connsiteY26" fmla="*/ 856357 h 1914775"/>
              <a:gd name="connsiteX27" fmla="*/ 2279565 w 3461170"/>
              <a:gd name="connsiteY27" fmla="*/ 735576 h 1914775"/>
              <a:gd name="connsiteX28" fmla="*/ 2040328 w 3461170"/>
              <a:gd name="connsiteY28" fmla="*/ 962783 h 1914775"/>
              <a:gd name="connsiteX29" fmla="*/ 2303441 w 3461170"/>
              <a:gd name="connsiteY29" fmla="*/ 1468678 h 1914775"/>
              <a:gd name="connsiteX30" fmla="*/ 2605973 w 3461170"/>
              <a:gd name="connsiteY30" fmla="*/ 1468678 h 1914775"/>
              <a:gd name="connsiteX31" fmla="*/ 3034132 w 3461170"/>
              <a:gd name="connsiteY31" fmla="*/ 1058418 h 1914775"/>
              <a:gd name="connsiteX32" fmla="*/ 3461170 w 3461170"/>
              <a:gd name="connsiteY32" fmla="*/ 1486597 h 1914775"/>
              <a:gd name="connsiteX33" fmla="*/ 3033011 w 3461170"/>
              <a:gd name="connsiteY33" fmla="*/ 1914775 h 1914775"/>
              <a:gd name="connsiteX34" fmla="*/ 2604851 w 3461170"/>
              <a:gd name="connsiteY34" fmla="*/ 1504516 h 1914775"/>
              <a:gd name="connsiteX35" fmla="*/ 2303441 w 3461170"/>
              <a:gd name="connsiteY35" fmla="*/ 1504516 h 1914775"/>
              <a:gd name="connsiteX36" fmla="*/ 2303440 w 3461170"/>
              <a:gd name="connsiteY36" fmla="*/ 1504516 h 1914775"/>
              <a:gd name="connsiteX37" fmla="*/ 2303440 w 3461170"/>
              <a:gd name="connsiteY37" fmla="*/ 1468678 h 1914775"/>
              <a:gd name="connsiteX38" fmla="*/ 2040327 w 3461170"/>
              <a:gd name="connsiteY38" fmla="*/ 962783 h 1914775"/>
              <a:gd name="connsiteX39" fmla="*/ 2014051 w 3461170"/>
              <a:gd name="connsiteY39" fmla="*/ 940015 h 1914775"/>
              <a:gd name="connsiteX40" fmla="*/ 2014049 w 3461170"/>
              <a:gd name="connsiteY40" fmla="*/ 940013 h 1914775"/>
              <a:gd name="connsiteX41" fmla="*/ 2255689 w 3461170"/>
              <a:gd name="connsiteY41" fmla="*/ 710430 h 1914775"/>
              <a:gd name="connsiteX42" fmla="*/ 2149130 w 3461170"/>
              <a:gd name="connsiteY42" fmla="*/ 428179 h 1914775"/>
              <a:gd name="connsiteX43" fmla="*/ 2577290 w 3461170"/>
              <a:gd name="connsiteY43"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804776 w 3461170"/>
              <a:gd name="connsiteY5" fmla="*/ 1486597 h 1914775"/>
              <a:gd name="connsiteX6" fmla="*/ 1929121 w 3461170"/>
              <a:gd name="connsiteY6" fmla="*/ 1121878 h 1914775"/>
              <a:gd name="connsiteX7" fmla="*/ 2025425 w 3461170"/>
              <a:gd name="connsiteY7" fmla="*/ 1075174 h 1914775"/>
              <a:gd name="connsiteX8" fmla="*/ 1652869 w 3461170"/>
              <a:gd name="connsiteY8" fmla="*/ 834775 h 1914775"/>
              <a:gd name="connsiteX9" fmla="*/ 1943328 w 3461170"/>
              <a:gd name="connsiteY9" fmla="*/ 903397 h 1914775"/>
              <a:gd name="connsiteX10" fmla="*/ 2027187 w 3461170"/>
              <a:gd name="connsiteY10" fmla="*/ 953179 h 1914775"/>
              <a:gd name="connsiteX11" fmla="*/ 2027188 w 3461170"/>
              <a:gd name="connsiteY11" fmla="*/ 953180 h 1914775"/>
              <a:gd name="connsiteX12" fmla="*/ 1652869 w 3461170"/>
              <a:gd name="connsiteY12" fmla="*/ 834775 h 1914775"/>
              <a:gd name="connsiteX13" fmla="*/ 428160 w 3461170"/>
              <a:gd name="connsiteY13" fmla="*/ 426991 h 1914775"/>
              <a:gd name="connsiteX14" fmla="*/ 856319 w 3461170"/>
              <a:gd name="connsiteY14" fmla="*/ 855169 h 1914775"/>
              <a:gd name="connsiteX15" fmla="*/ 818022 w 3461170"/>
              <a:gd name="connsiteY15" fmla="*/ 1032084 h 1914775"/>
              <a:gd name="connsiteX16" fmla="*/ 1078732 w 3461170"/>
              <a:gd name="connsiteY16" fmla="*/ 1176823 h 1914775"/>
              <a:gd name="connsiteX17" fmla="*/ 1062067 w 3461170"/>
              <a:gd name="connsiteY17" fmla="*/ 1209097 h 1914775"/>
              <a:gd name="connsiteX18" fmla="*/ 1062067 w 3461170"/>
              <a:gd name="connsiteY18" fmla="*/ 1209097 h 1914775"/>
              <a:gd name="connsiteX19" fmla="*/ 801357 w 3461170"/>
              <a:gd name="connsiteY19" fmla="*/ 1064457 h 1914775"/>
              <a:gd name="connsiteX20" fmla="*/ 428160 w 3461170"/>
              <a:gd name="connsiteY20" fmla="*/ 1283249 h 1914775"/>
              <a:gd name="connsiteX21" fmla="*/ 0 w 3461170"/>
              <a:gd name="connsiteY21" fmla="*/ 855169 h 1914775"/>
              <a:gd name="connsiteX22" fmla="*/ 428160 w 3461170"/>
              <a:gd name="connsiteY22" fmla="*/ 426991 h 1914775"/>
              <a:gd name="connsiteX23" fmla="*/ 2577290 w 3461170"/>
              <a:gd name="connsiteY23" fmla="*/ 0 h 1914775"/>
              <a:gd name="connsiteX24" fmla="*/ 3005449 w 3461170"/>
              <a:gd name="connsiteY24" fmla="*/ 428179 h 1914775"/>
              <a:gd name="connsiteX25" fmla="*/ 2577290 w 3461170"/>
              <a:gd name="connsiteY25" fmla="*/ 856357 h 1914775"/>
              <a:gd name="connsiteX26" fmla="*/ 2279565 w 3461170"/>
              <a:gd name="connsiteY26" fmla="*/ 735576 h 1914775"/>
              <a:gd name="connsiteX27" fmla="*/ 2040328 w 3461170"/>
              <a:gd name="connsiteY27" fmla="*/ 962783 h 1914775"/>
              <a:gd name="connsiteX28" fmla="*/ 2303441 w 3461170"/>
              <a:gd name="connsiteY28" fmla="*/ 1468678 h 1914775"/>
              <a:gd name="connsiteX29" fmla="*/ 2605973 w 3461170"/>
              <a:gd name="connsiteY29" fmla="*/ 1468678 h 1914775"/>
              <a:gd name="connsiteX30" fmla="*/ 3034132 w 3461170"/>
              <a:gd name="connsiteY30" fmla="*/ 1058418 h 1914775"/>
              <a:gd name="connsiteX31" fmla="*/ 3461170 w 3461170"/>
              <a:gd name="connsiteY31" fmla="*/ 1486597 h 1914775"/>
              <a:gd name="connsiteX32" fmla="*/ 3033011 w 3461170"/>
              <a:gd name="connsiteY32" fmla="*/ 1914775 h 1914775"/>
              <a:gd name="connsiteX33" fmla="*/ 2604851 w 3461170"/>
              <a:gd name="connsiteY33" fmla="*/ 1504516 h 1914775"/>
              <a:gd name="connsiteX34" fmla="*/ 2303441 w 3461170"/>
              <a:gd name="connsiteY34" fmla="*/ 1504516 h 1914775"/>
              <a:gd name="connsiteX35" fmla="*/ 2303440 w 3461170"/>
              <a:gd name="connsiteY35" fmla="*/ 1504516 h 1914775"/>
              <a:gd name="connsiteX36" fmla="*/ 2303440 w 3461170"/>
              <a:gd name="connsiteY36" fmla="*/ 1468678 h 1914775"/>
              <a:gd name="connsiteX37" fmla="*/ 2040327 w 3461170"/>
              <a:gd name="connsiteY37" fmla="*/ 962783 h 1914775"/>
              <a:gd name="connsiteX38" fmla="*/ 2014051 w 3461170"/>
              <a:gd name="connsiteY38" fmla="*/ 940015 h 1914775"/>
              <a:gd name="connsiteX39" fmla="*/ 2014049 w 3461170"/>
              <a:gd name="connsiteY39" fmla="*/ 940013 h 1914775"/>
              <a:gd name="connsiteX40" fmla="*/ 2255689 w 3461170"/>
              <a:gd name="connsiteY40" fmla="*/ 710430 h 1914775"/>
              <a:gd name="connsiteX41" fmla="*/ 2149130 w 3461170"/>
              <a:gd name="connsiteY41" fmla="*/ 428179 h 1914775"/>
              <a:gd name="connsiteX42" fmla="*/ 2577290 w 3461170"/>
              <a:gd name="connsiteY42"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804776 w 3461170"/>
              <a:gd name="connsiteY4" fmla="*/ 1486597 h 1914775"/>
              <a:gd name="connsiteX5" fmla="*/ 1929121 w 3461170"/>
              <a:gd name="connsiteY5" fmla="*/ 1121878 h 1914775"/>
              <a:gd name="connsiteX6" fmla="*/ 2025425 w 3461170"/>
              <a:gd name="connsiteY6" fmla="*/ 1075174 h 1914775"/>
              <a:gd name="connsiteX7" fmla="*/ 1652869 w 3461170"/>
              <a:gd name="connsiteY7" fmla="*/ 834775 h 1914775"/>
              <a:gd name="connsiteX8" fmla="*/ 1943328 w 3461170"/>
              <a:gd name="connsiteY8" fmla="*/ 903397 h 1914775"/>
              <a:gd name="connsiteX9" fmla="*/ 2027187 w 3461170"/>
              <a:gd name="connsiteY9" fmla="*/ 953179 h 1914775"/>
              <a:gd name="connsiteX10" fmla="*/ 2027188 w 3461170"/>
              <a:gd name="connsiteY10" fmla="*/ 953180 h 1914775"/>
              <a:gd name="connsiteX11" fmla="*/ 1652869 w 3461170"/>
              <a:gd name="connsiteY11" fmla="*/ 834775 h 1914775"/>
              <a:gd name="connsiteX12" fmla="*/ 428160 w 3461170"/>
              <a:gd name="connsiteY12" fmla="*/ 426991 h 1914775"/>
              <a:gd name="connsiteX13" fmla="*/ 856319 w 3461170"/>
              <a:gd name="connsiteY13" fmla="*/ 855169 h 1914775"/>
              <a:gd name="connsiteX14" fmla="*/ 818022 w 3461170"/>
              <a:gd name="connsiteY14" fmla="*/ 1032084 h 1914775"/>
              <a:gd name="connsiteX15" fmla="*/ 1078732 w 3461170"/>
              <a:gd name="connsiteY15" fmla="*/ 1176823 h 1914775"/>
              <a:gd name="connsiteX16" fmla="*/ 1062067 w 3461170"/>
              <a:gd name="connsiteY16" fmla="*/ 1209097 h 1914775"/>
              <a:gd name="connsiteX17" fmla="*/ 1062067 w 3461170"/>
              <a:gd name="connsiteY17" fmla="*/ 1209097 h 1914775"/>
              <a:gd name="connsiteX18" fmla="*/ 801357 w 3461170"/>
              <a:gd name="connsiteY18" fmla="*/ 1064457 h 1914775"/>
              <a:gd name="connsiteX19" fmla="*/ 428160 w 3461170"/>
              <a:gd name="connsiteY19" fmla="*/ 1283249 h 1914775"/>
              <a:gd name="connsiteX20" fmla="*/ 0 w 3461170"/>
              <a:gd name="connsiteY20" fmla="*/ 855169 h 1914775"/>
              <a:gd name="connsiteX21" fmla="*/ 428160 w 3461170"/>
              <a:gd name="connsiteY21" fmla="*/ 426991 h 1914775"/>
              <a:gd name="connsiteX22" fmla="*/ 2577290 w 3461170"/>
              <a:gd name="connsiteY22" fmla="*/ 0 h 1914775"/>
              <a:gd name="connsiteX23" fmla="*/ 3005449 w 3461170"/>
              <a:gd name="connsiteY23" fmla="*/ 428179 h 1914775"/>
              <a:gd name="connsiteX24" fmla="*/ 2577290 w 3461170"/>
              <a:gd name="connsiteY24" fmla="*/ 856357 h 1914775"/>
              <a:gd name="connsiteX25" fmla="*/ 2279565 w 3461170"/>
              <a:gd name="connsiteY25" fmla="*/ 735576 h 1914775"/>
              <a:gd name="connsiteX26" fmla="*/ 2040328 w 3461170"/>
              <a:gd name="connsiteY26" fmla="*/ 962783 h 1914775"/>
              <a:gd name="connsiteX27" fmla="*/ 2303441 w 3461170"/>
              <a:gd name="connsiteY27" fmla="*/ 1468678 h 1914775"/>
              <a:gd name="connsiteX28" fmla="*/ 2605973 w 3461170"/>
              <a:gd name="connsiteY28" fmla="*/ 1468678 h 1914775"/>
              <a:gd name="connsiteX29" fmla="*/ 3034132 w 3461170"/>
              <a:gd name="connsiteY29" fmla="*/ 1058418 h 1914775"/>
              <a:gd name="connsiteX30" fmla="*/ 3461170 w 3461170"/>
              <a:gd name="connsiteY30" fmla="*/ 1486597 h 1914775"/>
              <a:gd name="connsiteX31" fmla="*/ 3033011 w 3461170"/>
              <a:gd name="connsiteY31" fmla="*/ 1914775 h 1914775"/>
              <a:gd name="connsiteX32" fmla="*/ 2604851 w 3461170"/>
              <a:gd name="connsiteY32" fmla="*/ 1504516 h 1914775"/>
              <a:gd name="connsiteX33" fmla="*/ 2303441 w 3461170"/>
              <a:gd name="connsiteY33" fmla="*/ 1504516 h 1914775"/>
              <a:gd name="connsiteX34" fmla="*/ 2303440 w 3461170"/>
              <a:gd name="connsiteY34" fmla="*/ 1504516 h 1914775"/>
              <a:gd name="connsiteX35" fmla="*/ 2303440 w 3461170"/>
              <a:gd name="connsiteY35" fmla="*/ 1468678 h 1914775"/>
              <a:gd name="connsiteX36" fmla="*/ 2040327 w 3461170"/>
              <a:gd name="connsiteY36" fmla="*/ 962783 h 1914775"/>
              <a:gd name="connsiteX37" fmla="*/ 2014051 w 3461170"/>
              <a:gd name="connsiteY37" fmla="*/ 940015 h 1914775"/>
              <a:gd name="connsiteX38" fmla="*/ 2014049 w 3461170"/>
              <a:gd name="connsiteY38" fmla="*/ 940013 h 1914775"/>
              <a:gd name="connsiteX39" fmla="*/ 2255689 w 3461170"/>
              <a:gd name="connsiteY39" fmla="*/ 710430 h 1914775"/>
              <a:gd name="connsiteX40" fmla="*/ 2149130 w 3461170"/>
              <a:gd name="connsiteY40" fmla="*/ 428179 h 1914775"/>
              <a:gd name="connsiteX41" fmla="*/ 2577290 w 3461170"/>
              <a:gd name="connsiteY41"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929121 w 3461170"/>
              <a:gd name="connsiteY4" fmla="*/ 1121878 h 1914775"/>
              <a:gd name="connsiteX5" fmla="*/ 2025425 w 3461170"/>
              <a:gd name="connsiteY5" fmla="*/ 1075174 h 1914775"/>
              <a:gd name="connsiteX6" fmla="*/ 1652869 w 3461170"/>
              <a:gd name="connsiteY6" fmla="*/ 834775 h 1914775"/>
              <a:gd name="connsiteX7" fmla="*/ 1943328 w 3461170"/>
              <a:gd name="connsiteY7" fmla="*/ 903397 h 1914775"/>
              <a:gd name="connsiteX8" fmla="*/ 2027187 w 3461170"/>
              <a:gd name="connsiteY8" fmla="*/ 953179 h 1914775"/>
              <a:gd name="connsiteX9" fmla="*/ 2027188 w 3461170"/>
              <a:gd name="connsiteY9" fmla="*/ 953180 h 1914775"/>
              <a:gd name="connsiteX10" fmla="*/ 1652869 w 3461170"/>
              <a:gd name="connsiteY10" fmla="*/ 834775 h 1914775"/>
              <a:gd name="connsiteX11" fmla="*/ 428160 w 3461170"/>
              <a:gd name="connsiteY11" fmla="*/ 426991 h 1914775"/>
              <a:gd name="connsiteX12" fmla="*/ 856319 w 3461170"/>
              <a:gd name="connsiteY12" fmla="*/ 855169 h 1914775"/>
              <a:gd name="connsiteX13" fmla="*/ 818022 w 3461170"/>
              <a:gd name="connsiteY13" fmla="*/ 1032084 h 1914775"/>
              <a:gd name="connsiteX14" fmla="*/ 1078732 w 3461170"/>
              <a:gd name="connsiteY14" fmla="*/ 1176823 h 1914775"/>
              <a:gd name="connsiteX15" fmla="*/ 1062067 w 3461170"/>
              <a:gd name="connsiteY15" fmla="*/ 1209097 h 1914775"/>
              <a:gd name="connsiteX16" fmla="*/ 1062067 w 3461170"/>
              <a:gd name="connsiteY16" fmla="*/ 1209097 h 1914775"/>
              <a:gd name="connsiteX17" fmla="*/ 801357 w 3461170"/>
              <a:gd name="connsiteY17" fmla="*/ 1064457 h 1914775"/>
              <a:gd name="connsiteX18" fmla="*/ 428160 w 3461170"/>
              <a:gd name="connsiteY18" fmla="*/ 1283249 h 1914775"/>
              <a:gd name="connsiteX19" fmla="*/ 0 w 3461170"/>
              <a:gd name="connsiteY19" fmla="*/ 855169 h 1914775"/>
              <a:gd name="connsiteX20" fmla="*/ 428160 w 3461170"/>
              <a:gd name="connsiteY20" fmla="*/ 426991 h 1914775"/>
              <a:gd name="connsiteX21" fmla="*/ 2577290 w 3461170"/>
              <a:gd name="connsiteY21" fmla="*/ 0 h 1914775"/>
              <a:gd name="connsiteX22" fmla="*/ 3005449 w 3461170"/>
              <a:gd name="connsiteY22" fmla="*/ 428179 h 1914775"/>
              <a:gd name="connsiteX23" fmla="*/ 2577290 w 3461170"/>
              <a:gd name="connsiteY23" fmla="*/ 856357 h 1914775"/>
              <a:gd name="connsiteX24" fmla="*/ 2279565 w 3461170"/>
              <a:gd name="connsiteY24" fmla="*/ 735576 h 1914775"/>
              <a:gd name="connsiteX25" fmla="*/ 2040328 w 3461170"/>
              <a:gd name="connsiteY25" fmla="*/ 962783 h 1914775"/>
              <a:gd name="connsiteX26" fmla="*/ 2303441 w 3461170"/>
              <a:gd name="connsiteY26" fmla="*/ 1468678 h 1914775"/>
              <a:gd name="connsiteX27" fmla="*/ 2605973 w 3461170"/>
              <a:gd name="connsiteY27" fmla="*/ 1468678 h 1914775"/>
              <a:gd name="connsiteX28" fmla="*/ 3034132 w 3461170"/>
              <a:gd name="connsiteY28" fmla="*/ 1058418 h 1914775"/>
              <a:gd name="connsiteX29" fmla="*/ 3461170 w 3461170"/>
              <a:gd name="connsiteY29" fmla="*/ 1486597 h 1914775"/>
              <a:gd name="connsiteX30" fmla="*/ 3033011 w 3461170"/>
              <a:gd name="connsiteY30" fmla="*/ 1914775 h 1914775"/>
              <a:gd name="connsiteX31" fmla="*/ 2604851 w 3461170"/>
              <a:gd name="connsiteY31" fmla="*/ 1504516 h 1914775"/>
              <a:gd name="connsiteX32" fmla="*/ 2303441 w 3461170"/>
              <a:gd name="connsiteY32" fmla="*/ 1504516 h 1914775"/>
              <a:gd name="connsiteX33" fmla="*/ 2303440 w 3461170"/>
              <a:gd name="connsiteY33" fmla="*/ 1504516 h 1914775"/>
              <a:gd name="connsiteX34" fmla="*/ 2303440 w 3461170"/>
              <a:gd name="connsiteY34" fmla="*/ 1468678 h 1914775"/>
              <a:gd name="connsiteX35" fmla="*/ 2040327 w 3461170"/>
              <a:gd name="connsiteY35" fmla="*/ 962783 h 1914775"/>
              <a:gd name="connsiteX36" fmla="*/ 2014051 w 3461170"/>
              <a:gd name="connsiteY36" fmla="*/ 940015 h 1914775"/>
              <a:gd name="connsiteX37" fmla="*/ 2014049 w 3461170"/>
              <a:gd name="connsiteY37" fmla="*/ 940013 h 1914775"/>
              <a:gd name="connsiteX38" fmla="*/ 2255689 w 3461170"/>
              <a:gd name="connsiteY38" fmla="*/ 710430 h 1914775"/>
              <a:gd name="connsiteX39" fmla="*/ 2149130 w 3461170"/>
              <a:gd name="connsiteY39" fmla="*/ 428179 h 1914775"/>
              <a:gd name="connsiteX40" fmla="*/ 2577290 w 3461170"/>
              <a:gd name="connsiteY40" fmla="*/ 0 h 1914775"/>
              <a:gd name="connsiteX0" fmla="*/ 2025425 w 3461170"/>
              <a:gd name="connsiteY0" fmla="*/ 1075174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2025425 w 3461170"/>
              <a:gd name="connsiteY4" fmla="*/ 1075174 h 1914775"/>
              <a:gd name="connsiteX5" fmla="*/ 1652869 w 3461170"/>
              <a:gd name="connsiteY5" fmla="*/ 834775 h 1914775"/>
              <a:gd name="connsiteX6" fmla="*/ 1943328 w 3461170"/>
              <a:gd name="connsiteY6" fmla="*/ 903397 h 1914775"/>
              <a:gd name="connsiteX7" fmla="*/ 2027187 w 3461170"/>
              <a:gd name="connsiteY7" fmla="*/ 953179 h 1914775"/>
              <a:gd name="connsiteX8" fmla="*/ 2027188 w 3461170"/>
              <a:gd name="connsiteY8" fmla="*/ 953180 h 1914775"/>
              <a:gd name="connsiteX9" fmla="*/ 1652869 w 3461170"/>
              <a:gd name="connsiteY9" fmla="*/ 834775 h 1914775"/>
              <a:gd name="connsiteX10" fmla="*/ 428160 w 3461170"/>
              <a:gd name="connsiteY10" fmla="*/ 426991 h 1914775"/>
              <a:gd name="connsiteX11" fmla="*/ 856319 w 3461170"/>
              <a:gd name="connsiteY11" fmla="*/ 855169 h 1914775"/>
              <a:gd name="connsiteX12" fmla="*/ 818022 w 3461170"/>
              <a:gd name="connsiteY12" fmla="*/ 1032084 h 1914775"/>
              <a:gd name="connsiteX13" fmla="*/ 1078732 w 3461170"/>
              <a:gd name="connsiteY13" fmla="*/ 1176823 h 1914775"/>
              <a:gd name="connsiteX14" fmla="*/ 1062067 w 3461170"/>
              <a:gd name="connsiteY14" fmla="*/ 1209097 h 1914775"/>
              <a:gd name="connsiteX15" fmla="*/ 1062067 w 3461170"/>
              <a:gd name="connsiteY15" fmla="*/ 1209097 h 1914775"/>
              <a:gd name="connsiteX16" fmla="*/ 801357 w 3461170"/>
              <a:gd name="connsiteY16" fmla="*/ 1064457 h 1914775"/>
              <a:gd name="connsiteX17" fmla="*/ 428160 w 3461170"/>
              <a:gd name="connsiteY17" fmla="*/ 1283249 h 1914775"/>
              <a:gd name="connsiteX18" fmla="*/ 0 w 3461170"/>
              <a:gd name="connsiteY18" fmla="*/ 855169 h 1914775"/>
              <a:gd name="connsiteX19" fmla="*/ 428160 w 3461170"/>
              <a:gd name="connsiteY19" fmla="*/ 426991 h 1914775"/>
              <a:gd name="connsiteX20" fmla="*/ 2577290 w 3461170"/>
              <a:gd name="connsiteY20" fmla="*/ 0 h 1914775"/>
              <a:gd name="connsiteX21" fmla="*/ 3005449 w 3461170"/>
              <a:gd name="connsiteY21" fmla="*/ 428179 h 1914775"/>
              <a:gd name="connsiteX22" fmla="*/ 2577290 w 3461170"/>
              <a:gd name="connsiteY22" fmla="*/ 856357 h 1914775"/>
              <a:gd name="connsiteX23" fmla="*/ 2279565 w 3461170"/>
              <a:gd name="connsiteY23" fmla="*/ 735576 h 1914775"/>
              <a:gd name="connsiteX24" fmla="*/ 2040328 w 3461170"/>
              <a:gd name="connsiteY24" fmla="*/ 962783 h 1914775"/>
              <a:gd name="connsiteX25" fmla="*/ 2303441 w 3461170"/>
              <a:gd name="connsiteY25" fmla="*/ 1468678 h 1914775"/>
              <a:gd name="connsiteX26" fmla="*/ 2605973 w 3461170"/>
              <a:gd name="connsiteY26" fmla="*/ 1468678 h 1914775"/>
              <a:gd name="connsiteX27" fmla="*/ 3034132 w 3461170"/>
              <a:gd name="connsiteY27" fmla="*/ 1058418 h 1914775"/>
              <a:gd name="connsiteX28" fmla="*/ 3461170 w 3461170"/>
              <a:gd name="connsiteY28" fmla="*/ 1486597 h 1914775"/>
              <a:gd name="connsiteX29" fmla="*/ 3033011 w 3461170"/>
              <a:gd name="connsiteY29" fmla="*/ 1914775 h 1914775"/>
              <a:gd name="connsiteX30" fmla="*/ 2604851 w 3461170"/>
              <a:gd name="connsiteY30" fmla="*/ 1504516 h 1914775"/>
              <a:gd name="connsiteX31" fmla="*/ 2303441 w 3461170"/>
              <a:gd name="connsiteY31" fmla="*/ 1504516 h 1914775"/>
              <a:gd name="connsiteX32" fmla="*/ 2303440 w 3461170"/>
              <a:gd name="connsiteY32" fmla="*/ 1504516 h 1914775"/>
              <a:gd name="connsiteX33" fmla="*/ 2303440 w 3461170"/>
              <a:gd name="connsiteY33" fmla="*/ 1468678 h 1914775"/>
              <a:gd name="connsiteX34" fmla="*/ 2040327 w 3461170"/>
              <a:gd name="connsiteY34" fmla="*/ 962783 h 1914775"/>
              <a:gd name="connsiteX35" fmla="*/ 2014051 w 3461170"/>
              <a:gd name="connsiteY35" fmla="*/ 940015 h 1914775"/>
              <a:gd name="connsiteX36" fmla="*/ 2014049 w 3461170"/>
              <a:gd name="connsiteY36" fmla="*/ 940013 h 1914775"/>
              <a:gd name="connsiteX37" fmla="*/ 2255689 w 3461170"/>
              <a:gd name="connsiteY37" fmla="*/ 710430 h 1914775"/>
              <a:gd name="connsiteX38" fmla="*/ 2149130 w 3461170"/>
              <a:gd name="connsiteY38" fmla="*/ 428179 h 1914775"/>
              <a:gd name="connsiteX39" fmla="*/ 2577290 w 3461170"/>
              <a:gd name="connsiteY39" fmla="*/ 0 h 1914775"/>
              <a:gd name="connsiteX0" fmla="*/ 1929122 w 3461170"/>
              <a:gd name="connsiteY0" fmla="*/ 1121878 h 1914775"/>
              <a:gd name="connsiteX1" fmla="*/ 2025425 w 3461170"/>
              <a:gd name="connsiteY1" fmla="*/ 1075174 h 1914775"/>
              <a:gd name="connsiteX2" fmla="*/ 1973007 w 3461170"/>
              <a:gd name="connsiteY2" fmla="*/ 1086850 h 1914775"/>
              <a:gd name="connsiteX3" fmla="*/ 1929122 w 3461170"/>
              <a:gd name="connsiteY3" fmla="*/ 1121878 h 1914775"/>
              <a:gd name="connsiteX4" fmla="*/ 1652869 w 3461170"/>
              <a:gd name="connsiteY4" fmla="*/ 834775 h 1914775"/>
              <a:gd name="connsiteX5" fmla="*/ 1943328 w 3461170"/>
              <a:gd name="connsiteY5" fmla="*/ 903397 h 1914775"/>
              <a:gd name="connsiteX6" fmla="*/ 2027187 w 3461170"/>
              <a:gd name="connsiteY6" fmla="*/ 953179 h 1914775"/>
              <a:gd name="connsiteX7" fmla="*/ 2027188 w 3461170"/>
              <a:gd name="connsiteY7" fmla="*/ 953180 h 1914775"/>
              <a:gd name="connsiteX8" fmla="*/ 1652869 w 3461170"/>
              <a:gd name="connsiteY8" fmla="*/ 834775 h 1914775"/>
              <a:gd name="connsiteX9" fmla="*/ 428160 w 3461170"/>
              <a:gd name="connsiteY9" fmla="*/ 426991 h 1914775"/>
              <a:gd name="connsiteX10" fmla="*/ 856319 w 3461170"/>
              <a:gd name="connsiteY10" fmla="*/ 855169 h 1914775"/>
              <a:gd name="connsiteX11" fmla="*/ 818022 w 3461170"/>
              <a:gd name="connsiteY11" fmla="*/ 1032084 h 1914775"/>
              <a:gd name="connsiteX12" fmla="*/ 1078732 w 3461170"/>
              <a:gd name="connsiteY12" fmla="*/ 1176823 h 1914775"/>
              <a:gd name="connsiteX13" fmla="*/ 1062067 w 3461170"/>
              <a:gd name="connsiteY13" fmla="*/ 1209097 h 1914775"/>
              <a:gd name="connsiteX14" fmla="*/ 1062067 w 3461170"/>
              <a:gd name="connsiteY14" fmla="*/ 1209097 h 1914775"/>
              <a:gd name="connsiteX15" fmla="*/ 801357 w 3461170"/>
              <a:gd name="connsiteY15" fmla="*/ 1064457 h 1914775"/>
              <a:gd name="connsiteX16" fmla="*/ 428160 w 3461170"/>
              <a:gd name="connsiteY16" fmla="*/ 1283249 h 1914775"/>
              <a:gd name="connsiteX17" fmla="*/ 0 w 3461170"/>
              <a:gd name="connsiteY17" fmla="*/ 855169 h 1914775"/>
              <a:gd name="connsiteX18" fmla="*/ 428160 w 3461170"/>
              <a:gd name="connsiteY18" fmla="*/ 426991 h 1914775"/>
              <a:gd name="connsiteX19" fmla="*/ 2577290 w 3461170"/>
              <a:gd name="connsiteY19" fmla="*/ 0 h 1914775"/>
              <a:gd name="connsiteX20" fmla="*/ 3005449 w 3461170"/>
              <a:gd name="connsiteY20" fmla="*/ 428179 h 1914775"/>
              <a:gd name="connsiteX21" fmla="*/ 2577290 w 3461170"/>
              <a:gd name="connsiteY21" fmla="*/ 856357 h 1914775"/>
              <a:gd name="connsiteX22" fmla="*/ 2279565 w 3461170"/>
              <a:gd name="connsiteY22" fmla="*/ 735576 h 1914775"/>
              <a:gd name="connsiteX23" fmla="*/ 2040328 w 3461170"/>
              <a:gd name="connsiteY23" fmla="*/ 962783 h 1914775"/>
              <a:gd name="connsiteX24" fmla="*/ 2303441 w 3461170"/>
              <a:gd name="connsiteY24" fmla="*/ 1468678 h 1914775"/>
              <a:gd name="connsiteX25" fmla="*/ 2605973 w 3461170"/>
              <a:gd name="connsiteY25" fmla="*/ 1468678 h 1914775"/>
              <a:gd name="connsiteX26" fmla="*/ 3034132 w 3461170"/>
              <a:gd name="connsiteY26" fmla="*/ 1058418 h 1914775"/>
              <a:gd name="connsiteX27" fmla="*/ 3461170 w 3461170"/>
              <a:gd name="connsiteY27" fmla="*/ 1486597 h 1914775"/>
              <a:gd name="connsiteX28" fmla="*/ 3033011 w 3461170"/>
              <a:gd name="connsiteY28" fmla="*/ 1914775 h 1914775"/>
              <a:gd name="connsiteX29" fmla="*/ 2604851 w 3461170"/>
              <a:gd name="connsiteY29" fmla="*/ 1504516 h 1914775"/>
              <a:gd name="connsiteX30" fmla="*/ 2303441 w 3461170"/>
              <a:gd name="connsiteY30" fmla="*/ 1504516 h 1914775"/>
              <a:gd name="connsiteX31" fmla="*/ 2303440 w 3461170"/>
              <a:gd name="connsiteY31" fmla="*/ 1504516 h 1914775"/>
              <a:gd name="connsiteX32" fmla="*/ 2303440 w 3461170"/>
              <a:gd name="connsiteY32" fmla="*/ 1468678 h 1914775"/>
              <a:gd name="connsiteX33" fmla="*/ 2040327 w 3461170"/>
              <a:gd name="connsiteY33" fmla="*/ 962783 h 1914775"/>
              <a:gd name="connsiteX34" fmla="*/ 2014051 w 3461170"/>
              <a:gd name="connsiteY34" fmla="*/ 940015 h 1914775"/>
              <a:gd name="connsiteX35" fmla="*/ 2014049 w 3461170"/>
              <a:gd name="connsiteY35" fmla="*/ 940013 h 1914775"/>
              <a:gd name="connsiteX36" fmla="*/ 2255689 w 3461170"/>
              <a:gd name="connsiteY36" fmla="*/ 710430 h 1914775"/>
              <a:gd name="connsiteX37" fmla="*/ 2149130 w 3461170"/>
              <a:gd name="connsiteY37" fmla="*/ 428179 h 1914775"/>
              <a:gd name="connsiteX38" fmla="*/ 2577290 w 3461170"/>
              <a:gd name="connsiteY38" fmla="*/ 0 h 1914775"/>
              <a:gd name="connsiteX0" fmla="*/ 1973007 w 3461170"/>
              <a:gd name="connsiteY0" fmla="*/ 1086850 h 1914775"/>
              <a:gd name="connsiteX1" fmla="*/ 2025425 w 3461170"/>
              <a:gd name="connsiteY1" fmla="*/ 1075174 h 1914775"/>
              <a:gd name="connsiteX2" fmla="*/ 1973007 w 3461170"/>
              <a:gd name="connsiteY2" fmla="*/ 1086850 h 1914775"/>
              <a:gd name="connsiteX3" fmla="*/ 1652869 w 3461170"/>
              <a:gd name="connsiteY3" fmla="*/ 834775 h 1914775"/>
              <a:gd name="connsiteX4" fmla="*/ 1943328 w 3461170"/>
              <a:gd name="connsiteY4" fmla="*/ 903397 h 1914775"/>
              <a:gd name="connsiteX5" fmla="*/ 2027187 w 3461170"/>
              <a:gd name="connsiteY5" fmla="*/ 953179 h 1914775"/>
              <a:gd name="connsiteX6" fmla="*/ 2027188 w 3461170"/>
              <a:gd name="connsiteY6" fmla="*/ 953180 h 1914775"/>
              <a:gd name="connsiteX7" fmla="*/ 1652869 w 3461170"/>
              <a:gd name="connsiteY7" fmla="*/ 834775 h 1914775"/>
              <a:gd name="connsiteX8" fmla="*/ 428160 w 3461170"/>
              <a:gd name="connsiteY8" fmla="*/ 426991 h 1914775"/>
              <a:gd name="connsiteX9" fmla="*/ 856319 w 3461170"/>
              <a:gd name="connsiteY9" fmla="*/ 855169 h 1914775"/>
              <a:gd name="connsiteX10" fmla="*/ 818022 w 3461170"/>
              <a:gd name="connsiteY10" fmla="*/ 1032084 h 1914775"/>
              <a:gd name="connsiteX11" fmla="*/ 1078732 w 3461170"/>
              <a:gd name="connsiteY11" fmla="*/ 1176823 h 1914775"/>
              <a:gd name="connsiteX12" fmla="*/ 1062067 w 3461170"/>
              <a:gd name="connsiteY12" fmla="*/ 1209097 h 1914775"/>
              <a:gd name="connsiteX13" fmla="*/ 1062067 w 3461170"/>
              <a:gd name="connsiteY13" fmla="*/ 1209097 h 1914775"/>
              <a:gd name="connsiteX14" fmla="*/ 801357 w 3461170"/>
              <a:gd name="connsiteY14" fmla="*/ 1064457 h 1914775"/>
              <a:gd name="connsiteX15" fmla="*/ 428160 w 3461170"/>
              <a:gd name="connsiteY15" fmla="*/ 1283249 h 1914775"/>
              <a:gd name="connsiteX16" fmla="*/ 0 w 3461170"/>
              <a:gd name="connsiteY16" fmla="*/ 855169 h 1914775"/>
              <a:gd name="connsiteX17" fmla="*/ 428160 w 3461170"/>
              <a:gd name="connsiteY17" fmla="*/ 426991 h 1914775"/>
              <a:gd name="connsiteX18" fmla="*/ 2577290 w 3461170"/>
              <a:gd name="connsiteY18" fmla="*/ 0 h 1914775"/>
              <a:gd name="connsiteX19" fmla="*/ 3005449 w 3461170"/>
              <a:gd name="connsiteY19" fmla="*/ 428179 h 1914775"/>
              <a:gd name="connsiteX20" fmla="*/ 2577290 w 3461170"/>
              <a:gd name="connsiteY20" fmla="*/ 856357 h 1914775"/>
              <a:gd name="connsiteX21" fmla="*/ 2279565 w 3461170"/>
              <a:gd name="connsiteY21" fmla="*/ 735576 h 1914775"/>
              <a:gd name="connsiteX22" fmla="*/ 2040328 w 3461170"/>
              <a:gd name="connsiteY22" fmla="*/ 962783 h 1914775"/>
              <a:gd name="connsiteX23" fmla="*/ 2303441 w 3461170"/>
              <a:gd name="connsiteY23" fmla="*/ 1468678 h 1914775"/>
              <a:gd name="connsiteX24" fmla="*/ 2605973 w 3461170"/>
              <a:gd name="connsiteY24" fmla="*/ 1468678 h 1914775"/>
              <a:gd name="connsiteX25" fmla="*/ 3034132 w 3461170"/>
              <a:gd name="connsiteY25" fmla="*/ 1058418 h 1914775"/>
              <a:gd name="connsiteX26" fmla="*/ 3461170 w 3461170"/>
              <a:gd name="connsiteY26" fmla="*/ 1486597 h 1914775"/>
              <a:gd name="connsiteX27" fmla="*/ 3033011 w 3461170"/>
              <a:gd name="connsiteY27" fmla="*/ 1914775 h 1914775"/>
              <a:gd name="connsiteX28" fmla="*/ 2604851 w 3461170"/>
              <a:gd name="connsiteY28" fmla="*/ 1504516 h 1914775"/>
              <a:gd name="connsiteX29" fmla="*/ 2303441 w 3461170"/>
              <a:gd name="connsiteY29" fmla="*/ 1504516 h 1914775"/>
              <a:gd name="connsiteX30" fmla="*/ 2303440 w 3461170"/>
              <a:gd name="connsiteY30" fmla="*/ 1504516 h 1914775"/>
              <a:gd name="connsiteX31" fmla="*/ 2303440 w 3461170"/>
              <a:gd name="connsiteY31" fmla="*/ 1468678 h 1914775"/>
              <a:gd name="connsiteX32" fmla="*/ 2040327 w 3461170"/>
              <a:gd name="connsiteY32" fmla="*/ 962783 h 1914775"/>
              <a:gd name="connsiteX33" fmla="*/ 2014051 w 3461170"/>
              <a:gd name="connsiteY33" fmla="*/ 940015 h 1914775"/>
              <a:gd name="connsiteX34" fmla="*/ 2014049 w 3461170"/>
              <a:gd name="connsiteY34" fmla="*/ 940013 h 1914775"/>
              <a:gd name="connsiteX35" fmla="*/ 2255689 w 3461170"/>
              <a:gd name="connsiteY35" fmla="*/ 710430 h 1914775"/>
              <a:gd name="connsiteX36" fmla="*/ 2149130 w 3461170"/>
              <a:gd name="connsiteY36" fmla="*/ 428179 h 1914775"/>
              <a:gd name="connsiteX37" fmla="*/ 2577290 w 3461170"/>
              <a:gd name="connsiteY37" fmla="*/ 0 h 1914775"/>
              <a:gd name="connsiteX0" fmla="*/ 1652869 w 3461170"/>
              <a:gd name="connsiteY0" fmla="*/ 834775 h 1914775"/>
              <a:gd name="connsiteX1" fmla="*/ 1943328 w 3461170"/>
              <a:gd name="connsiteY1" fmla="*/ 903397 h 1914775"/>
              <a:gd name="connsiteX2" fmla="*/ 2027187 w 3461170"/>
              <a:gd name="connsiteY2" fmla="*/ 953179 h 1914775"/>
              <a:gd name="connsiteX3" fmla="*/ 2027188 w 3461170"/>
              <a:gd name="connsiteY3" fmla="*/ 953180 h 1914775"/>
              <a:gd name="connsiteX4" fmla="*/ 1652869 w 3461170"/>
              <a:gd name="connsiteY4" fmla="*/ 834775 h 1914775"/>
              <a:gd name="connsiteX5" fmla="*/ 428160 w 3461170"/>
              <a:gd name="connsiteY5" fmla="*/ 426991 h 1914775"/>
              <a:gd name="connsiteX6" fmla="*/ 856319 w 3461170"/>
              <a:gd name="connsiteY6" fmla="*/ 855169 h 1914775"/>
              <a:gd name="connsiteX7" fmla="*/ 818022 w 3461170"/>
              <a:gd name="connsiteY7" fmla="*/ 1032084 h 1914775"/>
              <a:gd name="connsiteX8" fmla="*/ 1078732 w 3461170"/>
              <a:gd name="connsiteY8" fmla="*/ 1176823 h 1914775"/>
              <a:gd name="connsiteX9" fmla="*/ 1062067 w 3461170"/>
              <a:gd name="connsiteY9" fmla="*/ 1209097 h 1914775"/>
              <a:gd name="connsiteX10" fmla="*/ 1062067 w 3461170"/>
              <a:gd name="connsiteY10" fmla="*/ 1209097 h 1914775"/>
              <a:gd name="connsiteX11" fmla="*/ 801357 w 3461170"/>
              <a:gd name="connsiteY11" fmla="*/ 1064457 h 1914775"/>
              <a:gd name="connsiteX12" fmla="*/ 428160 w 3461170"/>
              <a:gd name="connsiteY12" fmla="*/ 1283249 h 1914775"/>
              <a:gd name="connsiteX13" fmla="*/ 0 w 3461170"/>
              <a:gd name="connsiteY13" fmla="*/ 855169 h 1914775"/>
              <a:gd name="connsiteX14" fmla="*/ 428160 w 3461170"/>
              <a:gd name="connsiteY14" fmla="*/ 426991 h 1914775"/>
              <a:gd name="connsiteX15" fmla="*/ 2577290 w 3461170"/>
              <a:gd name="connsiteY15" fmla="*/ 0 h 1914775"/>
              <a:gd name="connsiteX16" fmla="*/ 3005449 w 3461170"/>
              <a:gd name="connsiteY16" fmla="*/ 428179 h 1914775"/>
              <a:gd name="connsiteX17" fmla="*/ 2577290 w 3461170"/>
              <a:gd name="connsiteY17" fmla="*/ 856357 h 1914775"/>
              <a:gd name="connsiteX18" fmla="*/ 2279565 w 3461170"/>
              <a:gd name="connsiteY18" fmla="*/ 735576 h 1914775"/>
              <a:gd name="connsiteX19" fmla="*/ 2040328 w 3461170"/>
              <a:gd name="connsiteY19" fmla="*/ 962783 h 1914775"/>
              <a:gd name="connsiteX20" fmla="*/ 2303441 w 3461170"/>
              <a:gd name="connsiteY20" fmla="*/ 1468678 h 1914775"/>
              <a:gd name="connsiteX21" fmla="*/ 2605973 w 3461170"/>
              <a:gd name="connsiteY21" fmla="*/ 1468678 h 1914775"/>
              <a:gd name="connsiteX22" fmla="*/ 3034132 w 3461170"/>
              <a:gd name="connsiteY22" fmla="*/ 1058418 h 1914775"/>
              <a:gd name="connsiteX23" fmla="*/ 3461170 w 3461170"/>
              <a:gd name="connsiteY23" fmla="*/ 1486597 h 1914775"/>
              <a:gd name="connsiteX24" fmla="*/ 3033011 w 3461170"/>
              <a:gd name="connsiteY24" fmla="*/ 1914775 h 1914775"/>
              <a:gd name="connsiteX25" fmla="*/ 2604851 w 3461170"/>
              <a:gd name="connsiteY25" fmla="*/ 1504516 h 1914775"/>
              <a:gd name="connsiteX26" fmla="*/ 2303441 w 3461170"/>
              <a:gd name="connsiteY26" fmla="*/ 1504516 h 1914775"/>
              <a:gd name="connsiteX27" fmla="*/ 2303440 w 3461170"/>
              <a:gd name="connsiteY27" fmla="*/ 1504516 h 1914775"/>
              <a:gd name="connsiteX28" fmla="*/ 2303440 w 3461170"/>
              <a:gd name="connsiteY28" fmla="*/ 1468678 h 1914775"/>
              <a:gd name="connsiteX29" fmla="*/ 2040327 w 3461170"/>
              <a:gd name="connsiteY29" fmla="*/ 962783 h 1914775"/>
              <a:gd name="connsiteX30" fmla="*/ 2014051 w 3461170"/>
              <a:gd name="connsiteY30" fmla="*/ 940015 h 1914775"/>
              <a:gd name="connsiteX31" fmla="*/ 2014049 w 3461170"/>
              <a:gd name="connsiteY31" fmla="*/ 940013 h 1914775"/>
              <a:gd name="connsiteX32" fmla="*/ 2255689 w 3461170"/>
              <a:gd name="connsiteY32" fmla="*/ 710430 h 1914775"/>
              <a:gd name="connsiteX33" fmla="*/ 2149130 w 3461170"/>
              <a:gd name="connsiteY33" fmla="*/ 428179 h 1914775"/>
              <a:gd name="connsiteX34" fmla="*/ 2577290 w 3461170"/>
              <a:gd name="connsiteY34" fmla="*/ 0 h 1914775"/>
              <a:gd name="connsiteX0" fmla="*/ 2027188 w 3461170"/>
              <a:gd name="connsiteY0" fmla="*/ 953180 h 1914775"/>
              <a:gd name="connsiteX1" fmla="*/ 1943328 w 3461170"/>
              <a:gd name="connsiteY1" fmla="*/ 903397 h 1914775"/>
              <a:gd name="connsiteX2" fmla="*/ 2027187 w 3461170"/>
              <a:gd name="connsiteY2" fmla="*/ 953179 h 1914775"/>
              <a:gd name="connsiteX3" fmla="*/ 2027188 w 3461170"/>
              <a:gd name="connsiteY3" fmla="*/ 953180 h 1914775"/>
              <a:gd name="connsiteX4" fmla="*/ 428160 w 3461170"/>
              <a:gd name="connsiteY4" fmla="*/ 426991 h 1914775"/>
              <a:gd name="connsiteX5" fmla="*/ 856319 w 3461170"/>
              <a:gd name="connsiteY5" fmla="*/ 855169 h 1914775"/>
              <a:gd name="connsiteX6" fmla="*/ 818022 w 3461170"/>
              <a:gd name="connsiteY6" fmla="*/ 1032084 h 1914775"/>
              <a:gd name="connsiteX7" fmla="*/ 1078732 w 3461170"/>
              <a:gd name="connsiteY7" fmla="*/ 1176823 h 1914775"/>
              <a:gd name="connsiteX8" fmla="*/ 1062067 w 3461170"/>
              <a:gd name="connsiteY8" fmla="*/ 1209097 h 1914775"/>
              <a:gd name="connsiteX9" fmla="*/ 1062067 w 3461170"/>
              <a:gd name="connsiteY9" fmla="*/ 1209097 h 1914775"/>
              <a:gd name="connsiteX10" fmla="*/ 801357 w 3461170"/>
              <a:gd name="connsiteY10" fmla="*/ 1064457 h 1914775"/>
              <a:gd name="connsiteX11" fmla="*/ 428160 w 3461170"/>
              <a:gd name="connsiteY11" fmla="*/ 1283249 h 1914775"/>
              <a:gd name="connsiteX12" fmla="*/ 0 w 3461170"/>
              <a:gd name="connsiteY12" fmla="*/ 855169 h 1914775"/>
              <a:gd name="connsiteX13" fmla="*/ 428160 w 3461170"/>
              <a:gd name="connsiteY13" fmla="*/ 426991 h 1914775"/>
              <a:gd name="connsiteX14" fmla="*/ 2577290 w 3461170"/>
              <a:gd name="connsiteY14" fmla="*/ 0 h 1914775"/>
              <a:gd name="connsiteX15" fmla="*/ 3005449 w 3461170"/>
              <a:gd name="connsiteY15" fmla="*/ 428179 h 1914775"/>
              <a:gd name="connsiteX16" fmla="*/ 2577290 w 3461170"/>
              <a:gd name="connsiteY16" fmla="*/ 856357 h 1914775"/>
              <a:gd name="connsiteX17" fmla="*/ 2279565 w 3461170"/>
              <a:gd name="connsiteY17" fmla="*/ 735576 h 1914775"/>
              <a:gd name="connsiteX18" fmla="*/ 2040328 w 3461170"/>
              <a:gd name="connsiteY18" fmla="*/ 962783 h 1914775"/>
              <a:gd name="connsiteX19" fmla="*/ 2303441 w 3461170"/>
              <a:gd name="connsiteY19" fmla="*/ 1468678 h 1914775"/>
              <a:gd name="connsiteX20" fmla="*/ 2605973 w 3461170"/>
              <a:gd name="connsiteY20" fmla="*/ 1468678 h 1914775"/>
              <a:gd name="connsiteX21" fmla="*/ 3034132 w 3461170"/>
              <a:gd name="connsiteY21" fmla="*/ 1058418 h 1914775"/>
              <a:gd name="connsiteX22" fmla="*/ 3461170 w 3461170"/>
              <a:gd name="connsiteY22" fmla="*/ 1486597 h 1914775"/>
              <a:gd name="connsiteX23" fmla="*/ 3033011 w 3461170"/>
              <a:gd name="connsiteY23" fmla="*/ 1914775 h 1914775"/>
              <a:gd name="connsiteX24" fmla="*/ 2604851 w 3461170"/>
              <a:gd name="connsiteY24" fmla="*/ 1504516 h 1914775"/>
              <a:gd name="connsiteX25" fmla="*/ 2303441 w 3461170"/>
              <a:gd name="connsiteY25" fmla="*/ 1504516 h 1914775"/>
              <a:gd name="connsiteX26" fmla="*/ 2303440 w 3461170"/>
              <a:gd name="connsiteY26" fmla="*/ 1504516 h 1914775"/>
              <a:gd name="connsiteX27" fmla="*/ 2303440 w 3461170"/>
              <a:gd name="connsiteY27" fmla="*/ 1468678 h 1914775"/>
              <a:gd name="connsiteX28" fmla="*/ 2040327 w 3461170"/>
              <a:gd name="connsiteY28" fmla="*/ 962783 h 1914775"/>
              <a:gd name="connsiteX29" fmla="*/ 2014051 w 3461170"/>
              <a:gd name="connsiteY29" fmla="*/ 940015 h 1914775"/>
              <a:gd name="connsiteX30" fmla="*/ 2014049 w 3461170"/>
              <a:gd name="connsiteY30" fmla="*/ 940013 h 1914775"/>
              <a:gd name="connsiteX31" fmla="*/ 2255689 w 3461170"/>
              <a:gd name="connsiteY31" fmla="*/ 710430 h 1914775"/>
              <a:gd name="connsiteX32" fmla="*/ 2149130 w 3461170"/>
              <a:gd name="connsiteY32" fmla="*/ 428179 h 1914775"/>
              <a:gd name="connsiteX33" fmla="*/ 2577290 w 3461170"/>
              <a:gd name="connsiteY33" fmla="*/ 0 h 1914775"/>
              <a:gd name="connsiteX0" fmla="*/ 2027188 w 3461170"/>
              <a:gd name="connsiteY0" fmla="*/ 953180 h 1914775"/>
              <a:gd name="connsiteX1" fmla="*/ 2027187 w 3461170"/>
              <a:gd name="connsiteY1" fmla="*/ 953179 h 1914775"/>
              <a:gd name="connsiteX2" fmla="*/ 2027188 w 3461170"/>
              <a:gd name="connsiteY2" fmla="*/ 953180 h 1914775"/>
              <a:gd name="connsiteX3" fmla="*/ 428160 w 3461170"/>
              <a:gd name="connsiteY3" fmla="*/ 426991 h 1914775"/>
              <a:gd name="connsiteX4" fmla="*/ 856319 w 3461170"/>
              <a:gd name="connsiteY4" fmla="*/ 855169 h 1914775"/>
              <a:gd name="connsiteX5" fmla="*/ 818022 w 3461170"/>
              <a:gd name="connsiteY5" fmla="*/ 1032084 h 1914775"/>
              <a:gd name="connsiteX6" fmla="*/ 1078732 w 3461170"/>
              <a:gd name="connsiteY6" fmla="*/ 1176823 h 1914775"/>
              <a:gd name="connsiteX7" fmla="*/ 1062067 w 3461170"/>
              <a:gd name="connsiteY7" fmla="*/ 1209097 h 1914775"/>
              <a:gd name="connsiteX8" fmla="*/ 1062067 w 3461170"/>
              <a:gd name="connsiteY8" fmla="*/ 1209097 h 1914775"/>
              <a:gd name="connsiteX9" fmla="*/ 801357 w 3461170"/>
              <a:gd name="connsiteY9" fmla="*/ 1064457 h 1914775"/>
              <a:gd name="connsiteX10" fmla="*/ 428160 w 3461170"/>
              <a:gd name="connsiteY10" fmla="*/ 1283249 h 1914775"/>
              <a:gd name="connsiteX11" fmla="*/ 0 w 3461170"/>
              <a:gd name="connsiteY11" fmla="*/ 855169 h 1914775"/>
              <a:gd name="connsiteX12" fmla="*/ 428160 w 3461170"/>
              <a:gd name="connsiteY12" fmla="*/ 426991 h 1914775"/>
              <a:gd name="connsiteX13" fmla="*/ 2577290 w 3461170"/>
              <a:gd name="connsiteY13" fmla="*/ 0 h 1914775"/>
              <a:gd name="connsiteX14" fmla="*/ 3005449 w 3461170"/>
              <a:gd name="connsiteY14" fmla="*/ 428179 h 1914775"/>
              <a:gd name="connsiteX15" fmla="*/ 2577290 w 3461170"/>
              <a:gd name="connsiteY15" fmla="*/ 856357 h 1914775"/>
              <a:gd name="connsiteX16" fmla="*/ 2279565 w 3461170"/>
              <a:gd name="connsiteY16" fmla="*/ 735576 h 1914775"/>
              <a:gd name="connsiteX17" fmla="*/ 2040328 w 3461170"/>
              <a:gd name="connsiteY17" fmla="*/ 962783 h 1914775"/>
              <a:gd name="connsiteX18" fmla="*/ 2303441 w 3461170"/>
              <a:gd name="connsiteY18" fmla="*/ 1468678 h 1914775"/>
              <a:gd name="connsiteX19" fmla="*/ 2605973 w 3461170"/>
              <a:gd name="connsiteY19" fmla="*/ 1468678 h 1914775"/>
              <a:gd name="connsiteX20" fmla="*/ 3034132 w 3461170"/>
              <a:gd name="connsiteY20" fmla="*/ 1058418 h 1914775"/>
              <a:gd name="connsiteX21" fmla="*/ 3461170 w 3461170"/>
              <a:gd name="connsiteY21" fmla="*/ 1486597 h 1914775"/>
              <a:gd name="connsiteX22" fmla="*/ 3033011 w 3461170"/>
              <a:gd name="connsiteY22" fmla="*/ 1914775 h 1914775"/>
              <a:gd name="connsiteX23" fmla="*/ 2604851 w 3461170"/>
              <a:gd name="connsiteY23" fmla="*/ 1504516 h 1914775"/>
              <a:gd name="connsiteX24" fmla="*/ 2303441 w 3461170"/>
              <a:gd name="connsiteY24" fmla="*/ 1504516 h 1914775"/>
              <a:gd name="connsiteX25" fmla="*/ 2303440 w 3461170"/>
              <a:gd name="connsiteY25" fmla="*/ 1504516 h 1914775"/>
              <a:gd name="connsiteX26" fmla="*/ 2303440 w 3461170"/>
              <a:gd name="connsiteY26" fmla="*/ 1468678 h 1914775"/>
              <a:gd name="connsiteX27" fmla="*/ 2040327 w 3461170"/>
              <a:gd name="connsiteY27" fmla="*/ 962783 h 1914775"/>
              <a:gd name="connsiteX28" fmla="*/ 2014051 w 3461170"/>
              <a:gd name="connsiteY28" fmla="*/ 940015 h 1914775"/>
              <a:gd name="connsiteX29" fmla="*/ 2014049 w 3461170"/>
              <a:gd name="connsiteY29" fmla="*/ 940013 h 1914775"/>
              <a:gd name="connsiteX30" fmla="*/ 2255689 w 3461170"/>
              <a:gd name="connsiteY30" fmla="*/ 710430 h 1914775"/>
              <a:gd name="connsiteX31" fmla="*/ 2149130 w 3461170"/>
              <a:gd name="connsiteY31" fmla="*/ 428179 h 1914775"/>
              <a:gd name="connsiteX32" fmla="*/ 2577290 w 3461170"/>
              <a:gd name="connsiteY32" fmla="*/ 0 h 191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61170" h="1914775">
                <a:moveTo>
                  <a:pt x="2027188" y="953180"/>
                </a:moveTo>
                <a:lnTo>
                  <a:pt x="2027187" y="953179"/>
                </a:lnTo>
                <a:lnTo>
                  <a:pt x="2027188" y="953180"/>
                </a:lnTo>
                <a:close/>
                <a:moveTo>
                  <a:pt x="428160" y="426991"/>
                </a:moveTo>
                <a:cubicBezTo>
                  <a:pt x="664994" y="426991"/>
                  <a:pt x="856319" y="618359"/>
                  <a:pt x="856319" y="855169"/>
                </a:cubicBezTo>
                <a:cubicBezTo>
                  <a:pt x="856319" y="918530"/>
                  <a:pt x="841898" y="978326"/>
                  <a:pt x="818022" y="1032084"/>
                </a:cubicBezTo>
                <a:lnTo>
                  <a:pt x="1078732" y="1176823"/>
                </a:lnTo>
                <a:cubicBezTo>
                  <a:pt x="1073124" y="1187614"/>
                  <a:pt x="1067675" y="1198306"/>
                  <a:pt x="1062067" y="1209097"/>
                </a:cubicBezTo>
                <a:lnTo>
                  <a:pt x="1062067" y="1209097"/>
                </a:lnTo>
                <a:lnTo>
                  <a:pt x="801357" y="1064457"/>
                </a:lnTo>
                <a:cubicBezTo>
                  <a:pt x="728288" y="1194742"/>
                  <a:pt x="588399" y="1283249"/>
                  <a:pt x="428160" y="1283249"/>
                </a:cubicBezTo>
                <a:cubicBezTo>
                  <a:pt x="191326" y="1283249"/>
                  <a:pt x="0" y="1091979"/>
                  <a:pt x="0" y="855169"/>
                </a:cubicBezTo>
                <a:cubicBezTo>
                  <a:pt x="0" y="618359"/>
                  <a:pt x="191326" y="426991"/>
                  <a:pt x="428160" y="426991"/>
                </a:cubicBezTo>
                <a:close/>
                <a:moveTo>
                  <a:pt x="2577290" y="0"/>
                </a:moveTo>
                <a:cubicBezTo>
                  <a:pt x="2814123" y="0"/>
                  <a:pt x="3005449" y="191369"/>
                  <a:pt x="3005449" y="428179"/>
                </a:cubicBezTo>
                <a:cubicBezTo>
                  <a:pt x="3005449" y="664989"/>
                  <a:pt x="2814123" y="856357"/>
                  <a:pt x="2577290" y="856357"/>
                </a:cubicBezTo>
                <a:cubicBezTo>
                  <a:pt x="2461277" y="856357"/>
                  <a:pt x="2355999" y="809728"/>
                  <a:pt x="2279565" y="735576"/>
                </a:cubicBezTo>
                <a:lnTo>
                  <a:pt x="2040328" y="962783"/>
                </a:lnTo>
                <a:cubicBezTo>
                  <a:pt x="2195760" y="1078812"/>
                  <a:pt x="2297512" y="1261766"/>
                  <a:pt x="2303441" y="1468678"/>
                </a:cubicBezTo>
                <a:lnTo>
                  <a:pt x="2605973" y="1468678"/>
                </a:lnTo>
                <a:cubicBezTo>
                  <a:pt x="2615587" y="1240283"/>
                  <a:pt x="2803387" y="1058418"/>
                  <a:pt x="3034132" y="1058418"/>
                </a:cubicBezTo>
                <a:cubicBezTo>
                  <a:pt x="3269844" y="1058418"/>
                  <a:pt x="3461170" y="1249787"/>
                  <a:pt x="3461170" y="1486597"/>
                </a:cubicBezTo>
                <a:cubicBezTo>
                  <a:pt x="3461170" y="1723407"/>
                  <a:pt x="3269844" y="1914775"/>
                  <a:pt x="3033011" y="1914775"/>
                </a:cubicBezTo>
                <a:cubicBezTo>
                  <a:pt x="2802266" y="1914775"/>
                  <a:pt x="2614465" y="1733010"/>
                  <a:pt x="2604851" y="1504516"/>
                </a:cubicBezTo>
                <a:lnTo>
                  <a:pt x="2303441" y="1504516"/>
                </a:lnTo>
                <a:cubicBezTo>
                  <a:pt x="2253206" y="1504516"/>
                  <a:pt x="2303440" y="1510489"/>
                  <a:pt x="2303440" y="1504516"/>
                </a:cubicBezTo>
                <a:lnTo>
                  <a:pt x="2303440" y="1468678"/>
                </a:lnTo>
                <a:cubicBezTo>
                  <a:pt x="2297511" y="1261766"/>
                  <a:pt x="2195759" y="1078812"/>
                  <a:pt x="2040327" y="962783"/>
                </a:cubicBezTo>
                <a:lnTo>
                  <a:pt x="2014051" y="940015"/>
                </a:lnTo>
                <a:lnTo>
                  <a:pt x="2014049" y="940013"/>
                </a:lnTo>
                <a:lnTo>
                  <a:pt x="2255689" y="710430"/>
                </a:lnTo>
                <a:cubicBezTo>
                  <a:pt x="2188709" y="635090"/>
                  <a:pt x="2149130" y="535793"/>
                  <a:pt x="2149130" y="428179"/>
                </a:cubicBezTo>
                <a:cubicBezTo>
                  <a:pt x="2149130" y="191369"/>
                  <a:pt x="2340456" y="0"/>
                  <a:pt x="2577290" y="0"/>
                </a:cubicBezTo>
                <a:close/>
              </a:path>
            </a:pathLst>
          </a:custGeom>
          <a:solidFill>
            <a:srgbClr val="FFCC4C">
              <a:lumMod val="50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sp>
        <p:nvSpPr>
          <p:cNvPr id="150" name="Shape">
            <a:extLst>
              <a:ext uri="{FF2B5EF4-FFF2-40B4-BE49-F238E27FC236}">
                <a16:creationId xmlns:a16="http://schemas.microsoft.com/office/drawing/2014/main" id="{192F3822-CF40-112D-27CB-F7D84A163F09}"/>
              </a:ext>
            </a:extLst>
          </p:cNvPr>
          <p:cNvSpPr/>
          <p:nvPr/>
        </p:nvSpPr>
        <p:spPr>
          <a:xfrm>
            <a:off x="3661143" y="2795889"/>
            <a:ext cx="1524087" cy="1524087"/>
          </a:xfrm>
          <a:prstGeom prst="ellipse">
            <a:avLst/>
          </a:prstGeom>
          <a:solidFill>
            <a:srgbClr val="063951"/>
          </a:solidFill>
          <a:ln w="12700">
            <a:miter lim="400000"/>
          </a:ln>
        </p:spPr>
        <p:txBody>
          <a:bodyPr lIns="28560" tIns="28560" rIns="28560" bIns="28560" anchor="ctr"/>
          <a:lstStyle/>
          <a:p>
            <a:pPr algn="ctr" defTabSz="913943">
              <a:defRPr sz="3000">
                <a:solidFill>
                  <a:srgbClr val="FFFFFF"/>
                </a:solidFill>
              </a:defRPr>
            </a:pPr>
            <a:r>
              <a:rPr lang="fr-CA" sz="2249" b="1" kern="0">
                <a:solidFill>
                  <a:prstClr val="white"/>
                </a:solidFill>
                <a:latin typeface="Calibri" panose="020F0502020204030204"/>
              </a:rPr>
              <a:t>LOREM IPSUM</a:t>
            </a:r>
            <a:endParaRPr sz="2249" b="1" kern="0">
              <a:solidFill>
                <a:prstClr val="white"/>
              </a:solidFill>
              <a:latin typeface="Calibri" panose="020F0502020204030204"/>
            </a:endParaRPr>
          </a:p>
        </p:txBody>
      </p:sp>
      <p:sp>
        <p:nvSpPr>
          <p:cNvPr id="151" name="Shape">
            <a:extLst>
              <a:ext uri="{FF2B5EF4-FFF2-40B4-BE49-F238E27FC236}">
                <a16:creationId xmlns:a16="http://schemas.microsoft.com/office/drawing/2014/main" id="{9024754F-3AD9-8048-B251-7D8FFBC65A29}"/>
              </a:ext>
            </a:extLst>
          </p:cNvPr>
          <p:cNvSpPr/>
          <p:nvPr/>
        </p:nvSpPr>
        <p:spPr>
          <a:xfrm>
            <a:off x="2555279" y="3813272"/>
            <a:ext cx="977255" cy="977226"/>
          </a:xfrm>
          <a:custGeom>
            <a:avLst/>
            <a:gdLst>
              <a:gd name="connsiteX0" fmla="*/ 18922 w 21600"/>
              <a:gd name="connsiteY0" fmla="*/ 8638 h 21600"/>
              <a:gd name="connsiteX1" fmla="*/ 16594 w 21600"/>
              <a:gd name="connsiteY1" fmla="*/ 10848 h 21600"/>
              <a:gd name="connsiteX2" fmla="*/ 14967 w 21600"/>
              <a:gd name="connsiteY2" fmla="*/ 9387 h 21600"/>
              <a:gd name="connsiteX3" fmla="*/ 15355 w 21600"/>
              <a:gd name="connsiteY3" fmla="*/ 6584 h 21600"/>
              <a:gd name="connsiteX4" fmla="*/ 11289 w 21600"/>
              <a:gd name="connsiteY4" fmla="*/ 0 h 21600"/>
              <a:gd name="connsiteX5" fmla="*/ 7222 w 21600"/>
              <a:gd name="connsiteY5" fmla="*/ 6403 h 21600"/>
              <a:gd name="connsiteX6" fmla="*/ 5342 w 21600"/>
              <a:gd name="connsiteY6" fmla="*/ 6403 h 21600"/>
              <a:gd name="connsiteX7" fmla="*/ 0 w 21600"/>
              <a:gd name="connsiteY7" fmla="*/ 6584 h 21600"/>
              <a:gd name="connsiteX8" fmla="*/ 2671 w 21600"/>
              <a:gd name="connsiteY8" fmla="*/ 10909 h 21600"/>
              <a:gd name="connsiteX9" fmla="*/ 5342 w 21600"/>
              <a:gd name="connsiteY9" fmla="*/ 6765 h 21600"/>
              <a:gd name="connsiteX10" fmla="*/ 7230 w 21600"/>
              <a:gd name="connsiteY10" fmla="*/ 6765 h 21600"/>
              <a:gd name="connsiteX11" fmla="*/ 8871 w 21600"/>
              <a:gd name="connsiteY11" fmla="*/ 11875 h 21600"/>
              <a:gd name="connsiteX12" fmla="*/ 7379 w 21600"/>
              <a:gd name="connsiteY12" fmla="*/ 14170 h 21600"/>
              <a:gd name="connsiteX13" fmla="*/ 5521 w 21600"/>
              <a:gd name="connsiteY13" fmla="*/ 12950 h 21600"/>
              <a:gd name="connsiteX14" fmla="*/ 2850 w 21600"/>
              <a:gd name="connsiteY14" fmla="*/ 17275 h 21600"/>
              <a:gd name="connsiteX15" fmla="*/ 5521 w 21600"/>
              <a:gd name="connsiteY15" fmla="*/ 21600 h 21600"/>
              <a:gd name="connsiteX16" fmla="*/ 8192 w 21600"/>
              <a:gd name="connsiteY16" fmla="*/ 17275 h 21600"/>
              <a:gd name="connsiteX17" fmla="*/ 7528 w 21600"/>
              <a:gd name="connsiteY17" fmla="*/ 14424 h 21600"/>
              <a:gd name="connsiteX18" fmla="*/ 9035 w 21600"/>
              <a:gd name="connsiteY18" fmla="*/ 12105 h 21600"/>
              <a:gd name="connsiteX19" fmla="*/ 8953 w 21600"/>
              <a:gd name="connsiteY19" fmla="*/ 11972 h 21600"/>
              <a:gd name="connsiteX20" fmla="*/ 11289 w 21600"/>
              <a:gd name="connsiteY20" fmla="*/ 13168 h 21600"/>
              <a:gd name="connsiteX21" fmla="*/ 14870 w 21600"/>
              <a:gd name="connsiteY21" fmla="*/ 9713 h 21600"/>
              <a:gd name="connsiteX22" fmla="*/ 16497 w 21600"/>
              <a:gd name="connsiteY22" fmla="*/ 11175 h 21600"/>
              <a:gd name="connsiteX23" fmla="*/ 16258 w 21600"/>
              <a:gd name="connsiteY23" fmla="*/ 12962 h 21600"/>
              <a:gd name="connsiteX24" fmla="*/ 18929 w 21600"/>
              <a:gd name="connsiteY24" fmla="*/ 17287 h 21600"/>
              <a:gd name="connsiteX25" fmla="*/ 21600 w 21600"/>
              <a:gd name="connsiteY25" fmla="*/ 12962 h 21600"/>
              <a:gd name="connsiteX26" fmla="*/ 18922 w 21600"/>
              <a:gd name="connsiteY26" fmla="*/ 8638 h 21600"/>
              <a:gd name="connsiteX27" fmla="*/ 9543 w 21600"/>
              <a:gd name="connsiteY27" fmla="*/ 10281 h 21600"/>
              <a:gd name="connsiteX28" fmla="*/ 8342 w 21600"/>
              <a:gd name="connsiteY28" fmla="*/ 10281 h 21600"/>
              <a:gd name="connsiteX29" fmla="*/ 7566 w 21600"/>
              <a:gd name="connsiteY29" fmla="*/ 6596 h 21600"/>
              <a:gd name="connsiteX30" fmla="*/ 8342 w 21600"/>
              <a:gd name="connsiteY30" fmla="*/ 2911 h 21600"/>
              <a:gd name="connsiteX31" fmla="*/ 9543 w 21600"/>
              <a:gd name="connsiteY31" fmla="*/ 2911 h 21600"/>
              <a:gd name="connsiteX32" fmla="*/ 10319 w 21600"/>
              <a:gd name="connsiteY32" fmla="*/ 6596 h 21600"/>
              <a:gd name="connsiteX33" fmla="*/ 9543 w 21600"/>
              <a:gd name="connsiteY33" fmla="*/ 10281 h 21600"/>
              <a:gd name="connsiteX0" fmla="*/ 16251 w 18929"/>
              <a:gd name="connsiteY0" fmla="*/ 8638 h 21600"/>
              <a:gd name="connsiteX1" fmla="*/ 13923 w 18929"/>
              <a:gd name="connsiteY1" fmla="*/ 10848 h 21600"/>
              <a:gd name="connsiteX2" fmla="*/ 12296 w 18929"/>
              <a:gd name="connsiteY2" fmla="*/ 9387 h 21600"/>
              <a:gd name="connsiteX3" fmla="*/ 12684 w 18929"/>
              <a:gd name="connsiteY3" fmla="*/ 6584 h 21600"/>
              <a:gd name="connsiteX4" fmla="*/ 8618 w 18929"/>
              <a:gd name="connsiteY4" fmla="*/ 0 h 21600"/>
              <a:gd name="connsiteX5" fmla="*/ 4551 w 18929"/>
              <a:gd name="connsiteY5" fmla="*/ 6403 h 21600"/>
              <a:gd name="connsiteX6" fmla="*/ 2671 w 18929"/>
              <a:gd name="connsiteY6" fmla="*/ 6403 h 21600"/>
              <a:gd name="connsiteX7" fmla="*/ 0 w 18929"/>
              <a:gd name="connsiteY7" fmla="*/ 10909 h 21600"/>
              <a:gd name="connsiteX8" fmla="*/ 2671 w 18929"/>
              <a:gd name="connsiteY8" fmla="*/ 6765 h 21600"/>
              <a:gd name="connsiteX9" fmla="*/ 4559 w 18929"/>
              <a:gd name="connsiteY9" fmla="*/ 6765 h 21600"/>
              <a:gd name="connsiteX10" fmla="*/ 6200 w 18929"/>
              <a:gd name="connsiteY10" fmla="*/ 11875 h 21600"/>
              <a:gd name="connsiteX11" fmla="*/ 4708 w 18929"/>
              <a:gd name="connsiteY11" fmla="*/ 14170 h 21600"/>
              <a:gd name="connsiteX12" fmla="*/ 2850 w 18929"/>
              <a:gd name="connsiteY12" fmla="*/ 12950 h 21600"/>
              <a:gd name="connsiteX13" fmla="*/ 179 w 18929"/>
              <a:gd name="connsiteY13" fmla="*/ 17275 h 21600"/>
              <a:gd name="connsiteX14" fmla="*/ 2850 w 18929"/>
              <a:gd name="connsiteY14" fmla="*/ 21600 h 21600"/>
              <a:gd name="connsiteX15" fmla="*/ 5521 w 18929"/>
              <a:gd name="connsiteY15" fmla="*/ 17275 h 21600"/>
              <a:gd name="connsiteX16" fmla="*/ 4857 w 18929"/>
              <a:gd name="connsiteY16" fmla="*/ 14424 h 21600"/>
              <a:gd name="connsiteX17" fmla="*/ 6364 w 18929"/>
              <a:gd name="connsiteY17" fmla="*/ 12105 h 21600"/>
              <a:gd name="connsiteX18" fmla="*/ 6282 w 18929"/>
              <a:gd name="connsiteY18" fmla="*/ 11972 h 21600"/>
              <a:gd name="connsiteX19" fmla="*/ 8618 w 18929"/>
              <a:gd name="connsiteY19" fmla="*/ 13168 h 21600"/>
              <a:gd name="connsiteX20" fmla="*/ 12199 w 18929"/>
              <a:gd name="connsiteY20" fmla="*/ 9713 h 21600"/>
              <a:gd name="connsiteX21" fmla="*/ 13826 w 18929"/>
              <a:gd name="connsiteY21" fmla="*/ 11175 h 21600"/>
              <a:gd name="connsiteX22" fmla="*/ 13587 w 18929"/>
              <a:gd name="connsiteY22" fmla="*/ 12962 h 21600"/>
              <a:gd name="connsiteX23" fmla="*/ 16258 w 18929"/>
              <a:gd name="connsiteY23" fmla="*/ 17287 h 21600"/>
              <a:gd name="connsiteX24" fmla="*/ 18929 w 18929"/>
              <a:gd name="connsiteY24" fmla="*/ 12962 h 21600"/>
              <a:gd name="connsiteX25" fmla="*/ 16251 w 18929"/>
              <a:gd name="connsiteY25" fmla="*/ 8638 h 21600"/>
              <a:gd name="connsiteX26" fmla="*/ 6872 w 18929"/>
              <a:gd name="connsiteY26" fmla="*/ 10281 h 21600"/>
              <a:gd name="connsiteX27" fmla="*/ 5671 w 18929"/>
              <a:gd name="connsiteY27" fmla="*/ 10281 h 21600"/>
              <a:gd name="connsiteX28" fmla="*/ 4895 w 18929"/>
              <a:gd name="connsiteY28" fmla="*/ 6596 h 21600"/>
              <a:gd name="connsiteX29" fmla="*/ 5671 w 18929"/>
              <a:gd name="connsiteY29" fmla="*/ 2911 h 21600"/>
              <a:gd name="connsiteX30" fmla="*/ 6872 w 18929"/>
              <a:gd name="connsiteY30" fmla="*/ 2911 h 21600"/>
              <a:gd name="connsiteX31" fmla="*/ 7648 w 18929"/>
              <a:gd name="connsiteY31" fmla="*/ 6596 h 21600"/>
              <a:gd name="connsiteX32" fmla="*/ 6872 w 18929"/>
              <a:gd name="connsiteY32"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2492 w 18750"/>
              <a:gd name="connsiteY6" fmla="*/ 6403 h 21600"/>
              <a:gd name="connsiteX7" fmla="*/ 2492 w 18750"/>
              <a:gd name="connsiteY7" fmla="*/ 6765 h 21600"/>
              <a:gd name="connsiteX8" fmla="*/ 4380 w 18750"/>
              <a:gd name="connsiteY8" fmla="*/ 6765 h 21600"/>
              <a:gd name="connsiteX9" fmla="*/ 6021 w 18750"/>
              <a:gd name="connsiteY9" fmla="*/ 11875 h 21600"/>
              <a:gd name="connsiteX10" fmla="*/ 4529 w 18750"/>
              <a:gd name="connsiteY10" fmla="*/ 14170 h 21600"/>
              <a:gd name="connsiteX11" fmla="*/ 2671 w 18750"/>
              <a:gd name="connsiteY11" fmla="*/ 12950 h 21600"/>
              <a:gd name="connsiteX12" fmla="*/ 0 w 18750"/>
              <a:gd name="connsiteY12" fmla="*/ 17275 h 21600"/>
              <a:gd name="connsiteX13" fmla="*/ 2671 w 18750"/>
              <a:gd name="connsiteY13" fmla="*/ 21600 h 21600"/>
              <a:gd name="connsiteX14" fmla="*/ 5342 w 18750"/>
              <a:gd name="connsiteY14" fmla="*/ 17275 h 21600"/>
              <a:gd name="connsiteX15" fmla="*/ 4678 w 18750"/>
              <a:gd name="connsiteY15" fmla="*/ 14424 h 21600"/>
              <a:gd name="connsiteX16" fmla="*/ 6185 w 18750"/>
              <a:gd name="connsiteY16" fmla="*/ 12105 h 21600"/>
              <a:gd name="connsiteX17" fmla="*/ 6103 w 18750"/>
              <a:gd name="connsiteY17" fmla="*/ 11972 h 21600"/>
              <a:gd name="connsiteX18" fmla="*/ 8439 w 18750"/>
              <a:gd name="connsiteY18" fmla="*/ 13168 h 21600"/>
              <a:gd name="connsiteX19" fmla="*/ 12020 w 18750"/>
              <a:gd name="connsiteY19" fmla="*/ 9713 h 21600"/>
              <a:gd name="connsiteX20" fmla="*/ 13647 w 18750"/>
              <a:gd name="connsiteY20" fmla="*/ 11175 h 21600"/>
              <a:gd name="connsiteX21" fmla="*/ 13408 w 18750"/>
              <a:gd name="connsiteY21" fmla="*/ 12962 h 21600"/>
              <a:gd name="connsiteX22" fmla="*/ 16079 w 18750"/>
              <a:gd name="connsiteY22" fmla="*/ 17287 h 21600"/>
              <a:gd name="connsiteX23" fmla="*/ 18750 w 18750"/>
              <a:gd name="connsiteY23" fmla="*/ 12962 h 21600"/>
              <a:gd name="connsiteX24" fmla="*/ 16072 w 18750"/>
              <a:gd name="connsiteY24" fmla="*/ 8638 h 21600"/>
              <a:gd name="connsiteX25" fmla="*/ 6693 w 18750"/>
              <a:gd name="connsiteY25" fmla="*/ 10281 h 21600"/>
              <a:gd name="connsiteX26" fmla="*/ 5492 w 18750"/>
              <a:gd name="connsiteY26" fmla="*/ 10281 h 21600"/>
              <a:gd name="connsiteX27" fmla="*/ 4716 w 18750"/>
              <a:gd name="connsiteY27" fmla="*/ 6596 h 21600"/>
              <a:gd name="connsiteX28" fmla="*/ 5492 w 18750"/>
              <a:gd name="connsiteY28" fmla="*/ 2911 h 21600"/>
              <a:gd name="connsiteX29" fmla="*/ 6693 w 18750"/>
              <a:gd name="connsiteY29" fmla="*/ 2911 h 21600"/>
              <a:gd name="connsiteX30" fmla="*/ 7469 w 18750"/>
              <a:gd name="connsiteY30" fmla="*/ 6596 h 21600"/>
              <a:gd name="connsiteX31" fmla="*/ 6693 w 18750"/>
              <a:gd name="connsiteY31"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2492 w 18750"/>
              <a:gd name="connsiteY6" fmla="*/ 6403 h 21600"/>
              <a:gd name="connsiteX7" fmla="*/ 4380 w 18750"/>
              <a:gd name="connsiteY7" fmla="*/ 6765 h 21600"/>
              <a:gd name="connsiteX8" fmla="*/ 6021 w 18750"/>
              <a:gd name="connsiteY8" fmla="*/ 11875 h 21600"/>
              <a:gd name="connsiteX9" fmla="*/ 4529 w 18750"/>
              <a:gd name="connsiteY9" fmla="*/ 14170 h 21600"/>
              <a:gd name="connsiteX10" fmla="*/ 2671 w 18750"/>
              <a:gd name="connsiteY10" fmla="*/ 12950 h 21600"/>
              <a:gd name="connsiteX11" fmla="*/ 0 w 18750"/>
              <a:gd name="connsiteY11" fmla="*/ 17275 h 21600"/>
              <a:gd name="connsiteX12" fmla="*/ 2671 w 18750"/>
              <a:gd name="connsiteY12" fmla="*/ 21600 h 21600"/>
              <a:gd name="connsiteX13" fmla="*/ 5342 w 18750"/>
              <a:gd name="connsiteY13" fmla="*/ 17275 h 21600"/>
              <a:gd name="connsiteX14" fmla="*/ 4678 w 18750"/>
              <a:gd name="connsiteY14" fmla="*/ 14424 h 21600"/>
              <a:gd name="connsiteX15" fmla="*/ 6185 w 18750"/>
              <a:gd name="connsiteY15" fmla="*/ 12105 h 21600"/>
              <a:gd name="connsiteX16" fmla="*/ 6103 w 18750"/>
              <a:gd name="connsiteY16" fmla="*/ 11972 h 21600"/>
              <a:gd name="connsiteX17" fmla="*/ 8439 w 18750"/>
              <a:gd name="connsiteY17" fmla="*/ 13168 h 21600"/>
              <a:gd name="connsiteX18" fmla="*/ 12020 w 18750"/>
              <a:gd name="connsiteY18" fmla="*/ 9713 h 21600"/>
              <a:gd name="connsiteX19" fmla="*/ 13647 w 18750"/>
              <a:gd name="connsiteY19" fmla="*/ 11175 h 21600"/>
              <a:gd name="connsiteX20" fmla="*/ 13408 w 18750"/>
              <a:gd name="connsiteY20" fmla="*/ 12962 h 21600"/>
              <a:gd name="connsiteX21" fmla="*/ 16079 w 18750"/>
              <a:gd name="connsiteY21" fmla="*/ 17287 h 21600"/>
              <a:gd name="connsiteX22" fmla="*/ 18750 w 18750"/>
              <a:gd name="connsiteY22" fmla="*/ 12962 h 21600"/>
              <a:gd name="connsiteX23" fmla="*/ 16072 w 18750"/>
              <a:gd name="connsiteY23" fmla="*/ 8638 h 21600"/>
              <a:gd name="connsiteX24" fmla="*/ 6693 w 18750"/>
              <a:gd name="connsiteY24" fmla="*/ 10281 h 21600"/>
              <a:gd name="connsiteX25" fmla="*/ 5492 w 18750"/>
              <a:gd name="connsiteY25" fmla="*/ 10281 h 21600"/>
              <a:gd name="connsiteX26" fmla="*/ 4716 w 18750"/>
              <a:gd name="connsiteY26" fmla="*/ 6596 h 21600"/>
              <a:gd name="connsiteX27" fmla="*/ 5492 w 18750"/>
              <a:gd name="connsiteY27" fmla="*/ 2911 h 21600"/>
              <a:gd name="connsiteX28" fmla="*/ 6693 w 18750"/>
              <a:gd name="connsiteY28" fmla="*/ 2911 h 21600"/>
              <a:gd name="connsiteX29" fmla="*/ 7469 w 18750"/>
              <a:gd name="connsiteY29" fmla="*/ 6596 h 21600"/>
              <a:gd name="connsiteX30" fmla="*/ 6693 w 18750"/>
              <a:gd name="connsiteY30" fmla="*/ 10281 h 21600"/>
              <a:gd name="connsiteX0" fmla="*/ 16072 w 18750"/>
              <a:gd name="connsiteY0" fmla="*/ 8638 h 21600"/>
              <a:gd name="connsiteX1" fmla="*/ 13744 w 18750"/>
              <a:gd name="connsiteY1" fmla="*/ 10848 h 21600"/>
              <a:gd name="connsiteX2" fmla="*/ 12117 w 18750"/>
              <a:gd name="connsiteY2" fmla="*/ 9387 h 21600"/>
              <a:gd name="connsiteX3" fmla="*/ 12505 w 18750"/>
              <a:gd name="connsiteY3" fmla="*/ 6584 h 21600"/>
              <a:gd name="connsiteX4" fmla="*/ 8439 w 18750"/>
              <a:gd name="connsiteY4" fmla="*/ 0 h 21600"/>
              <a:gd name="connsiteX5" fmla="*/ 4372 w 18750"/>
              <a:gd name="connsiteY5" fmla="*/ 6403 h 21600"/>
              <a:gd name="connsiteX6" fmla="*/ 4380 w 18750"/>
              <a:gd name="connsiteY6" fmla="*/ 6765 h 21600"/>
              <a:gd name="connsiteX7" fmla="*/ 6021 w 18750"/>
              <a:gd name="connsiteY7" fmla="*/ 11875 h 21600"/>
              <a:gd name="connsiteX8" fmla="*/ 4529 w 18750"/>
              <a:gd name="connsiteY8" fmla="*/ 14170 h 21600"/>
              <a:gd name="connsiteX9" fmla="*/ 2671 w 18750"/>
              <a:gd name="connsiteY9" fmla="*/ 12950 h 21600"/>
              <a:gd name="connsiteX10" fmla="*/ 0 w 18750"/>
              <a:gd name="connsiteY10" fmla="*/ 17275 h 21600"/>
              <a:gd name="connsiteX11" fmla="*/ 2671 w 18750"/>
              <a:gd name="connsiteY11" fmla="*/ 21600 h 21600"/>
              <a:gd name="connsiteX12" fmla="*/ 5342 w 18750"/>
              <a:gd name="connsiteY12" fmla="*/ 17275 h 21600"/>
              <a:gd name="connsiteX13" fmla="*/ 4678 w 18750"/>
              <a:gd name="connsiteY13" fmla="*/ 14424 h 21600"/>
              <a:gd name="connsiteX14" fmla="*/ 6185 w 18750"/>
              <a:gd name="connsiteY14" fmla="*/ 12105 h 21600"/>
              <a:gd name="connsiteX15" fmla="*/ 6103 w 18750"/>
              <a:gd name="connsiteY15" fmla="*/ 11972 h 21600"/>
              <a:gd name="connsiteX16" fmla="*/ 8439 w 18750"/>
              <a:gd name="connsiteY16" fmla="*/ 13168 h 21600"/>
              <a:gd name="connsiteX17" fmla="*/ 12020 w 18750"/>
              <a:gd name="connsiteY17" fmla="*/ 9713 h 21600"/>
              <a:gd name="connsiteX18" fmla="*/ 13647 w 18750"/>
              <a:gd name="connsiteY18" fmla="*/ 11175 h 21600"/>
              <a:gd name="connsiteX19" fmla="*/ 13408 w 18750"/>
              <a:gd name="connsiteY19" fmla="*/ 12962 h 21600"/>
              <a:gd name="connsiteX20" fmla="*/ 16079 w 18750"/>
              <a:gd name="connsiteY20" fmla="*/ 17287 h 21600"/>
              <a:gd name="connsiteX21" fmla="*/ 18750 w 18750"/>
              <a:gd name="connsiteY21" fmla="*/ 12962 h 21600"/>
              <a:gd name="connsiteX22" fmla="*/ 16072 w 18750"/>
              <a:gd name="connsiteY22" fmla="*/ 8638 h 21600"/>
              <a:gd name="connsiteX23" fmla="*/ 6693 w 18750"/>
              <a:gd name="connsiteY23" fmla="*/ 10281 h 21600"/>
              <a:gd name="connsiteX24" fmla="*/ 5492 w 18750"/>
              <a:gd name="connsiteY24" fmla="*/ 10281 h 21600"/>
              <a:gd name="connsiteX25" fmla="*/ 4716 w 18750"/>
              <a:gd name="connsiteY25" fmla="*/ 6596 h 21600"/>
              <a:gd name="connsiteX26" fmla="*/ 5492 w 18750"/>
              <a:gd name="connsiteY26" fmla="*/ 2911 h 21600"/>
              <a:gd name="connsiteX27" fmla="*/ 6693 w 18750"/>
              <a:gd name="connsiteY27" fmla="*/ 2911 h 21600"/>
              <a:gd name="connsiteX28" fmla="*/ 7469 w 18750"/>
              <a:gd name="connsiteY28" fmla="*/ 6596 h 21600"/>
              <a:gd name="connsiteX29" fmla="*/ 6693 w 18750"/>
              <a:gd name="connsiteY29" fmla="*/ 10281 h 21600"/>
              <a:gd name="connsiteX0" fmla="*/ 16112 w 18790"/>
              <a:gd name="connsiteY0" fmla="*/ 8638 h 21600"/>
              <a:gd name="connsiteX1" fmla="*/ 13784 w 18790"/>
              <a:gd name="connsiteY1" fmla="*/ 10848 h 21600"/>
              <a:gd name="connsiteX2" fmla="*/ 12157 w 18790"/>
              <a:gd name="connsiteY2" fmla="*/ 9387 h 21600"/>
              <a:gd name="connsiteX3" fmla="*/ 12545 w 18790"/>
              <a:gd name="connsiteY3" fmla="*/ 6584 h 21600"/>
              <a:gd name="connsiteX4" fmla="*/ 8479 w 18790"/>
              <a:gd name="connsiteY4" fmla="*/ 0 h 21600"/>
              <a:gd name="connsiteX5" fmla="*/ 4412 w 18790"/>
              <a:gd name="connsiteY5" fmla="*/ 6403 h 21600"/>
              <a:gd name="connsiteX6" fmla="*/ 4420 w 18790"/>
              <a:gd name="connsiteY6" fmla="*/ 6765 h 21600"/>
              <a:gd name="connsiteX7" fmla="*/ 6061 w 18790"/>
              <a:gd name="connsiteY7" fmla="*/ 11875 h 21600"/>
              <a:gd name="connsiteX8" fmla="*/ 4569 w 18790"/>
              <a:gd name="connsiteY8" fmla="*/ 14170 h 21600"/>
              <a:gd name="connsiteX9" fmla="*/ 40 w 18790"/>
              <a:gd name="connsiteY9" fmla="*/ 17275 h 21600"/>
              <a:gd name="connsiteX10" fmla="*/ 2711 w 18790"/>
              <a:gd name="connsiteY10" fmla="*/ 21600 h 21600"/>
              <a:gd name="connsiteX11" fmla="*/ 5382 w 18790"/>
              <a:gd name="connsiteY11" fmla="*/ 17275 h 21600"/>
              <a:gd name="connsiteX12" fmla="*/ 4718 w 18790"/>
              <a:gd name="connsiteY12" fmla="*/ 14424 h 21600"/>
              <a:gd name="connsiteX13" fmla="*/ 6225 w 18790"/>
              <a:gd name="connsiteY13" fmla="*/ 12105 h 21600"/>
              <a:gd name="connsiteX14" fmla="*/ 6143 w 18790"/>
              <a:gd name="connsiteY14" fmla="*/ 11972 h 21600"/>
              <a:gd name="connsiteX15" fmla="*/ 8479 w 18790"/>
              <a:gd name="connsiteY15" fmla="*/ 13168 h 21600"/>
              <a:gd name="connsiteX16" fmla="*/ 12060 w 18790"/>
              <a:gd name="connsiteY16" fmla="*/ 9713 h 21600"/>
              <a:gd name="connsiteX17" fmla="*/ 13687 w 18790"/>
              <a:gd name="connsiteY17" fmla="*/ 11175 h 21600"/>
              <a:gd name="connsiteX18" fmla="*/ 13448 w 18790"/>
              <a:gd name="connsiteY18" fmla="*/ 12962 h 21600"/>
              <a:gd name="connsiteX19" fmla="*/ 16119 w 18790"/>
              <a:gd name="connsiteY19" fmla="*/ 17287 h 21600"/>
              <a:gd name="connsiteX20" fmla="*/ 18790 w 18790"/>
              <a:gd name="connsiteY20" fmla="*/ 12962 h 21600"/>
              <a:gd name="connsiteX21" fmla="*/ 16112 w 18790"/>
              <a:gd name="connsiteY21" fmla="*/ 8638 h 21600"/>
              <a:gd name="connsiteX22" fmla="*/ 6733 w 18790"/>
              <a:gd name="connsiteY22" fmla="*/ 10281 h 21600"/>
              <a:gd name="connsiteX23" fmla="*/ 5532 w 18790"/>
              <a:gd name="connsiteY23" fmla="*/ 10281 h 21600"/>
              <a:gd name="connsiteX24" fmla="*/ 4756 w 18790"/>
              <a:gd name="connsiteY24" fmla="*/ 6596 h 21600"/>
              <a:gd name="connsiteX25" fmla="*/ 5532 w 18790"/>
              <a:gd name="connsiteY25" fmla="*/ 2911 h 21600"/>
              <a:gd name="connsiteX26" fmla="*/ 6733 w 18790"/>
              <a:gd name="connsiteY26" fmla="*/ 2911 h 21600"/>
              <a:gd name="connsiteX27" fmla="*/ 7509 w 18790"/>
              <a:gd name="connsiteY27" fmla="*/ 6596 h 21600"/>
              <a:gd name="connsiteX28" fmla="*/ 6733 w 18790"/>
              <a:gd name="connsiteY28" fmla="*/ 10281 h 21600"/>
              <a:gd name="connsiteX0" fmla="*/ 13410 w 16088"/>
              <a:gd name="connsiteY0" fmla="*/ 8638 h 21600"/>
              <a:gd name="connsiteX1" fmla="*/ 11082 w 16088"/>
              <a:gd name="connsiteY1" fmla="*/ 10848 h 21600"/>
              <a:gd name="connsiteX2" fmla="*/ 9455 w 16088"/>
              <a:gd name="connsiteY2" fmla="*/ 9387 h 21600"/>
              <a:gd name="connsiteX3" fmla="*/ 9843 w 16088"/>
              <a:gd name="connsiteY3" fmla="*/ 6584 h 21600"/>
              <a:gd name="connsiteX4" fmla="*/ 5777 w 16088"/>
              <a:gd name="connsiteY4" fmla="*/ 0 h 21600"/>
              <a:gd name="connsiteX5" fmla="*/ 1710 w 16088"/>
              <a:gd name="connsiteY5" fmla="*/ 6403 h 21600"/>
              <a:gd name="connsiteX6" fmla="*/ 1718 w 16088"/>
              <a:gd name="connsiteY6" fmla="*/ 6765 h 21600"/>
              <a:gd name="connsiteX7" fmla="*/ 3359 w 16088"/>
              <a:gd name="connsiteY7" fmla="*/ 11875 h 21600"/>
              <a:gd name="connsiteX8" fmla="*/ 1867 w 16088"/>
              <a:gd name="connsiteY8" fmla="*/ 14170 h 21600"/>
              <a:gd name="connsiteX9" fmla="*/ 9 w 16088"/>
              <a:gd name="connsiteY9" fmla="*/ 21600 h 21600"/>
              <a:gd name="connsiteX10" fmla="*/ 2680 w 16088"/>
              <a:gd name="connsiteY10" fmla="*/ 17275 h 21600"/>
              <a:gd name="connsiteX11" fmla="*/ 2016 w 16088"/>
              <a:gd name="connsiteY11" fmla="*/ 14424 h 21600"/>
              <a:gd name="connsiteX12" fmla="*/ 3523 w 16088"/>
              <a:gd name="connsiteY12" fmla="*/ 12105 h 21600"/>
              <a:gd name="connsiteX13" fmla="*/ 3441 w 16088"/>
              <a:gd name="connsiteY13" fmla="*/ 11972 h 21600"/>
              <a:gd name="connsiteX14" fmla="*/ 5777 w 16088"/>
              <a:gd name="connsiteY14" fmla="*/ 13168 h 21600"/>
              <a:gd name="connsiteX15" fmla="*/ 9358 w 16088"/>
              <a:gd name="connsiteY15" fmla="*/ 9713 h 21600"/>
              <a:gd name="connsiteX16" fmla="*/ 10985 w 16088"/>
              <a:gd name="connsiteY16" fmla="*/ 11175 h 21600"/>
              <a:gd name="connsiteX17" fmla="*/ 10746 w 16088"/>
              <a:gd name="connsiteY17" fmla="*/ 12962 h 21600"/>
              <a:gd name="connsiteX18" fmla="*/ 13417 w 16088"/>
              <a:gd name="connsiteY18" fmla="*/ 17287 h 21600"/>
              <a:gd name="connsiteX19" fmla="*/ 16088 w 16088"/>
              <a:gd name="connsiteY19" fmla="*/ 12962 h 21600"/>
              <a:gd name="connsiteX20" fmla="*/ 13410 w 16088"/>
              <a:gd name="connsiteY20" fmla="*/ 8638 h 21600"/>
              <a:gd name="connsiteX21" fmla="*/ 4031 w 16088"/>
              <a:gd name="connsiteY21" fmla="*/ 10281 h 21600"/>
              <a:gd name="connsiteX22" fmla="*/ 2830 w 16088"/>
              <a:gd name="connsiteY22" fmla="*/ 10281 h 21600"/>
              <a:gd name="connsiteX23" fmla="*/ 2054 w 16088"/>
              <a:gd name="connsiteY23" fmla="*/ 6596 h 21600"/>
              <a:gd name="connsiteX24" fmla="*/ 2830 w 16088"/>
              <a:gd name="connsiteY24" fmla="*/ 2911 h 21600"/>
              <a:gd name="connsiteX25" fmla="*/ 4031 w 16088"/>
              <a:gd name="connsiteY25" fmla="*/ 2911 h 21600"/>
              <a:gd name="connsiteX26" fmla="*/ 4807 w 16088"/>
              <a:gd name="connsiteY26" fmla="*/ 6596 h 21600"/>
              <a:gd name="connsiteX27" fmla="*/ 4031 w 16088"/>
              <a:gd name="connsiteY27" fmla="*/ 10281 h 21600"/>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970 w 14378"/>
              <a:gd name="connsiteY9" fmla="*/ 17275 h 17287"/>
              <a:gd name="connsiteX10" fmla="*/ 306 w 14378"/>
              <a:gd name="connsiteY10" fmla="*/ 14424 h 17287"/>
              <a:gd name="connsiteX11" fmla="*/ 1813 w 14378"/>
              <a:gd name="connsiteY11" fmla="*/ 12105 h 17287"/>
              <a:gd name="connsiteX12" fmla="*/ 1731 w 14378"/>
              <a:gd name="connsiteY12" fmla="*/ 11972 h 17287"/>
              <a:gd name="connsiteX13" fmla="*/ 4067 w 14378"/>
              <a:gd name="connsiteY13" fmla="*/ 13168 h 17287"/>
              <a:gd name="connsiteX14" fmla="*/ 7648 w 14378"/>
              <a:gd name="connsiteY14" fmla="*/ 9713 h 17287"/>
              <a:gd name="connsiteX15" fmla="*/ 9275 w 14378"/>
              <a:gd name="connsiteY15" fmla="*/ 11175 h 17287"/>
              <a:gd name="connsiteX16" fmla="*/ 9036 w 14378"/>
              <a:gd name="connsiteY16" fmla="*/ 12962 h 17287"/>
              <a:gd name="connsiteX17" fmla="*/ 11707 w 14378"/>
              <a:gd name="connsiteY17" fmla="*/ 17287 h 17287"/>
              <a:gd name="connsiteX18" fmla="*/ 14378 w 14378"/>
              <a:gd name="connsiteY18" fmla="*/ 12962 h 17287"/>
              <a:gd name="connsiteX19" fmla="*/ 11700 w 14378"/>
              <a:gd name="connsiteY19" fmla="*/ 8638 h 17287"/>
              <a:gd name="connsiteX20" fmla="*/ 2321 w 14378"/>
              <a:gd name="connsiteY20" fmla="*/ 10281 h 17287"/>
              <a:gd name="connsiteX21" fmla="*/ 1120 w 14378"/>
              <a:gd name="connsiteY21" fmla="*/ 10281 h 17287"/>
              <a:gd name="connsiteX22" fmla="*/ 344 w 14378"/>
              <a:gd name="connsiteY22" fmla="*/ 6596 h 17287"/>
              <a:gd name="connsiteX23" fmla="*/ 1120 w 14378"/>
              <a:gd name="connsiteY23" fmla="*/ 2911 h 17287"/>
              <a:gd name="connsiteX24" fmla="*/ 2321 w 14378"/>
              <a:gd name="connsiteY24" fmla="*/ 2911 h 17287"/>
              <a:gd name="connsiteX25" fmla="*/ 3097 w 14378"/>
              <a:gd name="connsiteY25" fmla="*/ 6596 h 17287"/>
              <a:gd name="connsiteX26" fmla="*/ 2321 w 14378"/>
              <a:gd name="connsiteY26"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306 w 14378"/>
              <a:gd name="connsiteY9" fmla="*/ 14424 h 17287"/>
              <a:gd name="connsiteX10" fmla="*/ 1813 w 14378"/>
              <a:gd name="connsiteY10" fmla="*/ 12105 h 17287"/>
              <a:gd name="connsiteX11" fmla="*/ 1731 w 14378"/>
              <a:gd name="connsiteY11" fmla="*/ 11972 h 17287"/>
              <a:gd name="connsiteX12" fmla="*/ 4067 w 14378"/>
              <a:gd name="connsiteY12" fmla="*/ 13168 h 17287"/>
              <a:gd name="connsiteX13" fmla="*/ 7648 w 14378"/>
              <a:gd name="connsiteY13" fmla="*/ 9713 h 17287"/>
              <a:gd name="connsiteX14" fmla="*/ 9275 w 14378"/>
              <a:gd name="connsiteY14" fmla="*/ 11175 h 17287"/>
              <a:gd name="connsiteX15" fmla="*/ 9036 w 14378"/>
              <a:gd name="connsiteY15" fmla="*/ 12962 h 17287"/>
              <a:gd name="connsiteX16" fmla="*/ 11707 w 14378"/>
              <a:gd name="connsiteY16" fmla="*/ 17287 h 17287"/>
              <a:gd name="connsiteX17" fmla="*/ 14378 w 14378"/>
              <a:gd name="connsiteY17" fmla="*/ 12962 h 17287"/>
              <a:gd name="connsiteX18" fmla="*/ 11700 w 14378"/>
              <a:gd name="connsiteY18" fmla="*/ 8638 h 17287"/>
              <a:gd name="connsiteX19" fmla="*/ 2321 w 14378"/>
              <a:gd name="connsiteY19" fmla="*/ 10281 h 17287"/>
              <a:gd name="connsiteX20" fmla="*/ 1120 w 14378"/>
              <a:gd name="connsiteY20" fmla="*/ 10281 h 17287"/>
              <a:gd name="connsiteX21" fmla="*/ 344 w 14378"/>
              <a:gd name="connsiteY21" fmla="*/ 6596 h 17287"/>
              <a:gd name="connsiteX22" fmla="*/ 1120 w 14378"/>
              <a:gd name="connsiteY22" fmla="*/ 2911 h 17287"/>
              <a:gd name="connsiteX23" fmla="*/ 2321 w 14378"/>
              <a:gd name="connsiteY23" fmla="*/ 2911 h 17287"/>
              <a:gd name="connsiteX24" fmla="*/ 3097 w 14378"/>
              <a:gd name="connsiteY24" fmla="*/ 6596 h 17287"/>
              <a:gd name="connsiteX25" fmla="*/ 2321 w 14378"/>
              <a:gd name="connsiteY25"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57 w 14378"/>
              <a:gd name="connsiteY8" fmla="*/ 14170 h 17287"/>
              <a:gd name="connsiteX9" fmla="*/ 1813 w 14378"/>
              <a:gd name="connsiteY9" fmla="*/ 12105 h 17287"/>
              <a:gd name="connsiteX10" fmla="*/ 1731 w 14378"/>
              <a:gd name="connsiteY10" fmla="*/ 11972 h 17287"/>
              <a:gd name="connsiteX11" fmla="*/ 4067 w 14378"/>
              <a:gd name="connsiteY11" fmla="*/ 13168 h 17287"/>
              <a:gd name="connsiteX12" fmla="*/ 7648 w 14378"/>
              <a:gd name="connsiteY12" fmla="*/ 9713 h 17287"/>
              <a:gd name="connsiteX13" fmla="*/ 9275 w 14378"/>
              <a:gd name="connsiteY13" fmla="*/ 11175 h 17287"/>
              <a:gd name="connsiteX14" fmla="*/ 9036 w 14378"/>
              <a:gd name="connsiteY14" fmla="*/ 12962 h 17287"/>
              <a:gd name="connsiteX15" fmla="*/ 11707 w 14378"/>
              <a:gd name="connsiteY15" fmla="*/ 17287 h 17287"/>
              <a:gd name="connsiteX16" fmla="*/ 14378 w 14378"/>
              <a:gd name="connsiteY16" fmla="*/ 12962 h 17287"/>
              <a:gd name="connsiteX17" fmla="*/ 11700 w 14378"/>
              <a:gd name="connsiteY17" fmla="*/ 8638 h 17287"/>
              <a:gd name="connsiteX18" fmla="*/ 2321 w 14378"/>
              <a:gd name="connsiteY18" fmla="*/ 10281 h 17287"/>
              <a:gd name="connsiteX19" fmla="*/ 1120 w 14378"/>
              <a:gd name="connsiteY19" fmla="*/ 10281 h 17287"/>
              <a:gd name="connsiteX20" fmla="*/ 344 w 14378"/>
              <a:gd name="connsiteY20" fmla="*/ 6596 h 17287"/>
              <a:gd name="connsiteX21" fmla="*/ 1120 w 14378"/>
              <a:gd name="connsiteY21" fmla="*/ 2911 h 17287"/>
              <a:gd name="connsiteX22" fmla="*/ 2321 w 14378"/>
              <a:gd name="connsiteY22" fmla="*/ 2911 h 17287"/>
              <a:gd name="connsiteX23" fmla="*/ 3097 w 14378"/>
              <a:gd name="connsiteY23" fmla="*/ 6596 h 17287"/>
              <a:gd name="connsiteX24" fmla="*/ 2321 w 14378"/>
              <a:gd name="connsiteY24" fmla="*/ 10281 h 17287"/>
              <a:gd name="connsiteX0" fmla="*/ 11700 w 14378"/>
              <a:gd name="connsiteY0" fmla="*/ 8638 h 17287"/>
              <a:gd name="connsiteX1" fmla="*/ 9372 w 14378"/>
              <a:gd name="connsiteY1" fmla="*/ 10848 h 17287"/>
              <a:gd name="connsiteX2" fmla="*/ 7745 w 14378"/>
              <a:gd name="connsiteY2" fmla="*/ 9387 h 17287"/>
              <a:gd name="connsiteX3" fmla="*/ 8133 w 14378"/>
              <a:gd name="connsiteY3" fmla="*/ 6584 h 17287"/>
              <a:gd name="connsiteX4" fmla="*/ 4067 w 14378"/>
              <a:gd name="connsiteY4" fmla="*/ 0 h 17287"/>
              <a:gd name="connsiteX5" fmla="*/ 0 w 14378"/>
              <a:gd name="connsiteY5" fmla="*/ 6403 h 17287"/>
              <a:gd name="connsiteX6" fmla="*/ 8 w 14378"/>
              <a:gd name="connsiteY6" fmla="*/ 6765 h 17287"/>
              <a:gd name="connsiteX7" fmla="*/ 1649 w 14378"/>
              <a:gd name="connsiteY7" fmla="*/ 11875 h 17287"/>
              <a:gd name="connsiteX8" fmla="*/ 1813 w 14378"/>
              <a:gd name="connsiteY8" fmla="*/ 12105 h 17287"/>
              <a:gd name="connsiteX9" fmla="*/ 1731 w 14378"/>
              <a:gd name="connsiteY9" fmla="*/ 11972 h 17287"/>
              <a:gd name="connsiteX10" fmla="*/ 4067 w 14378"/>
              <a:gd name="connsiteY10" fmla="*/ 13168 h 17287"/>
              <a:gd name="connsiteX11" fmla="*/ 7648 w 14378"/>
              <a:gd name="connsiteY11" fmla="*/ 9713 h 17287"/>
              <a:gd name="connsiteX12" fmla="*/ 9275 w 14378"/>
              <a:gd name="connsiteY12" fmla="*/ 11175 h 17287"/>
              <a:gd name="connsiteX13" fmla="*/ 9036 w 14378"/>
              <a:gd name="connsiteY13" fmla="*/ 12962 h 17287"/>
              <a:gd name="connsiteX14" fmla="*/ 11707 w 14378"/>
              <a:gd name="connsiteY14" fmla="*/ 17287 h 17287"/>
              <a:gd name="connsiteX15" fmla="*/ 14378 w 14378"/>
              <a:gd name="connsiteY15" fmla="*/ 12962 h 17287"/>
              <a:gd name="connsiteX16" fmla="*/ 11700 w 14378"/>
              <a:gd name="connsiteY16" fmla="*/ 8638 h 17287"/>
              <a:gd name="connsiteX17" fmla="*/ 2321 w 14378"/>
              <a:gd name="connsiteY17" fmla="*/ 10281 h 17287"/>
              <a:gd name="connsiteX18" fmla="*/ 1120 w 14378"/>
              <a:gd name="connsiteY18" fmla="*/ 10281 h 17287"/>
              <a:gd name="connsiteX19" fmla="*/ 344 w 14378"/>
              <a:gd name="connsiteY19" fmla="*/ 6596 h 17287"/>
              <a:gd name="connsiteX20" fmla="*/ 1120 w 14378"/>
              <a:gd name="connsiteY20" fmla="*/ 2911 h 17287"/>
              <a:gd name="connsiteX21" fmla="*/ 2321 w 14378"/>
              <a:gd name="connsiteY21" fmla="*/ 2911 h 17287"/>
              <a:gd name="connsiteX22" fmla="*/ 3097 w 14378"/>
              <a:gd name="connsiteY22" fmla="*/ 6596 h 17287"/>
              <a:gd name="connsiteX23" fmla="*/ 2321 w 14378"/>
              <a:gd name="connsiteY23" fmla="*/ 10281 h 17287"/>
              <a:gd name="connsiteX0" fmla="*/ 11700 w 14378"/>
              <a:gd name="connsiteY0" fmla="*/ 8638 h 13359"/>
              <a:gd name="connsiteX1" fmla="*/ 9372 w 14378"/>
              <a:gd name="connsiteY1" fmla="*/ 10848 h 13359"/>
              <a:gd name="connsiteX2" fmla="*/ 7745 w 14378"/>
              <a:gd name="connsiteY2" fmla="*/ 9387 h 13359"/>
              <a:gd name="connsiteX3" fmla="*/ 8133 w 14378"/>
              <a:gd name="connsiteY3" fmla="*/ 6584 h 13359"/>
              <a:gd name="connsiteX4" fmla="*/ 4067 w 14378"/>
              <a:gd name="connsiteY4" fmla="*/ 0 h 13359"/>
              <a:gd name="connsiteX5" fmla="*/ 0 w 14378"/>
              <a:gd name="connsiteY5" fmla="*/ 6403 h 13359"/>
              <a:gd name="connsiteX6" fmla="*/ 8 w 14378"/>
              <a:gd name="connsiteY6" fmla="*/ 6765 h 13359"/>
              <a:gd name="connsiteX7" fmla="*/ 1649 w 14378"/>
              <a:gd name="connsiteY7" fmla="*/ 11875 h 13359"/>
              <a:gd name="connsiteX8" fmla="*/ 1813 w 14378"/>
              <a:gd name="connsiteY8" fmla="*/ 12105 h 13359"/>
              <a:gd name="connsiteX9" fmla="*/ 1731 w 14378"/>
              <a:gd name="connsiteY9" fmla="*/ 11972 h 13359"/>
              <a:gd name="connsiteX10" fmla="*/ 4067 w 14378"/>
              <a:gd name="connsiteY10" fmla="*/ 13168 h 13359"/>
              <a:gd name="connsiteX11" fmla="*/ 7648 w 14378"/>
              <a:gd name="connsiteY11" fmla="*/ 9713 h 13359"/>
              <a:gd name="connsiteX12" fmla="*/ 9275 w 14378"/>
              <a:gd name="connsiteY12" fmla="*/ 11175 h 13359"/>
              <a:gd name="connsiteX13" fmla="*/ 9036 w 14378"/>
              <a:gd name="connsiteY13" fmla="*/ 12962 h 13359"/>
              <a:gd name="connsiteX14" fmla="*/ 14378 w 14378"/>
              <a:gd name="connsiteY14" fmla="*/ 12962 h 13359"/>
              <a:gd name="connsiteX15" fmla="*/ 11700 w 14378"/>
              <a:gd name="connsiteY15" fmla="*/ 8638 h 13359"/>
              <a:gd name="connsiteX16" fmla="*/ 2321 w 14378"/>
              <a:gd name="connsiteY16" fmla="*/ 10281 h 13359"/>
              <a:gd name="connsiteX17" fmla="*/ 1120 w 14378"/>
              <a:gd name="connsiteY17" fmla="*/ 10281 h 13359"/>
              <a:gd name="connsiteX18" fmla="*/ 344 w 14378"/>
              <a:gd name="connsiteY18" fmla="*/ 6596 h 13359"/>
              <a:gd name="connsiteX19" fmla="*/ 1120 w 14378"/>
              <a:gd name="connsiteY19" fmla="*/ 2911 h 13359"/>
              <a:gd name="connsiteX20" fmla="*/ 2321 w 14378"/>
              <a:gd name="connsiteY20" fmla="*/ 2911 h 13359"/>
              <a:gd name="connsiteX21" fmla="*/ 3097 w 14378"/>
              <a:gd name="connsiteY21" fmla="*/ 6596 h 13359"/>
              <a:gd name="connsiteX22" fmla="*/ 2321 w 14378"/>
              <a:gd name="connsiteY22" fmla="*/ 10281 h 13359"/>
              <a:gd name="connsiteX0" fmla="*/ 11700 w 11700"/>
              <a:gd name="connsiteY0" fmla="*/ 8638 h 13168"/>
              <a:gd name="connsiteX1" fmla="*/ 9372 w 11700"/>
              <a:gd name="connsiteY1" fmla="*/ 10848 h 13168"/>
              <a:gd name="connsiteX2" fmla="*/ 7745 w 11700"/>
              <a:gd name="connsiteY2" fmla="*/ 9387 h 13168"/>
              <a:gd name="connsiteX3" fmla="*/ 8133 w 11700"/>
              <a:gd name="connsiteY3" fmla="*/ 6584 h 13168"/>
              <a:gd name="connsiteX4" fmla="*/ 4067 w 11700"/>
              <a:gd name="connsiteY4" fmla="*/ 0 h 13168"/>
              <a:gd name="connsiteX5" fmla="*/ 0 w 11700"/>
              <a:gd name="connsiteY5" fmla="*/ 6403 h 13168"/>
              <a:gd name="connsiteX6" fmla="*/ 8 w 11700"/>
              <a:gd name="connsiteY6" fmla="*/ 6765 h 13168"/>
              <a:gd name="connsiteX7" fmla="*/ 1649 w 11700"/>
              <a:gd name="connsiteY7" fmla="*/ 11875 h 13168"/>
              <a:gd name="connsiteX8" fmla="*/ 1813 w 11700"/>
              <a:gd name="connsiteY8" fmla="*/ 12105 h 13168"/>
              <a:gd name="connsiteX9" fmla="*/ 1731 w 11700"/>
              <a:gd name="connsiteY9" fmla="*/ 11972 h 13168"/>
              <a:gd name="connsiteX10" fmla="*/ 4067 w 11700"/>
              <a:gd name="connsiteY10" fmla="*/ 13168 h 13168"/>
              <a:gd name="connsiteX11" fmla="*/ 7648 w 11700"/>
              <a:gd name="connsiteY11" fmla="*/ 9713 h 13168"/>
              <a:gd name="connsiteX12" fmla="*/ 9275 w 11700"/>
              <a:gd name="connsiteY12" fmla="*/ 11175 h 13168"/>
              <a:gd name="connsiteX13" fmla="*/ 9036 w 11700"/>
              <a:gd name="connsiteY13" fmla="*/ 12962 h 13168"/>
              <a:gd name="connsiteX14" fmla="*/ 11700 w 11700"/>
              <a:gd name="connsiteY14" fmla="*/ 8638 h 13168"/>
              <a:gd name="connsiteX15" fmla="*/ 2321 w 11700"/>
              <a:gd name="connsiteY15" fmla="*/ 10281 h 13168"/>
              <a:gd name="connsiteX16" fmla="*/ 1120 w 11700"/>
              <a:gd name="connsiteY16" fmla="*/ 10281 h 13168"/>
              <a:gd name="connsiteX17" fmla="*/ 344 w 11700"/>
              <a:gd name="connsiteY17" fmla="*/ 6596 h 13168"/>
              <a:gd name="connsiteX18" fmla="*/ 1120 w 11700"/>
              <a:gd name="connsiteY18" fmla="*/ 2911 h 13168"/>
              <a:gd name="connsiteX19" fmla="*/ 2321 w 11700"/>
              <a:gd name="connsiteY19" fmla="*/ 2911 h 13168"/>
              <a:gd name="connsiteX20" fmla="*/ 3097 w 11700"/>
              <a:gd name="connsiteY20" fmla="*/ 6596 h 13168"/>
              <a:gd name="connsiteX21" fmla="*/ 2321 w 11700"/>
              <a:gd name="connsiteY21" fmla="*/ 10281 h 13168"/>
              <a:gd name="connsiteX0" fmla="*/ 9036 w 9422"/>
              <a:gd name="connsiteY0" fmla="*/ 12962 h 13168"/>
              <a:gd name="connsiteX1" fmla="*/ 9372 w 9422"/>
              <a:gd name="connsiteY1" fmla="*/ 10848 h 13168"/>
              <a:gd name="connsiteX2" fmla="*/ 7745 w 9422"/>
              <a:gd name="connsiteY2" fmla="*/ 9387 h 13168"/>
              <a:gd name="connsiteX3" fmla="*/ 8133 w 9422"/>
              <a:gd name="connsiteY3" fmla="*/ 6584 h 13168"/>
              <a:gd name="connsiteX4" fmla="*/ 4067 w 9422"/>
              <a:gd name="connsiteY4" fmla="*/ 0 h 13168"/>
              <a:gd name="connsiteX5" fmla="*/ 0 w 9422"/>
              <a:gd name="connsiteY5" fmla="*/ 6403 h 13168"/>
              <a:gd name="connsiteX6" fmla="*/ 8 w 9422"/>
              <a:gd name="connsiteY6" fmla="*/ 6765 h 13168"/>
              <a:gd name="connsiteX7" fmla="*/ 1649 w 9422"/>
              <a:gd name="connsiteY7" fmla="*/ 11875 h 13168"/>
              <a:gd name="connsiteX8" fmla="*/ 1813 w 9422"/>
              <a:gd name="connsiteY8" fmla="*/ 12105 h 13168"/>
              <a:gd name="connsiteX9" fmla="*/ 1731 w 9422"/>
              <a:gd name="connsiteY9" fmla="*/ 11972 h 13168"/>
              <a:gd name="connsiteX10" fmla="*/ 4067 w 9422"/>
              <a:gd name="connsiteY10" fmla="*/ 13168 h 13168"/>
              <a:gd name="connsiteX11" fmla="*/ 7648 w 9422"/>
              <a:gd name="connsiteY11" fmla="*/ 9713 h 13168"/>
              <a:gd name="connsiteX12" fmla="*/ 9275 w 9422"/>
              <a:gd name="connsiteY12" fmla="*/ 11175 h 13168"/>
              <a:gd name="connsiteX13" fmla="*/ 9036 w 9422"/>
              <a:gd name="connsiteY13" fmla="*/ 12962 h 13168"/>
              <a:gd name="connsiteX14" fmla="*/ 2321 w 9422"/>
              <a:gd name="connsiteY14" fmla="*/ 10281 h 13168"/>
              <a:gd name="connsiteX15" fmla="*/ 1120 w 9422"/>
              <a:gd name="connsiteY15" fmla="*/ 10281 h 13168"/>
              <a:gd name="connsiteX16" fmla="*/ 344 w 9422"/>
              <a:gd name="connsiteY16" fmla="*/ 6596 h 13168"/>
              <a:gd name="connsiteX17" fmla="*/ 1120 w 9422"/>
              <a:gd name="connsiteY17" fmla="*/ 2911 h 13168"/>
              <a:gd name="connsiteX18" fmla="*/ 2321 w 9422"/>
              <a:gd name="connsiteY18" fmla="*/ 2911 h 13168"/>
              <a:gd name="connsiteX19" fmla="*/ 3097 w 9422"/>
              <a:gd name="connsiteY19" fmla="*/ 6596 h 13168"/>
              <a:gd name="connsiteX20" fmla="*/ 2321 w 9422"/>
              <a:gd name="connsiteY20" fmla="*/ 10281 h 13168"/>
              <a:gd name="connsiteX0" fmla="*/ 9844 w 10116"/>
              <a:gd name="connsiteY0" fmla="*/ 8486 h 10000"/>
              <a:gd name="connsiteX1" fmla="*/ 9947 w 10116"/>
              <a:gd name="connsiteY1" fmla="*/ 8238 h 10000"/>
              <a:gd name="connsiteX2" fmla="*/ 8220 w 10116"/>
              <a:gd name="connsiteY2" fmla="*/ 7129 h 10000"/>
              <a:gd name="connsiteX3" fmla="*/ 8632 w 10116"/>
              <a:gd name="connsiteY3" fmla="*/ 5000 h 10000"/>
              <a:gd name="connsiteX4" fmla="*/ 4316 w 10116"/>
              <a:gd name="connsiteY4" fmla="*/ 0 h 10000"/>
              <a:gd name="connsiteX5" fmla="*/ 0 w 10116"/>
              <a:gd name="connsiteY5" fmla="*/ 4863 h 10000"/>
              <a:gd name="connsiteX6" fmla="*/ 8 w 10116"/>
              <a:gd name="connsiteY6" fmla="*/ 5137 h 10000"/>
              <a:gd name="connsiteX7" fmla="*/ 1750 w 10116"/>
              <a:gd name="connsiteY7" fmla="*/ 9018 h 10000"/>
              <a:gd name="connsiteX8" fmla="*/ 1924 w 10116"/>
              <a:gd name="connsiteY8" fmla="*/ 9193 h 10000"/>
              <a:gd name="connsiteX9" fmla="*/ 1837 w 10116"/>
              <a:gd name="connsiteY9" fmla="*/ 9092 h 10000"/>
              <a:gd name="connsiteX10" fmla="*/ 4316 w 10116"/>
              <a:gd name="connsiteY10" fmla="*/ 10000 h 10000"/>
              <a:gd name="connsiteX11" fmla="*/ 8117 w 10116"/>
              <a:gd name="connsiteY11" fmla="*/ 7376 h 10000"/>
              <a:gd name="connsiteX12" fmla="*/ 9844 w 10116"/>
              <a:gd name="connsiteY12" fmla="*/ 8486 h 10000"/>
              <a:gd name="connsiteX13" fmla="*/ 2463 w 10116"/>
              <a:gd name="connsiteY13" fmla="*/ 7808 h 10000"/>
              <a:gd name="connsiteX14" fmla="*/ 1189 w 10116"/>
              <a:gd name="connsiteY14" fmla="*/ 7808 h 10000"/>
              <a:gd name="connsiteX15" fmla="*/ 365 w 10116"/>
              <a:gd name="connsiteY15" fmla="*/ 5009 h 10000"/>
              <a:gd name="connsiteX16" fmla="*/ 1189 w 10116"/>
              <a:gd name="connsiteY16" fmla="*/ 2211 h 10000"/>
              <a:gd name="connsiteX17" fmla="*/ 2463 w 10116"/>
              <a:gd name="connsiteY17" fmla="*/ 2211 h 10000"/>
              <a:gd name="connsiteX18" fmla="*/ 3287 w 10116"/>
              <a:gd name="connsiteY18" fmla="*/ 5009 h 10000"/>
              <a:gd name="connsiteX19" fmla="*/ 2463 w 10116"/>
              <a:gd name="connsiteY19" fmla="*/ 7808 h 10000"/>
              <a:gd name="connsiteX0" fmla="*/ 8117 w 9947"/>
              <a:gd name="connsiteY0" fmla="*/ 7376 h 10000"/>
              <a:gd name="connsiteX1" fmla="*/ 9947 w 9947"/>
              <a:gd name="connsiteY1" fmla="*/ 8238 h 10000"/>
              <a:gd name="connsiteX2" fmla="*/ 8220 w 9947"/>
              <a:gd name="connsiteY2" fmla="*/ 7129 h 10000"/>
              <a:gd name="connsiteX3" fmla="*/ 8632 w 9947"/>
              <a:gd name="connsiteY3" fmla="*/ 5000 h 10000"/>
              <a:gd name="connsiteX4" fmla="*/ 4316 w 9947"/>
              <a:gd name="connsiteY4" fmla="*/ 0 h 10000"/>
              <a:gd name="connsiteX5" fmla="*/ 0 w 9947"/>
              <a:gd name="connsiteY5" fmla="*/ 4863 h 10000"/>
              <a:gd name="connsiteX6" fmla="*/ 8 w 9947"/>
              <a:gd name="connsiteY6" fmla="*/ 5137 h 10000"/>
              <a:gd name="connsiteX7" fmla="*/ 1750 w 9947"/>
              <a:gd name="connsiteY7" fmla="*/ 9018 h 10000"/>
              <a:gd name="connsiteX8" fmla="*/ 1924 w 9947"/>
              <a:gd name="connsiteY8" fmla="*/ 9193 h 10000"/>
              <a:gd name="connsiteX9" fmla="*/ 1837 w 9947"/>
              <a:gd name="connsiteY9" fmla="*/ 9092 h 10000"/>
              <a:gd name="connsiteX10" fmla="*/ 4316 w 9947"/>
              <a:gd name="connsiteY10" fmla="*/ 10000 h 10000"/>
              <a:gd name="connsiteX11" fmla="*/ 8117 w 9947"/>
              <a:gd name="connsiteY11" fmla="*/ 7376 h 10000"/>
              <a:gd name="connsiteX12" fmla="*/ 2463 w 9947"/>
              <a:gd name="connsiteY12" fmla="*/ 7808 h 10000"/>
              <a:gd name="connsiteX13" fmla="*/ 1189 w 9947"/>
              <a:gd name="connsiteY13" fmla="*/ 7808 h 10000"/>
              <a:gd name="connsiteX14" fmla="*/ 365 w 9947"/>
              <a:gd name="connsiteY14" fmla="*/ 5009 h 10000"/>
              <a:gd name="connsiteX15" fmla="*/ 1189 w 9947"/>
              <a:gd name="connsiteY15" fmla="*/ 2211 h 10000"/>
              <a:gd name="connsiteX16" fmla="*/ 2463 w 9947"/>
              <a:gd name="connsiteY16" fmla="*/ 2211 h 10000"/>
              <a:gd name="connsiteX17" fmla="*/ 3287 w 9947"/>
              <a:gd name="connsiteY17" fmla="*/ 5009 h 10000"/>
              <a:gd name="connsiteX18" fmla="*/ 2463 w 9947"/>
              <a:gd name="connsiteY18" fmla="*/ 7808 h 10000"/>
              <a:gd name="connsiteX0" fmla="*/ 8160 w 8678"/>
              <a:gd name="connsiteY0" fmla="*/ 7376 h 10000"/>
              <a:gd name="connsiteX1" fmla="*/ 8264 w 8678"/>
              <a:gd name="connsiteY1" fmla="*/ 7129 h 10000"/>
              <a:gd name="connsiteX2" fmla="*/ 8678 w 8678"/>
              <a:gd name="connsiteY2" fmla="*/ 5000 h 10000"/>
              <a:gd name="connsiteX3" fmla="*/ 4339 w 8678"/>
              <a:gd name="connsiteY3" fmla="*/ 0 h 10000"/>
              <a:gd name="connsiteX4" fmla="*/ 0 w 8678"/>
              <a:gd name="connsiteY4" fmla="*/ 4863 h 10000"/>
              <a:gd name="connsiteX5" fmla="*/ 8 w 8678"/>
              <a:gd name="connsiteY5" fmla="*/ 5137 h 10000"/>
              <a:gd name="connsiteX6" fmla="*/ 1759 w 8678"/>
              <a:gd name="connsiteY6" fmla="*/ 9018 h 10000"/>
              <a:gd name="connsiteX7" fmla="*/ 1934 w 8678"/>
              <a:gd name="connsiteY7" fmla="*/ 9193 h 10000"/>
              <a:gd name="connsiteX8" fmla="*/ 1847 w 8678"/>
              <a:gd name="connsiteY8" fmla="*/ 9092 h 10000"/>
              <a:gd name="connsiteX9" fmla="*/ 4339 w 8678"/>
              <a:gd name="connsiteY9" fmla="*/ 10000 h 10000"/>
              <a:gd name="connsiteX10" fmla="*/ 8160 w 8678"/>
              <a:gd name="connsiteY10" fmla="*/ 7376 h 10000"/>
              <a:gd name="connsiteX11" fmla="*/ 2476 w 8678"/>
              <a:gd name="connsiteY11" fmla="*/ 7808 h 10000"/>
              <a:gd name="connsiteX12" fmla="*/ 1195 w 8678"/>
              <a:gd name="connsiteY12" fmla="*/ 7808 h 10000"/>
              <a:gd name="connsiteX13" fmla="*/ 367 w 8678"/>
              <a:gd name="connsiteY13" fmla="*/ 5009 h 10000"/>
              <a:gd name="connsiteX14" fmla="*/ 1195 w 8678"/>
              <a:gd name="connsiteY14" fmla="*/ 2211 h 10000"/>
              <a:gd name="connsiteX15" fmla="*/ 2476 w 8678"/>
              <a:gd name="connsiteY15" fmla="*/ 2211 h 10000"/>
              <a:gd name="connsiteX16" fmla="*/ 3305 w 8678"/>
              <a:gd name="connsiteY16" fmla="*/ 5009 h 10000"/>
              <a:gd name="connsiteX17" fmla="*/ 2476 w 8678"/>
              <a:gd name="connsiteY17" fmla="*/ 780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78" h="10000" extrusionOk="0">
                <a:moveTo>
                  <a:pt x="8160" y="7376"/>
                </a:moveTo>
                <a:cubicBezTo>
                  <a:pt x="8195" y="7294"/>
                  <a:pt x="8229" y="7211"/>
                  <a:pt x="8264" y="7129"/>
                </a:cubicBezTo>
                <a:cubicBezTo>
                  <a:pt x="8526" y="6477"/>
                  <a:pt x="8678" y="5762"/>
                  <a:pt x="8678" y="5000"/>
                </a:cubicBezTo>
                <a:cubicBezTo>
                  <a:pt x="8678" y="2239"/>
                  <a:pt x="6736" y="0"/>
                  <a:pt x="4339" y="0"/>
                </a:cubicBezTo>
                <a:cubicBezTo>
                  <a:pt x="1983" y="0"/>
                  <a:pt x="64" y="2165"/>
                  <a:pt x="0" y="4863"/>
                </a:cubicBezTo>
                <a:cubicBezTo>
                  <a:pt x="3" y="4954"/>
                  <a:pt x="5" y="5046"/>
                  <a:pt x="8" y="5137"/>
                </a:cubicBezTo>
                <a:cubicBezTo>
                  <a:pt x="48" y="6725"/>
                  <a:pt x="725" y="8128"/>
                  <a:pt x="1759" y="9018"/>
                </a:cubicBezTo>
                <a:lnTo>
                  <a:pt x="1934" y="9193"/>
                </a:lnTo>
                <a:cubicBezTo>
                  <a:pt x="1905" y="9159"/>
                  <a:pt x="1876" y="9126"/>
                  <a:pt x="1847" y="9092"/>
                </a:cubicBezTo>
                <a:cubicBezTo>
                  <a:pt x="2556" y="9661"/>
                  <a:pt x="3415" y="10000"/>
                  <a:pt x="4339" y="10000"/>
                </a:cubicBezTo>
                <a:cubicBezTo>
                  <a:pt x="5987" y="10000"/>
                  <a:pt x="7428" y="8935"/>
                  <a:pt x="8160" y="7376"/>
                </a:cubicBezTo>
                <a:close/>
                <a:moveTo>
                  <a:pt x="2476" y="7808"/>
                </a:moveTo>
                <a:cubicBezTo>
                  <a:pt x="2150" y="8284"/>
                  <a:pt x="1520" y="8284"/>
                  <a:pt x="1195" y="7808"/>
                </a:cubicBezTo>
                <a:cubicBezTo>
                  <a:pt x="678" y="7037"/>
                  <a:pt x="367" y="6064"/>
                  <a:pt x="367" y="5009"/>
                </a:cubicBezTo>
                <a:cubicBezTo>
                  <a:pt x="367" y="3954"/>
                  <a:pt x="678" y="2981"/>
                  <a:pt x="1195" y="2211"/>
                </a:cubicBezTo>
                <a:cubicBezTo>
                  <a:pt x="1520" y="1734"/>
                  <a:pt x="2150" y="1734"/>
                  <a:pt x="2476" y="2211"/>
                </a:cubicBezTo>
                <a:cubicBezTo>
                  <a:pt x="2994" y="2981"/>
                  <a:pt x="3305" y="3954"/>
                  <a:pt x="3305" y="5009"/>
                </a:cubicBezTo>
                <a:cubicBezTo>
                  <a:pt x="3305" y="6064"/>
                  <a:pt x="3002" y="7028"/>
                  <a:pt x="2476" y="7808"/>
                </a:cubicBezTo>
                <a:close/>
              </a:path>
            </a:pathLst>
          </a:custGeom>
          <a:solidFill>
            <a:srgbClr val="A2B969"/>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152" name="Shape">
            <a:extLst>
              <a:ext uri="{FF2B5EF4-FFF2-40B4-BE49-F238E27FC236}">
                <a16:creationId xmlns:a16="http://schemas.microsoft.com/office/drawing/2014/main" id="{F4F48568-DC79-5A47-3D7A-9782B7197559}"/>
              </a:ext>
            </a:extLst>
          </p:cNvPr>
          <p:cNvSpPr/>
          <p:nvPr/>
        </p:nvSpPr>
        <p:spPr>
          <a:xfrm>
            <a:off x="4819180" y="4335592"/>
            <a:ext cx="977196" cy="977151"/>
          </a:xfrm>
          <a:custGeom>
            <a:avLst/>
            <a:gdLst>
              <a:gd name="connsiteX0" fmla="*/ 17824 w 21600"/>
              <a:gd name="connsiteY0" fmla="*/ 7665 h 21600"/>
              <a:gd name="connsiteX1" fmla="*/ 14049 w 21600"/>
              <a:gd name="connsiteY1" fmla="*/ 10635 h 21600"/>
              <a:gd name="connsiteX2" fmla="*/ 11496 w 21600"/>
              <a:gd name="connsiteY2" fmla="*/ 10635 h 21600"/>
              <a:gd name="connsiteX3" fmla="*/ 9650 w 21600"/>
              <a:gd name="connsiteY3" fmla="*/ 7273 h 21600"/>
              <a:gd name="connsiteX4" fmla="*/ 11454 w 21600"/>
              <a:gd name="connsiteY4" fmla="*/ 5557 h 21600"/>
              <a:gd name="connsiteX5" fmla="*/ 13806 w 21600"/>
              <a:gd name="connsiteY5" fmla="*/ 6236 h 21600"/>
              <a:gd name="connsiteX6" fmla="*/ 17582 w 21600"/>
              <a:gd name="connsiteY6" fmla="*/ 3118 h 21600"/>
              <a:gd name="connsiteX7" fmla="*/ 13806 w 21600"/>
              <a:gd name="connsiteY7" fmla="*/ 0 h 21600"/>
              <a:gd name="connsiteX8" fmla="*/ 10030 w 21600"/>
              <a:gd name="connsiteY8" fmla="*/ 3118 h 21600"/>
              <a:gd name="connsiteX9" fmla="*/ 9408 w 21600"/>
              <a:gd name="connsiteY9" fmla="*/ 7098 h 21600"/>
              <a:gd name="connsiteX10" fmla="*/ 5748 w 21600"/>
              <a:gd name="connsiteY10" fmla="*/ 6010 h 21600"/>
              <a:gd name="connsiteX11" fmla="*/ 0 w 21600"/>
              <a:gd name="connsiteY11" fmla="*/ 10756 h 21600"/>
              <a:gd name="connsiteX12" fmla="*/ 5748 w 21600"/>
              <a:gd name="connsiteY12" fmla="*/ 15503 h 21600"/>
              <a:gd name="connsiteX13" fmla="*/ 9049 w 21600"/>
              <a:gd name="connsiteY13" fmla="*/ 14641 h 21600"/>
              <a:gd name="connsiteX14" fmla="*/ 8933 w 21600"/>
              <a:gd name="connsiteY14" fmla="*/ 14737 h 21600"/>
              <a:gd name="connsiteX15" fmla="*/ 10990 w 21600"/>
              <a:gd name="connsiteY15" fmla="*/ 16400 h 21600"/>
              <a:gd name="connsiteX16" fmla="*/ 10020 w 21600"/>
              <a:gd name="connsiteY16" fmla="*/ 18482 h 21600"/>
              <a:gd name="connsiteX17" fmla="*/ 13795 w 21600"/>
              <a:gd name="connsiteY17" fmla="*/ 21600 h 21600"/>
              <a:gd name="connsiteX18" fmla="*/ 17571 w 21600"/>
              <a:gd name="connsiteY18" fmla="*/ 18482 h 21600"/>
              <a:gd name="connsiteX19" fmla="*/ 13795 w 21600"/>
              <a:gd name="connsiteY19" fmla="*/ 15364 h 21600"/>
              <a:gd name="connsiteX20" fmla="*/ 11211 w 21600"/>
              <a:gd name="connsiteY20" fmla="*/ 16209 h 21600"/>
              <a:gd name="connsiteX21" fmla="*/ 9176 w 21600"/>
              <a:gd name="connsiteY21" fmla="*/ 14563 h 21600"/>
              <a:gd name="connsiteX22" fmla="*/ 11496 w 21600"/>
              <a:gd name="connsiteY22" fmla="*/ 10878 h 21600"/>
              <a:gd name="connsiteX23" fmla="*/ 14048 w 21600"/>
              <a:gd name="connsiteY23" fmla="*/ 10878 h 21600"/>
              <a:gd name="connsiteX24" fmla="*/ 17824 w 21600"/>
              <a:gd name="connsiteY24" fmla="*/ 13883 h 21600"/>
              <a:gd name="connsiteX25" fmla="*/ 21600 w 21600"/>
              <a:gd name="connsiteY25" fmla="*/ 10765 h 21600"/>
              <a:gd name="connsiteX26" fmla="*/ 17824 w 21600"/>
              <a:gd name="connsiteY26" fmla="*/ 7665 h 21600"/>
              <a:gd name="connsiteX27" fmla="*/ 9893 w 21600"/>
              <a:gd name="connsiteY27" fmla="*/ 13413 h 21600"/>
              <a:gd name="connsiteX28" fmla="*/ 8195 w 21600"/>
              <a:gd name="connsiteY28" fmla="*/ 13413 h 21600"/>
              <a:gd name="connsiteX29" fmla="*/ 7098 w 21600"/>
              <a:gd name="connsiteY29" fmla="*/ 10756 h 21600"/>
              <a:gd name="connsiteX30" fmla="*/ 8195 w 21600"/>
              <a:gd name="connsiteY30" fmla="*/ 8100 h 21600"/>
              <a:gd name="connsiteX31" fmla="*/ 9893 w 21600"/>
              <a:gd name="connsiteY31" fmla="*/ 8100 h 21600"/>
              <a:gd name="connsiteX32" fmla="*/ 10990 w 21600"/>
              <a:gd name="connsiteY32" fmla="*/ 10756 h 21600"/>
              <a:gd name="connsiteX33" fmla="*/ 9893 w 21600"/>
              <a:gd name="connsiteY33" fmla="*/ 13413 h 21600"/>
              <a:gd name="connsiteX0" fmla="*/ 17824 w 21600"/>
              <a:gd name="connsiteY0" fmla="*/ 7665 h 21600"/>
              <a:gd name="connsiteX1" fmla="*/ 14049 w 21600"/>
              <a:gd name="connsiteY1" fmla="*/ 10635 h 21600"/>
              <a:gd name="connsiteX2" fmla="*/ 11496 w 21600"/>
              <a:gd name="connsiteY2" fmla="*/ 10635 h 21600"/>
              <a:gd name="connsiteX3" fmla="*/ 9650 w 21600"/>
              <a:gd name="connsiteY3" fmla="*/ 7273 h 21600"/>
              <a:gd name="connsiteX4" fmla="*/ 13806 w 21600"/>
              <a:gd name="connsiteY4" fmla="*/ 6236 h 21600"/>
              <a:gd name="connsiteX5" fmla="*/ 17582 w 21600"/>
              <a:gd name="connsiteY5" fmla="*/ 3118 h 21600"/>
              <a:gd name="connsiteX6" fmla="*/ 13806 w 21600"/>
              <a:gd name="connsiteY6" fmla="*/ 0 h 21600"/>
              <a:gd name="connsiteX7" fmla="*/ 10030 w 21600"/>
              <a:gd name="connsiteY7" fmla="*/ 3118 h 21600"/>
              <a:gd name="connsiteX8" fmla="*/ 9408 w 21600"/>
              <a:gd name="connsiteY8" fmla="*/ 7098 h 21600"/>
              <a:gd name="connsiteX9" fmla="*/ 5748 w 21600"/>
              <a:gd name="connsiteY9" fmla="*/ 6010 h 21600"/>
              <a:gd name="connsiteX10" fmla="*/ 0 w 21600"/>
              <a:gd name="connsiteY10" fmla="*/ 10756 h 21600"/>
              <a:gd name="connsiteX11" fmla="*/ 5748 w 21600"/>
              <a:gd name="connsiteY11" fmla="*/ 15503 h 21600"/>
              <a:gd name="connsiteX12" fmla="*/ 9049 w 21600"/>
              <a:gd name="connsiteY12" fmla="*/ 14641 h 21600"/>
              <a:gd name="connsiteX13" fmla="*/ 8933 w 21600"/>
              <a:gd name="connsiteY13" fmla="*/ 14737 h 21600"/>
              <a:gd name="connsiteX14" fmla="*/ 10990 w 21600"/>
              <a:gd name="connsiteY14" fmla="*/ 16400 h 21600"/>
              <a:gd name="connsiteX15" fmla="*/ 10020 w 21600"/>
              <a:gd name="connsiteY15" fmla="*/ 18482 h 21600"/>
              <a:gd name="connsiteX16" fmla="*/ 13795 w 21600"/>
              <a:gd name="connsiteY16" fmla="*/ 21600 h 21600"/>
              <a:gd name="connsiteX17" fmla="*/ 17571 w 21600"/>
              <a:gd name="connsiteY17" fmla="*/ 18482 h 21600"/>
              <a:gd name="connsiteX18" fmla="*/ 13795 w 21600"/>
              <a:gd name="connsiteY18" fmla="*/ 15364 h 21600"/>
              <a:gd name="connsiteX19" fmla="*/ 11211 w 21600"/>
              <a:gd name="connsiteY19" fmla="*/ 16209 h 21600"/>
              <a:gd name="connsiteX20" fmla="*/ 9176 w 21600"/>
              <a:gd name="connsiteY20" fmla="*/ 14563 h 21600"/>
              <a:gd name="connsiteX21" fmla="*/ 11496 w 21600"/>
              <a:gd name="connsiteY21" fmla="*/ 10878 h 21600"/>
              <a:gd name="connsiteX22" fmla="*/ 14048 w 21600"/>
              <a:gd name="connsiteY22" fmla="*/ 10878 h 21600"/>
              <a:gd name="connsiteX23" fmla="*/ 17824 w 21600"/>
              <a:gd name="connsiteY23" fmla="*/ 13883 h 21600"/>
              <a:gd name="connsiteX24" fmla="*/ 21600 w 21600"/>
              <a:gd name="connsiteY24" fmla="*/ 10765 h 21600"/>
              <a:gd name="connsiteX25" fmla="*/ 17824 w 21600"/>
              <a:gd name="connsiteY25" fmla="*/ 7665 h 21600"/>
              <a:gd name="connsiteX26" fmla="*/ 9893 w 21600"/>
              <a:gd name="connsiteY26" fmla="*/ 13413 h 21600"/>
              <a:gd name="connsiteX27" fmla="*/ 8195 w 21600"/>
              <a:gd name="connsiteY27" fmla="*/ 13413 h 21600"/>
              <a:gd name="connsiteX28" fmla="*/ 7098 w 21600"/>
              <a:gd name="connsiteY28" fmla="*/ 10756 h 21600"/>
              <a:gd name="connsiteX29" fmla="*/ 8195 w 21600"/>
              <a:gd name="connsiteY29" fmla="*/ 8100 h 21600"/>
              <a:gd name="connsiteX30" fmla="*/ 9893 w 21600"/>
              <a:gd name="connsiteY30" fmla="*/ 8100 h 21600"/>
              <a:gd name="connsiteX31" fmla="*/ 10990 w 21600"/>
              <a:gd name="connsiteY31" fmla="*/ 10756 h 21600"/>
              <a:gd name="connsiteX32" fmla="*/ 9893 w 21600"/>
              <a:gd name="connsiteY32" fmla="*/ 13413 h 21600"/>
              <a:gd name="connsiteX0" fmla="*/ 17824 w 21600"/>
              <a:gd name="connsiteY0" fmla="*/ 7792 h 21727"/>
              <a:gd name="connsiteX1" fmla="*/ 14049 w 21600"/>
              <a:gd name="connsiteY1" fmla="*/ 10762 h 21727"/>
              <a:gd name="connsiteX2" fmla="*/ 11496 w 21600"/>
              <a:gd name="connsiteY2" fmla="*/ 10762 h 21727"/>
              <a:gd name="connsiteX3" fmla="*/ 9650 w 21600"/>
              <a:gd name="connsiteY3" fmla="*/ 7400 h 21727"/>
              <a:gd name="connsiteX4" fmla="*/ 13806 w 21600"/>
              <a:gd name="connsiteY4" fmla="*/ 6363 h 21727"/>
              <a:gd name="connsiteX5" fmla="*/ 17582 w 21600"/>
              <a:gd name="connsiteY5" fmla="*/ 3245 h 21727"/>
              <a:gd name="connsiteX6" fmla="*/ 13806 w 21600"/>
              <a:gd name="connsiteY6" fmla="*/ 127 h 21727"/>
              <a:gd name="connsiteX7" fmla="*/ 9408 w 21600"/>
              <a:gd name="connsiteY7" fmla="*/ 7225 h 21727"/>
              <a:gd name="connsiteX8" fmla="*/ 5748 w 21600"/>
              <a:gd name="connsiteY8" fmla="*/ 6137 h 21727"/>
              <a:gd name="connsiteX9" fmla="*/ 0 w 21600"/>
              <a:gd name="connsiteY9" fmla="*/ 10883 h 21727"/>
              <a:gd name="connsiteX10" fmla="*/ 5748 w 21600"/>
              <a:gd name="connsiteY10" fmla="*/ 15630 h 21727"/>
              <a:gd name="connsiteX11" fmla="*/ 9049 w 21600"/>
              <a:gd name="connsiteY11" fmla="*/ 14768 h 21727"/>
              <a:gd name="connsiteX12" fmla="*/ 8933 w 21600"/>
              <a:gd name="connsiteY12" fmla="*/ 14864 h 21727"/>
              <a:gd name="connsiteX13" fmla="*/ 10990 w 21600"/>
              <a:gd name="connsiteY13" fmla="*/ 16527 h 21727"/>
              <a:gd name="connsiteX14" fmla="*/ 10020 w 21600"/>
              <a:gd name="connsiteY14" fmla="*/ 18609 h 21727"/>
              <a:gd name="connsiteX15" fmla="*/ 13795 w 21600"/>
              <a:gd name="connsiteY15" fmla="*/ 21727 h 21727"/>
              <a:gd name="connsiteX16" fmla="*/ 17571 w 21600"/>
              <a:gd name="connsiteY16" fmla="*/ 18609 h 21727"/>
              <a:gd name="connsiteX17" fmla="*/ 13795 w 21600"/>
              <a:gd name="connsiteY17" fmla="*/ 15491 h 21727"/>
              <a:gd name="connsiteX18" fmla="*/ 11211 w 21600"/>
              <a:gd name="connsiteY18" fmla="*/ 16336 h 21727"/>
              <a:gd name="connsiteX19" fmla="*/ 9176 w 21600"/>
              <a:gd name="connsiteY19" fmla="*/ 14690 h 21727"/>
              <a:gd name="connsiteX20" fmla="*/ 11496 w 21600"/>
              <a:gd name="connsiteY20" fmla="*/ 11005 h 21727"/>
              <a:gd name="connsiteX21" fmla="*/ 14048 w 21600"/>
              <a:gd name="connsiteY21" fmla="*/ 11005 h 21727"/>
              <a:gd name="connsiteX22" fmla="*/ 17824 w 21600"/>
              <a:gd name="connsiteY22" fmla="*/ 14010 h 21727"/>
              <a:gd name="connsiteX23" fmla="*/ 21600 w 21600"/>
              <a:gd name="connsiteY23" fmla="*/ 10892 h 21727"/>
              <a:gd name="connsiteX24" fmla="*/ 17824 w 21600"/>
              <a:gd name="connsiteY24" fmla="*/ 7792 h 21727"/>
              <a:gd name="connsiteX25" fmla="*/ 9893 w 21600"/>
              <a:gd name="connsiteY25" fmla="*/ 13540 h 21727"/>
              <a:gd name="connsiteX26" fmla="*/ 8195 w 21600"/>
              <a:gd name="connsiteY26" fmla="*/ 13540 h 21727"/>
              <a:gd name="connsiteX27" fmla="*/ 7098 w 21600"/>
              <a:gd name="connsiteY27" fmla="*/ 10883 h 21727"/>
              <a:gd name="connsiteX28" fmla="*/ 8195 w 21600"/>
              <a:gd name="connsiteY28" fmla="*/ 8227 h 21727"/>
              <a:gd name="connsiteX29" fmla="*/ 9893 w 21600"/>
              <a:gd name="connsiteY29" fmla="*/ 8227 h 21727"/>
              <a:gd name="connsiteX30" fmla="*/ 10990 w 21600"/>
              <a:gd name="connsiteY30" fmla="*/ 10883 h 21727"/>
              <a:gd name="connsiteX31" fmla="*/ 9893 w 21600"/>
              <a:gd name="connsiteY31" fmla="*/ 13540 h 21727"/>
              <a:gd name="connsiteX0" fmla="*/ 17824 w 21600"/>
              <a:gd name="connsiteY0" fmla="*/ 4552 h 18487"/>
              <a:gd name="connsiteX1" fmla="*/ 14049 w 21600"/>
              <a:gd name="connsiteY1" fmla="*/ 7522 h 18487"/>
              <a:gd name="connsiteX2" fmla="*/ 11496 w 21600"/>
              <a:gd name="connsiteY2" fmla="*/ 7522 h 18487"/>
              <a:gd name="connsiteX3" fmla="*/ 9650 w 21600"/>
              <a:gd name="connsiteY3" fmla="*/ 4160 h 18487"/>
              <a:gd name="connsiteX4" fmla="*/ 13806 w 21600"/>
              <a:gd name="connsiteY4" fmla="*/ 3123 h 18487"/>
              <a:gd name="connsiteX5" fmla="*/ 17582 w 21600"/>
              <a:gd name="connsiteY5" fmla="*/ 5 h 18487"/>
              <a:gd name="connsiteX6" fmla="*/ 9408 w 21600"/>
              <a:gd name="connsiteY6" fmla="*/ 3985 h 18487"/>
              <a:gd name="connsiteX7" fmla="*/ 5748 w 21600"/>
              <a:gd name="connsiteY7" fmla="*/ 2897 h 18487"/>
              <a:gd name="connsiteX8" fmla="*/ 0 w 21600"/>
              <a:gd name="connsiteY8" fmla="*/ 7643 h 18487"/>
              <a:gd name="connsiteX9" fmla="*/ 5748 w 21600"/>
              <a:gd name="connsiteY9" fmla="*/ 12390 h 18487"/>
              <a:gd name="connsiteX10" fmla="*/ 9049 w 21600"/>
              <a:gd name="connsiteY10" fmla="*/ 11528 h 18487"/>
              <a:gd name="connsiteX11" fmla="*/ 8933 w 21600"/>
              <a:gd name="connsiteY11" fmla="*/ 11624 h 18487"/>
              <a:gd name="connsiteX12" fmla="*/ 10990 w 21600"/>
              <a:gd name="connsiteY12" fmla="*/ 13287 h 18487"/>
              <a:gd name="connsiteX13" fmla="*/ 10020 w 21600"/>
              <a:gd name="connsiteY13" fmla="*/ 15369 h 18487"/>
              <a:gd name="connsiteX14" fmla="*/ 13795 w 21600"/>
              <a:gd name="connsiteY14" fmla="*/ 18487 h 18487"/>
              <a:gd name="connsiteX15" fmla="*/ 17571 w 21600"/>
              <a:gd name="connsiteY15" fmla="*/ 15369 h 18487"/>
              <a:gd name="connsiteX16" fmla="*/ 13795 w 21600"/>
              <a:gd name="connsiteY16" fmla="*/ 12251 h 18487"/>
              <a:gd name="connsiteX17" fmla="*/ 11211 w 21600"/>
              <a:gd name="connsiteY17" fmla="*/ 13096 h 18487"/>
              <a:gd name="connsiteX18" fmla="*/ 9176 w 21600"/>
              <a:gd name="connsiteY18" fmla="*/ 11450 h 18487"/>
              <a:gd name="connsiteX19" fmla="*/ 11496 w 21600"/>
              <a:gd name="connsiteY19" fmla="*/ 7765 h 18487"/>
              <a:gd name="connsiteX20" fmla="*/ 14048 w 21600"/>
              <a:gd name="connsiteY20" fmla="*/ 7765 h 18487"/>
              <a:gd name="connsiteX21" fmla="*/ 17824 w 21600"/>
              <a:gd name="connsiteY21" fmla="*/ 10770 h 18487"/>
              <a:gd name="connsiteX22" fmla="*/ 21600 w 21600"/>
              <a:gd name="connsiteY22" fmla="*/ 7652 h 18487"/>
              <a:gd name="connsiteX23" fmla="*/ 17824 w 21600"/>
              <a:gd name="connsiteY23" fmla="*/ 4552 h 18487"/>
              <a:gd name="connsiteX24" fmla="*/ 9893 w 21600"/>
              <a:gd name="connsiteY24" fmla="*/ 10300 h 18487"/>
              <a:gd name="connsiteX25" fmla="*/ 8195 w 21600"/>
              <a:gd name="connsiteY25" fmla="*/ 10300 h 18487"/>
              <a:gd name="connsiteX26" fmla="*/ 7098 w 21600"/>
              <a:gd name="connsiteY26" fmla="*/ 7643 h 18487"/>
              <a:gd name="connsiteX27" fmla="*/ 8195 w 21600"/>
              <a:gd name="connsiteY27" fmla="*/ 4987 h 18487"/>
              <a:gd name="connsiteX28" fmla="*/ 9893 w 21600"/>
              <a:gd name="connsiteY28" fmla="*/ 4987 h 18487"/>
              <a:gd name="connsiteX29" fmla="*/ 10990 w 21600"/>
              <a:gd name="connsiteY29" fmla="*/ 7643 h 18487"/>
              <a:gd name="connsiteX30" fmla="*/ 9893 w 21600"/>
              <a:gd name="connsiteY30" fmla="*/ 10300 h 18487"/>
              <a:gd name="connsiteX0" fmla="*/ 17824 w 21600"/>
              <a:gd name="connsiteY0" fmla="*/ 1655 h 15590"/>
              <a:gd name="connsiteX1" fmla="*/ 14049 w 21600"/>
              <a:gd name="connsiteY1" fmla="*/ 4625 h 15590"/>
              <a:gd name="connsiteX2" fmla="*/ 11496 w 21600"/>
              <a:gd name="connsiteY2" fmla="*/ 4625 h 15590"/>
              <a:gd name="connsiteX3" fmla="*/ 9650 w 21600"/>
              <a:gd name="connsiteY3" fmla="*/ 1263 h 15590"/>
              <a:gd name="connsiteX4" fmla="*/ 13806 w 21600"/>
              <a:gd name="connsiteY4" fmla="*/ 226 h 15590"/>
              <a:gd name="connsiteX5" fmla="*/ 9408 w 21600"/>
              <a:gd name="connsiteY5" fmla="*/ 1088 h 15590"/>
              <a:gd name="connsiteX6" fmla="*/ 5748 w 21600"/>
              <a:gd name="connsiteY6" fmla="*/ 0 h 15590"/>
              <a:gd name="connsiteX7" fmla="*/ 0 w 21600"/>
              <a:gd name="connsiteY7" fmla="*/ 4746 h 15590"/>
              <a:gd name="connsiteX8" fmla="*/ 5748 w 21600"/>
              <a:gd name="connsiteY8" fmla="*/ 9493 h 15590"/>
              <a:gd name="connsiteX9" fmla="*/ 9049 w 21600"/>
              <a:gd name="connsiteY9" fmla="*/ 8631 h 15590"/>
              <a:gd name="connsiteX10" fmla="*/ 8933 w 21600"/>
              <a:gd name="connsiteY10" fmla="*/ 8727 h 15590"/>
              <a:gd name="connsiteX11" fmla="*/ 10990 w 21600"/>
              <a:gd name="connsiteY11" fmla="*/ 10390 h 15590"/>
              <a:gd name="connsiteX12" fmla="*/ 10020 w 21600"/>
              <a:gd name="connsiteY12" fmla="*/ 12472 h 15590"/>
              <a:gd name="connsiteX13" fmla="*/ 13795 w 21600"/>
              <a:gd name="connsiteY13" fmla="*/ 15590 h 15590"/>
              <a:gd name="connsiteX14" fmla="*/ 17571 w 21600"/>
              <a:gd name="connsiteY14" fmla="*/ 12472 h 15590"/>
              <a:gd name="connsiteX15" fmla="*/ 13795 w 21600"/>
              <a:gd name="connsiteY15" fmla="*/ 9354 h 15590"/>
              <a:gd name="connsiteX16" fmla="*/ 11211 w 21600"/>
              <a:gd name="connsiteY16" fmla="*/ 10199 h 15590"/>
              <a:gd name="connsiteX17" fmla="*/ 9176 w 21600"/>
              <a:gd name="connsiteY17" fmla="*/ 8553 h 15590"/>
              <a:gd name="connsiteX18" fmla="*/ 11496 w 21600"/>
              <a:gd name="connsiteY18" fmla="*/ 4868 h 15590"/>
              <a:gd name="connsiteX19" fmla="*/ 14048 w 21600"/>
              <a:gd name="connsiteY19" fmla="*/ 4868 h 15590"/>
              <a:gd name="connsiteX20" fmla="*/ 17824 w 21600"/>
              <a:gd name="connsiteY20" fmla="*/ 7873 h 15590"/>
              <a:gd name="connsiteX21" fmla="*/ 21600 w 21600"/>
              <a:gd name="connsiteY21" fmla="*/ 4755 h 15590"/>
              <a:gd name="connsiteX22" fmla="*/ 17824 w 21600"/>
              <a:gd name="connsiteY22" fmla="*/ 1655 h 15590"/>
              <a:gd name="connsiteX23" fmla="*/ 9893 w 21600"/>
              <a:gd name="connsiteY23" fmla="*/ 7403 h 15590"/>
              <a:gd name="connsiteX24" fmla="*/ 8195 w 21600"/>
              <a:gd name="connsiteY24" fmla="*/ 7403 h 15590"/>
              <a:gd name="connsiteX25" fmla="*/ 7098 w 21600"/>
              <a:gd name="connsiteY25" fmla="*/ 4746 h 15590"/>
              <a:gd name="connsiteX26" fmla="*/ 8195 w 21600"/>
              <a:gd name="connsiteY26" fmla="*/ 2090 h 15590"/>
              <a:gd name="connsiteX27" fmla="*/ 9893 w 21600"/>
              <a:gd name="connsiteY27" fmla="*/ 2090 h 15590"/>
              <a:gd name="connsiteX28" fmla="*/ 10990 w 21600"/>
              <a:gd name="connsiteY28" fmla="*/ 4746 h 15590"/>
              <a:gd name="connsiteX29" fmla="*/ 9893 w 21600"/>
              <a:gd name="connsiteY29" fmla="*/ 7403 h 15590"/>
              <a:gd name="connsiteX0" fmla="*/ 17824 w 21600"/>
              <a:gd name="connsiteY0" fmla="*/ 1655 h 15590"/>
              <a:gd name="connsiteX1" fmla="*/ 14049 w 21600"/>
              <a:gd name="connsiteY1" fmla="*/ 4625 h 15590"/>
              <a:gd name="connsiteX2" fmla="*/ 11496 w 21600"/>
              <a:gd name="connsiteY2" fmla="*/ 4625 h 15590"/>
              <a:gd name="connsiteX3" fmla="*/ 9650 w 21600"/>
              <a:gd name="connsiteY3" fmla="*/ 1263 h 15590"/>
              <a:gd name="connsiteX4" fmla="*/ 9408 w 21600"/>
              <a:gd name="connsiteY4" fmla="*/ 1088 h 15590"/>
              <a:gd name="connsiteX5" fmla="*/ 5748 w 21600"/>
              <a:gd name="connsiteY5" fmla="*/ 0 h 15590"/>
              <a:gd name="connsiteX6" fmla="*/ 0 w 21600"/>
              <a:gd name="connsiteY6" fmla="*/ 4746 h 15590"/>
              <a:gd name="connsiteX7" fmla="*/ 5748 w 21600"/>
              <a:gd name="connsiteY7" fmla="*/ 9493 h 15590"/>
              <a:gd name="connsiteX8" fmla="*/ 9049 w 21600"/>
              <a:gd name="connsiteY8" fmla="*/ 8631 h 15590"/>
              <a:gd name="connsiteX9" fmla="*/ 8933 w 21600"/>
              <a:gd name="connsiteY9" fmla="*/ 8727 h 15590"/>
              <a:gd name="connsiteX10" fmla="*/ 10990 w 21600"/>
              <a:gd name="connsiteY10" fmla="*/ 10390 h 15590"/>
              <a:gd name="connsiteX11" fmla="*/ 10020 w 21600"/>
              <a:gd name="connsiteY11" fmla="*/ 12472 h 15590"/>
              <a:gd name="connsiteX12" fmla="*/ 13795 w 21600"/>
              <a:gd name="connsiteY12" fmla="*/ 15590 h 15590"/>
              <a:gd name="connsiteX13" fmla="*/ 17571 w 21600"/>
              <a:gd name="connsiteY13" fmla="*/ 12472 h 15590"/>
              <a:gd name="connsiteX14" fmla="*/ 13795 w 21600"/>
              <a:gd name="connsiteY14" fmla="*/ 9354 h 15590"/>
              <a:gd name="connsiteX15" fmla="*/ 11211 w 21600"/>
              <a:gd name="connsiteY15" fmla="*/ 10199 h 15590"/>
              <a:gd name="connsiteX16" fmla="*/ 9176 w 21600"/>
              <a:gd name="connsiteY16" fmla="*/ 8553 h 15590"/>
              <a:gd name="connsiteX17" fmla="*/ 11496 w 21600"/>
              <a:gd name="connsiteY17" fmla="*/ 4868 h 15590"/>
              <a:gd name="connsiteX18" fmla="*/ 14048 w 21600"/>
              <a:gd name="connsiteY18" fmla="*/ 4868 h 15590"/>
              <a:gd name="connsiteX19" fmla="*/ 17824 w 21600"/>
              <a:gd name="connsiteY19" fmla="*/ 7873 h 15590"/>
              <a:gd name="connsiteX20" fmla="*/ 21600 w 21600"/>
              <a:gd name="connsiteY20" fmla="*/ 4755 h 15590"/>
              <a:gd name="connsiteX21" fmla="*/ 17824 w 21600"/>
              <a:gd name="connsiteY21" fmla="*/ 1655 h 15590"/>
              <a:gd name="connsiteX22" fmla="*/ 9893 w 21600"/>
              <a:gd name="connsiteY22" fmla="*/ 7403 h 15590"/>
              <a:gd name="connsiteX23" fmla="*/ 8195 w 21600"/>
              <a:gd name="connsiteY23" fmla="*/ 7403 h 15590"/>
              <a:gd name="connsiteX24" fmla="*/ 7098 w 21600"/>
              <a:gd name="connsiteY24" fmla="*/ 4746 h 15590"/>
              <a:gd name="connsiteX25" fmla="*/ 8195 w 21600"/>
              <a:gd name="connsiteY25" fmla="*/ 2090 h 15590"/>
              <a:gd name="connsiteX26" fmla="*/ 9893 w 21600"/>
              <a:gd name="connsiteY26" fmla="*/ 2090 h 15590"/>
              <a:gd name="connsiteX27" fmla="*/ 10990 w 21600"/>
              <a:gd name="connsiteY27" fmla="*/ 4746 h 15590"/>
              <a:gd name="connsiteX28" fmla="*/ 9893 w 21600"/>
              <a:gd name="connsiteY28" fmla="*/ 7403 h 15590"/>
              <a:gd name="connsiteX0" fmla="*/ 21600 w 21704"/>
              <a:gd name="connsiteY0" fmla="*/ 4755 h 15590"/>
              <a:gd name="connsiteX1" fmla="*/ 14049 w 21704"/>
              <a:gd name="connsiteY1" fmla="*/ 4625 h 15590"/>
              <a:gd name="connsiteX2" fmla="*/ 11496 w 21704"/>
              <a:gd name="connsiteY2" fmla="*/ 4625 h 15590"/>
              <a:gd name="connsiteX3" fmla="*/ 9650 w 21704"/>
              <a:gd name="connsiteY3" fmla="*/ 1263 h 15590"/>
              <a:gd name="connsiteX4" fmla="*/ 9408 w 21704"/>
              <a:gd name="connsiteY4" fmla="*/ 1088 h 15590"/>
              <a:gd name="connsiteX5" fmla="*/ 5748 w 21704"/>
              <a:gd name="connsiteY5" fmla="*/ 0 h 15590"/>
              <a:gd name="connsiteX6" fmla="*/ 0 w 21704"/>
              <a:gd name="connsiteY6" fmla="*/ 4746 h 15590"/>
              <a:gd name="connsiteX7" fmla="*/ 5748 w 21704"/>
              <a:gd name="connsiteY7" fmla="*/ 9493 h 15590"/>
              <a:gd name="connsiteX8" fmla="*/ 9049 w 21704"/>
              <a:gd name="connsiteY8" fmla="*/ 8631 h 15590"/>
              <a:gd name="connsiteX9" fmla="*/ 8933 w 21704"/>
              <a:gd name="connsiteY9" fmla="*/ 8727 h 15590"/>
              <a:gd name="connsiteX10" fmla="*/ 10990 w 21704"/>
              <a:gd name="connsiteY10" fmla="*/ 10390 h 15590"/>
              <a:gd name="connsiteX11" fmla="*/ 10020 w 21704"/>
              <a:gd name="connsiteY11" fmla="*/ 12472 h 15590"/>
              <a:gd name="connsiteX12" fmla="*/ 13795 w 21704"/>
              <a:gd name="connsiteY12" fmla="*/ 15590 h 15590"/>
              <a:gd name="connsiteX13" fmla="*/ 17571 w 21704"/>
              <a:gd name="connsiteY13" fmla="*/ 12472 h 15590"/>
              <a:gd name="connsiteX14" fmla="*/ 13795 w 21704"/>
              <a:gd name="connsiteY14" fmla="*/ 9354 h 15590"/>
              <a:gd name="connsiteX15" fmla="*/ 11211 w 21704"/>
              <a:gd name="connsiteY15" fmla="*/ 10199 h 15590"/>
              <a:gd name="connsiteX16" fmla="*/ 9176 w 21704"/>
              <a:gd name="connsiteY16" fmla="*/ 8553 h 15590"/>
              <a:gd name="connsiteX17" fmla="*/ 11496 w 21704"/>
              <a:gd name="connsiteY17" fmla="*/ 4868 h 15590"/>
              <a:gd name="connsiteX18" fmla="*/ 14048 w 21704"/>
              <a:gd name="connsiteY18" fmla="*/ 4868 h 15590"/>
              <a:gd name="connsiteX19" fmla="*/ 17824 w 21704"/>
              <a:gd name="connsiteY19" fmla="*/ 7873 h 15590"/>
              <a:gd name="connsiteX20" fmla="*/ 21600 w 21704"/>
              <a:gd name="connsiteY20" fmla="*/ 4755 h 15590"/>
              <a:gd name="connsiteX21" fmla="*/ 9893 w 21704"/>
              <a:gd name="connsiteY21" fmla="*/ 7403 h 15590"/>
              <a:gd name="connsiteX22" fmla="*/ 8195 w 21704"/>
              <a:gd name="connsiteY22" fmla="*/ 7403 h 15590"/>
              <a:gd name="connsiteX23" fmla="*/ 7098 w 21704"/>
              <a:gd name="connsiteY23" fmla="*/ 4746 h 15590"/>
              <a:gd name="connsiteX24" fmla="*/ 8195 w 21704"/>
              <a:gd name="connsiteY24" fmla="*/ 2090 h 15590"/>
              <a:gd name="connsiteX25" fmla="*/ 9893 w 21704"/>
              <a:gd name="connsiteY25" fmla="*/ 2090 h 15590"/>
              <a:gd name="connsiteX26" fmla="*/ 10990 w 21704"/>
              <a:gd name="connsiteY26" fmla="*/ 4746 h 15590"/>
              <a:gd name="connsiteX27" fmla="*/ 9893 w 21704"/>
              <a:gd name="connsiteY27" fmla="*/ 7403 h 15590"/>
              <a:gd name="connsiteX0" fmla="*/ 17824 w 17824"/>
              <a:gd name="connsiteY0" fmla="*/ 7873 h 15590"/>
              <a:gd name="connsiteX1" fmla="*/ 14049 w 17824"/>
              <a:gd name="connsiteY1" fmla="*/ 4625 h 15590"/>
              <a:gd name="connsiteX2" fmla="*/ 11496 w 17824"/>
              <a:gd name="connsiteY2" fmla="*/ 4625 h 15590"/>
              <a:gd name="connsiteX3" fmla="*/ 9650 w 17824"/>
              <a:gd name="connsiteY3" fmla="*/ 1263 h 15590"/>
              <a:gd name="connsiteX4" fmla="*/ 9408 w 17824"/>
              <a:gd name="connsiteY4" fmla="*/ 1088 h 15590"/>
              <a:gd name="connsiteX5" fmla="*/ 5748 w 17824"/>
              <a:gd name="connsiteY5" fmla="*/ 0 h 15590"/>
              <a:gd name="connsiteX6" fmla="*/ 0 w 17824"/>
              <a:gd name="connsiteY6" fmla="*/ 4746 h 15590"/>
              <a:gd name="connsiteX7" fmla="*/ 5748 w 17824"/>
              <a:gd name="connsiteY7" fmla="*/ 9493 h 15590"/>
              <a:gd name="connsiteX8" fmla="*/ 9049 w 17824"/>
              <a:gd name="connsiteY8" fmla="*/ 8631 h 15590"/>
              <a:gd name="connsiteX9" fmla="*/ 8933 w 17824"/>
              <a:gd name="connsiteY9" fmla="*/ 8727 h 15590"/>
              <a:gd name="connsiteX10" fmla="*/ 10990 w 17824"/>
              <a:gd name="connsiteY10" fmla="*/ 10390 h 15590"/>
              <a:gd name="connsiteX11" fmla="*/ 10020 w 17824"/>
              <a:gd name="connsiteY11" fmla="*/ 12472 h 15590"/>
              <a:gd name="connsiteX12" fmla="*/ 13795 w 17824"/>
              <a:gd name="connsiteY12" fmla="*/ 15590 h 15590"/>
              <a:gd name="connsiteX13" fmla="*/ 17571 w 17824"/>
              <a:gd name="connsiteY13" fmla="*/ 12472 h 15590"/>
              <a:gd name="connsiteX14" fmla="*/ 13795 w 17824"/>
              <a:gd name="connsiteY14" fmla="*/ 9354 h 15590"/>
              <a:gd name="connsiteX15" fmla="*/ 11211 w 17824"/>
              <a:gd name="connsiteY15" fmla="*/ 10199 h 15590"/>
              <a:gd name="connsiteX16" fmla="*/ 9176 w 17824"/>
              <a:gd name="connsiteY16" fmla="*/ 8553 h 15590"/>
              <a:gd name="connsiteX17" fmla="*/ 11496 w 17824"/>
              <a:gd name="connsiteY17" fmla="*/ 4868 h 15590"/>
              <a:gd name="connsiteX18" fmla="*/ 14048 w 17824"/>
              <a:gd name="connsiteY18" fmla="*/ 4868 h 15590"/>
              <a:gd name="connsiteX19" fmla="*/ 17824 w 17824"/>
              <a:gd name="connsiteY19" fmla="*/ 7873 h 15590"/>
              <a:gd name="connsiteX20" fmla="*/ 9893 w 17824"/>
              <a:gd name="connsiteY20" fmla="*/ 7403 h 15590"/>
              <a:gd name="connsiteX21" fmla="*/ 8195 w 17824"/>
              <a:gd name="connsiteY21" fmla="*/ 7403 h 15590"/>
              <a:gd name="connsiteX22" fmla="*/ 7098 w 17824"/>
              <a:gd name="connsiteY22" fmla="*/ 4746 h 15590"/>
              <a:gd name="connsiteX23" fmla="*/ 8195 w 17824"/>
              <a:gd name="connsiteY23" fmla="*/ 2090 h 15590"/>
              <a:gd name="connsiteX24" fmla="*/ 9893 w 17824"/>
              <a:gd name="connsiteY24" fmla="*/ 2090 h 15590"/>
              <a:gd name="connsiteX25" fmla="*/ 10990 w 17824"/>
              <a:gd name="connsiteY25" fmla="*/ 4746 h 15590"/>
              <a:gd name="connsiteX26" fmla="*/ 9893 w 17824"/>
              <a:gd name="connsiteY26" fmla="*/ 7403 h 15590"/>
              <a:gd name="connsiteX0" fmla="*/ 14048 w 17571"/>
              <a:gd name="connsiteY0" fmla="*/ 4868 h 15590"/>
              <a:gd name="connsiteX1" fmla="*/ 14049 w 17571"/>
              <a:gd name="connsiteY1" fmla="*/ 4625 h 15590"/>
              <a:gd name="connsiteX2" fmla="*/ 11496 w 17571"/>
              <a:gd name="connsiteY2" fmla="*/ 4625 h 15590"/>
              <a:gd name="connsiteX3" fmla="*/ 9650 w 17571"/>
              <a:gd name="connsiteY3" fmla="*/ 1263 h 15590"/>
              <a:gd name="connsiteX4" fmla="*/ 9408 w 17571"/>
              <a:gd name="connsiteY4" fmla="*/ 1088 h 15590"/>
              <a:gd name="connsiteX5" fmla="*/ 5748 w 17571"/>
              <a:gd name="connsiteY5" fmla="*/ 0 h 15590"/>
              <a:gd name="connsiteX6" fmla="*/ 0 w 17571"/>
              <a:gd name="connsiteY6" fmla="*/ 4746 h 15590"/>
              <a:gd name="connsiteX7" fmla="*/ 5748 w 17571"/>
              <a:gd name="connsiteY7" fmla="*/ 9493 h 15590"/>
              <a:gd name="connsiteX8" fmla="*/ 9049 w 17571"/>
              <a:gd name="connsiteY8" fmla="*/ 8631 h 15590"/>
              <a:gd name="connsiteX9" fmla="*/ 8933 w 17571"/>
              <a:gd name="connsiteY9" fmla="*/ 8727 h 15590"/>
              <a:gd name="connsiteX10" fmla="*/ 10990 w 17571"/>
              <a:gd name="connsiteY10" fmla="*/ 10390 h 15590"/>
              <a:gd name="connsiteX11" fmla="*/ 10020 w 17571"/>
              <a:gd name="connsiteY11" fmla="*/ 12472 h 15590"/>
              <a:gd name="connsiteX12" fmla="*/ 13795 w 17571"/>
              <a:gd name="connsiteY12" fmla="*/ 15590 h 15590"/>
              <a:gd name="connsiteX13" fmla="*/ 17571 w 17571"/>
              <a:gd name="connsiteY13" fmla="*/ 12472 h 15590"/>
              <a:gd name="connsiteX14" fmla="*/ 13795 w 17571"/>
              <a:gd name="connsiteY14" fmla="*/ 9354 h 15590"/>
              <a:gd name="connsiteX15" fmla="*/ 11211 w 17571"/>
              <a:gd name="connsiteY15" fmla="*/ 10199 h 15590"/>
              <a:gd name="connsiteX16" fmla="*/ 9176 w 17571"/>
              <a:gd name="connsiteY16" fmla="*/ 8553 h 15590"/>
              <a:gd name="connsiteX17" fmla="*/ 11496 w 17571"/>
              <a:gd name="connsiteY17" fmla="*/ 4868 h 15590"/>
              <a:gd name="connsiteX18" fmla="*/ 14048 w 17571"/>
              <a:gd name="connsiteY18" fmla="*/ 4868 h 15590"/>
              <a:gd name="connsiteX19" fmla="*/ 9893 w 17571"/>
              <a:gd name="connsiteY19" fmla="*/ 7403 h 15590"/>
              <a:gd name="connsiteX20" fmla="*/ 8195 w 17571"/>
              <a:gd name="connsiteY20" fmla="*/ 7403 h 15590"/>
              <a:gd name="connsiteX21" fmla="*/ 7098 w 17571"/>
              <a:gd name="connsiteY21" fmla="*/ 4746 h 15590"/>
              <a:gd name="connsiteX22" fmla="*/ 8195 w 17571"/>
              <a:gd name="connsiteY22" fmla="*/ 2090 h 15590"/>
              <a:gd name="connsiteX23" fmla="*/ 9893 w 17571"/>
              <a:gd name="connsiteY23" fmla="*/ 2090 h 15590"/>
              <a:gd name="connsiteX24" fmla="*/ 10990 w 17571"/>
              <a:gd name="connsiteY24" fmla="*/ 4746 h 15590"/>
              <a:gd name="connsiteX25" fmla="*/ 9893 w 17571"/>
              <a:gd name="connsiteY25" fmla="*/ 7403 h 15590"/>
              <a:gd name="connsiteX0" fmla="*/ 11496 w 17571"/>
              <a:gd name="connsiteY0" fmla="*/ 4868 h 15590"/>
              <a:gd name="connsiteX1" fmla="*/ 14049 w 17571"/>
              <a:gd name="connsiteY1" fmla="*/ 4625 h 15590"/>
              <a:gd name="connsiteX2" fmla="*/ 11496 w 17571"/>
              <a:gd name="connsiteY2" fmla="*/ 4625 h 15590"/>
              <a:gd name="connsiteX3" fmla="*/ 9650 w 17571"/>
              <a:gd name="connsiteY3" fmla="*/ 1263 h 15590"/>
              <a:gd name="connsiteX4" fmla="*/ 9408 w 17571"/>
              <a:gd name="connsiteY4" fmla="*/ 1088 h 15590"/>
              <a:gd name="connsiteX5" fmla="*/ 5748 w 17571"/>
              <a:gd name="connsiteY5" fmla="*/ 0 h 15590"/>
              <a:gd name="connsiteX6" fmla="*/ 0 w 17571"/>
              <a:gd name="connsiteY6" fmla="*/ 4746 h 15590"/>
              <a:gd name="connsiteX7" fmla="*/ 5748 w 17571"/>
              <a:gd name="connsiteY7" fmla="*/ 9493 h 15590"/>
              <a:gd name="connsiteX8" fmla="*/ 9049 w 17571"/>
              <a:gd name="connsiteY8" fmla="*/ 8631 h 15590"/>
              <a:gd name="connsiteX9" fmla="*/ 8933 w 17571"/>
              <a:gd name="connsiteY9" fmla="*/ 8727 h 15590"/>
              <a:gd name="connsiteX10" fmla="*/ 10990 w 17571"/>
              <a:gd name="connsiteY10" fmla="*/ 10390 h 15590"/>
              <a:gd name="connsiteX11" fmla="*/ 10020 w 17571"/>
              <a:gd name="connsiteY11" fmla="*/ 12472 h 15590"/>
              <a:gd name="connsiteX12" fmla="*/ 13795 w 17571"/>
              <a:gd name="connsiteY12" fmla="*/ 15590 h 15590"/>
              <a:gd name="connsiteX13" fmla="*/ 17571 w 17571"/>
              <a:gd name="connsiteY13" fmla="*/ 12472 h 15590"/>
              <a:gd name="connsiteX14" fmla="*/ 13795 w 17571"/>
              <a:gd name="connsiteY14" fmla="*/ 9354 h 15590"/>
              <a:gd name="connsiteX15" fmla="*/ 11211 w 17571"/>
              <a:gd name="connsiteY15" fmla="*/ 10199 h 15590"/>
              <a:gd name="connsiteX16" fmla="*/ 9176 w 17571"/>
              <a:gd name="connsiteY16" fmla="*/ 8553 h 15590"/>
              <a:gd name="connsiteX17" fmla="*/ 11496 w 17571"/>
              <a:gd name="connsiteY17" fmla="*/ 4868 h 15590"/>
              <a:gd name="connsiteX18" fmla="*/ 9893 w 17571"/>
              <a:gd name="connsiteY18" fmla="*/ 7403 h 15590"/>
              <a:gd name="connsiteX19" fmla="*/ 8195 w 17571"/>
              <a:gd name="connsiteY19" fmla="*/ 7403 h 15590"/>
              <a:gd name="connsiteX20" fmla="*/ 7098 w 17571"/>
              <a:gd name="connsiteY20" fmla="*/ 4746 h 15590"/>
              <a:gd name="connsiteX21" fmla="*/ 8195 w 17571"/>
              <a:gd name="connsiteY21" fmla="*/ 2090 h 15590"/>
              <a:gd name="connsiteX22" fmla="*/ 9893 w 17571"/>
              <a:gd name="connsiteY22" fmla="*/ 2090 h 15590"/>
              <a:gd name="connsiteX23" fmla="*/ 10990 w 17571"/>
              <a:gd name="connsiteY23" fmla="*/ 4746 h 15590"/>
              <a:gd name="connsiteX24" fmla="*/ 9893 w 17571"/>
              <a:gd name="connsiteY24" fmla="*/ 7403 h 15590"/>
              <a:gd name="connsiteX0" fmla="*/ 11496 w 17571"/>
              <a:gd name="connsiteY0" fmla="*/ 4868 h 15590"/>
              <a:gd name="connsiteX1" fmla="*/ 11496 w 17571"/>
              <a:gd name="connsiteY1" fmla="*/ 4625 h 15590"/>
              <a:gd name="connsiteX2" fmla="*/ 9650 w 17571"/>
              <a:gd name="connsiteY2" fmla="*/ 1263 h 15590"/>
              <a:gd name="connsiteX3" fmla="*/ 9408 w 17571"/>
              <a:gd name="connsiteY3" fmla="*/ 1088 h 15590"/>
              <a:gd name="connsiteX4" fmla="*/ 5748 w 17571"/>
              <a:gd name="connsiteY4" fmla="*/ 0 h 15590"/>
              <a:gd name="connsiteX5" fmla="*/ 0 w 17571"/>
              <a:gd name="connsiteY5" fmla="*/ 4746 h 15590"/>
              <a:gd name="connsiteX6" fmla="*/ 5748 w 17571"/>
              <a:gd name="connsiteY6" fmla="*/ 9493 h 15590"/>
              <a:gd name="connsiteX7" fmla="*/ 9049 w 17571"/>
              <a:gd name="connsiteY7" fmla="*/ 8631 h 15590"/>
              <a:gd name="connsiteX8" fmla="*/ 8933 w 17571"/>
              <a:gd name="connsiteY8" fmla="*/ 8727 h 15590"/>
              <a:gd name="connsiteX9" fmla="*/ 10990 w 17571"/>
              <a:gd name="connsiteY9" fmla="*/ 10390 h 15590"/>
              <a:gd name="connsiteX10" fmla="*/ 10020 w 17571"/>
              <a:gd name="connsiteY10" fmla="*/ 12472 h 15590"/>
              <a:gd name="connsiteX11" fmla="*/ 13795 w 17571"/>
              <a:gd name="connsiteY11" fmla="*/ 15590 h 15590"/>
              <a:gd name="connsiteX12" fmla="*/ 17571 w 17571"/>
              <a:gd name="connsiteY12" fmla="*/ 12472 h 15590"/>
              <a:gd name="connsiteX13" fmla="*/ 13795 w 17571"/>
              <a:gd name="connsiteY13" fmla="*/ 9354 h 15590"/>
              <a:gd name="connsiteX14" fmla="*/ 11211 w 17571"/>
              <a:gd name="connsiteY14" fmla="*/ 10199 h 15590"/>
              <a:gd name="connsiteX15" fmla="*/ 9176 w 17571"/>
              <a:gd name="connsiteY15" fmla="*/ 8553 h 15590"/>
              <a:gd name="connsiteX16" fmla="*/ 11496 w 17571"/>
              <a:gd name="connsiteY16" fmla="*/ 4868 h 15590"/>
              <a:gd name="connsiteX17" fmla="*/ 9893 w 17571"/>
              <a:gd name="connsiteY17" fmla="*/ 7403 h 15590"/>
              <a:gd name="connsiteX18" fmla="*/ 8195 w 17571"/>
              <a:gd name="connsiteY18" fmla="*/ 7403 h 15590"/>
              <a:gd name="connsiteX19" fmla="*/ 7098 w 17571"/>
              <a:gd name="connsiteY19" fmla="*/ 4746 h 15590"/>
              <a:gd name="connsiteX20" fmla="*/ 8195 w 17571"/>
              <a:gd name="connsiteY20" fmla="*/ 2090 h 15590"/>
              <a:gd name="connsiteX21" fmla="*/ 9893 w 17571"/>
              <a:gd name="connsiteY21" fmla="*/ 2090 h 15590"/>
              <a:gd name="connsiteX22" fmla="*/ 10990 w 17571"/>
              <a:gd name="connsiteY22" fmla="*/ 4746 h 15590"/>
              <a:gd name="connsiteX23" fmla="*/ 9893 w 17571"/>
              <a:gd name="connsiteY23" fmla="*/ 7403 h 15590"/>
              <a:gd name="connsiteX0" fmla="*/ 11496 w 17627"/>
              <a:gd name="connsiteY0" fmla="*/ 4868 h 15590"/>
              <a:gd name="connsiteX1" fmla="*/ 11496 w 17627"/>
              <a:gd name="connsiteY1" fmla="*/ 4625 h 15590"/>
              <a:gd name="connsiteX2" fmla="*/ 9650 w 17627"/>
              <a:gd name="connsiteY2" fmla="*/ 1263 h 15590"/>
              <a:gd name="connsiteX3" fmla="*/ 9408 w 17627"/>
              <a:gd name="connsiteY3" fmla="*/ 1088 h 15590"/>
              <a:gd name="connsiteX4" fmla="*/ 5748 w 17627"/>
              <a:gd name="connsiteY4" fmla="*/ 0 h 15590"/>
              <a:gd name="connsiteX5" fmla="*/ 0 w 17627"/>
              <a:gd name="connsiteY5" fmla="*/ 4746 h 15590"/>
              <a:gd name="connsiteX6" fmla="*/ 5748 w 17627"/>
              <a:gd name="connsiteY6" fmla="*/ 9493 h 15590"/>
              <a:gd name="connsiteX7" fmla="*/ 9049 w 17627"/>
              <a:gd name="connsiteY7" fmla="*/ 8631 h 15590"/>
              <a:gd name="connsiteX8" fmla="*/ 8933 w 17627"/>
              <a:gd name="connsiteY8" fmla="*/ 8727 h 15590"/>
              <a:gd name="connsiteX9" fmla="*/ 10990 w 17627"/>
              <a:gd name="connsiteY9" fmla="*/ 10390 h 15590"/>
              <a:gd name="connsiteX10" fmla="*/ 10020 w 17627"/>
              <a:gd name="connsiteY10" fmla="*/ 12472 h 15590"/>
              <a:gd name="connsiteX11" fmla="*/ 13795 w 17627"/>
              <a:gd name="connsiteY11" fmla="*/ 15590 h 15590"/>
              <a:gd name="connsiteX12" fmla="*/ 17571 w 17627"/>
              <a:gd name="connsiteY12" fmla="*/ 12472 h 15590"/>
              <a:gd name="connsiteX13" fmla="*/ 11211 w 17627"/>
              <a:gd name="connsiteY13" fmla="*/ 10199 h 15590"/>
              <a:gd name="connsiteX14" fmla="*/ 9176 w 17627"/>
              <a:gd name="connsiteY14" fmla="*/ 8553 h 15590"/>
              <a:gd name="connsiteX15" fmla="*/ 11496 w 17627"/>
              <a:gd name="connsiteY15" fmla="*/ 4868 h 15590"/>
              <a:gd name="connsiteX16" fmla="*/ 9893 w 17627"/>
              <a:gd name="connsiteY16" fmla="*/ 7403 h 15590"/>
              <a:gd name="connsiteX17" fmla="*/ 8195 w 17627"/>
              <a:gd name="connsiteY17" fmla="*/ 7403 h 15590"/>
              <a:gd name="connsiteX18" fmla="*/ 7098 w 17627"/>
              <a:gd name="connsiteY18" fmla="*/ 4746 h 15590"/>
              <a:gd name="connsiteX19" fmla="*/ 8195 w 17627"/>
              <a:gd name="connsiteY19" fmla="*/ 2090 h 15590"/>
              <a:gd name="connsiteX20" fmla="*/ 9893 w 17627"/>
              <a:gd name="connsiteY20" fmla="*/ 2090 h 15590"/>
              <a:gd name="connsiteX21" fmla="*/ 10990 w 17627"/>
              <a:gd name="connsiteY21" fmla="*/ 4746 h 15590"/>
              <a:gd name="connsiteX22" fmla="*/ 9893 w 17627"/>
              <a:gd name="connsiteY22" fmla="*/ 7403 h 15590"/>
              <a:gd name="connsiteX0" fmla="*/ 11496 w 13808"/>
              <a:gd name="connsiteY0" fmla="*/ 4868 h 15641"/>
              <a:gd name="connsiteX1" fmla="*/ 11496 w 13808"/>
              <a:gd name="connsiteY1" fmla="*/ 4625 h 15641"/>
              <a:gd name="connsiteX2" fmla="*/ 9650 w 13808"/>
              <a:gd name="connsiteY2" fmla="*/ 1263 h 15641"/>
              <a:gd name="connsiteX3" fmla="*/ 9408 w 13808"/>
              <a:gd name="connsiteY3" fmla="*/ 1088 h 15641"/>
              <a:gd name="connsiteX4" fmla="*/ 5748 w 13808"/>
              <a:gd name="connsiteY4" fmla="*/ 0 h 15641"/>
              <a:gd name="connsiteX5" fmla="*/ 0 w 13808"/>
              <a:gd name="connsiteY5" fmla="*/ 4746 h 15641"/>
              <a:gd name="connsiteX6" fmla="*/ 5748 w 13808"/>
              <a:gd name="connsiteY6" fmla="*/ 9493 h 15641"/>
              <a:gd name="connsiteX7" fmla="*/ 9049 w 13808"/>
              <a:gd name="connsiteY7" fmla="*/ 8631 h 15641"/>
              <a:gd name="connsiteX8" fmla="*/ 8933 w 13808"/>
              <a:gd name="connsiteY8" fmla="*/ 8727 h 15641"/>
              <a:gd name="connsiteX9" fmla="*/ 10990 w 13808"/>
              <a:gd name="connsiteY9" fmla="*/ 10390 h 15641"/>
              <a:gd name="connsiteX10" fmla="*/ 10020 w 13808"/>
              <a:gd name="connsiteY10" fmla="*/ 12472 h 15641"/>
              <a:gd name="connsiteX11" fmla="*/ 13795 w 13808"/>
              <a:gd name="connsiteY11" fmla="*/ 15590 h 15641"/>
              <a:gd name="connsiteX12" fmla="*/ 11211 w 13808"/>
              <a:gd name="connsiteY12" fmla="*/ 10199 h 15641"/>
              <a:gd name="connsiteX13" fmla="*/ 9176 w 13808"/>
              <a:gd name="connsiteY13" fmla="*/ 8553 h 15641"/>
              <a:gd name="connsiteX14" fmla="*/ 11496 w 13808"/>
              <a:gd name="connsiteY14" fmla="*/ 4868 h 15641"/>
              <a:gd name="connsiteX15" fmla="*/ 9893 w 13808"/>
              <a:gd name="connsiteY15" fmla="*/ 7403 h 15641"/>
              <a:gd name="connsiteX16" fmla="*/ 8195 w 13808"/>
              <a:gd name="connsiteY16" fmla="*/ 7403 h 15641"/>
              <a:gd name="connsiteX17" fmla="*/ 7098 w 13808"/>
              <a:gd name="connsiteY17" fmla="*/ 4746 h 15641"/>
              <a:gd name="connsiteX18" fmla="*/ 8195 w 13808"/>
              <a:gd name="connsiteY18" fmla="*/ 2090 h 15641"/>
              <a:gd name="connsiteX19" fmla="*/ 9893 w 13808"/>
              <a:gd name="connsiteY19" fmla="*/ 2090 h 15641"/>
              <a:gd name="connsiteX20" fmla="*/ 10990 w 13808"/>
              <a:gd name="connsiteY20" fmla="*/ 4746 h 15641"/>
              <a:gd name="connsiteX21" fmla="*/ 9893 w 13808"/>
              <a:gd name="connsiteY21" fmla="*/ 7403 h 15641"/>
              <a:gd name="connsiteX0" fmla="*/ 11496 w 11496"/>
              <a:gd name="connsiteY0" fmla="*/ 4868 h 12472"/>
              <a:gd name="connsiteX1" fmla="*/ 11496 w 11496"/>
              <a:gd name="connsiteY1" fmla="*/ 4625 h 12472"/>
              <a:gd name="connsiteX2" fmla="*/ 9650 w 11496"/>
              <a:gd name="connsiteY2" fmla="*/ 1263 h 12472"/>
              <a:gd name="connsiteX3" fmla="*/ 9408 w 11496"/>
              <a:gd name="connsiteY3" fmla="*/ 1088 h 12472"/>
              <a:gd name="connsiteX4" fmla="*/ 5748 w 11496"/>
              <a:gd name="connsiteY4" fmla="*/ 0 h 12472"/>
              <a:gd name="connsiteX5" fmla="*/ 0 w 11496"/>
              <a:gd name="connsiteY5" fmla="*/ 4746 h 12472"/>
              <a:gd name="connsiteX6" fmla="*/ 5748 w 11496"/>
              <a:gd name="connsiteY6" fmla="*/ 9493 h 12472"/>
              <a:gd name="connsiteX7" fmla="*/ 9049 w 11496"/>
              <a:gd name="connsiteY7" fmla="*/ 8631 h 12472"/>
              <a:gd name="connsiteX8" fmla="*/ 8933 w 11496"/>
              <a:gd name="connsiteY8" fmla="*/ 8727 h 12472"/>
              <a:gd name="connsiteX9" fmla="*/ 10990 w 11496"/>
              <a:gd name="connsiteY9" fmla="*/ 10390 h 12472"/>
              <a:gd name="connsiteX10" fmla="*/ 10020 w 11496"/>
              <a:gd name="connsiteY10" fmla="*/ 12472 h 12472"/>
              <a:gd name="connsiteX11" fmla="*/ 11211 w 11496"/>
              <a:gd name="connsiteY11" fmla="*/ 10199 h 12472"/>
              <a:gd name="connsiteX12" fmla="*/ 9176 w 11496"/>
              <a:gd name="connsiteY12" fmla="*/ 8553 h 12472"/>
              <a:gd name="connsiteX13" fmla="*/ 11496 w 11496"/>
              <a:gd name="connsiteY13" fmla="*/ 4868 h 12472"/>
              <a:gd name="connsiteX14" fmla="*/ 9893 w 11496"/>
              <a:gd name="connsiteY14" fmla="*/ 7403 h 12472"/>
              <a:gd name="connsiteX15" fmla="*/ 8195 w 11496"/>
              <a:gd name="connsiteY15" fmla="*/ 7403 h 12472"/>
              <a:gd name="connsiteX16" fmla="*/ 7098 w 11496"/>
              <a:gd name="connsiteY16" fmla="*/ 4746 h 12472"/>
              <a:gd name="connsiteX17" fmla="*/ 8195 w 11496"/>
              <a:gd name="connsiteY17" fmla="*/ 2090 h 12472"/>
              <a:gd name="connsiteX18" fmla="*/ 9893 w 11496"/>
              <a:gd name="connsiteY18" fmla="*/ 2090 h 12472"/>
              <a:gd name="connsiteX19" fmla="*/ 10990 w 11496"/>
              <a:gd name="connsiteY19" fmla="*/ 4746 h 12472"/>
              <a:gd name="connsiteX20" fmla="*/ 9893 w 11496"/>
              <a:gd name="connsiteY20" fmla="*/ 7403 h 12472"/>
              <a:gd name="connsiteX0" fmla="*/ 11496 w 11496"/>
              <a:gd name="connsiteY0" fmla="*/ 4868 h 10518"/>
              <a:gd name="connsiteX1" fmla="*/ 11496 w 11496"/>
              <a:gd name="connsiteY1" fmla="*/ 4625 h 10518"/>
              <a:gd name="connsiteX2" fmla="*/ 9650 w 11496"/>
              <a:gd name="connsiteY2" fmla="*/ 1263 h 10518"/>
              <a:gd name="connsiteX3" fmla="*/ 9408 w 11496"/>
              <a:gd name="connsiteY3" fmla="*/ 1088 h 10518"/>
              <a:gd name="connsiteX4" fmla="*/ 5748 w 11496"/>
              <a:gd name="connsiteY4" fmla="*/ 0 h 10518"/>
              <a:gd name="connsiteX5" fmla="*/ 0 w 11496"/>
              <a:gd name="connsiteY5" fmla="*/ 4746 h 10518"/>
              <a:gd name="connsiteX6" fmla="*/ 5748 w 11496"/>
              <a:gd name="connsiteY6" fmla="*/ 9493 h 10518"/>
              <a:gd name="connsiteX7" fmla="*/ 9049 w 11496"/>
              <a:gd name="connsiteY7" fmla="*/ 8631 h 10518"/>
              <a:gd name="connsiteX8" fmla="*/ 8933 w 11496"/>
              <a:gd name="connsiteY8" fmla="*/ 8727 h 10518"/>
              <a:gd name="connsiteX9" fmla="*/ 10990 w 11496"/>
              <a:gd name="connsiteY9" fmla="*/ 10390 h 10518"/>
              <a:gd name="connsiteX10" fmla="*/ 11211 w 11496"/>
              <a:gd name="connsiteY10" fmla="*/ 10199 h 10518"/>
              <a:gd name="connsiteX11" fmla="*/ 9176 w 11496"/>
              <a:gd name="connsiteY11" fmla="*/ 8553 h 10518"/>
              <a:gd name="connsiteX12" fmla="*/ 11496 w 11496"/>
              <a:gd name="connsiteY12" fmla="*/ 4868 h 10518"/>
              <a:gd name="connsiteX13" fmla="*/ 9893 w 11496"/>
              <a:gd name="connsiteY13" fmla="*/ 7403 h 10518"/>
              <a:gd name="connsiteX14" fmla="*/ 8195 w 11496"/>
              <a:gd name="connsiteY14" fmla="*/ 7403 h 10518"/>
              <a:gd name="connsiteX15" fmla="*/ 7098 w 11496"/>
              <a:gd name="connsiteY15" fmla="*/ 4746 h 10518"/>
              <a:gd name="connsiteX16" fmla="*/ 8195 w 11496"/>
              <a:gd name="connsiteY16" fmla="*/ 2090 h 10518"/>
              <a:gd name="connsiteX17" fmla="*/ 9893 w 11496"/>
              <a:gd name="connsiteY17" fmla="*/ 2090 h 10518"/>
              <a:gd name="connsiteX18" fmla="*/ 10990 w 11496"/>
              <a:gd name="connsiteY18" fmla="*/ 4746 h 10518"/>
              <a:gd name="connsiteX19" fmla="*/ 9893 w 11496"/>
              <a:gd name="connsiteY19" fmla="*/ 7403 h 10518"/>
              <a:gd name="connsiteX0" fmla="*/ 11496 w 11496"/>
              <a:gd name="connsiteY0" fmla="*/ 4868 h 10390"/>
              <a:gd name="connsiteX1" fmla="*/ 11496 w 11496"/>
              <a:gd name="connsiteY1" fmla="*/ 4625 h 10390"/>
              <a:gd name="connsiteX2" fmla="*/ 9650 w 11496"/>
              <a:gd name="connsiteY2" fmla="*/ 1263 h 10390"/>
              <a:gd name="connsiteX3" fmla="*/ 9408 w 11496"/>
              <a:gd name="connsiteY3" fmla="*/ 1088 h 10390"/>
              <a:gd name="connsiteX4" fmla="*/ 5748 w 11496"/>
              <a:gd name="connsiteY4" fmla="*/ 0 h 10390"/>
              <a:gd name="connsiteX5" fmla="*/ 0 w 11496"/>
              <a:gd name="connsiteY5" fmla="*/ 4746 h 10390"/>
              <a:gd name="connsiteX6" fmla="*/ 5748 w 11496"/>
              <a:gd name="connsiteY6" fmla="*/ 9493 h 10390"/>
              <a:gd name="connsiteX7" fmla="*/ 9049 w 11496"/>
              <a:gd name="connsiteY7" fmla="*/ 8631 h 10390"/>
              <a:gd name="connsiteX8" fmla="*/ 8933 w 11496"/>
              <a:gd name="connsiteY8" fmla="*/ 8727 h 10390"/>
              <a:gd name="connsiteX9" fmla="*/ 10990 w 11496"/>
              <a:gd name="connsiteY9" fmla="*/ 10390 h 10390"/>
              <a:gd name="connsiteX10" fmla="*/ 9176 w 11496"/>
              <a:gd name="connsiteY10" fmla="*/ 8553 h 10390"/>
              <a:gd name="connsiteX11" fmla="*/ 11496 w 11496"/>
              <a:gd name="connsiteY11" fmla="*/ 4868 h 10390"/>
              <a:gd name="connsiteX12" fmla="*/ 9893 w 11496"/>
              <a:gd name="connsiteY12" fmla="*/ 7403 h 10390"/>
              <a:gd name="connsiteX13" fmla="*/ 8195 w 11496"/>
              <a:gd name="connsiteY13" fmla="*/ 7403 h 10390"/>
              <a:gd name="connsiteX14" fmla="*/ 7098 w 11496"/>
              <a:gd name="connsiteY14" fmla="*/ 4746 h 10390"/>
              <a:gd name="connsiteX15" fmla="*/ 8195 w 11496"/>
              <a:gd name="connsiteY15" fmla="*/ 2090 h 10390"/>
              <a:gd name="connsiteX16" fmla="*/ 9893 w 11496"/>
              <a:gd name="connsiteY16" fmla="*/ 2090 h 10390"/>
              <a:gd name="connsiteX17" fmla="*/ 10990 w 11496"/>
              <a:gd name="connsiteY17" fmla="*/ 4746 h 10390"/>
              <a:gd name="connsiteX18" fmla="*/ 9893 w 11496"/>
              <a:gd name="connsiteY18" fmla="*/ 7403 h 10390"/>
              <a:gd name="connsiteX0" fmla="*/ 11496 w 11496"/>
              <a:gd name="connsiteY0" fmla="*/ 4868 h 9493"/>
              <a:gd name="connsiteX1" fmla="*/ 11496 w 11496"/>
              <a:gd name="connsiteY1" fmla="*/ 4625 h 9493"/>
              <a:gd name="connsiteX2" fmla="*/ 9650 w 11496"/>
              <a:gd name="connsiteY2" fmla="*/ 1263 h 9493"/>
              <a:gd name="connsiteX3" fmla="*/ 9408 w 11496"/>
              <a:gd name="connsiteY3" fmla="*/ 1088 h 9493"/>
              <a:gd name="connsiteX4" fmla="*/ 5748 w 11496"/>
              <a:gd name="connsiteY4" fmla="*/ 0 h 9493"/>
              <a:gd name="connsiteX5" fmla="*/ 0 w 11496"/>
              <a:gd name="connsiteY5" fmla="*/ 4746 h 9493"/>
              <a:gd name="connsiteX6" fmla="*/ 5748 w 11496"/>
              <a:gd name="connsiteY6" fmla="*/ 9493 h 9493"/>
              <a:gd name="connsiteX7" fmla="*/ 9049 w 11496"/>
              <a:gd name="connsiteY7" fmla="*/ 8631 h 9493"/>
              <a:gd name="connsiteX8" fmla="*/ 8933 w 11496"/>
              <a:gd name="connsiteY8" fmla="*/ 8727 h 9493"/>
              <a:gd name="connsiteX9" fmla="*/ 9176 w 11496"/>
              <a:gd name="connsiteY9" fmla="*/ 8553 h 9493"/>
              <a:gd name="connsiteX10" fmla="*/ 11496 w 11496"/>
              <a:gd name="connsiteY10" fmla="*/ 4868 h 9493"/>
              <a:gd name="connsiteX11" fmla="*/ 9893 w 11496"/>
              <a:gd name="connsiteY11" fmla="*/ 7403 h 9493"/>
              <a:gd name="connsiteX12" fmla="*/ 8195 w 11496"/>
              <a:gd name="connsiteY12" fmla="*/ 7403 h 9493"/>
              <a:gd name="connsiteX13" fmla="*/ 7098 w 11496"/>
              <a:gd name="connsiteY13" fmla="*/ 4746 h 9493"/>
              <a:gd name="connsiteX14" fmla="*/ 8195 w 11496"/>
              <a:gd name="connsiteY14" fmla="*/ 2090 h 9493"/>
              <a:gd name="connsiteX15" fmla="*/ 9893 w 11496"/>
              <a:gd name="connsiteY15" fmla="*/ 2090 h 9493"/>
              <a:gd name="connsiteX16" fmla="*/ 10990 w 11496"/>
              <a:gd name="connsiteY16" fmla="*/ 4746 h 9493"/>
              <a:gd name="connsiteX17" fmla="*/ 9893 w 11496"/>
              <a:gd name="connsiteY17" fmla="*/ 7403 h 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96" h="9493" extrusionOk="0">
                <a:moveTo>
                  <a:pt x="11496" y="4868"/>
                </a:moveTo>
                <a:lnTo>
                  <a:pt x="11496" y="4625"/>
                </a:lnTo>
                <a:cubicBezTo>
                  <a:pt x="11454" y="3292"/>
                  <a:pt x="10747" y="2099"/>
                  <a:pt x="9650" y="1263"/>
                </a:cubicBezTo>
                <a:lnTo>
                  <a:pt x="9408" y="1088"/>
                </a:lnTo>
                <a:cubicBezTo>
                  <a:pt x="8416" y="409"/>
                  <a:pt x="7140" y="0"/>
                  <a:pt x="5748" y="0"/>
                </a:cubicBezTo>
                <a:cubicBezTo>
                  <a:pt x="2573" y="0"/>
                  <a:pt x="0" y="2125"/>
                  <a:pt x="0" y="4746"/>
                </a:cubicBezTo>
                <a:cubicBezTo>
                  <a:pt x="0" y="7368"/>
                  <a:pt x="2573" y="9493"/>
                  <a:pt x="5748" y="9493"/>
                </a:cubicBezTo>
                <a:cubicBezTo>
                  <a:pt x="6982" y="9493"/>
                  <a:pt x="8121" y="9171"/>
                  <a:pt x="9049" y="8631"/>
                </a:cubicBezTo>
                <a:lnTo>
                  <a:pt x="8933" y="8727"/>
                </a:lnTo>
                <a:lnTo>
                  <a:pt x="9176" y="8553"/>
                </a:lnTo>
                <a:cubicBezTo>
                  <a:pt x="10547" y="7708"/>
                  <a:pt x="11443" y="6375"/>
                  <a:pt x="11496" y="4868"/>
                </a:cubicBezTo>
                <a:close/>
                <a:moveTo>
                  <a:pt x="9893" y="7403"/>
                </a:moveTo>
                <a:cubicBezTo>
                  <a:pt x="9461" y="7856"/>
                  <a:pt x="8627" y="7856"/>
                  <a:pt x="8195" y="7403"/>
                </a:cubicBezTo>
                <a:cubicBezTo>
                  <a:pt x="7509" y="6671"/>
                  <a:pt x="7098" y="5748"/>
                  <a:pt x="7098" y="4746"/>
                </a:cubicBezTo>
                <a:cubicBezTo>
                  <a:pt x="7098" y="3745"/>
                  <a:pt x="7509" y="2822"/>
                  <a:pt x="8195" y="2090"/>
                </a:cubicBezTo>
                <a:cubicBezTo>
                  <a:pt x="8627" y="1637"/>
                  <a:pt x="9461" y="1637"/>
                  <a:pt x="9893" y="2090"/>
                </a:cubicBezTo>
                <a:cubicBezTo>
                  <a:pt x="10579" y="2822"/>
                  <a:pt x="10990" y="3745"/>
                  <a:pt x="10990" y="4746"/>
                </a:cubicBezTo>
                <a:cubicBezTo>
                  <a:pt x="10990" y="5748"/>
                  <a:pt x="10579" y="6671"/>
                  <a:pt x="9893" y="7403"/>
                </a:cubicBezTo>
                <a:close/>
              </a:path>
            </a:pathLst>
          </a:custGeom>
          <a:solidFill>
            <a:srgbClr val="4CC1EF"/>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153" name="Shape">
            <a:extLst>
              <a:ext uri="{FF2B5EF4-FFF2-40B4-BE49-F238E27FC236}">
                <a16:creationId xmlns:a16="http://schemas.microsoft.com/office/drawing/2014/main" id="{18BA5242-948A-E0A0-32F5-173BF8D26563}"/>
              </a:ext>
            </a:extLst>
          </p:cNvPr>
          <p:cNvSpPr/>
          <p:nvPr/>
        </p:nvSpPr>
        <p:spPr>
          <a:xfrm>
            <a:off x="4328408" y="1625636"/>
            <a:ext cx="977151" cy="977223"/>
          </a:xfrm>
          <a:custGeom>
            <a:avLst/>
            <a:gdLst>
              <a:gd name="connsiteX0" fmla="*/ 18935 w 21600"/>
              <a:gd name="connsiteY0" fmla="*/ 10691 h 21600"/>
              <a:gd name="connsiteX1" fmla="*/ 16263 w 21600"/>
              <a:gd name="connsiteY1" fmla="*/ 14835 h 21600"/>
              <a:gd name="connsiteX2" fmla="*/ 14375 w 21600"/>
              <a:gd name="connsiteY2" fmla="*/ 14835 h 21600"/>
              <a:gd name="connsiteX3" fmla="*/ 12733 w 21600"/>
              <a:gd name="connsiteY3" fmla="*/ 9725 h 21600"/>
              <a:gd name="connsiteX4" fmla="*/ 14226 w 21600"/>
              <a:gd name="connsiteY4" fmla="*/ 7430 h 21600"/>
              <a:gd name="connsiteX5" fmla="*/ 16084 w 21600"/>
              <a:gd name="connsiteY5" fmla="*/ 8650 h 21600"/>
              <a:gd name="connsiteX6" fmla="*/ 18756 w 21600"/>
              <a:gd name="connsiteY6" fmla="*/ 4325 h 21600"/>
              <a:gd name="connsiteX7" fmla="*/ 16084 w 21600"/>
              <a:gd name="connsiteY7" fmla="*/ 0 h 21600"/>
              <a:gd name="connsiteX8" fmla="*/ 13412 w 21600"/>
              <a:gd name="connsiteY8" fmla="*/ 4325 h 21600"/>
              <a:gd name="connsiteX9" fmla="*/ 14077 w 21600"/>
              <a:gd name="connsiteY9" fmla="*/ 7176 h 21600"/>
              <a:gd name="connsiteX10" fmla="*/ 12569 w 21600"/>
              <a:gd name="connsiteY10" fmla="*/ 9495 h 21600"/>
              <a:gd name="connsiteX11" fmla="*/ 12651 w 21600"/>
              <a:gd name="connsiteY11" fmla="*/ 9628 h 21600"/>
              <a:gd name="connsiteX12" fmla="*/ 10315 w 21600"/>
              <a:gd name="connsiteY12" fmla="*/ 8432 h 21600"/>
              <a:gd name="connsiteX13" fmla="*/ 6732 w 21600"/>
              <a:gd name="connsiteY13" fmla="*/ 11887 h 21600"/>
              <a:gd name="connsiteX14" fmla="*/ 5105 w 21600"/>
              <a:gd name="connsiteY14" fmla="*/ 10425 h 21600"/>
              <a:gd name="connsiteX15" fmla="*/ 5344 w 21600"/>
              <a:gd name="connsiteY15" fmla="*/ 8638 h 21600"/>
              <a:gd name="connsiteX16" fmla="*/ 2672 w 21600"/>
              <a:gd name="connsiteY16" fmla="*/ 4313 h 21600"/>
              <a:gd name="connsiteX17" fmla="*/ 0 w 21600"/>
              <a:gd name="connsiteY17" fmla="*/ 8638 h 21600"/>
              <a:gd name="connsiteX18" fmla="*/ 2672 w 21600"/>
              <a:gd name="connsiteY18" fmla="*/ 12962 h 21600"/>
              <a:gd name="connsiteX19" fmla="*/ 6628 w 21600"/>
              <a:gd name="connsiteY19" fmla="*/ 12213 h 21600"/>
              <a:gd name="connsiteX20" fmla="*/ 6240 w 21600"/>
              <a:gd name="connsiteY20" fmla="*/ 15016 h 21600"/>
              <a:gd name="connsiteX21" fmla="*/ 10307 w 21600"/>
              <a:gd name="connsiteY21" fmla="*/ 21600 h 21600"/>
              <a:gd name="connsiteX22" fmla="*/ 14375 w 21600"/>
              <a:gd name="connsiteY22" fmla="*/ 15197 h 21600"/>
              <a:gd name="connsiteX23" fmla="*/ 16256 w 21600"/>
              <a:gd name="connsiteY23" fmla="*/ 15197 h 21600"/>
              <a:gd name="connsiteX24" fmla="*/ 18928 w 21600"/>
              <a:gd name="connsiteY24" fmla="*/ 19341 h 21600"/>
              <a:gd name="connsiteX25" fmla="*/ 21600 w 21600"/>
              <a:gd name="connsiteY25" fmla="*/ 15016 h 21600"/>
              <a:gd name="connsiteX26" fmla="*/ 18935 w 21600"/>
              <a:gd name="connsiteY26" fmla="*/ 10691 h 21600"/>
              <a:gd name="connsiteX27" fmla="*/ 13241 w 21600"/>
              <a:gd name="connsiteY27" fmla="*/ 18701 h 21600"/>
              <a:gd name="connsiteX28" fmla="*/ 12039 w 21600"/>
              <a:gd name="connsiteY28" fmla="*/ 18701 h 21600"/>
              <a:gd name="connsiteX29" fmla="*/ 11263 w 21600"/>
              <a:gd name="connsiteY29" fmla="*/ 15016 h 21600"/>
              <a:gd name="connsiteX30" fmla="*/ 12039 w 21600"/>
              <a:gd name="connsiteY30" fmla="*/ 11332 h 21600"/>
              <a:gd name="connsiteX31" fmla="*/ 13241 w 21600"/>
              <a:gd name="connsiteY31" fmla="*/ 11332 h 21600"/>
              <a:gd name="connsiteX32" fmla="*/ 14017 w 21600"/>
              <a:gd name="connsiteY32" fmla="*/ 15016 h 21600"/>
              <a:gd name="connsiteX33" fmla="*/ 13241 w 21600"/>
              <a:gd name="connsiteY33" fmla="*/ 18701 h 21600"/>
              <a:gd name="connsiteX0" fmla="*/ 18935 w 21600"/>
              <a:gd name="connsiteY0" fmla="*/ 10691 h 21600"/>
              <a:gd name="connsiteX1" fmla="*/ 16263 w 21600"/>
              <a:gd name="connsiteY1" fmla="*/ 14835 h 21600"/>
              <a:gd name="connsiteX2" fmla="*/ 14375 w 21600"/>
              <a:gd name="connsiteY2" fmla="*/ 14835 h 21600"/>
              <a:gd name="connsiteX3" fmla="*/ 12733 w 21600"/>
              <a:gd name="connsiteY3" fmla="*/ 9725 h 21600"/>
              <a:gd name="connsiteX4" fmla="*/ 14226 w 21600"/>
              <a:gd name="connsiteY4" fmla="*/ 7430 h 21600"/>
              <a:gd name="connsiteX5" fmla="*/ 16084 w 21600"/>
              <a:gd name="connsiteY5" fmla="*/ 8650 h 21600"/>
              <a:gd name="connsiteX6" fmla="*/ 18756 w 21600"/>
              <a:gd name="connsiteY6" fmla="*/ 4325 h 21600"/>
              <a:gd name="connsiteX7" fmla="*/ 16084 w 21600"/>
              <a:gd name="connsiteY7" fmla="*/ 0 h 21600"/>
              <a:gd name="connsiteX8" fmla="*/ 13412 w 21600"/>
              <a:gd name="connsiteY8" fmla="*/ 4325 h 21600"/>
              <a:gd name="connsiteX9" fmla="*/ 14077 w 21600"/>
              <a:gd name="connsiteY9" fmla="*/ 7176 h 21600"/>
              <a:gd name="connsiteX10" fmla="*/ 12569 w 21600"/>
              <a:gd name="connsiteY10" fmla="*/ 9495 h 21600"/>
              <a:gd name="connsiteX11" fmla="*/ 12651 w 21600"/>
              <a:gd name="connsiteY11" fmla="*/ 9628 h 21600"/>
              <a:gd name="connsiteX12" fmla="*/ 10315 w 21600"/>
              <a:gd name="connsiteY12" fmla="*/ 8432 h 21600"/>
              <a:gd name="connsiteX13" fmla="*/ 6732 w 21600"/>
              <a:gd name="connsiteY13" fmla="*/ 11887 h 21600"/>
              <a:gd name="connsiteX14" fmla="*/ 5344 w 21600"/>
              <a:gd name="connsiteY14" fmla="*/ 8638 h 21600"/>
              <a:gd name="connsiteX15" fmla="*/ 2672 w 21600"/>
              <a:gd name="connsiteY15" fmla="*/ 4313 h 21600"/>
              <a:gd name="connsiteX16" fmla="*/ 0 w 21600"/>
              <a:gd name="connsiteY16" fmla="*/ 8638 h 21600"/>
              <a:gd name="connsiteX17" fmla="*/ 2672 w 21600"/>
              <a:gd name="connsiteY17" fmla="*/ 12962 h 21600"/>
              <a:gd name="connsiteX18" fmla="*/ 6628 w 21600"/>
              <a:gd name="connsiteY18" fmla="*/ 12213 h 21600"/>
              <a:gd name="connsiteX19" fmla="*/ 6240 w 21600"/>
              <a:gd name="connsiteY19" fmla="*/ 15016 h 21600"/>
              <a:gd name="connsiteX20" fmla="*/ 10307 w 21600"/>
              <a:gd name="connsiteY20" fmla="*/ 21600 h 21600"/>
              <a:gd name="connsiteX21" fmla="*/ 14375 w 21600"/>
              <a:gd name="connsiteY21" fmla="*/ 15197 h 21600"/>
              <a:gd name="connsiteX22" fmla="*/ 16256 w 21600"/>
              <a:gd name="connsiteY22" fmla="*/ 15197 h 21600"/>
              <a:gd name="connsiteX23" fmla="*/ 18928 w 21600"/>
              <a:gd name="connsiteY23" fmla="*/ 19341 h 21600"/>
              <a:gd name="connsiteX24" fmla="*/ 21600 w 21600"/>
              <a:gd name="connsiteY24" fmla="*/ 15016 h 21600"/>
              <a:gd name="connsiteX25" fmla="*/ 18935 w 21600"/>
              <a:gd name="connsiteY25" fmla="*/ 10691 h 21600"/>
              <a:gd name="connsiteX26" fmla="*/ 13241 w 21600"/>
              <a:gd name="connsiteY26" fmla="*/ 18701 h 21600"/>
              <a:gd name="connsiteX27" fmla="*/ 12039 w 21600"/>
              <a:gd name="connsiteY27" fmla="*/ 18701 h 21600"/>
              <a:gd name="connsiteX28" fmla="*/ 11263 w 21600"/>
              <a:gd name="connsiteY28" fmla="*/ 15016 h 21600"/>
              <a:gd name="connsiteX29" fmla="*/ 12039 w 21600"/>
              <a:gd name="connsiteY29" fmla="*/ 11332 h 21600"/>
              <a:gd name="connsiteX30" fmla="*/ 13241 w 21600"/>
              <a:gd name="connsiteY30" fmla="*/ 11332 h 21600"/>
              <a:gd name="connsiteX31" fmla="*/ 14017 w 21600"/>
              <a:gd name="connsiteY31" fmla="*/ 15016 h 21600"/>
              <a:gd name="connsiteX32" fmla="*/ 13241 w 21600"/>
              <a:gd name="connsiteY32" fmla="*/ 18701 h 21600"/>
              <a:gd name="connsiteX0" fmla="*/ 18935 w 21600"/>
              <a:gd name="connsiteY0" fmla="*/ 10691 h 21600"/>
              <a:gd name="connsiteX1" fmla="*/ 16263 w 21600"/>
              <a:gd name="connsiteY1" fmla="*/ 14835 h 21600"/>
              <a:gd name="connsiteX2" fmla="*/ 14375 w 21600"/>
              <a:gd name="connsiteY2" fmla="*/ 14835 h 21600"/>
              <a:gd name="connsiteX3" fmla="*/ 12733 w 21600"/>
              <a:gd name="connsiteY3" fmla="*/ 9725 h 21600"/>
              <a:gd name="connsiteX4" fmla="*/ 14226 w 21600"/>
              <a:gd name="connsiteY4" fmla="*/ 7430 h 21600"/>
              <a:gd name="connsiteX5" fmla="*/ 16084 w 21600"/>
              <a:gd name="connsiteY5" fmla="*/ 8650 h 21600"/>
              <a:gd name="connsiteX6" fmla="*/ 18756 w 21600"/>
              <a:gd name="connsiteY6" fmla="*/ 4325 h 21600"/>
              <a:gd name="connsiteX7" fmla="*/ 16084 w 21600"/>
              <a:gd name="connsiteY7" fmla="*/ 0 h 21600"/>
              <a:gd name="connsiteX8" fmla="*/ 13412 w 21600"/>
              <a:gd name="connsiteY8" fmla="*/ 4325 h 21600"/>
              <a:gd name="connsiteX9" fmla="*/ 14077 w 21600"/>
              <a:gd name="connsiteY9" fmla="*/ 7176 h 21600"/>
              <a:gd name="connsiteX10" fmla="*/ 12569 w 21600"/>
              <a:gd name="connsiteY10" fmla="*/ 9495 h 21600"/>
              <a:gd name="connsiteX11" fmla="*/ 12651 w 21600"/>
              <a:gd name="connsiteY11" fmla="*/ 9628 h 21600"/>
              <a:gd name="connsiteX12" fmla="*/ 10315 w 21600"/>
              <a:gd name="connsiteY12" fmla="*/ 8432 h 21600"/>
              <a:gd name="connsiteX13" fmla="*/ 6732 w 21600"/>
              <a:gd name="connsiteY13" fmla="*/ 11887 h 21600"/>
              <a:gd name="connsiteX14" fmla="*/ 2672 w 21600"/>
              <a:gd name="connsiteY14" fmla="*/ 4313 h 21600"/>
              <a:gd name="connsiteX15" fmla="*/ 0 w 21600"/>
              <a:gd name="connsiteY15" fmla="*/ 8638 h 21600"/>
              <a:gd name="connsiteX16" fmla="*/ 2672 w 21600"/>
              <a:gd name="connsiteY16" fmla="*/ 12962 h 21600"/>
              <a:gd name="connsiteX17" fmla="*/ 6628 w 21600"/>
              <a:gd name="connsiteY17" fmla="*/ 12213 h 21600"/>
              <a:gd name="connsiteX18" fmla="*/ 6240 w 21600"/>
              <a:gd name="connsiteY18" fmla="*/ 15016 h 21600"/>
              <a:gd name="connsiteX19" fmla="*/ 10307 w 21600"/>
              <a:gd name="connsiteY19" fmla="*/ 21600 h 21600"/>
              <a:gd name="connsiteX20" fmla="*/ 14375 w 21600"/>
              <a:gd name="connsiteY20" fmla="*/ 15197 h 21600"/>
              <a:gd name="connsiteX21" fmla="*/ 16256 w 21600"/>
              <a:gd name="connsiteY21" fmla="*/ 15197 h 21600"/>
              <a:gd name="connsiteX22" fmla="*/ 18928 w 21600"/>
              <a:gd name="connsiteY22" fmla="*/ 19341 h 21600"/>
              <a:gd name="connsiteX23" fmla="*/ 21600 w 21600"/>
              <a:gd name="connsiteY23" fmla="*/ 15016 h 21600"/>
              <a:gd name="connsiteX24" fmla="*/ 18935 w 21600"/>
              <a:gd name="connsiteY24" fmla="*/ 10691 h 21600"/>
              <a:gd name="connsiteX25" fmla="*/ 13241 w 21600"/>
              <a:gd name="connsiteY25" fmla="*/ 18701 h 21600"/>
              <a:gd name="connsiteX26" fmla="*/ 12039 w 21600"/>
              <a:gd name="connsiteY26" fmla="*/ 18701 h 21600"/>
              <a:gd name="connsiteX27" fmla="*/ 11263 w 21600"/>
              <a:gd name="connsiteY27" fmla="*/ 15016 h 21600"/>
              <a:gd name="connsiteX28" fmla="*/ 12039 w 21600"/>
              <a:gd name="connsiteY28" fmla="*/ 11332 h 21600"/>
              <a:gd name="connsiteX29" fmla="*/ 13241 w 21600"/>
              <a:gd name="connsiteY29" fmla="*/ 11332 h 21600"/>
              <a:gd name="connsiteX30" fmla="*/ 14017 w 21600"/>
              <a:gd name="connsiteY30" fmla="*/ 15016 h 21600"/>
              <a:gd name="connsiteX31" fmla="*/ 13241 w 21600"/>
              <a:gd name="connsiteY31" fmla="*/ 18701 h 21600"/>
              <a:gd name="connsiteX0" fmla="*/ 18935 w 21600"/>
              <a:gd name="connsiteY0" fmla="*/ 10691 h 21600"/>
              <a:gd name="connsiteX1" fmla="*/ 16263 w 21600"/>
              <a:gd name="connsiteY1" fmla="*/ 14835 h 21600"/>
              <a:gd name="connsiteX2" fmla="*/ 14375 w 21600"/>
              <a:gd name="connsiteY2" fmla="*/ 14835 h 21600"/>
              <a:gd name="connsiteX3" fmla="*/ 12733 w 21600"/>
              <a:gd name="connsiteY3" fmla="*/ 9725 h 21600"/>
              <a:gd name="connsiteX4" fmla="*/ 14226 w 21600"/>
              <a:gd name="connsiteY4" fmla="*/ 7430 h 21600"/>
              <a:gd name="connsiteX5" fmla="*/ 16084 w 21600"/>
              <a:gd name="connsiteY5" fmla="*/ 8650 h 21600"/>
              <a:gd name="connsiteX6" fmla="*/ 18756 w 21600"/>
              <a:gd name="connsiteY6" fmla="*/ 4325 h 21600"/>
              <a:gd name="connsiteX7" fmla="*/ 16084 w 21600"/>
              <a:gd name="connsiteY7" fmla="*/ 0 h 21600"/>
              <a:gd name="connsiteX8" fmla="*/ 13412 w 21600"/>
              <a:gd name="connsiteY8" fmla="*/ 4325 h 21600"/>
              <a:gd name="connsiteX9" fmla="*/ 14077 w 21600"/>
              <a:gd name="connsiteY9" fmla="*/ 7176 h 21600"/>
              <a:gd name="connsiteX10" fmla="*/ 12569 w 21600"/>
              <a:gd name="connsiteY10" fmla="*/ 9495 h 21600"/>
              <a:gd name="connsiteX11" fmla="*/ 12651 w 21600"/>
              <a:gd name="connsiteY11" fmla="*/ 9628 h 21600"/>
              <a:gd name="connsiteX12" fmla="*/ 10315 w 21600"/>
              <a:gd name="connsiteY12" fmla="*/ 8432 h 21600"/>
              <a:gd name="connsiteX13" fmla="*/ 6732 w 21600"/>
              <a:gd name="connsiteY13" fmla="*/ 11887 h 21600"/>
              <a:gd name="connsiteX14" fmla="*/ 0 w 21600"/>
              <a:gd name="connsiteY14" fmla="*/ 8638 h 21600"/>
              <a:gd name="connsiteX15" fmla="*/ 2672 w 21600"/>
              <a:gd name="connsiteY15" fmla="*/ 12962 h 21600"/>
              <a:gd name="connsiteX16" fmla="*/ 6628 w 21600"/>
              <a:gd name="connsiteY16" fmla="*/ 12213 h 21600"/>
              <a:gd name="connsiteX17" fmla="*/ 6240 w 21600"/>
              <a:gd name="connsiteY17" fmla="*/ 15016 h 21600"/>
              <a:gd name="connsiteX18" fmla="*/ 10307 w 21600"/>
              <a:gd name="connsiteY18" fmla="*/ 21600 h 21600"/>
              <a:gd name="connsiteX19" fmla="*/ 14375 w 21600"/>
              <a:gd name="connsiteY19" fmla="*/ 15197 h 21600"/>
              <a:gd name="connsiteX20" fmla="*/ 16256 w 21600"/>
              <a:gd name="connsiteY20" fmla="*/ 15197 h 21600"/>
              <a:gd name="connsiteX21" fmla="*/ 18928 w 21600"/>
              <a:gd name="connsiteY21" fmla="*/ 19341 h 21600"/>
              <a:gd name="connsiteX22" fmla="*/ 21600 w 21600"/>
              <a:gd name="connsiteY22" fmla="*/ 15016 h 21600"/>
              <a:gd name="connsiteX23" fmla="*/ 18935 w 21600"/>
              <a:gd name="connsiteY23" fmla="*/ 10691 h 21600"/>
              <a:gd name="connsiteX24" fmla="*/ 13241 w 21600"/>
              <a:gd name="connsiteY24" fmla="*/ 18701 h 21600"/>
              <a:gd name="connsiteX25" fmla="*/ 12039 w 21600"/>
              <a:gd name="connsiteY25" fmla="*/ 18701 h 21600"/>
              <a:gd name="connsiteX26" fmla="*/ 11263 w 21600"/>
              <a:gd name="connsiteY26" fmla="*/ 15016 h 21600"/>
              <a:gd name="connsiteX27" fmla="*/ 12039 w 21600"/>
              <a:gd name="connsiteY27" fmla="*/ 11332 h 21600"/>
              <a:gd name="connsiteX28" fmla="*/ 13241 w 21600"/>
              <a:gd name="connsiteY28" fmla="*/ 11332 h 21600"/>
              <a:gd name="connsiteX29" fmla="*/ 14017 w 21600"/>
              <a:gd name="connsiteY29" fmla="*/ 15016 h 21600"/>
              <a:gd name="connsiteX30" fmla="*/ 13241 w 21600"/>
              <a:gd name="connsiteY30" fmla="*/ 18701 h 21600"/>
              <a:gd name="connsiteX0" fmla="*/ 16263 w 18928"/>
              <a:gd name="connsiteY0" fmla="*/ 10691 h 21600"/>
              <a:gd name="connsiteX1" fmla="*/ 13591 w 18928"/>
              <a:gd name="connsiteY1" fmla="*/ 14835 h 21600"/>
              <a:gd name="connsiteX2" fmla="*/ 11703 w 18928"/>
              <a:gd name="connsiteY2" fmla="*/ 14835 h 21600"/>
              <a:gd name="connsiteX3" fmla="*/ 10061 w 18928"/>
              <a:gd name="connsiteY3" fmla="*/ 9725 h 21600"/>
              <a:gd name="connsiteX4" fmla="*/ 11554 w 18928"/>
              <a:gd name="connsiteY4" fmla="*/ 7430 h 21600"/>
              <a:gd name="connsiteX5" fmla="*/ 13412 w 18928"/>
              <a:gd name="connsiteY5" fmla="*/ 8650 h 21600"/>
              <a:gd name="connsiteX6" fmla="*/ 16084 w 18928"/>
              <a:gd name="connsiteY6" fmla="*/ 4325 h 21600"/>
              <a:gd name="connsiteX7" fmla="*/ 13412 w 18928"/>
              <a:gd name="connsiteY7" fmla="*/ 0 h 21600"/>
              <a:gd name="connsiteX8" fmla="*/ 10740 w 18928"/>
              <a:gd name="connsiteY8" fmla="*/ 4325 h 21600"/>
              <a:gd name="connsiteX9" fmla="*/ 11405 w 18928"/>
              <a:gd name="connsiteY9" fmla="*/ 7176 h 21600"/>
              <a:gd name="connsiteX10" fmla="*/ 9897 w 18928"/>
              <a:gd name="connsiteY10" fmla="*/ 9495 h 21600"/>
              <a:gd name="connsiteX11" fmla="*/ 9979 w 18928"/>
              <a:gd name="connsiteY11" fmla="*/ 9628 h 21600"/>
              <a:gd name="connsiteX12" fmla="*/ 7643 w 18928"/>
              <a:gd name="connsiteY12" fmla="*/ 8432 h 21600"/>
              <a:gd name="connsiteX13" fmla="*/ 4060 w 18928"/>
              <a:gd name="connsiteY13" fmla="*/ 11887 h 21600"/>
              <a:gd name="connsiteX14" fmla="*/ 0 w 18928"/>
              <a:gd name="connsiteY14" fmla="*/ 12962 h 21600"/>
              <a:gd name="connsiteX15" fmla="*/ 3956 w 18928"/>
              <a:gd name="connsiteY15" fmla="*/ 12213 h 21600"/>
              <a:gd name="connsiteX16" fmla="*/ 3568 w 18928"/>
              <a:gd name="connsiteY16" fmla="*/ 15016 h 21600"/>
              <a:gd name="connsiteX17" fmla="*/ 7635 w 18928"/>
              <a:gd name="connsiteY17" fmla="*/ 21600 h 21600"/>
              <a:gd name="connsiteX18" fmla="*/ 11703 w 18928"/>
              <a:gd name="connsiteY18" fmla="*/ 15197 h 21600"/>
              <a:gd name="connsiteX19" fmla="*/ 13584 w 18928"/>
              <a:gd name="connsiteY19" fmla="*/ 15197 h 21600"/>
              <a:gd name="connsiteX20" fmla="*/ 16256 w 18928"/>
              <a:gd name="connsiteY20" fmla="*/ 19341 h 21600"/>
              <a:gd name="connsiteX21" fmla="*/ 18928 w 18928"/>
              <a:gd name="connsiteY21" fmla="*/ 15016 h 21600"/>
              <a:gd name="connsiteX22" fmla="*/ 16263 w 18928"/>
              <a:gd name="connsiteY22" fmla="*/ 10691 h 21600"/>
              <a:gd name="connsiteX23" fmla="*/ 10569 w 18928"/>
              <a:gd name="connsiteY23" fmla="*/ 18701 h 21600"/>
              <a:gd name="connsiteX24" fmla="*/ 9367 w 18928"/>
              <a:gd name="connsiteY24" fmla="*/ 18701 h 21600"/>
              <a:gd name="connsiteX25" fmla="*/ 8591 w 18928"/>
              <a:gd name="connsiteY25" fmla="*/ 15016 h 21600"/>
              <a:gd name="connsiteX26" fmla="*/ 9367 w 18928"/>
              <a:gd name="connsiteY26" fmla="*/ 11332 h 21600"/>
              <a:gd name="connsiteX27" fmla="*/ 10569 w 18928"/>
              <a:gd name="connsiteY27" fmla="*/ 11332 h 21600"/>
              <a:gd name="connsiteX28" fmla="*/ 11345 w 18928"/>
              <a:gd name="connsiteY28" fmla="*/ 15016 h 21600"/>
              <a:gd name="connsiteX29" fmla="*/ 10569 w 18928"/>
              <a:gd name="connsiteY29" fmla="*/ 18701 h 21600"/>
              <a:gd name="connsiteX0" fmla="*/ 12695 w 15360"/>
              <a:gd name="connsiteY0" fmla="*/ 10691 h 21600"/>
              <a:gd name="connsiteX1" fmla="*/ 10023 w 15360"/>
              <a:gd name="connsiteY1" fmla="*/ 14835 h 21600"/>
              <a:gd name="connsiteX2" fmla="*/ 8135 w 15360"/>
              <a:gd name="connsiteY2" fmla="*/ 14835 h 21600"/>
              <a:gd name="connsiteX3" fmla="*/ 6493 w 15360"/>
              <a:gd name="connsiteY3" fmla="*/ 9725 h 21600"/>
              <a:gd name="connsiteX4" fmla="*/ 7986 w 15360"/>
              <a:gd name="connsiteY4" fmla="*/ 7430 h 21600"/>
              <a:gd name="connsiteX5" fmla="*/ 9844 w 15360"/>
              <a:gd name="connsiteY5" fmla="*/ 8650 h 21600"/>
              <a:gd name="connsiteX6" fmla="*/ 12516 w 15360"/>
              <a:gd name="connsiteY6" fmla="*/ 4325 h 21600"/>
              <a:gd name="connsiteX7" fmla="*/ 9844 w 15360"/>
              <a:gd name="connsiteY7" fmla="*/ 0 h 21600"/>
              <a:gd name="connsiteX8" fmla="*/ 7172 w 15360"/>
              <a:gd name="connsiteY8" fmla="*/ 4325 h 21600"/>
              <a:gd name="connsiteX9" fmla="*/ 7837 w 15360"/>
              <a:gd name="connsiteY9" fmla="*/ 7176 h 21600"/>
              <a:gd name="connsiteX10" fmla="*/ 6329 w 15360"/>
              <a:gd name="connsiteY10" fmla="*/ 9495 h 21600"/>
              <a:gd name="connsiteX11" fmla="*/ 6411 w 15360"/>
              <a:gd name="connsiteY11" fmla="*/ 9628 h 21600"/>
              <a:gd name="connsiteX12" fmla="*/ 4075 w 15360"/>
              <a:gd name="connsiteY12" fmla="*/ 8432 h 21600"/>
              <a:gd name="connsiteX13" fmla="*/ 492 w 15360"/>
              <a:gd name="connsiteY13" fmla="*/ 11887 h 21600"/>
              <a:gd name="connsiteX14" fmla="*/ 388 w 15360"/>
              <a:gd name="connsiteY14" fmla="*/ 12213 h 21600"/>
              <a:gd name="connsiteX15" fmla="*/ 0 w 15360"/>
              <a:gd name="connsiteY15" fmla="*/ 15016 h 21600"/>
              <a:gd name="connsiteX16" fmla="*/ 4067 w 15360"/>
              <a:gd name="connsiteY16" fmla="*/ 21600 h 21600"/>
              <a:gd name="connsiteX17" fmla="*/ 8135 w 15360"/>
              <a:gd name="connsiteY17" fmla="*/ 15197 h 21600"/>
              <a:gd name="connsiteX18" fmla="*/ 10016 w 15360"/>
              <a:gd name="connsiteY18" fmla="*/ 15197 h 21600"/>
              <a:gd name="connsiteX19" fmla="*/ 12688 w 15360"/>
              <a:gd name="connsiteY19" fmla="*/ 19341 h 21600"/>
              <a:gd name="connsiteX20" fmla="*/ 15360 w 15360"/>
              <a:gd name="connsiteY20" fmla="*/ 15016 h 21600"/>
              <a:gd name="connsiteX21" fmla="*/ 12695 w 15360"/>
              <a:gd name="connsiteY21" fmla="*/ 10691 h 21600"/>
              <a:gd name="connsiteX22" fmla="*/ 7001 w 15360"/>
              <a:gd name="connsiteY22" fmla="*/ 18701 h 21600"/>
              <a:gd name="connsiteX23" fmla="*/ 5799 w 15360"/>
              <a:gd name="connsiteY23" fmla="*/ 18701 h 21600"/>
              <a:gd name="connsiteX24" fmla="*/ 5023 w 15360"/>
              <a:gd name="connsiteY24" fmla="*/ 15016 h 21600"/>
              <a:gd name="connsiteX25" fmla="*/ 5799 w 15360"/>
              <a:gd name="connsiteY25" fmla="*/ 11332 h 21600"/>
              <a:gd name="connsiteX26" fmla="*/ 7001 w 15360"/>
              <a:gd name="connsiteY26" fmla="*/ 11332 h 21600"/>
              <a:gd name="connsiteX27" fmla="*/ 7777 w 15360"/>
              <a:gd name="connsiteY27" fmla="*/ 15016 h 21600"/>
              <a:gd name="connsiteX28" fmla="*/ 7001 w 15360"/>
              <a:gd name="connsiteY28" fmla="*/ 18701 h 21600"/>
              <a:gd name="connsiteX0" fmla="*/ 12695 w 15360"/>
              <a:gd name="connsiteY0" fmla="*/ 10751 h 21660"/>
              <a:gd name="connsiteX1" fmla="*/ 10023 w 15360"/>
              <a:gd name="connsiteY1" fmla="*/ 14895 h 21660"/>
              <a:gd name="connsiteX2" fmla="*/ 8135 w 15360"/>
              <a:gd name="connsiteY2" fmla="*/ 14895 h 21660"/>
              <a:gd name="connsiteX3" fmla="*/ 6493 w 15360"/>
              <a:gd name="connsiteY3" fmla="*/ 9785 h 21660"/>
              <a:gd name="connsiteX4" fmla="*/ 7986 w 15360"/>
              <a:gd name="connsiteY4" fmla="*/ 7490 h 21660"/>
              <a:gd name="connsiteX5" fmla="*/ 9844 w 15360"/>
              <a:gd name="connsiteY5" fmla="*/ 8710 h 21660"/>
              <a:gd name="connsiteX6" fmla="*/ 12516 w 15360"/>
              <a:gd name="connsiteY6" fmla="*/ 4385 h 21660"/>
              <a:gd name="connsiteX7" fmla="*/ 9844 w 15360"/>
              <a:gd name="connsiteY7" fmla="*/ 60 h 21660"/>
              <a:gd name="connsiteX8" fmla="*/ 7837 w 15360"/>
              <a:gd name="connsiteY8" fmla="*/ 7236 h 21660"/>
              <a:gd name="connsiteX9" fmla="*/ 6329 w 15360"/>
              <a:gd name="connsiteY9" fmla="*/ 9555 h 21660"/>
              <a:gd name="connsiteX10" fmla="*/ 6411 w 15360"/>
              <a:gd name="connsiteY10" fmla="*/ 9688 h 21660"/>
              <a:gd name="connsiteX11" fmla="*/ 4075 w 15360"/>
              <a:gd name="connsiteY11" fmla="*/ 8492 h 21660"/>
              <a:gd name="connsiteX12" fmla="*/ 492 w 15360"/>
              <a:gd name="connsiteY12" fmla="*/ 11947 h 21660"/>
              <a:gd name="connsiteX13" fmla="*/ 388 w 15360"/>
              <a:gd name="connsiteY13" fmla="*/ 12273 h 21660"/>
              <a:gd name="connsiteX14" fmla="*/ 0 w 15360"/>
              <a:gd name="connsiteY14" fmla="*/ 15076 h 21660"/>
              <a:gd name="connsiteX15" fmla="*/ 4067 w 15360"/>
              <a:gd name="connsiteY15" fmla="*/ 21660 h 21660"/>
              <a:gd name="connsiteX16" fmla="*/ 8135 w 15360"/>
              <a:gd name="connsiteY16" fmla="*/ 15257 h 21660"/>
              <a:gd name="connsiteX17" fmla="*/ 10016 w 15360"/>
              <a:gd name="connsiteY17" fmla="*/ 15257 h 21660"/>
              <a:gd name="connsiteX18" fmla="*/ 12688 w 15360"/>
              <a:gd name="connsiteY18" fmla="*/ 19401 h 21660"/>
              <a:gd name="connsiteX19" fmla="*/ 15360 w 15360"/>
              <a:gd name="connsiteY19" fmla="*/ 15076 h 21660"/>
              <a:gd name="connsiteX20" fmla="*/ 12695 w 15360"/>
              <a:gd name="connsiteY20" fmla="*/ 10751 h 21660"/>
              <a:gd name="connsiteX21" fmla="*/ 7001 w 15360"/>
              <a:gd name="connsiteY21" fmla="*/ 18761 h 21660"/>
              <a:gd name="connsiteX22" fmla="*/ 5799 w 15360"/>
              <a:gd name="connsiteY22" fmla="*/ 18761 h 21660"/>
              <a:gd name="connsiteX23" fmla="*/ 5023 w 15360"/>
              <a:gd name="connsiteY23" fmla="*/ 15076 h 21660"/>
              <a:gd name="connsiteX24" fmla="*/ 5799 w 15360"/>
              <a:gd name="connsiteY24" fmla="*/ 11392 h 21660"/>
              <a:gd name="connsiteX25" fmla="*/ 7001 w 15360"/>
              <a:gd name="connsiteY25" fmla="*/ 11392 h 21660"/>
              <a:gd name="connsiteX26" fmla="*/ 7777 w 15360"/>
              <a:gd name="connsiteY26" fmla="*/ 15076 h 21660"/>
              <a:gd name="connsiteX27" fmla="*/ 7001 w 15360"/>
              <a:gd name="connsiteY27" fmla="*/ 18761 h 21660"/>
              <a:gd name="connsiteX0" fmla="*/ 12695 w 15360"/>
              <a:gd name="connsiteY0" fmla="*/ 6385 h 17294"/>
              <a:gd name="connsiteX1" fmla="*/ 10023 w 15360"/>
              <a:gd name="connsiteY1" fmla="*/ 10529 h 17294"/>
              <a:gd name="connsiteX2" fmla="*/ 8135 w 15360"/>
              <a:gd name="connsiteY2" fmla="*/ 10529 h 17294"/>
              <a:gd name="connsiteX3" fmla="*/ 6493 w 15360"/>
              <a:gd name="connsiteY3" fmla="*/ 5419 h 17294"/>
              <a:gd name="connsiteX4" fmla="*/ 7986 w 15360"/>
              <a:gd name="connsiteY4" fmla="*/ 3124 h 17294"/>
              <a:gd name="connsiteX5" fmla="*/ 9844 w 15360"/>
              <a:gd name="connsiteY5" fmla="*/ 4344 h 17294"/>
              <a:gd name="connsiteX6" fmla="*/ 12516 w 15360"/>
              <a:gd name="connsiteY6" fmla="*/ 19 h 17294"/>
              <a:gd name="connsiteX7" fmla="*/ 7837 w 15360"/>
              <a:gd name="connsiteY7" fmla="*/ 2870 h 17294"/>
              <a:gd name="connsiteX8" fmla="*/ 6329 w 15360"/>
              <a:gd name="connsiteY8" fmla="*/ 5189 h 17294"/>
              <a:gd name="connsiteX9" fmla="*/ 6411 w 15360"/>
              <a:gd name="connsiteY9" fmla="*/ 5322 h 17294"/>
              <a:gd name="connsiteX10" fmla="*/ 4075 w 15360"/>
              <a:gd name="connsiteY10" fmla="*/ 4126 h 17294"/>
              <a:gd name="connsiteX11" fmla="*/ 492 w 15360"/>
              <a:gd name="connsiteY11" fmla="*/ 7581 h 17294"/>
              <a:gd name="connsiteX12" fmla="*/ 388 w 15360"/>
              <a:gd name="connsiteY12" fmla="*/ 7907 h 17294"/>
              <a:gd name="connsiteX13" fmla="*/ 0 w 15360"/>
              <a:gd name="connsiteY13" fmla="*/ 10710 h 17294"/>
              <a:gd name="connsiteX14" fmla="*/ 4067 w 15360"/>
              <a:gd name="connsiteY14" fmla="*/ 17294 h 17294"/>
              <a:gd name="connsiteX15" fmla="*/ 8135 w 15360"/>
              <a:gd name="connsiteY15" fmla="*/ 10891 h 17294"/>
              <a:gd name="connsiteX16" fmla="*/ 10016 w 15360"/>
              <a:gd name="connsiteY16" fmla="*/ 10891 h 17294"/>
              <a:gd name="connsiteX17" fmla="*/ 12688 w 15360"/>
              <a:gd name="connsiteY17" fmla="*/ 15035 h 17294"/>
              <a:gd name="connsiteX18" fmla="*/ 15360 w 15360"/>
              <a:gd name="connsiteY18" fmla="*/ 10710 h 17294"/>
              <a:gd name="connsiteX19" fmla="*/ 12695 w 15360"/>
              <a:gd name="connsiteY19" fmla="*/ 6385 h 17294"/>
              <a:gd name="connsiteX20" fmla="*/ 7001 w 15360"/>
              <a:gd name="connsiteY20" fmla="*/ 14395 h 17294"/>
              <a:gd name="connsiteX21" fmla="*/ 5799 w 15360"/>
              <a:gd name="connsiteY21" fmla="*/ 14395 h 17294"/>
              <a:gd name="connsiteX22" fmla="*/ 5023 w 15360"/>
              <a:gd name="connsiteY22" fmla="*/ 10710 h 17294"/>
              <a:gd name="connsiteX23" fmla="*/ 5799 w 15360"/>
              <a:gd name="connsiteY23" fmla="*/ 7026 h 17294"/>
              <a:gd name="connsiteX24" fmla="*/ 7001 w 15360"/>
              <a:gd name="connsiteY24" fmla="*/ 7026 h 17294"/>
              <a:gd name="connsiteX25" fmla="*/ 7777 w 15360"/>
              <a:gd name="connsiteY25" fmla="*/ 10710 h 17294"/>
              <a:gd name="connsiteX26" fmla="*/ 7001 w 15360"/>
              <a:gd name="connsiteY26" fmla="*/ 14395 h 17294"/>
              <a:gd name="connsiteX0" fmla="*/ 12695 w 15360"/>
              <a:gd name="connsiteY0" fmla="*/ 3524 h 14433"/>
              <a:gd name="connsiteX1" fmla="*/ 10023 w 15360"/>
              <a:gd name="connsiteY1" fmla="*/ 7668 h 14433"/>
              <a:gd name="connsiteX2" fmla="*/ 8135 w 15360"/>
              <a:gd name="connsiteY2" fmla="*/ 7668 h 14433"/>
              <a:gd name="connsiteX3" fmla="*/ 6493 w 15360"/>
              <a:gd name="connsiteY3" fmla="*/ 2558 h 14433"/>
              <a:gd name="connsiteX4" fmla="*/ 7986 w 15360"/>
              <a:gd name="connsiteY4" fmla="*/ 263 h 14433"/>
              <a:gd name="connsiteX5" fmla="*/ 9844 w 15360"/>
              <a:gd name="connsiteY5" fmla="*/ 1483 h 14433"/>
              <a:gd name="connsiteX6" fmla="*/ 7837 w 15360"/>
              <a:gd name="connsiteY6" fmla="*/ 9 h 14433"/>
              <a:gd name="connsiteX7" fmla="*/ 6329 w 15360"/>
              <a:gd name="connsiteY7" fmla="*/ 2328 h 14433"/>
              <a:gd name="connsiteX8" fmla="*/ 6411 w 15360"/>
              <a:gd name="connsiteY8" fmla="*/ 2461 h 14433"/>
              <a:gd name="connsiteX9" fmla="*/ 4075 w 15360"/>
              <a:gd name="connsiteY9" fmla="*/ 1265 h 14433"/>
              <a:gd name="connsiteX10" fmla="*/ 492 w 15360"/>
              <a:gd name="connsiteY10" fmla="*/ 4720 h 14433"/>
              <a:gd name="connsiteX11" fmla="*/ 388 w 15360"/>
              <a:gd name="connsiteY11" fmla="*/ 5046 h 14433"/>
              <a:gd name="connsiteX12" fmla="*/ 0 w 15360"/>
              <a:gd name="connsiteY12" fmla="*/ 7849 h 14433"/>
              <a:gd name="connsiteX13" fmla="*/ 4067 w 15360"/>
              <a:gd name="connsiteY13" fmla="*/ 14433 h 14433"/>
              <a:gd name="connsiteX14" fmla="*/ 8135 w 15360"/>
              <a:gd name="connsiteY14" fmla="*/ 8030 h 14433"/>
              <a:gd name="connsiteX15" fmla="*/ 10016 w 15360"/>
              <a:gd name="connsiteY15" fmla="*/ 8030 h 14433"/>
              <a:gd name="connsiteX16" fmla="*/ 12688 w 15360"/>
              <a:gd name="connsiteY16" fmla="*/ 12174 h 14433"/>
              <a:gd name="connsiteX17" fmla="*/ 15360 w 15360"/>
              <a:gd name="connsiteY17" fmla="*/ 7849 h 14433"/>
              <a:gd name="connsiteX18" fmla="*/ 12695 w 15360"/>
              <a:gd name="connsiteY18" fmla="*/ 3524 h 14433"/>
              <a:gd name="connsiteX19" fmla="*/ 7001 w 15360"/>
              <a:gd name="connsiteY19" fmla="*/ 11534 h 14433"/>
              <a:gd name="connsiteX20" fmla="*/ 5799 w 15360"/>
              <a:gd name="connsiteY20" fmla="*/ 11534 h 14433"/>
              <a:gd name="connsiteX21" fmla="*/ 5023 w 15360"/>
              <a:gd name="connsiteY21" fmla="*/ 7849 h 14433"/>
              <a:gd name="connsiteX22" fmla="*/ 5799 w 15360"/>
              <a:gd name="connsiteY22" fmla="*/ 4165 h 14433"/>
              <a:gd name="connsiteX23" fmla="*/ 7001 w 15360"/>
              <a:gd name="connsiteY23" fmla="*/ 4165 h 14433"/>
              <a:gd name="connsiteX24" fmla="*/ 7777 w 15360"/>
              <a:gd name="connsiteY24" fmla="*/ 7849 h 14433"/>
              <a:gd name="connsiteX25" fmla="*/ 7001 w 15360"/>
              <a:gd name="connsiteY25" fmla="*/ 11534 h 14433"/>
              <a:gd name="connsiteX0" fmla="*/ 12695 w 15360"/>
              <a:gd name="connsiteY0" fmla="*/ 3697 h 14606"/>
              <a:gd name="connsiteX1" fmla="*/ 10023 w 15360"/>
              <a:gd name="connsiteY1" fmla="*/ 7841 h 14606"/>
              <a:gd name="connsiteX2" fmla="*/ 8135 w 15360"/>
              <a:gd name="connsiteY2" fmla="*/ 7841 h 14606"/>
              <a:gd name="connsiteX3" fmla="*/ 6493 w 15360"/>
              <a:gd name="connsiteY3" fmla="*/ 2731 h 14606"/>
              <a:gd name="connsiteX4" fmla="*/ 7986 w 15360"/>
              <a:gd name="connsiteY4" fmla="*/ 436 h 14606"/>
              <a:gd name="connsiteX5" fmla="*/ 7837 w 15360"/>
              <a:gd name="connsiteY5" fmla="*/ 182 h 14606"/>
              <a:gd name="connsiteX6" fmla="*/ 6329 w 15360"/>
              <a:gd name="connsiteY6" fmla="*/ 2501 h 14606"/>
              <a:gd name="connsiteX7" fmla="*/ 6411 w 15360"/>
              <a:gd name="connsiteY7" fmla="*/ 2634 h 14606"/>
              <a:gd name="connsiteX8" fmla="*/ 4075 w 15360"/>
              <a:gd name="connsiteY8" fmla="*/ 1438 h 14606"/>
              <a:gd name="connsiteX9" fmla="*/ 492 w 15360"/>
              <a:gd name="connsiteY9" fmla="*/ 4893 h 14606"/>
              <a:gd name="connsiteX10" fmla="*/ 388 w 15360"/>
              <a:gd name="connsiteY10" fmla="*/ 5219 h 14606"/>
              <a:gd name="connsiteX11" fmla="*/ 0 w 15360"/>
              <a:gd name="connsiteY11" fmla="*/ 8022 h 14606"/>
              <a:gd name="connsiteX12" fmla="*/ 4067 w 15360"/>
              <a:gd name="connsiteY12" fmla="*/ 14606 h 14606"/>
              <a:gd name="connsiteX13" fmla="*/ 8135 w 15360"/>
              <a:gd name="connsiteY13" fmla="*/ 8203 h 14606"/>
              <a:gd name="connsiteX14" fmla="*/ 10016 w 15360"/>
              <a:gd name="connsiteY14" fmla="*/ 8203 h 14606"/>
              <a:gd name="connsiteX15" fmla="*/ 12688 w 15360"/>
              <a:gd name="connsiteY15" fmla="*/ 12347 h 14606"/>
              <a:gd name="connsiteX16" fmla="*/ 15360 w 15360"/>
              <a:gd name="connsiteY16" fmla="*/ 8022 h 14606"/>
              <a:gd name="connsiteX17" fmla="*/ 12695 w 15360"/>
              <a:gd name="connsiteY17" fmla="*/ 3697 h 14606"/>
              <a:gd name="connsiteX18" fmla="*/ 7001 w 15360"/>
              <a:gd name="connsiteY18" fmla="*/ 11707 h 14606"/>
              <a:gd name="connsiteX19" fmla="*/ 5799 w 15360"/>
              <a:gd name="connsiteY19" fmla="*/ 11707 h 14606"/>
              <a:gd name="connsiteX20" fmla="*/ 5023 w 15360"/>
              <a:gd name="connsiteY20" fmla="*/ 8022 h 14606"/>
              <a:gd name="connsiteX21" fmla="*/ 5799 w 15360"/>
              <a:gd name="connsiteY21" fmla="*/ 4338 h 14606"/>
              <a:gd name="connsiteX22" fmla="*/ 7001 w 15360"/>
              <a:gd name="connsiteY22" fmla="*/ 4338 h 14606"/>
              <a:gd name="connsiteX23" fmla="*/ 7777 w 15360"/>
              <a:gd name="connsiteY23" fmla="*/ 8022 h 14606"/>
              <a:gd name="connsiteX24" fmla="*/ 7001 w 15360"/>
              <a:gd name="connsiteY24" fmla="*/ 11707 h 14606"/>
              <a:gd name="connsiteX0" fmla="*/ 12695 w 15360"/>
              <a:gd name="connsiteY0" fmla="*/ 3262 h 14171"/>
              <a:gd name="connsiteX1" fmla="*/ 10023 w 15360"/>
              <a:gd name="connsiteY1" fmla="*/ 7406 h 14171"/>
              <a:gd name="connsiteX2" fmla="*/ 8135 w 15360"/>
              <a:gd name="connsiteY2" fmla="*/ 7406 h 14171"/>
              <a:gd name="connsiteX3" fmla="*/ 6493 w 15360"/>
              <a:gd name="connsiteY3" fmla="*/ 2296 h 14171"/>
              <a:gd name="connsiteX4" fmla="*/ 7986 w 15360"/>
              <a:gd name="connsiteY4" fmla="*/ 1 h 14171"/>
              <a:gd name="connsiteX5" fmla="*/ 6329 w 15360"/>
              <a:gd name="connsiteY5" fmla="*/ 2066 h 14171"/>
              <a:gd name="connsiteX6" fmla="*/ 6411 w 15360"/>
              <a:gd name="connsiteY6" fmla="*/ 2199 h 14171"/>
              <a:gd name="connsiteX7" fmla="*/ 4075 w 15360"/>
              <a:gd name="connsiteY7" fmla="*/ 1003 h 14171"/>
              <a:gd name="connsiteX8" fmla="*/ 492 w 15360"/>
              <a:gd name="connsiteY8" fmla="*/ 4458 h 14171"/>
              <a:gd name="connsiteX9" fmla="*/ 388 w 15360"/>
              <a:gd name="connsiteY9" fmla="*/ 4784 h 14171"/>
              <a:gd name="connsiteX10" fmla="*/ 0 w 15360"/>
              <a:gd name="connsiteY10" fmla="*/ 7587 h 14171"/>
              <a:gd name="connsiteX11" fmla="*/ 4067 w 15360"/>
              <a:gd name="connsiteY11" fmla="*/ 14171 h 14171"/>
              <a:gd name="connsiteX12" fmla="*/ 8135 w 15360"/>
              <a:gd name="connsiteY12" fmla="*/ 7768 h 14171"/>
              <a:gd name="connsiteX13" fmla="*/ 10016 w 15360"/>
              <a:gd name="connsiteY13" fmla="*/ 7768 h 14171"/>
              <a:gd name="connsiteX14" fmla="*/ 12688 w 15360"/>
              <a:gd name="connsiteY14" fmla="*/ 11912 h 14171"/>
              <a:gd name="connsiteX15" fmla="*/ 15360 w 15360"/>
              <a:gd name="connsiteY15" fmla="*/ 7587 h 14171"/>
              <a:gd name="connsiteX16" fmla="*/ 12695 w 15360"/>
              <a:gd name="connsiteY16" fmla="*/ 3262 h 14171"/>
              <a:gd name="connsiteX17" fmla="*/ 7001 w 15360"/>
              <a:gd name="connsiteY17" fmla="*/ 11272 h 14171"/>
              <a:gd name="connsiteX18" fmla="*/ 5799 w 15360"/>
              <a:gd name="connsiteY18" fmla="*/ 11272 h 14171"/>
              <a:gd name="connsiteX19" fmla="*/ 5023 w 15360"/>
              <a:gd name="connsiteY19" fmla="*/ 7587 h 14171"/>
              <a:gd name="connsiteX20" fmla="*/ 5799 w 15360"/>
              <a:gd name="connsiteY20" fmla="*/ 3903 h 14171"/>
              <a:gd name="connsiteX21" fmla="*/ 7001 w 15360"/>
              <a:gd name="connsiteY21" fmla="*/ 3903 h 14171"/>
              <a:gd name="connsiteX22" fmla="*/ 7777 w 15360"/>
              <a:gd name="connsiteY22" fmla="*/ 7587 h 14171"/>
              <a:gd name="connsiteX23" fmla="*/ 7001 w 15360"/>
              <a:gd name="connsiteY23" fmla="*/ 11272 h 14171"/>
              <a:gd name="connsiteX0" fmla="*/ 12695 w 15360"/>
              <a:gd name="connsiteY0" fmla="*/ 2259 h 13168"/>
              <a:gd name="connsiteX1" fmla="*/ 10023 w 15360"/>
              <a:gd name="connsiteY1" fmla="*/ 6403 h 13168"/>
              <a:gd name="connsiteX2" fmla="*/ 8135 w 15360"/>
              <a:gd name="connsiteY2" fmla="*/ 6403 h 13168"/>
              <a:gd name="connsiteX3" fmla="*/ 6493 w 15360"/>
              <a:gd name="connsiteY3" fmla="*/ 1293 h 13168"/>
              <a:gd name="connsiteX4" fmla="*/ 6329 w 15360"/>
              <a:gd name="connsiteY4" fmla="*/ 1063 h 13168"/>
              <a:gd name="connsiteX5" fmla="*/ 6411 w 15360"/>
              <a:gd name="connsiteY5" fmla="*/ 1196 h 13168"/>
              <a:gd name="connsiteX6" fmla="*/ 4075 w 15360"/>
              <a:gd name="connsiteY6" fmla="*/ 0 h 13168"/>
              <a:gd name="connsiteX7" fmla="*/ 492 w 15360"/>
              <a:gd name="connsiteY7" fmla="*/ 3455 h 13168"/>
              <a:gd name="connsiteX8" fmla="*/ 388 w 15360"/>
              <a:gd name="connsiteY8" fmla="*/ 3781 h 13168"/>
              <a:gd name="connsiteX9" fmla="*/ 0 w 15360"/>
              <a:gd name="connsiteY9" fmla="*/ 6584 h 13168"/>
              <a:gd name="connsiteX10" fmla="*/ 4067 w 15360"/>
              <a:gd name="connsiteY10" fmla="*/ 13168 h 13168"/>
              <a:gd name="connsiteX11" fmla="*/ 8135 w 15360"/>
              <a:gd name="connsiteY11" fmla="*/ 6765 h 13168"/>
              <a:gd name="connsiteX12" fmla="*/ 10016 w 15360"/>
              <a:gd name="connsiteY12" fmla="*/ 6765 h 13168"/>
              <a:gd name="connsiteX13" fmla="*/ 12688 w 15360"/>
              <a:gd name="connsiteY13" fmla="*/ 10909 h 13168"/>
              <a:gd name="connsiteX14" fmla="*/ 15360 w 15360"/>
              <a:gd name="connsiteY14" fmla="*/ 6584 h 13168"/>
              <a:gd name="connsiteX15" fmla="*/ 12695 w 15360"/>
              <a:gd name="connsiteY15" fmla="*/ 2259 h 13168"/>
              <a:gd name="connsiteX16" fmla="*/ 7001 w 15360"/>
              <a:gd name="connsiteY16" fmla="*/ 10269 h 13168"/>
              <a:gd name="connsiteX17" fmla="*/ 5799 w 15360"/>
              <a:gd name="connsiteY17" fmla="*/ 10269 h 13168"/>
              <a:gd name="connsiteX18" fmla="*/ 5023 w 15360"/>
              <a:gd name="connsiteY18" fmla="*/ 6584 h 13168"/>
              <a:gd name="connsiteX19" fmla="*/ 5799 w 15360"/>
              <a:gd name="connsiteY19" fmla="*/ 2900 h 13168"/>
              <a:gd name="connsiteX20" fmla="*/ 7001 w 15360"/>
              <a:gd name="connsiteY20" fmla="*/ 2900 h 13168"/>
              <a:gd name="connsiteX21" fmla="*/ 7777 w 15360"/>
              <a:gd name="connsiteY21" fmla="*/ 6584 h 13168"/>
              <a:gd name="connsiteX22" fmla="*/ 7001 w 15360"/>
              <a:gd name="connsiteY22" fmla="*/ 10269 h 13168"/>
              <a:gd name="connsiteX0" fmla="*/ 15360 w 15433"/>
              <a:gd name="connsiteY0" fmla="*/ 6584 h 13168"/>
              <a:gd name="connsiteX1" fmla="*/ 10023 w 15433"/>
              <a:gd name="connsiteY1" fmla="*/ 6403 h 13168"/>
              <a:gd name="connsiteX2" fmla="*/ 8135 w 15433"/>
              <a:gd name="connsiteY2" fmla="*/ 6403 h 13168"/>
              <a:gd name="connsiteX3" fmla="*/ 6493 w 15433"/>
              <a:gd name="connsiteY3" fmla="*/ 1293 h 13168"/>
              <a:gd name="connsiteX4" fmla="*/ 6329 w 15433"/>
              <a:gd name="connsiteY4" fmla="*/ 1063 h 13168"/>
              <a:gd name="connsiteX5" fmla="*/ 6411 w 15433"/>
              <a:gd name="connsiteY5" fmla="*/ 1196 h 13168"/>
              <a:gd name="connsiteX6" fmla="*/ 4075 w 15433"/>
              <a:gd name="connsiteY6" fmla="*/ 0 h 13168"/>
              <a:gd name="connsiteX7" fmla="*/ 492 w 15433"/>
              <a:gd name="connsiteY7" fmla="*/ 3455 h 13168"/>
              <a:gd name="connsiteX8" fmla="*/ 388 w 15433"/>
              <a:gd name="connsiteY8" fmla="*/ 3781 h 13168"/>
              <a:gd name="connsiteX9" fmla="*/ 0 w 15433"/>
              <a:gd name="connsiteY9" fmla="*/ 6584 h 13168"/>
              <a:gd name="connsiteX10" fmla="*/ 4067 w 15433"/>
              <a:gd name="connsiteY10" fmla="*/ 13168 h 13168"/>
              <a:gd name="connsiteX11" fmla="*/ 8135 w 15433"/>
              <a:gd name="connsiteY11" fmla="*/ 6765 h 13168"/>
              <a:gd name="connsiteX12" fmla="*/ 10016 w 15433"/>
              <a:gd name="connsiteY12" fmla="*/ 6765 h 13168"/>
              <a:gd name="connsiteX13" fmla="*/ 12688 w 15433"/>
              <a:gd name="connsiteY13" fmla="*/ 10909 h 13168"/>
              <a:gd name="connsiteX14" fmla="*/ 15360 w 15433"/>
              <a:gd name="connsiteY14" fmla="*/ 6584 h 13168"/>
              <a:gd name="connsiteX15" fmla="*/ 7001 w 15433"/>
              <a:gd name="connsiteY15" fmla="*/ 10269 h 13168"/>
              <a:gd name="connsiteX16" fmla="*/ 5799 w 15433"/>
              <a:gd name="connsiteY16" fmla="*/ 10269 h 13168"/>
              <a:gd name="connsiteX17" fmla="*/ 5023 w 15433"/>
              <a:gd name="connsiteY17" fmla="*/ 6584 h 13168"/>
              <a:gd name="connsiteX18" fmla="*/ 5799 w 15433"/>
              <a:gd name="connsiteY18" fmla="*/ 2900 h 13168"/>
              <a:gd name="connsiteX19" fmla="*/ 7001 w 15433"/>
              <a:gd name="connsiteY19" fmla="*/ 2900 h 13168"/>
              <a:gd name="connsiteX20" fmla="*/ 7777 w 15433"/>
              <a:gd name="connsiteY20" fmla="*/ 6584 h 13168"/>
              <a:gd name="connsiteX21" fmla="*/ 7001 w 15433"/>
              <a:gd name="connsiteY21" fmla="*/ 10269 h 13168"/>
              <a:gd name="connsiteX0" fmla="*/ 12688 w 12688"/>
              <a:gd name="connsiteY0" fmla="*/ 10909 h 13168"/>
              <a:gd name="connsiteX1" fmla="*/ 10023 w 12688"/>
              <a:gd name="connsiteY1" fmla="*/ 6403 h 13168"/>
              <a:gd name="connsiteX2" fmla="*/ 8135 w 12688"/>
              <a:gd name="connsiteY2" fmla="*/ 6403 h 13168"/>
              <a:gd name="connsiteX3" fmla="*/ 6493 w 12688"/>
              <a:gd name="connsiteY3" fmla="*/ 1293 h 13168"/>
              <a:gd name="connsiteX4" fmla="*/ 6329 w 12688"/>
              <a:gd name="connsiteY4" fmla="*/ 1063 h 13168"/>
              <a:gd name="connsiteX5" fmla="*/ 6411 w 12688"/>
              <a:gd name="connsiteY5" fmla="*/ 1196 h 13168"/>
              <a:gd name="connsiteX6" fmla="*/ 4075 w 12688"/>
              <a:gd name="connsiteY6" fmla="*/ 0 h 13168"/>
              <a:gd name="connsiteX7" fmla="*/ 492 w 12688"/>
              <a:gd name="connsiteY7" fmla="*/ 3455 h 13168"/>
              <a:gd name="connsiteX8" fmla="*/ 388 w 12688"/>
              <a:gd name="connsiteY8" fmla="*/ 3781 h 13168"/>
              <a:gd name="connsiteX9" fmla="*/ 0 w 12688"/>
              <a:gd name="connsiteY9" fmla="*/ 6584 h 13168"/>
              <a:gd name="connsiteX10" fmla="*/ 4067 w 12688"/>
              <a:gd name="connsiteY10" fmla="*/ 13168 h 13168"/>
              <a:gd name="connsiteX11" fmla="*/ 8135 w 12688"/>
              <a:gd name="connsiteY11" fmla="*/ 6765 h 13168"/>
              <a:gd name="connsiteX12" fmla="*/ 10016 w 12688"/>
              <a:gd name="connsiteY12" fmla="*/ 6765 h 13168"/>
              <a:gd name="connsiteX13" fmla="*/ 12688 w 12688"/>
              <a:gd name="connsiteY13" fmla="*/ 10909 h 13168"/>
              <a:gd name="connsiteX14" fmla="*/ 7001 w 12688"/>
              <a:gd name="connsiteY14" fmla="*/ 10269 h 13168"/>
              <a:gd name="connsiteX15" fmla="*/ 5799 w 12688"/>
              <a:gd name="connsiteY15" fmla="*/ 10269 h 13168"/>
              <a:gd name="connsiteX16" fmla="*/ 5023 w 12688"/>
              <a:gd name="connsiteY16" fmla="*/ 6584 h 13168"/>
              <a:gd name="connsiteX17" fmla="*/ 5799 w 12688"/>
              <a:gd name="connsiteY17" fmla="*/ 2900 h 13168"/>
              <a:gd name="connsiteX18" fmla="*/ 7001 w 12688"/>
              <a:gd name="connsiteY18" fmla="*/ 2900 h 13168"/>
              <a:gd name="connsiteX19" fmla="*/ 7777 w 12688"/>
              <a:gd name="connsiteY19" fmla="*/ 6584 h 13168"/>
              <a:gd name="connsiteX20" fmla="*/ 7001 w 12688"/>
              <a:gd name="connsiteY20" fmla="*/ 10269 h 13168"/>
              <a:gd name="connsiteX0" fmla="*/ 10016 w 10255"/>
              <a:gd name="connsiteY0" fmla="*/ 6765 h 13168"/>
              <a:gd name="connsiteX1" fmla="*/ 10023 w 10255"/>
              <a:gd name="connsiteY1" fmla="*/ 6403 h 13168"/>
              <a:gd name="connsiteX2" fmla="*/ 8135 w 10255"/>
              <a:gd name="connsiteY2" fmla="*/ 6403 h 13168"/>
              <a:gd name="connsiteX3" fmla="*/ 6493 w 10255"/>
              <a:gd name="connsiteY3" fmla="*/ 1293 h 13168"/>
              <a:gd name="connsiteX4" fmla="*/ 6329 w 10255"/>
              <a:gd name="connsiteY4" fmla="*/ 1063 h 13168"/>
              <a:gd name="connsiteX5" fmla="*/ 6411 w 10255"/>
              <a:gd name="connsiteY5" fmla="*/ 1196 h 13168"/>
              <a:gd name="connsiteX6" fmla="*/ 4075 w 10255"/>
              <a:gd name="connsiteY6" fmla="*/ 0 h 13168"/>
              <a:gd name="connsiteX7" fmla="*/ 492 w 10255"/>
              <a:gd name="connsiteY7" fmla="*/ 3455 h 13168"/>
              <a:gd name="connsiteX8" fmla="*/ 388 w 10255"/>
              <a:gd name="connsiteY8" fmla="*/ 3781 h 13168"/>
              <a:gd name="connsiteX9" fmla="*/ 0 w 10255"/>
              <a:gd name="connsiteY9" fmla="*/ 6584 h 13168"/>
              <a:gd name="connsiteX10" fmla="*/ 4067 w 10255"/>
              <a:gd name="connsiteY10" fmla="*/ 13168 h 13168"/>
              <a:gd name="connsiteX11" fmla="*/ 8135 w 10255"/>
              <a:gd name="connsiteY11" fmla="*/ 6765 h 13168"/>
              <a:gd name="connsiteX12" fmla="*/ 10016 w 10255"/>
              <a:gd name="connsiteY12" fmla="*/ 6765 h 13168"/>
              <a:gd name="connsiteX13" fmla="*/ 7001 w 10255"/>
              <a:gd name="connsiteY13" fmla="*/ 10269 h 13168"/>
              <a:gd name="connsiteX14" fmla="*/ 5799 w 10255"/>
              <a:gd name="connsiteY14" fmla="*/ 10269 h 13168"/>
              <a:gd name="connsiteX15" fmla="*/ 5023 w 10255"/>
              <a:gd name="connsiteY15" fmla="*/ 6584 h 13168"/>
              <a:gd name="connsiteX16" fmla="*/ 5799 w 10255"/>
              <a:gd name="connsiteY16" fmla="*/ 2900 h 13168"/>
              <a:gd name="connsiteX17" fmla="*/ 7001 w 10255"/>
              <a:gd name="connsiteY17" fmla="*/ 2900 h 13168"/>
              <a:gd name="connsiteX18" fmla="*/ 7777 w 10255"/>
              <a:gd name="connsiteY18" fmla="*/ 6584 h 13168"/>
              <a:gd name="connsiteX19" fmla="*/ 7001 w 10255"/>
              <a:gd name="connsiteY19" fmla="*/ 10269 h 13168"/>
              <a:gd name="connsiteX0" fmla="*/ 8135 w 10023"/>
              <a:gd name="connsiteY0" fmla="*/ 6765 h 13168"/>
              <a:gd name="connsiteX1" fmla="*/ 10023 w 10023"/>
              <a:gd name="connsiteY1" fmla="*/ 6403 h 13168"/>
              <a:gd name="connsiteX2" fmla="*/ 8135 w 10023"/>
              <a:gd name="connsiteY2" fmla="*/ 6403 h 13168"/>
              <a:gd name="connsiteX3" fmla="*/ 6493 w 10023"/>
              <a:gd name="connsiteY3" fmla="*/ 1293 h 13168"/>
              <a:gd name="connsiteX4" fmla="*/ 6329 w 10023"/>
              <a:gd name="connsiteY4" fmla="*/ 1063 h 13168"/>
              <a:gd name="connsiteX5" fmla="*/ 6411 w 10023"/>
              <a:gd name="connsiteY5" fmla="*/ 1196 h 13168"/>
              <a:gd name="connsiteX6" fmla="*/ 4075 w 10023"/>
              <a:gd name="connsiteY6" fmla="*/ 0 h 13168"/>
              <a:gd name="connsiteX7" fmla="*/ 492 w 10023"/>
              <a:gd name="connsiteY7" fmla="*/ 3455 h 13168"/>
              <a:gd name="connsiteX8" fmla="*/ 388 w 10023"/>
              <a:gd name="connsiteY8" fmla="*/ 3781 h 13168"/>
              <a:gd name="connsiteX9" fmla="*/ 0 w 10023"/>
              <a:gd name="connsiteY9" fmla="*/ 6584 h 13168"/>
              <a:gd name="connsiteX10" fmla="*/ 4067 w 10023"/>
              <a:gd name="connsiteY10" fmla="*/ 13168 h 13168"/>
              <a:gd name="connsiteX11" fmla="*/ 8135 w 10023"/>
              <a:gd name="connsiteY11" fmla="*/ 6765 h 13168"/>
              <a:gd name="connsiteX12" fmla="*/ 7001 w 10023"/>
              <a:gd name="connsiteY12" fmla="*/ 10269 h 13168"/>
              <a:gd name="connsiteX13" fmla="*/ 5799 w 10023"/>
              <a:gd name="connsiteY13" fmla="*/ 10269 h 13168"/>
              <a:gd name="connsiteX14" fmla="*/ 5023 w 10023"/>
              <a:gd name="connsiteY14" fmla="*/ 6584 h 13168"/>
              <a:gd name="connsiteX15" fmla="*/ 5799 w 10023"/>
              <a:gd name="connsiteY15" fmla="*/ 2900 h 13168"/>
              <a:gd name="connsiteX16" fmla="*/ 7001 w 10023"/>
              <a:gd name="connsiteY16" fmla="*/ 2900 h 13168"/>
              <a:gd name="connsiteX17" fmla="*/ 7777 w 10023"/>
              <a:gd name="connsiteY17" fmla="*/ 6584 h 13168"/>
              <a:gd name="connsiteX18" fmla="*/ 7001 w 10023"/>
              <a:gd name="connsiteY18" fmla="*/ 10269 h 13168"/>
              <a:gd name="connsiteX0" fmla="*/ 8135 w 8135"/>
              <a:gd name="connsiteY0" fmla="*/ 6765 h 13168"/>
              <a:gd name="connsiteX1" fmla="*/ 8135 w 8135"/>
              <a:gd name="connsiteY1" fmla="*/ 6403 h 13168"/>
              <a:gd name="connsiteX2" fmla="*/ 6493 w 8135"/>
              <a:gd name="connsiteY2" fmla="*/ 1293 h 13168"/>
              <a:gd name="connsiteX3" fmla="*/ 6329 w 8135"/>
              <a:gd name="connsiteY3" fmla="*/ 1063 h 13168"/>
              <a:gd name="connsiteX4" fmla="*/ 6411 w 8135"/>
              <a:gd name="connsiteY4" fmla="*/ 1196 h 13168"/>
              <a:gd name="connsiteX5" fmla="*/ 4075 w 8135"/>
              <a:gd name="connsiteY5" fmla="*/ 0 h 13168"/>
              <a:gd name="connsiteX6" fmla="*/ 492 w 8135"/>
              <a:gd name="connsiteY6" fmla="*/ 3455 h 13168"/>
              <a:gd name="connsiteX7" fmla="*/ 388 w 8135"/>
              <a:gd name="connsiteY7" fmla="*/ 3781 h 13168"/>
              <a:gd name="connsiteX8" fmla="*/ 0 w 8135"/>
              <a:gd name="connsiteY8" fmla="*/ 6584 h 13168"/>
              <a:gd name="connsiteX9" fmla="*/ 4067 w 8135"/>
              <a:gd name="connsiteY9" fmla="*/ 13168 h 13168"/>
              <a:gd name="connsiteX10" fmla="*/ 8135 w 8135"/>
              <a:gd name="connsiteY10" fmla="*/ 6765 h 13168"/>
              <a:gd name="connsiteX11" fmla="*/ 7001 w 8135"/>
              <a:gd name="connsiteY11" fmla="*/ 10269 h 13168"/>
              <a:gd name="connsiteX12" fmla="*/ 5799 w 8135"/>
              <a:gd name="connsiteY12" fmla="*/ 10269 h 13168"/>
              <a:gd name="connsiteX13" fmla="*/ 5023 w 8135"/>
              <a:gd name="connsiteY13" fmla="*/ 6584 h 13168"/>
              <a:gd name="connsiteX14" fmla="*/ 5799 w 8135"/>
              <a:gd name="connsiteY14" fmla="*/ 2900 h 13168"/>
              <a:gd name="connsiteX15" fmla="*/ 7001 w 8135"/>
              <a:gd name="connsiteY15" fmla="*/ 2900 h 13168"/>
              <a:gd name="connsiteX16" fmla="*/ 7777 w 8135"/>
              <a:gd name="connsiteY16" fmla="*/ 6584 h 13168"/>
              <a:gd name="connsiteX17" fmla="*/ 7001 w 8135"/>
              <a:gd name="connsiteY17" fmla="*/ 10269 h 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35" h="13168" extrusionOk="0">
                <a:moveTo>
                  <a:pt x="8135" y="6765"/>
                </a:moveTo>
                <a:lnTo>
                  <a:pt x="8135" y="6403"/>
                </a:lnTo>
                <a:cubicBezTo>
                  <a:pt x="8098" y="4313"/>
                  <a:pt x="7463" y="2465"/>
                  <a:pt x="6493" y="1293"/>
                </a:cubicBezTo>
                <a:lnTo>
                  <a:pt x="6329" y="1063"/>
                </a:lnTo>
                <a:lnTo>
                  <a:pt x="6411" y="1196"/>
                </a:lnTo>
                <a:cubicBezTo>
                  <a:pt x="5747" y="447"/>
                  <a:pt x="4941" y="0"/>
                  <a:pt x="4075" y="0"/>
                </a:cubicBezTo>
                <a:cubicBezTo>
                  <a:pt x="2530" y="0"/>
                  <a:pt x="1179" y="1402"/>
                  <a:pt x="492" y="3455"/>
                </a:cubicBezTo>
                <a:cubicBezTo>
                  <a:pt x="457" y="3564"/>
                  <a:pt x="423" y="3672"/>
                  <a:pt x="388" y="3781"/>
                </a:cubicBezTo>
                <a:cubicBezTo>
                  <a:pt x="141" y="4639"/>
                  <a:pt x="0" y="5581"/>
                  <a:pt x="0" y="6584"/>
                </a:cubicBezTo>
                <a:cubicBezTo>
                  <a:pt x="0" y="10220"/>
                  <a:pt x="1821" y="13168"/>
                  <a:pt x="4067" y="13168"/>
                </a:cubicBezTo>
                <a:cubicBezTo>
                  <a:pt x="6277" y="13168"/>
                  <a:pt x="8075" y="10317"/>
                  <a:pt x="8135" y="6765"/>
                </a:cubicBezTo>
                <a:close/>
                <a:moveTo>
                  <a:pt x="7001" y="10269"/>
                </a:moveTo>
                <a:cubicBezTo>
                  <a:pt x="6695" y="10897"/>
                  <a:pt x="6105" y="10897"/>
                  <a:pt x="5799" y="10269"/>
                </a:cubicBezTo>
                <a:cubicBezTo>
                  <a:pt x="5314" y="9254"/>
                  <a:pt x="5023" y="7973"/>
                  <a:pt x="5023" y="6584"/>
                </a:cubicBezTo>
                <a:cubicBezTo>
                  <a:pt x="5023" y="5195"/>
                  <a:pt x="5314" y="3914"/>
                  <a:pt x="5799" y="2900"/>
                </a:cubicBezTo>
                <a:cubicBezTo>
                  <a:pt x="6105" y="2271"/>
                  <a:pt x="6695" y="2271"/>
                  <a:pt x="7001" y="2900"/>
                </a:cubicBezTo>
                <a:cubicBezTo>
                  <a:pt x="7486" y="3914"/>
                  <a:pt x="7777" y="5195"/>
                  <a:pt x="7777" y="6584"/>
                </a:cubicBezTo>
                <a:cubicBezTo>
                  <a:pt x="7777" y="7973"/>
                  <a:pt x="7493" y="9254"/>
                  <a:pt x="7001" y="10269"/>
                </a:cubicBezTo>
                <a:close/>
              </a:path>
            </a:pathLst>
          </a:custGeom>
          <a:solidFill>
            <a:srgbClr val="FFCC4C"/>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154" name="Shape">
            <a:extLst>
              <a:ext uri="{FF2B5EF4-FFF2-40B4-BE49-F238E27FC236}">
                <a16:creationId xmlns:a16="http://schemas.microsoft.com/office/drawing/2014/main" id="{B66B3E33-8FC2-8540-52D4-6F712A6E6CEC}"/>
              </a:ext>
            </a:extLst>
          </p:cNvPr>
          <p:cNvSpPr/>
          <p:nvPr/>
        </p:nvSpPr>
        <p:spPr>
          <a:xfrm>
            <a:off x="2671921" y="2119375"/>
            <a:ext cx="977199" cy="978969"/>
          </a:xfrm>
          <a:custGeom>
            <a:avLst/>
            <a:gdLst>
              <a:gd name="connsiteX0" fmla="*/ 15956 w 21704"/>
              <a:gd name="connsiteY0" fmla="*/ 6092 h 21600"/>
              <a:gd name="connsiteX1" fmla="*/ 12655 w 21704"/>
              <a:gd name="connsiteY1" fmla="*/ 6953 h 21600"/>
              <a:gd name="connsiteX2" fmla="*/ 12771 w 21704"/>
              <a:gd name="connsiteY2" fmla="*/ 6858 h 21600"/>
              <a:gd name="connsiteX3" fmla="*/ 10714 w 21704"/>
              <a:gd name="connsiteY3" fmla="*/ 5195 h 21600"/>
              <a:gd name="connsiteX4" fmla="*/ 11684 w 21704"/>
              <a:gd name="connsiteY4" fmla="*/ 3116 h 21600"/>
              <a:gd name="connsiteX5" fmla="*/ 7909 w 21704"/>
              <a:gd name="connsiteY5" fmla="*/ 0 h 21600"/>
              <a:gd name="connsiteX6" fmla="*/ 4133 w 21704"/>
              <a:gd name="connsiteY6" fmla="*/ 3116 h 21600"/>
              <a:gd name="connsiteX7" fmla="*/ 7909 w 21704"/>
              <a:gd name="connsiteY7" fmla="*/ 6231 h 21600"/>
              <a:gd name="connsiteX8" fmla="*/ 10493 w 21704"/>
              <a:gd name="connsiteY8" fmla="*/ 5387 h 21600"/>
              <a:gd name="connsiteX9" fmla="*/ 12528 w 21704"/>
              <a:gd name="connsiteY9" fmla="*/ 7032 h 21600"/>
              <a:gd name="connsiteX10" fmla="*/ 10208 w 21704"/>
              <a:gd name="connsiteY10" fmla="*/ 10713 h 21600"/>
              <a:gd name="connsiteX11" fmla="*/ 7656 w 21704"/>
              <a:gd name="connsiteY11" fmla="*/ 10713 h 21600"/>
              <a:gd name="connsiteX12" fmla="*/ 3880 w 21704"/>
              <a:gd name="connsiteY12" fmla="*/ 7711 h 21600"/>
              <a:gd name="connsiteX13" fmla="*/ 104 w 21704"/>
              <a:gd name="connsiteY13" fmla="*/ 10826 h 21600"/>
              <a:gd name="connsiteX14" fmla="*/ 7656 w 21704"/>
              <a:gd name="connsiteY14" fmla="*/ 10974 h 21600"/>
              <a:gd name="connsiteX15" fmla="*/ 10208 w 21704"/>
              <a:gd name="connsiteY15" fmla="*/ 10974 h 21600"/>
              <a:gd name="connsiteX16" fmla="*/ 12117 w 21704"/>
              <a:gd name="connsiteY16" fmla="*/ 14377 h 21600"/>
              <a:gd name="connsiteX17" fmla="*/ 10356 w 21704"/>
              <a:gd name="connsiteY17" fmla="*/ 16048 h 21600"/>
              <a:gd name="connsiteX18" fmla="*/ 8004 w 21704"/>
              <a:gd name="connsiteY18" fmla="*/ 15369 h 21600"/>
              <a:gd name="connsiteX19" fmla="*/ 4228 w 21704"/>
              <a:gd name="connsiteY19" fmla="*/ 18484 h 21600"/>
              <a:gd name="connsiteX20" fmla="*/ 8004 w 21704"/>
              <a:gd name="connsiteY20" fmla="*/ 21600 h 21600"/>
              <a:gd name="connsiteX21" fmla="*/ 11779 w 21704"/>
              <a:gd name="connsiteY21" fmla="*/ 18484 h 21600"/>
              <a:gd name="connsiteX22" fmla="*/ 10598 w 21704"/>
              <a:gd name="connsiteY22" fmla="*/ 16222 h 21600"/>
              <a:gd name="connsiteX23" fmla="*/ 12359 w 21704"/>
              <a:gd name="connsiteY23" fmla="*/ 14551 h 21600"/>
              <a:gd name="connsiteX24" fmla="*/ 15956 w 21704"/>
              <a:gd name="connsiteY24" fmla="*/ 15595 h 21600"/>
              <a:gd name="connsiteX25" fmla="*/ 21704 w 21704"/>
              <a:gd name="connsiteY25" fmla="*/ 10852 h 21600"/>
              <a:gd name="connsiteX26" fmla="*/ 15956 w 21704"/>
              <a:gd name="connsiteY26" fmla="*/ 6092 h 21600"/>
              <a:gd name="connsiteX27" fmla="*/ 13509 w 21704"/>
              <a:gd name="connsiteY27" fmla="*/ 13489 h 21600"/>
              <a:gd name="connsiteX28" fmla="*/ 11811 w 21704"/>
              <a:gd name="connsiteY28" fmla="*/ 13489 h 21600"/>
              <a:gd name="connsiteX29" fmla="*/ 10714 w 21704"/>
              <a:gd name="connsiteY29" fmla="*/ 10835 h 21600"/>
              <a:gd name="connsiteX30" fmla="*/ 11811 w 21704"/>
              <a:gd name="connsiteY30" fmla="*/ 8180 h 21600"/>
              <a:gd name="connsiteX31" fmla="*/ 13509 w 21704"/>
              <a:gd name="connsiteY31" fmla="*/ 8180 h 21600"/>
              <a:gd name="connsiteX32" fmla="*/ 14606 w 21704"/>
              <a:gd name="connsiteY32" fmla="*/ 10835 h 21600"/>
              <a:gd name="connsiteX33" fmla="*/ 13509 w 21704"/>
              <a:gd name="connsiteY33" fmla="*/ 13489 h 21600"/>
              <a:gd name="connsiteX0" fmla="*/ 12076 w 17824"/>
              <a:gd name="connsiteY0" fmla="*/ 6092 h 21600"/>
              <a:gd name="connsiteX1" fmla="*/ 8775 w 17824"/>
              <a:gd name="connsiteY1" fmla="*/ 6953 h 21600"/>
              <a:gd name="connsiteX2" fmla="*/ 8891 w 17824"/>
              <a:gd name="connsiteY2" fmla="*/ 6858 h 21600"/>
              <a:gd name="connsiteX3" fmla="*/ 6834 w 17824"/>
              <a:gd name="connsiteY3" fmla="*/ 5195 h 21600"/>
              <a:gd name="connsiteX4" fmla="*/ 7804 w 17824"/>
              <a:gd name="connsiteY4" fmla="*/ 3116 h 21600"/>
              <a:gd name="connsiteX5" fmla="*/ 4029 w 17824"/>
              <a:gd name="connsiteY5" fmla="*/ 0 h 21600"/>
              <a:gd name="connsiteX6" fmla="*/ 253 w 17824"/>
              <a:gd name="connsiteY6" fmla="*/ 3116 h 21600"/>
              <a:gd name="connsiteX7" fmla="*/ 4029 w 17824"/>
              <a:gd name="connsiteY7" fmla="*/ 6231 h 21600"/>
              <a:gd name="connsiteX8" fmla="*/ 6613 w 17824"/>
              <a:gd name="connsiteY8" fmla="*/ 5387 h 21600"/>
              <a:gd name="connsiteX9" fmla="*/ 8648 w 17824"/>
              <a:gd name="connsiteY9" fmla="*/ 7032 h 21600"/>
              <a:gd name="connsiteX10" fmla="*/ 6328 w 17824"/>
              <a:gd name="connsiteY10" fmla="*/ 10713 h 21600"/>
              <a:gd name="connsiteX11" fmla="*/ 3776 w 17824"/>
              <a:gd name="connsiteY11" fmla="*/ 10713 h 21600"/>
              <a:gd name="connsiteX12" fmla="*/ 0 w 17824"/>
              <a:gd name="connsiteY12" fmla="*/ 7711 h 21600"/>
              <a:gd name="connsiteX13" fmla="*/ 3776 w 17824"/>
              <a:gd name="connsiteY13" fmla="*/ 10974 h 21600"/>
              <a:gd name="connsiteX14" fmla="*/ 6328 w 17824"/>
              <a:gd name="connsiteY14" fmla="*/ 10974 h 21600"/>
              <a:gd name="connsiteX15" fmla="*/ 8237 w 17824"/>
              <a:gd name="connsiteY15" fmla="*/ 14377 h 21600"/>
              <a:gd name="connsiteX16" fmla="*/ 6476 w 17824"/>
              <a:gd name="connsiteY16" fmla="*/ 16048 h 21600"/>
              <a:gd name="connsiteX17" fmla="*/ 4124 w 17824"/>
              <a:gd name="connsiteY17" fmla="*/ 15369 h 21600"/>
              <a:gd name="connsiteX18" fmla="*/ 348 w 17824"/>
              <a:gd name="connsiteY18" fmla="*/ 18484 h 21600"/>
              <a:gd name="connsiteX19" fmla="*/ 4124 w 17824"/>
              <a:gd name="connsiteY19" fmla="*/ 21600 h 21600"/>
              <a:gd name="connsiteX20" fmla="*/ 7899 w 17824"/>
              <a:gd name="connsiteY20" fmla="*/ 18484 h 21600"/>
              <a:gd name="connsiteX21" fmla="*/ 6718 w 17824"/>
              <a:gd name="connsiteY21" fmla="*/ 16222 h 21600"/>
              <a:gd name="connsiteX22" fmla="*/ 8479 w 17824"/>
              <a:gd name="connsiteY22" fmla="*/ 14551 h 21600"/>
              <a:gd name="connsiteX23" fmla="*/ 12076 w 17824"/>
              <a:gd name="connsiteY23" fmla="*/ 15595 h 21600"/>
              <a:gd name="connsiteX24" fmla="*/ 17824 w 17824"/>
              <a:gd name="connsiteY24" fmla="*/ 10852 h 21600"/>
              <a:gd name="connsiteX25" fmla="*/ 12076 w 17824"/>
              <a:gd name="connsiteY25" fmla="*/ 6092 h 21600"/>
              <a:gd name="connsiteX26" fmla="*/ 9629 w 17824"/>
              <a:gd name="connsiteY26" fmla="*/ 13489 h 21600"/>
              <a:gd name="connsiteX27" fmla="*/ 7931 w 17824"/>
              <a:gd name="connsiteY27" fmla="*/ 13489 h 21600"/>
              <a:gd name="connsiteX28" fmla="*/ 6834 w 17824"/>
              <a:gd name="connsiteY28" fmla="*/ 10835 h 21600"/>
              <a:gd name="connsiteX29" fmla="*/ 7931 w 17824"/>
              <a:gd name="connsiteY29" fmla="*/ 8180 h 21600"/>
              <a:gd name="connsiteX30" fmla="*/ 9629 w 17824"/>
              <a:gd name="connsiteY30" fmla="*/ 8180 h 21600"/>
              <a:gd name="connsiteX31" fmla="*/ 10726 w 17824"/>
              <a:gd name="connsiteY31" fmla="*/ 10835 h 21600"/>
              <a:gd name="connsiteX32" fmla="*/ 9629 w 17824"/>
              <a:gd name="connsiteY32"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3523 w 17571"/>
              <a:gd name="connsiteY11" fmla="*/ 10713 h 21600"/>
              <a:gd name="connsiteX12" fmla="*/ 3523 w 17571"/>
              <a:gd name="connsiteY12" fmla="*/ 10974 h 21600"/>
              <a:gd name="connsiteX13" fmla="*/ 6075 w 17571"/>
              <a:gd name="connsiteY13" fmla="*/ 10974 h 21600"/>
              <a:gd name="connsiteX14" fmla="*/ 7984 w 17571"/>
              <a:gd name="connsiteY14" fmla="*/ 14377 h 21600"/>
              <a:gd name="connsiteX15" fmla="*/ 6223 w 17571"/>
              <a:gd name="connsiteY15" fmla="*/ 16048 h 21600"/>
              <a:gd name="connsiteX16" fmla="*/ 3871 w 17571"/>
              <a:gd name="connsiteY16" fmla="*/ 15369 h 21600"/>
              <a:gd name="connsiteX17" fmla="*/ 95 w 17571"/>
              <a:gd name="connsiteY17" fmla="*/ 18484 h 21600"/>
              <a:gd name="connsiteX18" fmla="*/ 3871 w 17571"/>
              <a:gd name="connsiteY18" fmla="*/ 21600 h 21600"/>
              <a:gd name="connsiteX19" fmla="*/ 7646 w 17571"/>
              <a:gd name="connsiteY19" fmla="*/ 18484 h 21600"/>
              <a:gd name="connsiteX20" fmla="*/ 6465 w 17571"/>
              <a:gd name="connsiteY20" fmla="*/ 16222 h 21600"/>
              <a:gd name="connsiteX21" fmla="*/ 8226 w 17571"/>
              <a:gd name="connsiteY21" fmla="*/ 14551 h 21600"/>
              <a:gd name="connsiteX22" fmla="*/ 11823 w 17571"/>
              <a:gd name="connsiteY22" fmla="*/ 15595 h 21600"/>
              <a:gd name="connsiteX23" fmla="*/ 17571 w 17571"/>
              <a:gd name="connsiteY23" fmla="*/ 10852 h 21600"/>
              <a:gd name="connsiteX24" fmla="*/ 11823 w 17571"/>
              <a:gd name="connsiteY24" fmla="*/ 6092 h 21600"/>
              <a:gd name="connsiteX25" fmla="*/ 9376 w 17571"/>
              <a:gd name="connsiteY25" fmla="*/ 13489 h 21600"/>
              <a:gd name="connsiteX26" fmla="*/ 7678 w 17571"/>
              <a:gd name="connsiteY26" fmla="*/ 13489 h 21600"/>
              <a:gd name="connsiteX27" fmla="*/ 6581 w 17571"/>
              <a:gd name="connsiteY27" fmla="*/ 10835 h 21600"/>
              <a:gd name="connsiteX28" fmla="*/ 7678 w 17571"/>
              <a:gd name="connsiteY28" fmla="*/ 8180 h 21600"/>
              <a:gd name="connsiteX29" fmla="*/ 9376 w 17571"/>
              <a:gd name="connsiteY29" fmla="*/ 8180 h 21600"/>
              <a:gd name="connsiteX30" fmla="*/ 10473 w 17571"/>
              <a:gd name="connsiteY30" fmla="*/ 10835 h 21600"/>
              <a:gd name="connsiteX31" fmla="*/ 9376 w 17571"/>
              <a:gd name="connsiteY31"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3523 w 17571"/>
              <a:gd name="connsiteY11" fmla="*/ 10713 h 21600"/>
              <a:gd name="connsiteX12" fmla="*/ 6075 w 17571"/>
              <a:gd name="connsiteY12" fmla="*/ 10974 h 21600"/>
              <a:gd name="connsiteX13" fmla="*/ 7984 w 17571"/>
              <a:gd name="connsiteY13" fmla="*/ 14377 h 21600"/>
              <a:gd name="connsiteX14" fmla="*/ 6223 w 17571"/>
              <a:gd name="connsiteY14" fmla="*/ 16048 h 21600"/>
              <a:gd name="connsiteX15" fmla="*/ 3871 w 17571"/>
              <a:gd name="connsiteY15" fmla="*/ 15369 h 21600"/>
              <a:gd name="connsiteX16" fmla="*/ 95 w 17571"/>
              <a:gd name="connsiteY16" fmla="*/ 18484 h 21600"/>
              <a:gd name="connsiteX17" fmla="*/ 3871 w 17571"/>
              <a:gd name="connsiteY17" fmla="*/ 21600 h 21600"/>
              <a:gd name="connsiteX18" fmla="*/ 7646 w 17571"/>
              <a:gd name="connsiteY18" fmla="*/ 18484 h 21600"/>
              <a:gd name="connsiteX19" fmla="*/ 6465 w 17571"/>
              <a:gd name="connsiteY19" fmla="*/ 16222 h 21600"/>
              <a:gd name="connsiteX20" fmla="*/ 8226 w 17571"/>
              <a:gd name="connsiteY20" fmla="*/ 14551 h 21600"/>
              <a:gd name="connsiteX21" fmla="*/ 11823 w 17571"/>
              <a:gd name="connsiteY21" fmla="*/ 15595 h 21600"/>
              <a:gd name="connsiteX22" fmla="*/ 17571 w 17571"/>
              <a:gd name="connsiteY22" fmla="*/ 10852 h 21600"/>
              <a:gd name="connsiteX23" fmla="*/ 11823 w 17571"/>
              <a:gd name="connsiteY23" fmla="*/ 6092 h 21600"/>
              <a:gd name="connsiteX24" fmla="*/ 9376 w 17571"/>
              <a:gd name="connsiteY24" fmla="*/ 13489 h 21600"/>
              <a:gd name="connsiteX25" fmla="*/ 7678 w 17571"/>
              <a:gd name="connsiteY25" fmla="*/ 13489 h 21600"/>
              <a:gd name="connsiteX26" fmla="*/ 6581 w 17571"/>
              <a:gd name="connsiteY26" fmla="*/ 10835 h 21600"/>
              <a:gd name="connsiteX27" fmla="*/ 7678 w 17571"/>
              <a:gd name="connsiteY27" fmla="*/ 8180 h 21600"/>
              <a:gd name="connsiteX28" fmla="*/ 9376 w 17571"/>
              <a:gd name="connsiteY28" fmla="*/ 8180 h 21600"/>
              <a:gd name="connsiteX29" fmla="*/ 10473 w 17571"/>
              <a:gd name="connsiteY29" fmla="*/ 10835 h 21600"/>
              <a:gd name="connsiteX30" fmla="*/ 9376 w 17571"/>
              <a:gd name="connsiteY30" fmla="*/ 13489 h 21600"/>
              <a:gd name="connsiteX0" fmla="*/ 11823 w 17571"/>
              <a:gd name="connsiteY0" fmla="*/ 6092 h 21600"/>
              <a:gd name="connsiteX1" fmla="*/ 8522 w 17571"/>
              <a:gd name="connsiteY1" fmla="*/ 6953 h 21600"/>
              <a:gd name="connsiteX2" fmla="*/ 8638 w 17571"/>
              <a:gd name="connsiteY2" fmla="*/ 6858 h 21600"/>
              <a:gd name="connsiteX3" fmla="*/ 6581 w 17571"/>
              <a:gd name="connsiteY3" fmla="*/ 5195 h 21600"/>
              <a:gd name="connsiteX4" fmla="*/ 7551 w 17571"/>
              <a:gd name="connsiteY4" fmla="*/ 3116 h 21600"/>
              <a:gd name="connsiteX5" fmla="*/ 3776 w 17571"/>
              <a:gd name="connsiteY5" fmla="*/ 0 h 21600"/>
              <a:gd name="connsiteX6" fmla="*/ 0 w 17571"/>
              <a:gd name="connsiteY6" fmla="*/ 3116 h 21600"/>
              <a:gd name="connsiteX7" fmla="*/ 3776 w 17571"/>
              <a:gd name="connsiteY7" fmla="*/ 6231 h 21600"/>
              <a:gd name="connsiteX8" fmla="*/ 6360 w 17571"/>
              <a:gd name="connsiteY8" fmla="*/ 5387 h 21600"/>
              <a:gd name="connsiteX9" fmla="*/ 8395 w 17571"/>
              <a:gd name="connsiteY9" fmla="*/ 7032 h 21600"/>
              <a:gd name="connsiteX10" fmla="*/ 6075 w 17571"/>
              <a:gd name="connsiteY10" fmla="*/ 10713 h 21600"/>
              <a:gd name="connsiteX11" fmla="*/ 6075 w 17571"/>
              <a:gd name="connsiteY11" fmla="*/ 10974 h 21600"/>
              <a:gd name="connsiteX12" fmla="*/ 7984 w 17571"/>
              <a:gd name="connsiteY12" fmla="*/ 14377 h 21600"/>
              <a:gd name="connsiteX13" fmla="*/ 6223 w 17571"/>
              <a:gd name="connsiteY13" fmla="*/ 16048 h 21600"/>
              <a:gd name="connsiteX14" fmla="*/ 3871 w 17571"/>
              <a:gd name="connsiteY14" fmla="*/ 15369 h 21600"/>
              <a:gd name="connsiteX15" fmla="*/ 95 w 17571"/>
              <a:gd name="connsiteY15" fmla="*/ 18484 h 21600"/>
              <a:gd name="connsiteX16" fmla="*/ 3871 w 17571"/>
              <a:gd name="connsiteY16" fmla="*/ 21600 h 21600"/>
              <a:gd name="connsiteX17" fmla="*/ 7646 w 17571"/>
              <a:gd name="connsiteY17" fmla="*/ 18484 h 21600"/>
              <a:gd name="connsiteX18" fmla="*/ 6465 w 17571"/>
              <a:gd name="connsiteY18" fmla="*/ 16222 h 21600"/>
              <a:gd name="connsiteX19" fmla="*/ 8226 w 17571"/>
              <a:gd name="connsiteY19" fmla="*/ 14551 h 21600"/>
              <a:gd name="connsiteX20" fmla="*/ 11823 w 17571"/>
              <a:gd name="connsiteY20" fmla="*/ 15595 h 21600"/>
              <a:gd name="connsiteX21" fmla="*/ 17571 w 17571"/>
              <a:gd name="connsiteY21" fmla="*/ 10852 h 21600"/>
              <a:gd name="connsiteX22" fmla="*/ 11823 w 17571"/>
              <a:gd name="connsiteY22" fmla="*/ 6092 h 21600"/>
              <a:gd name="connsiteX23" fmla="*/ 9376 w 17571"/>
              <a:gd name="connsiteY23" fmla="*/ 13489 h 21600"/>
              <a:gd name="connsiteX24" fmla="*/ 7678 w 17571"/>
              <a:gd name="connsiteY24" fmla="*/ 13489 h 21600"/>
              <a:gd name="connsiteX25" fmla="*/ 6581 w 17571"/>
              <a:gd name="connsiteY25" fmla="*/ 10835 h 21600"/>
              <a:gd name="connsiteX26" fmla="*/ 7678 w 17571"/>
              <a:gd name="connsiteY26" fmla="*/ 8180 h 21600"/>
              <a:gd name="connsiteX27" fmla="*/ 9376 w 17571"/>
              <a:gd name="connsiteY27" fmla="*/ 8180 h 21600"/>
              <a:gd name="connsiteX28" fmla="*/ 10473 w 17571"/>
              <a:gd name="connsiteY28" fmla="*/ 10835 h 21600"/>
              <a:gd name="connsiteX29" fmla="*/ 9376 w 17571"/>
              <a:gd name="connsiteY29" fmla="*/ 13489 h 21600"/>
              <a:gd name="connsiteX0" fmla="*/ 11879 w 17627"/>
              <a:gd name="connsiteY0" fmla="*/ 6092 h 21600"/>
              <a:gd name="connsiteX1" fmla="*/ 8578 w 17627"/>
              <a:gd name="connsiteY1" fmla="*/ 6953 h 21600"/>
              <a:gd name="connsiteX2" fmla="*/ 8694 w 17627"/>
              <a:gd name="connsiteY2" fmla="*/ 6858 h 21600"/>
              <a:gd name="connsiteX3" fmla="*/ 6637 w 17627"/>
              <a:gd name="connsiteY3" fmla="*/ 5195 h 21600"/>
              <a:gd name="connsiteX4" fmla="*/ 7607 w 17627"/>
              <a:gd name="connsiteY4" fmla="*/ 3116 h 21600"/>
              <a:gd name="connsiteX5" fmla="*/ 3832 w 17627"/>
              <a:gd name="connsiteY5" fmla="*/ 0 h 21600"/>
              <a:gd name="connsiteX6" fmla="*/ 56 w 17627"/>
              <a:gd name="connsiteY6" fmla="*/ 3116 h 21600"/>
              <a:gd name="connsiteX7" fmla="*/ 6416 w 17627"/>
              <a:gd name="connsiteY7" fmla="*/ 5387 h 21600"/>
              <a:gd name="connsiteX8" fmla="*/ 8451 w 17627"/>
              <a:gd name="connsiteY8" fmla="*/ 7032 h 21600"/>
              <a:gd name="connsiteX9" fmla="*/ 6131 w 17627"/>
              <a:gd name="connsiteY9" fmla="*/ 10713 h 21600"/>
              <a:gd name="connsiteX10" fmla="*/ 6131 w 17627"/>
              <a:gd name="connsiteY10" fmla="*/ 10974 h 21600"/>
              <a:gd name="connsiteX11" fmla="*/ 8040 w 17627"/>
              <a:gd name="connsiteY11" fmla="*/ 14377 h 21600"/>
              <a:gd name="connsiteX12" fmla="*/ 6279 w 17627"/>
              <a:gd name="connsiteY12" fmla="*/ 16048 h 21600"/>
              <a:gd name="connsiteX13" fmla="*/ 3927 w 17627"/>
              <a:gd name="connsiteY13" fmla="*/ 15369 h 21600"/>
              <a:gd name="connsiteX14" fmla="*/ 151 w 17627"/>
              <a:gd name="connsiteY14" fmla="*/ 18484 h 21600"/>
              <a:gd name="connsiteX15" fmla="*/ 3927 w 17627"/>
              <a:gd name="connsiteY15" fmla="*/ 21600 h 21600"/>
              <a:gd name="connsiteX16" fmla="*/ 7702 w 17627"/>
              <a:gd name="connsiteY16" fmla="*/ 18484 h 21600"/>
              <a:gd name="connsiteX17" fmla="*/ 6521 w 17627"/>
              <a:gd name="connsiteY17" fmla="*/ 16222 h 21600"/>
              <a:gd name="connsiteX18" fmla="*/ 8282 w 17627"/>
              <a:gd name="connsiteY18" fmla="*/ 14551 h 21600"/>
              <a:gd name="connsiteX19" fmla="*/ 11879 w 17627"/>
              <a:gd name="connsiteY19" fmla="*/ 15595 h 21600"/>
              <a:gd name="connsiteX20" fmla="*/ 17627 w 17627"/>
              <a:gd name="connsiteY20" fmla="*/ 10852 h 21600"/>
              <a:gd name="connsiteX21" fmla="*/ 11879 w 17627"/>
              <a:gd name="connsiteY21" fmla="*/ 6092 h 21600"/>
              <a:gd name="connsiteX22" fmla="*/ 9432 w 17627"/>
              <a:gd name="connsiteY22" fmla="*/ 13489 h 21600"/>
              <a:gd name="connsiteX23" fmla="*/ 7734 w 17627"/>
              <a:gd name="connsiteY23" fmla="*/ 13489 h 21600"/>
              <a:gd name="connsiteX24" fmla="*/ 6637 w 17627"/>
              <a:gd name="connsiteY24" fmla="*/ 10835 h 21600"/>
              <a:gd name="connsiteX25" fmla="*/ 7734 w 17627"/>
              <a:gd name="connsiteY25" fmla="*/ 8180 h 21600"/>
              <a:gd name="connsiteX26" fmla="*/ 9432 w 17627"/>
              <a:gd name="connsiteY26" fmla="*/ 8180 h 21600"/>
              <a:gd name="connsiteX27" fmla="*/ 10529 w 17627"/>
              <a:gd name="connsiteY27" fmla="*/ 10835 h 21600"/>
              <a:gd name="connsiteX28" fmla="*/ 9432 w 17627"/>
              <a:gd name="connsiteY28" fmla="*/ 13489 h 21600"/>
              <a:gd name="connsiteX0" fmla="*/ 11967 w 17715"/>
              <a:gd name="connsiteY0" fmla="*/ 6092 h 21600"/>
              <a:gd name="connsiteX1" fmla="*/ 8666 w 17715"/>
              <a:gd name="connsiteY1" fmla="*/ 6953 h 21600"/>
              <a:gd name="connsiteX2" fmla="*/ 8782 w 17715"/>
              <a:gd name="connsiteY2" fmla="*/ 6858 h 21600"/>
              <a:gd name="connsiteX3" fmla="*/ 6725 w 17715"/>
              <a:gd name="connsiteY3" fmla="*/ 5195 h 21600"/>
              <a:gd name="connsiteX4" fmla="*/ 7695 w 17715"/>
              <a:gd name="connsiteY4" fmla="*/ 3116 h 21600"/>
              <a:gd name="connsiteX5" fmla="*/ 3920 w 17715"/>
              <a:gd name="connsiteY5" fmla="*/ 0 h 21600"/>
              <a:gd name="connsiteX6" fmla="*/ 144 w 17715"/>
              <a:gd name="connsiteY6" fmla="*/ 3116 h 21600"/>
              <a:gd name="connsiteX7" fmla="*/ 8539 w 17715"/>
              <a:gd name="connsiteY7" fmla="*/ 7032 h 21600"/>
              <a:gd name="connsiteX8" fmla="*/ 6219 w 17715"/>
              <a:gd name="connsiteY8" fmla="*/ 10713 h 21600"/>
              <a:gd name="connsiteX9" fmla="*/ 6219 w 17715"/>
              <a:gd name="connsiteY9" fmla="*/ 10974 h 21600"/>
              <a:gd name="connsiteX10" fmla="*/ 8128 w 17715"/>
              <a:gd name="connsiteY10" fmla="*/ 14377 h 21600"/>
              <a:gd name="connsiteX11" fmla="*/ 6367 w 17715"/>
              <a:gd name="connsiteY11" fmla="*/ 16048 h 21600"/>
              <a:gd name="connsiteX12" fmla="*/ 4015 w 17715"/>
              <a:gd name="connsiteY12" fmla="*/ 15369 h 21600"/>
              <a:gd name="connsiteX13" fmla="*/ 239 w 17715"/>
              <a:gd name="connsiteY13" fmla="*/ 18484 h 21600"/>
              <a:gd name="connsiteX14" fmla="*/ 4015 w 17715"/>
              <a:gd name="connsiteY14" fmla="*/ 21600 h 21600"/>
              <a:gd name="connsiteX15" fmla="*/ 7790 w 17715"/>
              <a:gd name="connsiteY15" fmla="*/ 18484 h 21600"/>
              <a:gd name="connsiteX16" fmla="*/ 6609 w 17715"/>
              <a:gd name="connsiteY16" fmla="*/ 16222 h 21600"/>
              <a:gd name="connsiteX17" fmla="*/ 8370 w 17715"/>
              <a:gd name="connsiteY17" fmla="*/ 14551 h 21600"/>
              <a:gd name="connsiteX18" fmla="*/ 11967 w 17715"/>
              <a:gd name="connsiteY18" fmla="*/ 15595 h 21600"/>
              <a:gd name="connsiteX19" fmla="*/ 17715 w 17715"/>
              <a:gd name="connsiteY19" fmla="*/ 10852 h 21600"/>
              <a:gd name="connsiteX20" fmla="*/ 11967 w 17715"/>
              <a:gd name="connsiteY20" fmla="*/ 6092 h 21600"/>
              <a:gd name="connsiteX21" fmla="*/ 9520 w 17715"/>
              <a:gd name="connsiteY21" fmla="*/ 13489 h 21600"/>
              <a:gd name="connsiteX22" fmla="*/ 7822 w 17715"/>
              <a:gd name="connsiteY22" fmla="*/ 13489 h 21600"/>
              <a:gd name="connsiteX23" fmla="*/ 6725 w 17715"/>
              <a:gd name="connsiteY23" fmla="*/ 10835 h 21600"/>
              <a:gd name="connsiteX24" fmla="*/ 7822 w 17715"/>
              <a:gd name="connsiteY24" fmla="*/ 8180 h 21600"/>
              <a:gd name="connsiteX25" fmla="*/ 9520 w 17715"/>
              <a:gd name="connsiteY25" fmla="*/ 8180 h 21600"/>
              <a:gd name="connsiteX26" fmla="*/ 10617 w 17715"/>
              <a:gd name="connsiteY26" fmla="*/ 10835 h 21600"/>
              <a:gd name="connsiteX27" fmla="*/ 9520 w 17715"/>
              <a:gd name="connsiteY27" fmla="*/ 13489 h 21600"/>
              <a:gd name="connsiteX0" fmla="*/ 11967 w 17715"/>
              <a:gd name="connsiteY0" fmla="*/ 6092 h 21600"/>
              <a:gd name="connsiteX1" fmla="*/ 8666 w 17715"/>
              <a:gd name="connsiteY1" fmla="*/ 6953 h 21600"/>
              <a:gd name="connsiteX2" fmla="*/ 8782 w 17715"/>
              <a:gd name="connsiteY2" fmla="*/ 6858 h 21600"/>
              <a:gd name="connsiteX3" fmla="*/ 7695 w 17715"/>
              <a:gd name="connsiteY3" fmla="*/ 3116 h 21600"/>
              <a:gd name="connsiteX4" fmla="*/ 3920 w 17715"/>
              <a:gd name="connsiteY4" fmla="*/ 0 h 21600"/>
              <a:gd name="connsiteX5" fmla="*/ 144 w 17715"/>
              <a:gd name="connsiteY5" fmla="*/ 3116 h 21600"/>
              <a:gd name="connsiteX6" fmla="*/ 8539 w 17715"/>
              <a:gd name="connsiteY6" fmla="*/ 7032 h 21600"/>
              <a:gd name="connsiteX7" fmla="*/ 6219 w 17715"/>
              <a:gd name="connsiteY7" fmla="*/ 10713 h 21600"/>
              <a:gd name="connsiteX8" fmla="*/ 6219 w 17715"/>
              <a:gd name="connsiteY8" fmla="*/ 10974 h 21600"/>
              <a:gd name="connsiteX9" fmla="*/ 8128 w 17715"/>
              <a:gd name="connsiteY9" fmla="*/ 14377 h 21600"/>
              <a:gd name="connsiteX10" fmla="*/ 6367 w 17715"/>
              <a:gd name="connsiteY10" fmla="*/ 16048 h 21600"/>
              <a:gd name="connsiteX11" fmla="*/ 4015 w 17715"/>
              <a:gd name="connsiteY11" fmla="*/ 15369 h 21600"/>
              <a:gd name="connsiteX12" fmla="*/ 239 w 17715"/>
              <a:gd name="connsiteY12" fmla="*/ 18484 h 21600"/>
              <a:gd name="connsiteX13" fmla="*/ 4015 w 17715"/>
              <a:gd name="connsiteY13" fmla="*/ 21600 h 21600"/>
              <a:gd name="connsiteX14" fmla="*/ 7790 w 17715"/>
              <a:gd name="connsiteY14" fmla="*/ 18484 h 21600"/>
              <a:gd name="connsiteX15" fmla="*/ 6609 w 17715"/>
              <a:gd name="connsiteY15" fmla="*/ 16222 h 21600"/>
              <a:gd name="connsiteX16" fmla="*/ 8370 w 17715"/>
              <a:gd name="connsiteY16" fmla="*/ 14551 h 21600"/>
              <a:gd name="connsiteX17" fmla="*/ 11967 w 17715"/>
              <a:gd name="connsiteY17" fmla="*/ 15595 h 21600"/>
              <a:gd name="connsiteX18" fmla="*/ 17715 w 17715"/>
              <a:gd name="connsiteY18" fmla="*/ 10852 h 21600"/>
              <a:gd name="connsiteX19" fmla="*/ 11967 w 17715"/>
              <a:gd name="connsiteY19" fmla="*/ 6092 h 21600"/>
              <a:gd name="connsiteX20" fmla="*/ 9520 w 17715"/>
              <a:gd name="connsiteY20" fmla="*/ 13489 h 21600"/>
              <a:gd name="connsiteX21" fmla="*/ 7822 w 17715"/>
              <a:gd name="connsiteY21" fmla="*/ 13489 h 21600"/>
              <a:gd name="connsiteX22" fmla="*/ 6725 w 17715"/>
              <a:gd name="connsiteY22" fmla="*/ 10835 h 21600"/>
              <a:gd name="connsiteX23" fmla="*/ 7822 w 17715"/>
              <a:gd name="connsiteY23" fmla="*/ 8180 h 21600"/>
              <a:gd name="connsiteX24" fmla="*/ 9520 w 17715"/>
              <a:gd name="connsiteY24" fmla="*/ 8180 h 21600"/>
              <a:gd name="connsiteX25" fmla="*/ 10617 w 17715"/>
              <a:gd name="connsiteY25" fmla="*/ 10835 h 21600"/>
              <a:gd name="connsiteX26" fmla="*/ 9520 w 17715"/>
              <a:gd name="connsiteY26" fmla="*/ 13489 h 21600"/>
              <a:gd name="connsiteX0" fmla="*/ 11967 w 17715"/>
              <a:gd name="connsiteY0" fmla="*/ 6092 h 21600"/>
              <a:gd name="connsiteX1" fmla="*/ 8666 w 17715"/>
              <a:gd name="connsiteY1" fmla="*/ 6953 h 21600"/>
              <a:gd name="connsiteX2" fmla="*/ 8782 w 17715"/>
              <a:gd name="connsiteY2" fmla="*/ 6858 h 21600"/>
              <a:gd name="connsiteX3" fmla="*/ 3920 w 17715"/>
              <a:gd name="connsiteY3" fmla="*/ 0 h 21600"/>
              <a:gd name="connsiteX4" fmla="*/ 144 w 17715"/>
              <a:gd name="connsiteY4" fmla="*/ 3116 h 21600"/>
              <a:gd name="connsiteX5" fmla="*/ 8539 w 17715"/>
              <a:gd name="connsiteY5" fmla="*/ 7032 h 21600"/>
              <a:gd name="connsiteX6" fmla="*/ 6219 w 17715"/>
              <a:gd name="connsiteY6" fmla="*/ 10713 h 21600"/>
              <a:gd name="connsiteX7" fmla="*/ 6219 w 17715"/>
              <a:gd name="connsiteY7" fmla="*/ 10974 h 21600"/>
              <a:gd name="connsiteX8" fmla="*/ 8128 w 17715"/>
              <a:gd name="connsiteY8" fmla="*/ 14377 h 21600"/>
              <a:gd name="connsiteX9" fmla="*/ 6367 w 17715"/>
              <a:gd name="connsiteY9" fmla="*/ 16048 h 21600"/>
              <a:gd name="connsiteX10" fmla="*/ 4015 w 17715"/>
              <a:gd name="connsiteY10" fmla="*/ 15369 h 21600"/>
              <a:gd name="connsiteX11" fmla="*/ 239 w 17715"/>
              <a:gd name="connsiteY11" fmla="*/ 18484 h 21600"/>
              <a:gd name="connsiteX12" fmla="*/ 4015 w 17715"/>
              <a:gd name="connsiteY12" fmla="*/ 21600 h 21600"/>
              <a:gd name="connsiteX13" fmla="*/ 7790 w 17715"/>
              <a:gd name="connsiteY13" fmla="*/ 18484 h 21600"/>
              <a:gd name="connsiteX14" fmla="*/ 6609 w 17715"/>
              <a:gd name="connsiteY14" fmla="*/ 16222 h 21600"/>
              <a:gd name="connsiteX15" fmla="*/ 8370 w 17715"/>
              <a:gd name="connsiteY15" fmla="*/ 14551 h 21600"/>
              <a:gd name="connsiteX16" fmla="*/ 11967 w 17715"/>
              <a:gd name="connsiteY16" fmla="*/ 15595 h 21600"/>
              <a:gd name="connsiteX17" fmla="*/ 17715 w 17715"/>
              <a:gd name="connsiteY17" fmla="*/ 10852 h 21600"/>
              <a:gd name="connsiteX18" fmla="*/ 11967 w 17715"/>
              <a:gd name="connsiteY18" fmla="*/ 6092 h 21600"/>
              <a:gd name="connsiteX19" fmla="*/ 9520 w 17715"/>
              <a:gd name="connsiteY19" fmla="*/ 13489 h 21600"/>
              <a:gd name="connsiteX20" fmla="*/ 7822 w 17715"/>
              <a:gd name="connsiteY20" fmla="*/ 13489 h 21600"/>
              <a:gd name="connsiteX21" fmla="*/ 6725 w 17715"/>
              <a:gd name="connsiteY21" fmla="*/ 10835 h 21600"/>
              <a:gd name="connsiteX22" fmla="*/ 7822 w 17715"/>
              <a:gd name="connsiteY22" fmla="*/ 8180 h 21600"/>
              <a:gd name="connsiteX23" fmla="*/ 9520 w 17715"/>
              <a:gd name="connsiteY23" fmla="*/ 8180 h 21600"/>
              <a:gd name="connsiteX24" fmla="*/ 10617 w 17715"/>
              <a:gd name="connsiteY24" fmla="*/ 10835 h 21600"/>
              <a:gd name="connsiteX25" fmla="*/ 9520 w 17715"/>
              <a:gd name="connsiteY25" fmla="*/ 13489 h 21600"/>
              <a:gd name="connsiteX0" fmla="*/ 11823 w 17571"/>
              <a:gd name="connsiteY0" fmla="*/ 2976 h 18484"/>
              <a:gd name="connsiteX1" fmla="*/ 8522 w 17571"/>
              <a:gd name="connsiteY1" fmla="*/ 3837 h 18484"/>
              <a:gd name="connsiteX2" fmla="*/ 8638 w 17571"/>
              <a:gd name="connsiteY2" fmla="*/ 3742 h 18484"/>
              <a:gd name="connsiteX3" fmla="*/ 0 w 17571"/>
              <a:gd name="connsiteY3" fmla="*/ 0 h 18484"/>
              <a:gd name="connsiteX4" fmla="*/ 8395 w 17571"/>
              <a:gd name="connsiteY4" fmla="*/ 3916 h 18484"/>
              <a:gd name="connsiteX5" fmla="*/ 6075 w 17571"/>
              <a:gd name="connsiteY5" fmla="*/ 7597 h 18484"/>
              <a:gd name="connsiteX6" fmla="*/ 6075 w 17571"/>
              <a:gd name="connsiteY6" fmla="*/ 7858 h 18484"/>
              <a:gd name="connsiteX7" fmla="*/ 7984 w 17571"/>
              <a:gd name="connsiteY7" fmla="*/ 11261 h 18484"/>
              <a:gd name="connsiteX8" fmla="*/ 6223 w 17571"/>
              <a:gd name="connsiteY8" fmla="*/ 12932 h 18484"/>
              <a:gd name="connsiteX9" fmla="*/ 3871 w 17571"/>
              <a:gd name="connsiteY9" fmla="*/ 12253 h 18484"/>
              <a:gd name="connsiteX10" fmla="*/ 95 w 17571"/>
              <a:gd name="connsiteY10" fmla="*/ 15368 h 18484"/>
              <a:gd name="connsiteX11" fmla="*/ 3871 w 17571"/>
              <a:gd name="connsiteY11" fmla="*/ 18484 h 18484"/>
              <a:gd name="connsiteX12" fmla="*/ 7646 w 17571"/>
              <a:gd name="connsiteY12" fmla="*/ 15368 h 18484"/>
              <a:gd name="connsiteX13" fmla="*/ 6465 w 17571"/>
              <a:gd name="connsiteY13" fmla="*/ 13106 h 18484"/>
              <a:gd name="connsiteX14" fmla="*/ 8226 w 17571"/>
              <a:gd name="connsiteY14" fmla="*/ 11435 h 18484"/>
              <a:gd name="connsiteX15" fmla="*/ 11823 w 17571"/>
              <a:gd name="connsiteY15" fmla="*/ 12479 h 18484"/>
              <a:gd name="connsiteX16" fmla="*/ 17571 w 17571"/>
              <a:gd name="connsiteY16" fmla="*/ 7736 h 18484"/>
              <a:gd name="connsiteX17" fmla="*/ 11823 w 17571"/>
              <a:gd name="connsiteY17" fmla="*/ 2976 h 18484"/>
              <a:gd name="connsiteX18" fmla="*/ 9376 w 17571"/>
              <a:gd name="connsiteY18" fmla="*/ 10373 h 18484"/>
              <a:gd name="connsiteX19" fmla="*/ 7678 w 17571"/>
              <a:gd name="connsiteY19" fmla="*/ 10373 h 18484"/>
              <a:gd name="connsiteX20" fmla="*/ 6581 w 17571"/>
              <a:gd name="connsiteY20" fmla="*/ 7719 h 18484"/>
              <a:gd name="connsiteX21" fmla="*/ 7678 w 17571"/>
              <a:gd name="connsiteY21" fmla="*/ 5064 h 18484"/>
              <a:gd name="connsiteX22" fmla="*/ 9376 w 17571"/>
              <a:gd name="connsiteY22" fmla="*/ 5064 h 18484"/>
              <a:gd name="connsiteX23" fmla="*/ 10473 w 17571"/>
              <a:gd name="connsiteY23" fmla="*/ 7719 h 18484"/>
              <a:gd name="connsiteX24" fmla="*/ 9376 w 17571"/>
              <a:gd name="connsiteY24" fmla="*/ 10373 h 18484"/>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6128 w 17476"/>
              <a:gd name="connsiteY7" fmla="*/ 9956 h 15508"/>
              <a:gd name="connsiteX8" fmla="*/ 3776 w 17476"/>
              <a:gd name="connsiteY8" fmla="*/ 9277 h 15508"/>
              <a:gd name="connsiteX9" fmla="*/ 0 w 17476"/>
              <a:gd name="connsiteY9" fmla="*/ 12392 h 15508"/>
              <a:gd name="connsiteX10" fmla="*/ 3776 w 17476"/>
              <a:gd name="connsiteY10" fmla="*/ 15508 h 15508"/>
              <a:gd name="connsiteX11" fmla="*/ 7551 w 17476"/>
              <a:gd name="connsiteY11" fmla="*/ 12392 h 15508"/>
              <a:gd name="connsiteX12" fmla="*/ 6370 w 17476"/>
              <a:gd name="connsiteY12" fmla="*/ 10130 h 15508"/>
              <a:gd name="connsiteX13" fmla="*/ 8131 w 17476"/>
              <a:gd name="connsiteY13" fmla="*/ 8459 h 15508"/>
              <a:gd name="connsiteX14" fmla="*/ 11728 w 17476"/>
              <a:gd name="connsiteY14" fmla="*/ 9503 h 15508"/>
              <a:gd name="connsiteX15" fmla="*/ 17476 w 17476"/>
              <a:gd name="connsiteY15" fmla="*/ 4760 h 15508"/>
              <a:gd name="connsiteX16" fmla="*/ 11728 w 17476"/>
              <a:gd name="connsiteY16" fmla="*/ 0 h 15508"/>
              <a:gd name="connsiteX17" fmla="*/ 9281 w 17476"/>
              <a:gd name="connsiteY17" fmla="*/ 7397 h 15508"/>
              <a:gd name="connsiteX18" fmla="*/ 7583 w 17476"/>
              <a:gd name="connsiteY18" fmla="*/ 7397 h 15508"/>
              <a:gd name="connsiteX19" fmla="*/ 6486 w 17476"/>
              <a:gd name="connsiteY19" fmla="*/ 4743 h 15508"/>
              <a:gd name="connsiteX20" fmla="*/ 7583 w 17476"/>
              <a:gd name="connsiteY20" fmla="*/ 2088 h 15508"/>
              <a:gd name="connsiteX21" fmla="*/ 9281 w 17476"/>
              <a:gd name="connsiteY21" fmla="*/ 2088 h 15508"/>
              <a:gd name="connsiteX22" fmla="*/ 10378 w 17476"/>
              <a:gd name="connsiteY22" fmla="*/ 4743 h 15508"/>
              <a:gd name="connsiteX23" fmla="*/ 9281 w 17476"/>
              <a:gd name="connsiteY23"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6128 w 17476"/>
              <a:gd name="connsiteY7" fmla="*/ 9956 h 15508"/>
              <a:gd name="connsiteX8" fmla="*/ 3776 w 17476"/>
              <a:gd name="connsiteY8" fmla="*/ 9277 h 15508"/>
              <a:gd name="connsiteX9" fmla="*/ 0 w 17476"/>
              <a:gd name="connsiteY9" fmla="*/ 12392 h 15508"/>
              <a:gd name="connsiteX10" fmla="*/ 3776 w 17476"/>
              <a:gd name="connsiteY10" fmla="*/ 15508 h 15508"/>
              <a:gd name="connsiteX11" fmla="*/ 7551 w 17476"/>
              <a:gd name="connsiteY11" fmla="*/ 12392 h 15508"/>
              <a:gd name="connsiteX12" fmla="*/ 8131 w 17476"/>
              <a:gd name="connsiteY12" fmla="*/ 8459 h 15508"/>
              <a:gd name="connsiteX13" fmla="*/ 11728 w 17476"/>
              <a:gd name="connsiteY13" fmla="*/ 9503 h 15508"/>
              <a:gd name="connsiteX14" fmla="*/ 17476 w 17476"/>
              <a:gd name="connsiteY14" fmla="*/ 4760 h 15508"/>
              <a:gd name="connsiteX15" fmla="*/ 11728 w 17476"/>
              <a:gd name="connsiteY15" fmla="*/ 0 h 15508"/>
              <a:gd name="connsiteX16" fmla="*/ 9281 w 17476"/>
              <a:gd name="connsiteY16" fmla="*/ 7397 h 15508"/>
              <a:gd name="connsiteX17" fmla="*/ 7583 w 17476"/>
              <a:gd name="connsiteY17" fmla="*/ 7397 h 15508"/>
              <a:gd name="connsiteX18" fmla="*/ 6486 w 17476"/>
              <a:gd name="connsiteY18" fmla="*/ 4743 h 15508"/>
              <a:gd name="connsiteX19" fmla="*/ 7583 w 17476"/>
              <a:gd name="connsiteY19" fmla="*/ 2088 h 15508"/>
              <a:gd name="connsiteX20" fmla="*/ 9281 w 17476"/>
              <a:gd name="connsiteY20" fmla="*/ 2088 h 15508"/>
              <a:gd name="connsiteX21" fmla="*/ 10378 w 17476"/>
              <a:gd name="connsiteY21" fmla="*/ 4743 h 15508"/>
              <a:gd name="connsiteX22" fmla="*/ 9281 w 17476"/>
              <a:gd name="connsiteY22"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3776 w 17476"/>
              <a:gd name="connsiteY7" fmla="*/ 9277 h 15508"/>
              <a:gd name="connsiteX8" fmla="*/ 0 w 17476"/>
              <a:gd name="connsiteY8" fmla="*/ 12392 h 15508"/>
              <a:gd name="connsiteX9" fmla="*/ 3776 w 17476"/>
              <a:gd name="connsiteY9" fmla="*/ 15508 h 15508"/>
              <a:gd name="connsiteX10" fmla="*/ 7551 w 17476"/>
              <a:gd name="connsiteY10" fmla="*/ 12392 h 15508"/>
              <a:gd name="connsiteX11" fmla="*/ 8131 w 17476"/>
              <a:gd name="connsiteY11" fmla="*/ 8459 h 15508"/>
              <a:gd name="connsiteX12" fmla="*/ 11728 w 17476"/>
              <a:gd name="connsiteY12" fmla="*/ 9503 h 15508"/>
              <a:gd name="connsiteX13" fmla="*/ 17476 w 17476"/>
              <a:gd name="connsiteY13" fmla="*/ 4760 h 15508"/>
              <a:gd name="connsiteX14" fmla="*/ 11728 w 17476"/>
              <a:gd name="connsiteY14" fmla="*/ 0 h 15508"/>
              <a:gd name="connsiteX15" fmla="*/ 9281 w 17476"/>
              <a:gd name="connsiteY15" fmla="*/ 7397 h 15508"/>
              <a:gd name="connsiteX16" fmla="*/ 7583 w 17476"/>
              <a:gd name="connsiteY16" fmla="*/ 7397 h 15508"/>
              <a:gd name="connsiteX17" fmla="*/ 6486 w 17476"/>
              <a:gd name="connsiteY17" fmla="*/ 4743 h 15508"/>
              <a:gd name="connsiteX18" fmla="*/ 7583 w 17476"/>
              <a:gd name="connsiteY18" fmla="*/ 2088 h 15508"/>
              <a:gd name="connsiteX19" fmla="*/ 9281 w 17476"/>
              <a:gd name="connsiteY19" fmla="*/ 2088 h 15508"/>
              <a:gd name="connsiteX20" fmla="*/ 10378 w 17476"/>
              <a:gd name="connsiteY20" fmla="*/ 4743 h 15508"/>
              <a:gd name="connsiteX21" fmla="*/ 9281 w 17476"/>
              <a:gd name="connsiteY21" fmla="*/ 7397 h 15508"/>
              <a:gd name="connsiteX0" fmla="*/ 11728 w 17476"/>
              <a:gd name="connsiteY0" fmla="*/ 0 h 15508"/>
              <a:gd name="connsiteX1" fmla="*/ 8427 w 17476"/>
              <a:gd name="connsiteY1" fmla="*/ 861 h 15508"/>
              <a:gd name="connsiteX2" fmla="*/ 8543 w 17476"/>
              <a:gd name="connsiteY2" fmla="*/ 766 h 15508"/>
              <a:gd name="connsiteX3" fmla="*/ 8300 w 17476"/>
              <a:gd name="connsiteY3" fmla="*/ 940 h 15508"/>
              <a:gd name="connsiteX4" fmla="*/ 5980 w 17476"/>
              <a:gd name="connsiteY4" fmla="*/ 4621 h 15508"/>
              <a:gd name="connsiteX5" fmla="*/ 5980 w 17476"/>
              <a:gd name="connsiteY5" fmla="*/ 4882 h 15508"/>
              <a:gd name="connsiteX6" fmla="*/ 7889 w 17476"/>
              <a:gd name="connsiteY6" fmla="*/ 8285 h 15508"/>
              <a:gd name="connsiteX7" fmla="*/ 0 w 17476"/>
              <a:gd name="connsiteY7" fmla="*/ 12392 h 15508"/>
              <a:gd name="connsiteX8" fmla="*/ 3776 w 17476"/>
              <a:gd name="connsiteY8" fmla="*/ 15508 h 15508"/>
              <a:gd name="connsiteX9" fmla="*/ 7551 w 17476"/>
              <a:gd name="connsiteY9" fmla="*/ 12392 h 15508"/>
              <a:gd name="connsiteX10" fmla="*/ 8131 w 17476"/>
              <a:gd name="connsiteY10" fmla="*/ 8459 h 15508"/>
              <a:gd name="connsiteX11" fmla="*/ 11728 w 17476"/>
              <a:gd name="connsiteY11" fmla="*/ 9503 h 15508"/>
              <a:gd name="connsiteX12" fmla="*/ 17476 w 17476"/>
              <a:gd name="connsiteY12" fmla="*/ 4760 h 15508"/>
              <a:gd name="connsiteX13" fmla="*/ 11728 w 17476"/>
              <a:gd name="connsiteY13" fmla="*/ 0 h 15508"/>
              <a:gd name="connsiteX14" fmla="*/ 9281 w 17476"/>
              <a:gd name="connsiteY14" fmla="*/ 7397 h 15508"/>
              <a:gd name="connsiteX15" fmla="*/ 7583 w 17476"/>
              <a:gd name="connsiteY15" fmla="*/ 7397 h 15508"/>
              <a:gd name="connsiteX16" fmla="*/ 6486 w 17476"/>
              <a:gd name="connsiteY16" fmla="*/ 4743 h 15508"/>
              <a:gd name="connsiteX17" fmla="*/ 7583 w 17476"/>
              <a:gd name="connsiteY17" fmla="*/ 2088 h 15508"/>
              <a:gd name="connsiteX18" fmla="*/ 9281 w 17476"/>
              <a:gd name="connsiteY18" fmla="*/ 2088 h 15508"/>
              <a:gd name="connsiteX19" fmla="*/ 10378 w 17476"/>
              <a:gd name="connsiteY19" fmla="*/ 4743 h 15508"/>
              <a:gd name="connsiteX20" fmla="*/ 9281 w 17476"/>
              <a:gd name="connsiteY20" fmla="*/ 7397 h 15508"/>
              <a:gd name="connsiteX0" fmla="*/ 7952 w 13700"/>
              <a:gd name="connsiteY0" fmla="*/ 0 h 15508"/>
              <a:gd name="connsiteX1" fmla="*/ 4651 w 13700"/>
              <a:gd name="connsiteY1" fmla="*/ 861 h 15508"/>
              <a:gd name="connsiteX2" fmla="*/ 4767 w 13700"/>
              <a:gd name="connsiteY2" fmla="*/ 766 h 15508"/>
              <a:gd name="connsiteX3" fmla="*/ 4524 w 13700"/>
              <a:gd name="connsiteY3" fmla="*/ 940 h 15508"/>
              <a:gd name="connsiteX4" fmla="*/ 2204 w 13700"/>
              <a:gd name="connsiteY4" fmla="*/ 4621 h 15508"/>
              <a:gd name="connsiteX5" fmla="*/ 2204 w 13700"/>
              <a:gd name="connsiteY5" fmla="*/ 4882 h 15508"/>
              <a:gd name="connsiteX6" fmla="*/ 4113 w 13700"/>
              <a:gd name="connsiteY6" fmla="*/ 8285 h 15508"/>
              <a:gd name="connsiteX7" fmla="*/ 0 w 13700"/>
              <a:gd name="connsiteY7" fmla="*/ 15508 h 15508"/>
              <a:gd name="connsiteX8" fmla="*/ 3775 w 13700"/>
              <a:gd name="connsiteY8" fmla="*/ 12392 h 15508"/>
              <a:gd name="connsiteX9" fmla="*/ 4355 w 13700"/>
              <a:gd name="connsiteY9" fmla="*/ 8459 h 15508"/>
              <a:gd name="connsiteX10" fmla="*/ 7952 w 13700"/>
              <a:gd name="connsiteY10" fmla="*/ 9503 h 15508"/>
              <a:gd name="connsiteX11" fmla="*/ 13700 w 13700"/>
              <a:gd name="connsiteY11" fmla="*/ 4760 h 15508"/>
              <a:gd name="connsiteX12" fmla="*/ 7952 w 13700"/>
              <a:gd name="connsiteY12" fmla="*/ 0 h 15508"/>
              <a:gd name="connsiteX13" fmla="*/ 5505 w 13700"/>
              <a:gd name="connsiteY13" fmla="*/ 7397 h 15508"/>
              <a:gd name="connsiteX14" fmla="*/ 3807 w 13700"/>
              <a:gd name="connsiteY14" fmla="*/ 7397 h 15508"/>
              <a:gd name="connsiteX15" fmla="*/ 2710 w 13700"/>
              <a:gd name="connsiteY15" fmla="*/ 4743 h 15508"/>
              <a:gd name="connsiteX16" fmla="*/ 3807 w 13700"/>
              <a:gd name="connsiteY16" fmla="*/ 2088 h 15508"/>
              <a:gd name="connsiteX17" fmla="*/ 5505 w 13700"/>
              <a:gd name="connsiteY17" fmla="*/ 2088 h 15508"/>
              <a:gd name="connsiteX18" fmla="*/ 6602 w 13700"/>
              <a:gd name="connsiteY18" fmla="*/ 4743 h 15508"/>
              <a:gd name="connsiteX19" fmla="*/ 5505 w 13700"/>
              <a:gd name="connsiteY19" fmla="*/ 7397 h 15508"/>
              <a:gd name="connsiteX0" fmla="*/ 5748 w 11496"/>
              <a:gd name="connsiteY0" fmla="*/ 0 h 12392"/>
              <a:gd name="connsiteX1" fmla="*/ 2447 w 11496"/>
              <a:gd name="connsiteY1" fmla="*/ 861 h 12392"/>
              <a:gd name="connsiteX2" fmla="*/ 2563 w 11496"/>
              <a:gd name="connsiteY2" fmla="*/ 766 h 12392"/>
              <a:gd name="connsiteX3" fmla="*/ 2320 w 11496"/>
              <a:gd name="connsiteY3" fmla="*/ 940 h 12392"/>
              <a:gd name="connsiteX4" fmla="*/ 0 w 11496"/>
              <a:gd name="connsiteY4" fmla="*/ 4621 h 12392"/>
              <a:gd name="connsiteX5" fmla="*/ 0 w 11496"/>
              <a:gd name="connsiteY5" fmla="*/ 4882 h 12392"/>
              <a:gd name="connsiteX6" fmla="*/ 1909 w 11496"/>
              <a:gd name="connsiteY6" fmla="*/ 8285 h 12392"/>
              <a:gd name="connsiteX7" fmla="*/ 1571 w 11496"/>
              <a:gd name="connsiteY7" fmla="*/ 12392 h 12392"/>
              <a:gd name="connsiteX8" fmla="*/ 2151 w 11496"/>
              <a:gd name="connsiteY8" fmla="*/ 8459 h 12392"/>
              <a:gd name="connsiteX9" fmla="*/ 5748 w 11496"/>
              <a:gd name="connsiteY9" fmla="*/ 9503 h 12392"/>
              <a:gd name="connsiteX10" fmla="*/ 11496 w 11496"/>
              <a:gd name="connsiteY10" fmla="*/ 4760 h 12392"/>
              <a:gd name="connsiteX11" fmla="*/ 5748 w 11496"/>
              <a:gd name="connsiteY11" fmla="*/ 0 h 12392"/>
              <a:gd name="connsiteX12" fmla="*/ 3301 w 11496"/>
              <a:gd name="connsiteY12" fmla="*/ 7397 h 12392"/>
              <a:gd name="connsiteX13" fmla="*/ 1603 w 11496"/>
              <a:gd name="connsiteY13" fmla="*/ 7397 h 12392"/>
              <a:gd name="connsiteX14" fmla="*/ 506 w 11496"/>
              <a:gd name="connsiteY14" fmla="*/ 4743 h 12392"/>
              <a:gd name="connsiteX15" fmla="*/ 1603 w 11496"/>
              <a:gd name="connsiteY15" fmla="*/ 2088 h 12392"/>
              <a:gd name="connsiteX16" fmla="*/ 3301 w 11496"/>
              <a:gd name="connsiteY16" fmla="*/ 2088 h 12392"/>
              <a:gd name="connsiteX17" fmla="*/ 4398 w 11496"/>
              <a:gd name="connsiteY17" fmla="*/ 4743 h 12392"/>
              <a:gd name="connsiteX18" fmla="*/ 3301 w 11496"/>
              <a:gd name="connsiteY18" fmla="*/ 7397 h 12392"/>
              <a:gd name="connsiteX0" fmla="*/ 5748 w 11496"/>
              <a:gd name="connsiteY0" fmla="*/ 0 h 9503"/>
              <a:gd name="connsiteX1" fmla="*/ 2447 w 11496"/>
              <a:gd name="connsiteY1" fmla="*/ 861 h 9503"/>
              <a:gd name="connsiteX2" fmla="*/ 2563 w 11496"/>
              <a:gd name="connsiteY2" fmla="*/ 766 h 9503"/>
              <a:gd name="connsiteX3" fmla="*/ 2320 w 11496"/>
              <a:gd name="connsiteY3" fmla="*/ 940 h 9503"/>
              <a:gd name="connsiteX4" fmla="*/ 0 w 11496"/>
              <a:gd name="connsiteY4" fmla="*/ 4621 h 9503"/>
              <a:gd name="connsiteX5" fmla="*/ 0 w 11496"/>
              <a:gd name="connsiteY5" fmla="*/ 4882 h 9503"/>
              <a:gd name="connsiteX6" fmla="*/ 1909 w 11496"/>
              <a:gd name="connsiteY6" fmla="*/ 8285 h 9503"/>
              <a:gd name="connsiteX7" fmla="*/ 2151 w 11496"/>
              <a:gd name="connsiteY7" fmla="*/ 8459 h 9503"/>
              <a:gd name="connsiteX8" fmla="*/ 5748 w 11496"/>
              <a:gd name="connsiteY8" fmla="*/ 9503 h 9503"/>
              <a:gd name="connsiteX9" fmla="*/ 11496 w 11496"/>
              <a:gd name="connsiteY9" fmla="*/ 4760 h 9503"/>
              <a:gd name="connsiteX10" fmla="*/ 5748 w 11496"/>
              <a:gd name="connsiteY10" fmla="*/ 0 h 9503"/>
              <a:gd name="connsiteX11" fmla="*/ 3301 w 11496"/>
              <a:gd name="connsiteY11" fmla="*/ 7397 h 9503"/>
              <a:gd name="connsiteX12" fmla="*/ 1603 w 11496"/>
              <a:gd name="connsiteY12" fmla="*/ 7397 h 9503"/>
              <a:gd name="connsiteX13" fmla="*/ 506 w 11496"/>
              <a:gd name="connsiteY13" fmla="*/ 4743 h 9503"/>
              <a:gd name="connsiteX14" fmla="*/ 1603 w 11496"/>
              <a:gd name="connsiteY14" fmla="*/ 2088 h 9503"/>
              <a:gd name="connsiteX15" fmla="*/ 3301 w 11496"/>
              <a:gd name="connsiteY15" fmla="*/ 2088 h 9503"/>
              <a:gd name="connsiteX16" fmla="*/ 4398 w 11496"/>
              <a:gd name="connsiteY16" fmla="*/ 4743 h 9503"/>
              <a:gd name="connsiteX17" fmla="*/ 3301 w 11496"/>
              <a:gd name="connsiteY17" fmla="*/ 7397 h 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96" h="9503" extrusionOk="0">
                <a:moveTo>
                  <a:pt x="5748" y="0"/>
                </a:moveTo>
                <a:cubicBezTo>
                  <a:pt x="4514" y="0"/>
                  <a:pt x="3375" y="322"/>
                  <a:pt x="2447" y="861"/>
                </a:cubicBezTo>
                <a:lnTo>
                  <a:pt x="2563" y="766"/>
                </a:lnTo>
                <a:lnTo>
                  <a:pt x="2320" y="940"/>
                </a:lnTo>
                <a:cubicBezTo>
                  <a:pt x="949" y="1784"/>
                  <a:pt x="53" y="3115"/>
                  <a:pt x="0" y="4621"/>
                </a:cubicBezTo>
                <a:lnTo>
                  <a:pt x="0" y="4882"/>
                </a:lnTo>
                <a:cubicBezTo>
                  <a:pt x="42" y="6231"/>
                  <a:pt x="770" y="7441"/>
                  <a:pt x="1909" y="8285"/>
                </a:cubicBezTo>
                <a:cubicBezTo>
                  <a:pt x="2268" y="8881"/>
                  <a:pt x="1511" y="8256"/>
                  <a:pt x="2151" y="8459"/>
                </a:cubicBezTo>
                <a:cubicBezTo>
                  <a:pt x="3132" y="9112"/>
                  <a:pt x="4387" y="9503"/>
                  <a:pt x="5748" y="9503"/>
                </a:cubicBezTo>
                <a:cubicBezTo>
                  <a:pt x="8923" y="9503"/>
                  <a:pt x="11496" y="7380"/>
                  <a:pt x="11496" y="4760"/>
                </a:cubicBezTo>
                <a:cubicBezTo>
                  <a:pt x="11496" y="2141"/>
                  <a:pt x="8923" y="0"/>
                  <a:pt x="5748" y="0"/>
                </a:cubicBezTo>
                <a:close/>
                <a:moveTo>
                  <a:pt x="3301" y="7397"/>
                </a:moveTo>
                <a:cubicBezTo>
                  <a:pt x="2869" y="7850"/>
                  <a:pt x="2035" y="7850"/>
                  <a:pt x="1603" y="7397"/>
                </a:cubicBezTo>
                <a:cubicBezTo>
                  <a:pt x="917" y="6666"/>
                  <a:pt x="506" y="5744"/>
                  <a:pt x="506" y="4743"/>
                </a:cubicBezTo>
                <a:cubicBezTo>
                  <a:pt x="506" y="3742"/>
                  <a:pt x="917" y="2820"/>
                  <a:pt x="1603" y="2088"/>
                </a:cubicBezTo>
                <a:cubicBezTo>
                  <a:pt x="2035" y="1636"/>
                  <a:pt x="2869" y="1636"/>
                  <a:pt x="3301" y="2088"/>
                </a:cubicBezTo>
                <a:cubicBezTo>
                  <a:pt x="3987" y="2820"/>
                  <a:pt x="4398" y="3742"/>
                  <a:pt x="4398" y="4743"/>
                </a:cubicBezTo>
                <a:cubicBezTo>
                  <a:pt x="4398" y="5744"/>
                  <a:pt x="3987" y="6666"/>
                  <a:pt x="3301" y="7397"/>
                </a:cubicBezTo>
                <a:close/>
              </a:path>
            </a:pathLst>
          </a:custGeom>
          <a:solidFill>
            <a:srgbClr val="F7931F"/>
          </a:solidFill>
          <a:ln w="12700">
            <a:miter lim="400000"/>
          </a:ln>
        </p:spPr>
        <p:txBody>
          <a:bodyPr lIns="28560" tIns="28560" rIns="28560" bIns="28560" anchor="ctr"/>
          <a:lstStyle/>
          <a:p>
            <a:pPr algn="ctr" defTabSz="913943">
              <a:defRPr sz="3000">
                <a:solidFill>
                  <a:srgbClr val="FFFFFF"/>
                </a:solidFill>
              </a:defRPr>
            </a:pPr>
            <a:endParaRPr sz="2249" b="1" kern="0">
              <a:solidFill>
                <a:prstClr val="white"/>
              </a:solidFill>
              <a:latin typeface="Calibri" panose="020F0502020204030204"/>
            </a:endParaRPr>
          </a:p>
        </p:txBody>
      </p:sp>
      <p:sp>
        <p:nvSpPr>
          <p:cNvPr id="155" name="TextBox 154">
            <a:extLst>
              <a:ext uri="{FF2B5EF4-FFF2-40B4-BE49-F238E27FC236}">
                <a16:creationId xmlns:a16="http://schemas.microsoft.com/office/drawing/2014/main" id="{330BC7EA-EB03-2B1B-A9FF-10EAA07F7421}"/>
              </a:ext>
            </a:extLst>
          </p:cNvPr>
          <p:cNvSpPr txBox="1"/>
          <p:nvPr/>
        </p:nvSpPr>
        <p:spPr>
          <a:xfrm>
            <a:off x="2674461" y="2465949"/>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1</a:t>
            </a:r>
          </a:p>
        </p:txBody>
      </p:sp>
      <p:sp>
        <p:nvSpPr>
          <p:cNvPr id="156" name="TextBox 155">
            <a:extLst>
              <a:ext uri="{FF2B5EF4-FFF2-40B4-BE49-F238E27FC236}">
                <a16:creationId xmlns:a16="http://schemas.microsoft.com/office/drawing/2014/main" id="{7CEAFF50-C0E2-650A-FE25-259C418703E1}"/>
              </a:ext>
            </a:extLst>
          </p:cNvPr>
          <p:cNvSpPr txBox="1"/>
          <p:nvPr/>
        </p:nvSpPr>
        <p:spPr>
          <a:xfrm>
            <a:off x="4899205" y="1974035"/>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2</a:t>
            </a:r>
          </a:p>
        </p:txBody>
      </p:sp>
      <p:sp>
        <p:nvSpPr>
          <p:cNvPr id="157" name="TextBox 156">
            <a:extLst>
              <a:ext uri="{FF2B5EF4-FFF2-40B4-BE49-F238E27FC236}">
                <a16:creationId xmlns:a16="http://schemas.microsoft.com/office/drawing/2014/main" id="{7744048D-36D2-D273-AA11-C1592BBE0A0D}"/>
              </a:ext>
            </a:extLst>
          </p:cNvPr>
          <p:cNvSpPr txBox="1"/>
          <p:nvPr/>
        </p:nvSpPr>
        <p:spPr>
          <a:xfrm>
            <a:off x="2548910" y="4171186"/>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4</a:t>
            </a:r>
          </a:p>
        </p:txBody>
      </p:sp>
      <p:sp>
        <p:nvSpPr>
          <p:cNvPr id="158" name="TextBox 157">
            <a:extLst>
              <a:ext uri="{FF2B5EF4-FFF2-40B4-BE49-F238E27FC236}">
                <a16:creationId xmlns:a16="http://schemas.microsoft.com/office/drawing/2014/main" id="{635F16ED-B1E5-C03B-F3A0-C79746660E49}"/>
              </a:ext>
            </a:extLst>
          </p:cNvPr>
          <p:cNvSpPr txBox="1"/>
          <p:nvPr/>
        </p:nvSpPr>
        <p:spPr>
          <a:xfrm>
            <a:off x="5377464" y="4693473"/>
            <a:ext cx="436293" cy="299926"/>
          </a:xfrm>
          <a:prstGeom prst="rect">
            <a:avLst/>
          </a:prstGeom>
          <a:noFill/>
        </p:spPr>
        <p:txBody>
          <a:bodyPr wrap="square" rtlCol="0">
            <a:spAutoFit/>
          </a:bodyPr>
          <a:lstStyle/>
          <a:p>
            <a:pPr algn="ctr"/>
            <a:r>
              <a:rPr lang="en-US" sz="1349" b="1">
                <a:solidFill>
                  <a:prstClr val="black"/>
                </a:solidFill>
                <a:latin typeface="Calibri" panose="020F0502020204030204"/>
              </a:rPr>
              <a:t>03</a:t>
            </a:r>
          </a:p>
        </p:txBody>
      </p:sp>
      <p:sp>
        <p:nvSpPr>
          <p:cNvPr id="159" name="TextBox 158">
            <a:extLst>
              <a:ext uri="{FF2B5EF4-FFF2-40B4-BE49-F238E27FC236}">
                <a16:creationId xmlns:a16="http://schemas.microsoft.com/office/drawing/2014/main" id="{EF830F4B-BEDA-B47F-984D-F773171131CA}"/>
              </a:ext>
            </a:extLst>
          </p:cNvPr>
          <p:cNvSpPr txBox="1"/>
          <p:nvPr/>
        </p:nvSpPr>
        <p:spPr>
          <a:xfrm>
            <a:off x="3158350" y="2424222"/>
            <a:ext cx="345375" cy="369140"/>
          </a:xfrm>
          <a:prstGeom prst="rect">
            <a:avLst/>
          </a:prstGeom>
          <a:noFill/>
        </p:spPr>
        <p:txBody>
          <a:bodyPr wrap="square" lIns="0" rIns="0" rtlCol="0" anchor="ctr">
            <a:spAutoFit/>
          </a:bodyPr>
          <a:lstStyle/>
          <a:p>
            <a:r>
              <a:rPr lang="en-US" sz="900" b="1" noProof="1">
                <a:solidFill>
                  <a:prstClr val="black"/>
                </a:solidFill>
                <a:latin typeface="Calibri" panose="020F0502020204030204"/>
              </a:rPr>
              <a:t>Lorem Ipsum</a:t>
            </a:r>
          </a:p>
        </p:txBody>
      </p:sp>
      <p:sp>
        <p:nvSpPr>
          <p:cNvPr id="160" name="TextBox 159">
            <a:extLst>
              <a:ext uri="{FF2B5EF4-FFF2-40B4-BE49-F238E27FC236}">
                <a16:creationId xmlns:a16="http://schemas.microsoft.com/office/drawing/2014/main" id="{08CC8B5C-5353-0132-4107-DC4D219CB11A}"/>
              </a:ext>
            </a:extLst>
          </p:cNvPr>
          <p:cNvSpPr txBox="1"/>
          <p:nvPr/>
        </p:nvSpPr>
        <p:spPr>
          <a:xfrm>
            <a:off x="4520991" y="1932307"/>
            <a:ext cx="345375" cy="369140"/>
          </a:xfrm>
          <a:prstGeom prst="rect">
            <a:avLst/>
          </a:prstGeom>
          <a:noFill/>
        </p:spPr>
        <p:txBody>
          <a:bodyPr wrap="square" lIns="0" rIns="0" rtlCol="0" anchor="ctr">
            <a:spAutoFit/>
          </a:bodyPr>
          <a:lstStyle/>
          <a:p>
            <a:pPr algn="r"/>
            <a:r>
              <a:rPr lang="en-US" sz="900" b="1" noProof="1">
                <a:solidFill>
                  <a:prstClr val="black"/>
                </a:solidFill>
                <a:latin typeface="Calibri" panose="020F0502020204030204"/>
              </a:rPr>
              <a:t>Lorem Ipsum</a:t>
            </a:r>
          </a:p>
        </p:txBody>
      </p:sp>
      <p:sp>
        <p:nvSpPr>
          <p:cNvPr id="161" name="TextBox 160">
            <a:extLst>
              <a:ext uri="{FF2B5EF4-FFF2-40B4-BE49-F238E27FC236}">
                <a16:creationId xmlns:a16="http://schemas.microsoft.com/office/drawing/2014/main" id="{7445F6DD-B433-61EA-D1FD-6BBB3D5810EA}"/>
              </a:ext>
            </a:extLst>
          </p:cNvPr>
          <p:cNvSpPr txBox="1"/>
          <p:nvPr/>
        </p:nvSpPr>
        <p:spPr>
          <a:xfrm>
            <a:off x="3032799" y="4101193"/>
            <a:ext cx="345375" cy="369140"/>
          </a:xfrm>
          <a:prstGeom prst="rect">
            <a:avLst/>
          </a:prstGeom>
          <a:noFill/>
        </p:spPr>
        <p:txBody>
          <a:bodyPr wrap="square" lIns="0" rIns="0" rtlCol="0" anchor="ctr">
            <a:spAutoFit/>
          </a:bodyPr>
          <a:lstStyle/>
          <a:p>
            <a:r>
              <a:rPr lang="en-US" sz="900" b="1" noProof="1">
                <a:solidFill>
                  <a:prstClr val="black"/>
                </a:solidFill>
                <a:latin typeface="Calibri" panose="020F0502020204030204"/>
              </a:rPr>
              <a:t>Lorem Ipsum</a:t>
            </a:r>
          </a:p>
        </p:txBody>
      </p:sp>
      <p:sp>
        <p:nvSpPr>
          <p:cNvPr id="162" name="TextBox 161">
            <a:extLst>
              <a:ext uri="{FF2B5EF4-FFF2-40B4-BE49-F238E27FC236}">
                <a16:creationId xmlns:a16="http://schemas.microsoft.com/office/drawing/2014/main" id="{BDA4583C-C578-20F0-D690-471062F91101}"/>
              </a:ext>
            </a:extLst>
          </p:cNvPr>
          <p:cNvSpPr txBox="1"/>
          <p:nvPr/>
        </p:nvSpPr>
        <p:spPr>
          <a:xfrm>
            <a:off x="4999250" y="4623480"/>
            <a:ext cx="345375" cy="369140"/>
          </a:xfrm>
          <a:prstGeom prst="rect">
            <a:avLst/>
          </a:prstGeom>
          <a:noFill/>
        </p:spPr>
        <p:txBody>
          <a:bodyPr wrap="square" lIns="0" rIns="0" rtlCol="0" anchor="ctr">
            <a:spAutoFit/>
          </a:bodyPr>
          <a:lstStyle/>
          <a:p>
            <a:pPr algn="r"/>
            <a:r>
              <a:rPr lang="en-US" sz="900" b="1" noProof="1">
                <a:solidFill>
                  <a:prstClr val="black"/>
                </a:solidFill>
                <a:latin typeface="Calibri" panose="020F0502020204030204"/>
              </a:rPr>
              <a:t>Lorem Ipsum</a:t>
            </a:r>
          </a:p>
        </p:txBody>
      </p:sp>
      <p:sp>
        <p:nvSpPr>
          <p:cNvPr id="163" name="Freeform: Shape 162">
            <a:extLst>
              <a:ext uri="{FF2B5EF4-FFF2-40B4-BE49-F238E27FC236}">
                <a16:creationId xmlns:a16="http://schemas.microsoft.com/office/drawing/2014/main" id="{60085D01-AC49-B99C-8DB5-0119D7EC7D58}"/>
              </a:ext>
            </a:extLst>
          </p:cNvPr>
          <p:cNvSpPr/>
          <p:nvPr/>
        </p:nvSpPr>
        <p:spPr>
          <a:xfrm>
            <a:off x="1813046" y="1491795"/>
            <a:ext cx="1076738" cy="2225165"/>
          </a:xfrm>
          <a:custGeom>
            <a:avLst/>
            <a:gdLst>
              <a:gd name="connsiteX0" fmla="*/ 428187 w 1512967"/>
              <a:gd name="connsiteY0" fmla="*/ 1059703 h 2968432"/>
              <a:gd name="connsiteX1" fmla="*/ 856374 w 1512967"/>
              <a:gd name="connsiteY1" fmla="*/ 1472260 h 2968432"/>
              <a:gd name="connsiteX2" fmla="*/ 1145763 w 1512967"/>
              <a:gd name="connsiteY2" fmla="*/ 1472260 h 2968432"/>
              <a:gd name="connsiteX3" fmla="*/ 1167542 w 1512967"/>
              <a:gd name="connsiteY3" fmla="*/ 1322215 h 2968432"/>
              <a:gd name="connsiteX4" fmla="*/ 1185798 w 1512967"/>
              <a:gd name="connsiteY4" fmla="*/ 1266617 h 2968432"/>
              <a:gd name="connsiteX5" fmla="*/ 1185798 w 1512967"/>
              <a:gd name="connsiteY5" fmla="*/ 1266619 h 2968432"/>
              <a:gd name="connsiteX6" fmla="*/ 1167543 w 1512967"/>
              <a:gd name="connsiteY6" fmla="*/ 1322215 h 2968432"/>
              <a:gd name="connsiteX7" fmla="*/ 1145764 w 1512967"/>
              <a:gd name="connsiteY7" fmla="*/ 1472260 h 2968432"/>
              <a:gd name="connsiteX8" fmla="*/ 1145764 w 1512967"/>
              <a:gd name="connsiteY8" fmla="*/ 1508128 h 2968432"/>
              <a:gd name="connsiteX9" fmla="*/ 1362239 w 1512967"/>
              <a:gd name="connsiteY9" fmla="*/ 1975794 h 2968432"/>
              <a:gd name="connsiteX10" fmla="*/ 1370028 w 1512967"/>
              <a:gd name="connsiteY10" fmla="*/ 1994222 h 2968432"/>
              <a:gd name="connsiteX11" fmla="*/ 1369335 w 1512967"/>
              <a:gd name="connsiteY11" fmla="*/ 1994028 h 2968432"/>
              <a:gd name="connsiteX12" fmla="*/ 1372129 w 1512967"/>
              <a:gd name="connsiteY12" fmla="*/ 1999193 h 2968432"/>
              <a:gd name="connsiteX13" fmla="*/ 1370028 w 1512967"/>
              <a:gd name="connsiteY13" fmla="*/ 1994222 h 2968432"/>
              <a:gd name="connsiteX14" fmla="*/ 1389681 w 1512967"/>
              <a:gd name="connsiteY14" fmla="*/ 1999706 h 2968432"/>
              <a:gd name="connsiteX15" fmla="*/ 1478641 w 1512967"/>
              <a:gd name="connsiteY15" fmla="*/ 2059983 h 2968432"/>
              <a:gd name="connsiteX16" fmla="*/ 1512966 w 1512967"/>
              <a:gd name="connsiteY16" fmla="*/ 2075652 h 2968432"/>
              <a:gd name="connsiteX17" fmla="*/ 1512967 w 1512967"/>
              <a:gd name="connsiteY17" fmla="*/ 2075653 h 2968432"/>
              <a:gd name="connsiteX18" fmla="*/ 1478640 w 1512967"/>
              <a:gd name="connsiteY18" fmla="*/ 2059983 h 2968432"/>
              <a:gd name="connsiteX19" fmla="*/ 1389680 w 1512967"/>
              <a:gd name="connsiteY19" fmla="*/ 1999706 h 2968432"/>
              <a:gd name="connsiteX20" fmla="*/ 1189988 w 1512967"/>
              <a:gd name="connsiteY20" fmla="*/ 2229348 h 2968432"/>
              <a:gd name="connsiteX21" fmla="*/ 1323910 w 1512967"/>
              <a:gd name="connsiteY21" fmla="*/ 2540208 h 2968432"/>
              <a:gd name="connsiteX22" fmla="*/ 895836 w 1512967"/>
              <a:gd name="connsiteY22" fmla="*/ 2968432 h 2968432"/>
              <a:gd name="connsiteX23" fmla="*/ 467649 w 1512967"/>
              <a:gd name="connsiteY23" fmla="*/ 2540208 h 2968432"/>
              <a:gd name="connsiteX24" fmla="*/ 895836 w 1512967"/>
              <a:gd name="connsiteY24" fmla="*/ 2112122 h 2968432"/>
              <a:gd name="connsiteX25" fmla="*/ 1162546 w 1512967"/>
              <a:gd name="connsiteY25" fmla="*/ 2205435 h 2968432"/>
              <a:gd name="connsiteX26" fmla="*/ 1362238 w 1512967"/>
              <a:gd name="connsiteY26" fmla="*/ 1975794 h 2968432"/>
              <a:gd name="connsiteX27" fmla="*/ 1145763 w 1512967"/>
              <a:gd name="connsiteY27" fmla="*/ 1508129 h 2968432"/>
              <a:gd name="connsiteX28" fmla="*/ 856374 w 1512967"/>
              <a:gd name="connsiteY28" fmla="*/ 1508129 h 2968432"/>
              <a:gd name="connsiteX29" fmla="*/ 428187 w 1512967"/>
              <a:gd name="connsiteY29" fmla="*/ 1916013 h 2968432"/>
              <a:gd name="connsiteX30" fmla="*/ 0 w 1512967"/>
              <a:gd name="connsiteY30" fmla="*/ 1487789 h 2968432"/>
              <a:gd name="connsiteX31" fmla="*/ 428187 w 1512967"/>
              <a:gd name="connsiteY31" fmla="*/ 1059703 h 2968432"/>
              <a:gd name="connsiteX32" fmla="*/ 1506467 w 1512967"/>
              <a:gd name="connsiteY32" fmla="*/ 905789 h 2968432"/>
              <a:gd name="connsiteX33" fmla="*/ 1506452 w 1512967"/>
              <a:gd name="connsiteY33" fmla="*/ 905795 h 2968432"/>
              <a:gd name="connsiteX34" fmla="*/ 1423246 w 1512967"/>
              <a:gd name="connsiteY34" fmla="*/ 955533 h 2968432"/>
              <a:gd name="connsiteX35" fmla="*/ 1423248 w 1512967"/>
              <a:gd name="connsiteY35" fmla="*/ 955531 h 2968432"/>
              <a:gd name="connsiteX36" fmla="*/ 1506450 w 1512967"/>
              <a:gd name="connsiteY36" fmla="*/ 905795 h 2968432"/>
              <a:gd name="connsiteX37" fmla="*/ 1512231 w 1512967"/>
              <a:gd name="connsiteY37" fmla="*/ 903431 h 2968432"/>
              <a:gd name="connsiteX38" fmla="*/ 1512255 w 1512967"/>
              <a:gd name="connsiteY38" fmla="*/ 903678 h 2968432"/>
              <a:gd name="connsiteX39" fmla="*/ 1506467 w 1512967"/>
              <a:gd name="connsiteY39" fmla="*/ 905789 h 2968432"/>
              <a:gd name="connsiteX40" fmla="*/ 885063 w 1512967"/>
              <a:gd name="connsiteY40" fmla="*/ 0 h 2968432"/>
              <a:gd name="connsiteX41" fmla="*/ 1313137 w 1512967"/>
              <a:gd name="connsiteY41" fmla="*/ 428224 h 2968432"/>
              <a:gd name="connsiteX42" fmla="*/ 1203142 w 1512967"/>
              <a:gd name="connsiteY42" fmla="*/ 713935 h 2968432"/>
              <a:gd name="connsiteX43" fmla="*/ 1436399 w 1512967"/>
              <a:gd name="connsiteY43" fmla="*/ 942477 h 2968432"/>
              <a:gd name="connsiteX44" fmla="*/ 1436388 w 1512967"/>
              <a:gd name="connsiteY44" fmla="*/ 942488 h 2968432"/>
              <a:gd name="connsiteX45" fmla="*/ 1408845 w 1512967"/>
              <a:gd name="connsiteY45" fmla="*/ 966390 h 2968432"/>
              <a:gd name="connsiteX46" fmla="*/ 1327700 w 1512967"/>
              <a:gd name="connsiteY46" fmla="*/ 1042185 h 2968432"/>
              <a:gd name="connsiteX47" fmla="*/ 1327699 w 1512967"/>
              <a:gd name="connsiteY47" fmla="*/ 1042185 h 2968432"/>
              <a:gd name="connsiteX48" fmla="*/ 1408844 w 1512967"/>
              <a:gd name="connsiteY48" fmla="*/ 966390 h 2968432"/>
              <a:gd name="connsiteX49" fmla="*/ 1178081 w 1512967"/>
              <a:gd name="connsiteY49" fmla="*/ 740322 h 2968432"/>
              <a:gd name="connsiteX50" fmla="*/ 885063 w 1512967"/>
              <a:gd name="connsiteY50" fmla="*/ 856310 h 2968432"/>
              <a:gd name="connsiteX51" fmla="*/ 456876 w 1512967"/>
              <a:gd name="connsiteY51" fmla="*/ 428224 h 2968432"/>
              <a:gd name="connsiteX52" fmla="*/ 885063 w 1512967"/>
              <a:gd name="connsiteY52" fmla="*/ 0 h 2968432"/>
              <a:gd name="connsiteX0" fmla="*/ 428187 w 1512966"/>
              <a:gd name="connsiteY0" fmla="*/ 1059703 h 2968432"/>
              <a:gd name="connsiteX1" fmla="*/ 856374 w 1512966"/>
              <a:gd name="connsiteY1" fmla="*/ 1472260 h 2968432"/>
              <a:gd name="connsiteX2" fmla="*/ 1145763 w 1512966"/>
              <a:gd name="connsiteY2" fmla="*/ 1472260 h 2968432"/>
              <a:gd name="connsiteX3" fmla="*/ 1167542 w 1512966"/>
              <a:gd name="connsiteY3" fmla="*/ 1322215 h 2968432"/>
              <a:gd name="connsiteX4" fmla="*/ 1185798 w 1512966"/>
              <a:gd name="connsiteY4" fmla="*/ 1266617 h 2968432"/>
              <a:gd name="connsiteX5" fmla="*/ 1185798 w 1512966"/>
              <a:gd name="connsiteY5" fmla="*/ 1266619 h 2968432"/>
              <a:gd name="connsiteX6" fmla="*/ 1167543 w 1512966"/>
              <a:gd name="connsiteY6" fmla="*/ 1322215 h 2968432"/>
              <a:gd name="connsiteX7" fmla="*/ 1145764 w 1512966"/>
              <a:gd name="connsiteY7" fmla="*/ 1472260 h 2968432"/>
              <a:gd name="connsiteX8" fmla="*/ 1145764 w 1512966"/>
              <a:gd name="connsiteY8" fmla="*/ 1508128 h 2968432"/>
              <a:gd name="connsiteX9" fmla="*/ 1362239 w 1512966"/>
              <a:gd name="connsiteY9" fmla="*/ 1975794 h 2968432"/>
              <a:gd name="connsiteX10" fmla="*/ 1370028 w 1512966"/>
              <a:gd name="connsiteY10" fmla="*/ 1994222 h 2968432"/>
              <a:gd name="connsiteX11" fmla="*/ 1369335 w 1512966"/>
              <a:gd name="connsiteY11" fmla="*/ 1994028 h 2968432"/>
              <a:gd name="connsiteX12" fmla="*/ 1372129 w 1512966"/>
              <a:gd name="connsiteY12" fmla="*/ 1999193 h 2968432"/>
              <a:gd name="connsiteX13" fmla="*/ 1370028 w 1512966"/>
              <a:gd name="connsiteY13" fmla="*/ 1994222 h 2968432"/>
              <a:gd name="connsiteX14" fmla="*/ 1389681 w 1512966"/>
              <a:gd name="connsiteY14" fmla="*/ 1999706 h 2968432"/>
              <a:gd name="connsiteX15" fmla="*/ 1478641 w 1512966"/>
              <a:gd name="connsiteY15" fmla="*/ 2059983 h 2968432"/>
              <a:gd name="connsiteX16" fmla="*/ 1512966 w 1512966"/>
              <a:gd name="connsiteY16" fmla="*/ 2075652 h 2968432"/>
              <a:gd name="connsiteX17" fmla="*/ 1478640 w 1512966"/>
              <a:gd name="connsiteY17" fmla="*/ 2059983 h 2968432"/>
              <a:gd name="connsiteX18" fmla="*/ 1389680 w 1512966"/>
              <a:gd name="connsiteY18" fmla="*/ 1999706 h 2968432"/>
              <a:gd name="connsiteX19" fmla="*/ 1189988 w 1512966"/>
              <a:gd name="connsiteY19" fmla="*/ 2229348 h 2968432"/>
              <a:gd name="connsiteX20" fmla="*/ 1323910 w 1512966"/>
              <a:gd name="connsiteY20" fmla="*/ 2540208 h 2968432"/>
              <a:gd name="connsiteX21" fmla="*/ 895836 w 1512966"/>
              <a:gd name="connsiteY21" fmla="*/ 2968432 h 2968432"/>
              <a:gd name="connsiteX22" fmla="*/ 467649 w 1512966"/>
              <a:gd name="connsiteY22" fmla="*/ 2540208 h 2968432"/>
              <a:gd name="connsiteX23" fmla="*/ 895836 w 1512966"/>
              <a:gd name="connsiteY23" fmla="*/ 2112122 h 2968432"/>
              <a:gd name="connsiteX24" fmla="*/ 1162546 w 1512966"/>
              <a:gd name="connsiteY24" fmla="*/ 2205435 h 2968432"/>
              <a:gd name="connsiteX25" fmla="*/ 1362238 w 1512966"/>
              <a:gd name="connsiteY25" fmla="*/ 1975794 h 2968432"/>
              <a:gd name="connsiteX26" fmla="*/ 1145763 w 1512966"/>
              <a:gd name="connsiteY26" fmla="*/ 1508129 h 2968432"/>
              <a:gd name="connsiteX27" fmla="*/ 856374 w 1512966"/>
              <a:gd name="connsiteY27" fmla="*/ 1508129 h 2968432"/>
              <a:gd name="connsiteX28" fmla="*/ 428187 w 1512966"/>
              <a:gd name="connsiteY28" fmla="*/ 1916013 h 2968432"/>
              <a:gd name="connsiteX29" fmla="*/ 0 w 1512966"/>
              <a:gd name="connsiteY29" fmla="*/ 1487789 h 2968432"/>
              <a:gd name="connsiteX30" fmla="*/ 428187 w 1512966"/>
              <a:gd name="connsiteY30" fmla="*/ 1059703 h 2968432"/>
              <a:gd name="connsiteX31" fmla="*/ 1506467 w 1512966"/>
              <a:gd name="connsiteY31" fmla="*/ 905789 h 2968432"/>
              <a:gd name="connsiteX32" fmla="*/ 1506452 w 1512966"/>
              <a:gd name="connsiteY32" fmla="*/ 905795 h 2968432"/>
              <a:gd name="connsiteX33" fmla="*/ 1423246 w 1512966"/>
              <a:gd name="connsiteY33" fmla="*/ 955533 h 2968432"/>
              <a:gd name="connsiteX34" fmla="*/ 1423248 w 1512966"/>
              <a:gd name="connsiteY34" fmla="*/ 955531 h 2968432"/>
              <a:gd name="connsiteX35" fmla="*/ 1506450 w 1512966"/>
              <a:gd name="connsiteY35" fmla="*/ 905795 h 2968432"/>
              <a:gd name="connsiteX36" fmla="*/ 1506467 w 1512966"/>
              <a:gd name="connsiteY36" fmla="*/ 905789 h 2968432"/>
              <a:gd name="connsiteX37" fmla="*/ 1512231 w 1512966"/>
              <a:gd name="connsiteY37" fmla="*/ 903431 h 2968432"/>
              <a:gd name="connsiteX38" fmla="*/ 1512255 w 1512966"/>
              <a:gd name="connsiteY38" fmla="*/ 903678 h 2968432"/>
              <a:gd name="connsiteX39" fmla="*/ 1506467 w 1512966"/>
              <a:gd name="connsiteY39" fmla="*/ 905789 h 2968432"/>
              <a:gd name="connsiteX40" fmla="*/ 1512231 w 1512966"/>
              <a:gd name="connsiteY40" fmla="*/ 903431 h 2968432"/>
              <a:gd name="connsiteX41" fmla="*/ 885063 w 1512966"/>
              <a:gd name="connsiteY41" fmla="*/ 0 h 2968432"/>
              <a:gd name="connsiteX42" fmla="*/ 1313137 w 1512966"/>
              <a:gd name="connsiteY42" fmla="*/ 428224 h 2968432"/>
              <a:gd name="connsiteX43" fmla="*/ 1203142 w 1512966"/>
              <a:gd name="connsiteY43" fmla="*/ 713935 h 2968432"/>
              <a:gd name="connsiteX44" fmla="*/ 1436399 w 1512966"/>
              <a:gd name="connsiteY44" fmla="*/ 942477 h 2968432"/>
              <a:gd name="connsiteX45" fmla="*/ 1436388 w 1512966"/>
              <a:gd name="connsiteY45" fmla="*/ 942488 h 2968432"/>
              <a:gd name="connsiteX46" fmla="*/ 1408845 w 1512966"/>
              <a:gd name="connsiteY46" fmla="*/ 966390 h 2968432"/>
              <a:gd name="connsiteX47" fmla="*/ 1327700 w 1512966"/>
              <a:gd name="connsiteY47" fmla="*/ 1042185 h 2968432"/>
              <a:gd name="connsiteX48" fmla="*/ 1327699 w 1512966"/>
              <a:gd name="connsiteY48" fmla="*/ 1042185 h 2968432"/>
              <a:gd name="connsiteX49" fmla="*/ 1408844 w 1512966"/>
              <a:gd name="connsiteY49" fmla="*/ 966390 h 2968432"/>
              <a:gd name="connsiteX50" fmla="*/ 1178081 w 1512966"/>
              <a:gd name="connsiteY50" fmla="*/ 740322 h 2968432"/>
              <a:gd name="connsiteX51" fmla="*/ 885063 w 1512966"/>
              <a:gd name="connsiteY51" fmla="*/ 856310 h 2968432"/>
              <a:gd name="connsiteX52" fmla="*/ 456876 w 1512966"/>
              <a:gd name="connsiteY52" fmla="*/ 428224 h 2968432"/>
              <a:gd name="connsiteX53" fmla="*/ 885063 w 1512966"/>
              <a:gd name="connsiteY53"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478641 w 1512255"/>
              <a:gd name="connsiteY15" fmla="*/ 2059983 h 2968432"/>
              <a:gd name="connsiteX16" fmla="*/ 1478640 w 1512255"/>
              <a:gd name="connsiteY16" fmla="*/ 2059983 h 2968432"/>
              <a:gd name="connsiteX17" fmla="*/ 1389680 w 1512255"/>
              <a:gd name="connsiteY17" fmla="*/ 1999706 h 2968432"/>
              <a:gd name="connsiteX18" fmla="*/ 1189988 w 1512255"/>
              <a:gd name="connsiteY18" fmla="*/ 2229348 h 2968432"/>
              <a:gd name="connsiteX19" fmla="*/ 1323910 w 1512255"/>
              <a:gd name="connsiteY19" fmla="*/ 2540208 h 2968432"/>
              <a:gd name="connsiteX20" fmla="*/ 895836 w 1512255"/>
              <a:gd name="connsiteY20" fmla="*/ 2968432 h 2968432"/>
              <a:gd name="connsiteX21" fmla="*/ 467649 w 1512255"/>
              <a:gd name="connsiteY21" fmla="*/ 2540208 h 2968432"/>
              <a:gd name="connsiteX22" fmla="*/ 895836 w 1512255"/>
              <a:gd name="connsiteY22" fmla="*/ 2112122 h 2968432"/>
              <a:gd name="connsiteX23" fmla="*/ 1162546 w 1512255"/>
              <a:gd name="connsiteY23" fmla="*/ 2205435 h 2968432"/>
              <a:gd name="connsiteX24" fmla="*/ 1362238 w 1512255"/>
              <a:gd name="connsiteY24" fmla="*/ 1975794 h 2968432"/>
              <a:gd name="connsiteX25" fmla="*/ 1145763 w 1512255"/>
              <a:gd name="connsiteY25" fmla="*/ 1508129 h 2968432"/>
              <a:gd name="connsiteX26" fmla="*/ 856374 w 1512255"/>
              <a:gd name="connsiteY26" fmla="*/ 1508129 h 2968432"/>
              <a:gd name="connsiteX27" fmla="*/ 428187 w 1512255"/>
              <a:gd name="connsiteY27" fmla="*/ 1916013 h 2968432"/>
              <a:gd name="connsiteX28" fmla="*/ 0 w 1512255"/>
              <a:gd name="connsiteY28" fmla="*/ 1487789 h 2968432"/>
              <a:gd name="connsiteX29" fmla="*/ 428187 w 1512255"/>
              <a:gd name="connsiteY29" fmla="*/ 1059703 h 2968432"/>
              <a:gd name="connsiteX30" fmla="*/ 1506467 w 1512255"/>
              <a:gd name="connsiteY30" fmla="*/ 905789 h 2968432"/>
              <a:gd name="connsiteX31" fmla="*/ 1506452 w 1512255"/>
              <a:gd name="connsiteY31" fmla="*/ 905795 h 2968432"/>
              <a:gd name="connsiteX32" fmla="*/ 1423246 w 1512255"/>
              <a:gd name="connsiteY32" fmla="*/ 955533 h 2968432"/>
              <a:gd name="connsiteX33" fmla="*/ 1423248 w 1512255"/>
              <a:gd name="connsiteY33" fmla="*/ 955531 h 2968432"/>
              <a:gd name="connsiteX34" fmla="*/ 1506450 w 1512255"/>
              <a:gd name="connsiteY34" fmla="*/ 905795 h 2968432"/>
              <a:gd name="connsiteX35" fmla="*/ 1506467 w 1512255"/>
              <a:gd name="connsiteY35" fmla="*/ 905789 h 2968432"/>
              <a:gd name="connsiteX36" fmla="*/ 1512231 w 1512255"/>
              <a:gd name="connsiteY36" fmla="*/ 903431 h 2968432"/>
              <a:gd name="connsiteX37" fmla="*/ 1512255 w 1512255"/>
              <a:gd name="connsiteY37" fmla="*/ 903678 h 2968432"/>
              <a:gd name="connsiteX38" fmla="*/ 1506467 w 1512255"/>
              <a:gd name="connsiteY38" fmla="*/ 905789 h 2968432"/>
              <a:gd name="connsiteX39" fmla="*/ 1512231 w 1512255"/>
              <a:gd name="connsiteY39" fmla="*/ 903431 h 2968432"/>
              <a:gd name="connsiteX40" fmla="*/ 885063 w 1512255"/>
              <a:gd name="connsiteY40" fmla="*/ 0 h 2968432"/>
              <a:gd name="connsiteX41" fmla="*/ 1313137 w 1512255"/>
              <a:gd name="connsiteY41" fmla="*/ 428224 h 2968432"/>
              <a:gd name="connsiteX42" fmla="*/ 1203142 w 1512255"/>
              <a:gd name="connsiteY42" fmla="*/ 713935 h 2968432"/>
              <a:gd name="connsiteX43" fmla="*/ 1436399 w 1512255"/>
              <a:gd name="connsiteY43" fmla="*/ 942477 h 2968432"/>
              <a:gd name="connsiteX44" fmla="*/ 1436388 w 1512255"/>
              <a:gd name="connsiteY44" fmla="*/ 942488 h 2968432"/>
              <a:gd name="connsiteX45" fmla="*/ 1408845 w 1512255"/>
              <a:gd name="connsiteY45" fmla="*/ 966390 h 2968432"/>
              <a:gd name="connsiteX46" fmla="*/ 1327700 w 1512255"/>
              <a:gd name="connsiteY46" fmla="*/ 1042185 h 2968432"/>
              <a:gd name="connsiteX47" fmla="*/ 1327699 w 1512255"/>
              <a:gd name="connsiteY47" fmla="*/ 1042185 h 2968432"/>
              <a:gd name="connsiteX48" fmla="*/ 1408844 w 1512255"/>
              <a:gd name="connsiteY48" fmla="*/ 966390 h 2968432"/>
              <a:gd name="connsiteX49" fmla="*/ 1178081 w 1512255"/>
              <a:gd name="connsiteY49" fmla="*/ 740322 h 2968432"/>
              <a:gd name="connsiteX50" fmla="*/ 885063 w 1512255"/>
              <a:gd name="connsiteY50" fmla="*/ 856310 h 2968432"/>
              <a:gd name="connsiteX51" fmla="*/ 456876 w 1512255"/>
              <a:gd name="connsiteY51" fmla="*/ 428224 h 2968432"/>
              <a:gd name="connsiteX52" fmla="*/ 885063 w 1512255"/>
              <a:gd name="connsiteY52"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478641 w 1512255"/>
              <a:gd name="connsiteY15" fmla="*/ 2059983 h 2968432"/>
              <a:gd name="connsiteX16" fmla="*/ 1389680 w 1512255"/>
              <a:gd name="connsiteY16" fmla="*/ 1999706 h 2968432"/>
              <a:gd name="connsiteX17" fmla="*/ 1189988 w 1512255"/>
              <a:gd name="connsiteY17" fmla="*/ 2229348 h 2968432"/>
              <a:gd name="connsiteX18" fmla="*/ 1323910 w 1512255"/>
              <a:gd name="connsiteY18" fmla="*/ 2540208 h 2968432"/>
              <a:gd name="connsiteX19" fmla="*/ 895836 w 1512255"/>
              <a:gd name="connsiteY19" fmla="*/ 2968432 h 2968432"/>
              <a:gd name="connsiteX20" fmla="*/ 467649 w 1512255"/>
              <a:gd name="connsiteY20" fmla="*/ 2540208 h 2968432"/>
              <a:gd name="connsiteX21" fmla="*/ 895836 w 1512255"/>
              <a:gd name="connsiteY21" fmla="*/ 2112122 h 2968432"/>
              <a:gd name="connsiteX22" fmla="*/ 1162546 w 1512255"/>
              <a:gd name="connsiteY22" fmla="*/ 2205435 h 2968432"/>
              <a:gd name="connsiteX23" fmla="*/ 1362238 w 1512255"/>
              <a:gd name="connsiteY23" fmla="*/ 1975794 h 2968432"/>
              <a:gd name="connsiteX24" fmla="*/ 1145763 w 1512255"/>
              <a:gd name="connsiteY24" fmla="*/ 1508129 h 2968432"/>
              <a:gd name="connsiteX25" fmla="*/ 856374 w 1512255"/>
              <a:gd name="connsiteY25" fmla="*/ 1508129 h 2968432"/>
              <a:gd name="connsiteX26" fmla="*/ 428187 w 1512255"/>
              <a:gd name="connsiteY26" fmla="*/ 1916013 h 2968432"/>
              <a:gd name="connsiteX27" fmla="*/ 0 w 1512255"/>
              <a:gd name="connsiteY27" fmla="*/ 1487789 h 2968432"/>
              <a:gd name="connsiteX28" fmla="*/ 428187 w 1512255"/>
              <a:gd name="connsiteY28" fmla="*/ 1059703 h 2968432"/>
              <a:gd name="connsiteX29" fmla="*/ 1506467 w 1512255"/>
              <a:gd name="connsiteY29" fmla="*/ 905789 h 2968432"/>
              <a:gd name="connsiteX30" fmla="*/ 1506452 w 1512255"/>
              <a:gd name="connsiteY30" fmla="*/ 905795 h 2968432"/>
              <a:gd name="connsiteX31" fmla="*/ 1423246 w 1512255"/>
              <a:gd name="connsiteY31" fmla="*/ 955533 h 2968432"/>
              <a:gd name="connsiteX32" fmla="*/ 1423248 w 1512255"/>
              <a:gd name="connsiteY32" fmla="*/ 955531 h 2968432"/>
              <a:gd name="connsiteX33" fmla="*/ 1506450 w 1512255"/>
              <a:gd name="connsiteY33" fmla="*/ 905795 h 2968432"/>
              <a:gd name="connsiteX34" fmla="*/ 1506467 w 1512255"/>
              <a:gd name="connsiteY34" fmla="*/ 905789 h 2968432"/>
              <a:gd name="connsiteX35" fmla="*/ 1512231 w 1512255"/>
              <a:gd name="connsiteY35" fmla="*/ 903431 h 2968432"/>
              <a:gd name="connsiteX36" fmla="*/ 1512255 w 1512255"/>
              <a:gd name="connsiteY36" fmla="*/ 903678 h 2968432"/>
              <a:gd name="connsiteX37" fmla="*/ 1506467 w 1512255"/>
              <a:gd name="connsiteY37" fmla="*/ 905789 h 2968432"/>
              <a:gd name="connsiteX38" fmla="*/ 1512231 w 1512255"/>
              <a:gd name="connsiteY38" fmla="*/ 903431 h 2968432"/>
              <a:gd name="connsiteX39" fmla="*/ 885063 w 1512255"/>
              <a:gd name="connsiteY39" fmla="*/ 0 h 2968432"/>
              <a:gd name="connsiteX40" fmla="*/ 1313137 w 1512255"/>
              <a:gd name="connsiteY40" fmla="*/ 428224 h 2968432"/>
              <a:gd name="connsiteX41" fmla="*/ 1203142 w 1512255"/>
              <a:gd name="connsiteY41" fmla="*/ 713935 h 2968432"/>
              <a:gd name="connsiteX42" fmla="*/ 1436399 w 1512255"/>
              <a:gd name="connsiteY42" fmla="*/ 942477 h 2968432"/>
              <a:gd name="connsiteX43" fmla="*/ 1436388 w 1512255"/>
              <a:gd name="connsiteY43" fmla="*/ 942488 h 2968432"/>
              <a:gd name="connsiteX44" fmla="*/ 1408845 w 1512255"/>
              <a:gd name="connsiteY44" fmla="*/ 966390 h 2968432"/>
              <a:gd name="connsiteX45" fmla="*/ 1327700 w 1512255"/>
              <a:gd name="connsiteY45" fmla="*/ 1042185 h 2968432"/>
              <a:gd name="connsiteX46" fmla="*/ 1327699 w 1512255"/>
              <a:gd name="connsiteY46" fmla="*/ 1042185 h 2968432"/>
              <a:gd name="connsiteX47" fmla="*/ 1408844 w 1512255"/>
              <a:gd name="connsiteY47" fmla="*/ 966390 h 2968432"/>
              <a:gd name="connsiteX48" fmla="*/ 1178081 w 1512255"/>
              <a:gd name="connsiteY48" fmla="*/ 740322 h 2968432"/>
              <a:gd name="connsiteX49" fmla="*/ 885063 w 1512255"/>
              <a:gd name="connsiteY49" fmla="*/ 856310 h 2968432"/>
              <a:gd name="connsiteX50" fmla="*/ 456876 w 1512255"/>
              <a:gd name="connsiteY50" fmla="*/ 428224 h 2968432"/>
              <a:gd name="connsiteX51" fmla="*/ 885063 w 1512255"/>
              <a:gd name="connsiteY51"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67543 w 1512255"/>
              <a:gd name="connsiteY6" fmla="*/ 1322215 h 2968432"/>
              <a:gd name="connsiteX7" fmla="*/ 1145764 w 1512255"/>
              <a:gd name="connsiteY7" fmla="*/ 1472260 h 2968432"/>
              <a:gd name="connsiteX8" fmla="*/ 1145764 w 1512255"/>
              <a:gd name="connsiteY8" fmla="*/ 1508128 h 2968432"/>
              <a:gd name="connsiteX9" fmla="*/ 1362239 w 1512255"/>
              <a:gd name="connsiteY9" fmla="*/ 1975794 h 2968432"/>
              <a:gd name="connsiteX10" fmla="*/ 1370028 w 1512255"/>
              <a:gd name="connsiteY10" fmla="*/ 1994222 h 2968432"/>
              <a:gd name="connsiteX11" fmla="*/ 1369335 w 1512255"/>
              <a:gd name="connsiteY11" fmla="*/ 1994028 h 2968432"/>
              <a:gd name="connsiteX12" fmla="*/ 1372129 w 1512255"/>
              <a:gd name="connsiteY12" fmla="*/ 1999193 h 2968432"/>
              <a:gd name="connsiteX13" fmla="*/ 1370028 w 1512255"/>
              <a:gd name="connsiteY13" fmla="*/ 1994222 h 2968432"/>
              <a:gd name="connsiteX14" fmla="*/ 1389681 w 1512255"/>
              <a:gd name="connsiteY14" fmla="*/ 1999706 h 2968432"/>
              <a:gd name="connsiteX15" fmla="*/ 1389680 w 1512255"/>
              <a:gd name="connsiteY15" fmla="*/ 1999706 h 2968432"/>
              <a:gd name="connsiteX16" fmla="*/ 1189988 w 1512255"/>
              <a:gd name="connsiteY16" fmla="*/ 2229348 h 2968432"/>
              <a:gd name="connsiteX17" fmla="*/ 1323910 w 1512255"/>
              <a:gd name="connsiteY17" fmla="*/ 2540208 h 2968432"/>
              <a:gd name="connsiteX18" fmla="*/ 895836 w 1512255"/>
              <a:gd name="connsiteY18" fmla="*/ 2968432 h 2968432"/>
              <a:gd name="connsiteX19" fmla="*/ 467649 w 1512255"/>
              <a:gd name="connsiteY19" fmla="*/ 2540208 h 2968432"/>
              <a:gd name="connsiteX20" fmla="*/ 895836 w 1512255"/>
              <a:gd name="connsiteY20" fmla="*/ 2112122 h 2968432"/>
              <a:gd name="connsiteX21" fmla="*/ 1162546 w 1512255"/>
              <a:gd name="connsiteY21" fmla="*/ 2205435 h 2968432"/>
              <a:gd name="connsiteX22" fmla="*/ 1362238 w 1512255"/>
              <a:gd name="connsiteY22" fmla="*/ 1975794 h 2968432"/>
              <a:gd name="connsiteX23" fmla="*/ 1145763 w 1512255"/>
              <a:gd name="connsiteY23" fmla="*/ 1508129 h 2968432"/>
              <a:gd name="connsiteX24" fmla="*/ 856374 w 1512255"/>
              <a:gd name="connsiteY24" fmla="*/ 1508129 h 2968432"/>
              <a:gd name="connsiteX25" fmla="*/ 428187 w 1512255"/>
              <a:gd name="connsiteY25" fmla="*/ 1916013 h 2968432"/>
              <a:gd name="connsiteX26" fmla="*/ 0 w 1512255"/>
              <a:gd name="connsiteY26" fmla="*/ 1487789 h 2968432"/>
              <a:gd name="connsiteX27" fmla="*/ 428187 w 1512255"/>
              <a:gd name="connsiteY27" fmla="*/ 1059703 h 2968432"/>
              <a:gd name="connsiteX28" fmla="*/ 1506467 w 1512255"/>
              <a:gd name="connsiteY28" fmla="*/ 905789 h 2968432"/>
              <a:gd name="connsiteX29" fmla="*/ 1506452 w 1512255"/>
              <a:gd name="connsiteY29" fmla="*/ 905795 h 2968432"/>
              <a:gd name="connsiteX30" fmla="*/ 1423246 w 1512255"/>
              <a:gd name="connsiteY30" fmla="*/ 955533 h 2968432"/>
              <a:gd name="connsiteX31" fmla="*/ 1423248 w 1512255"/>
              <a:gd name="connsiteY31" fmla="*/ 955531 h 2968432"/>
              <a:gd name="connsiteX32" fmla="*/ 1506450 w 1512255"/>
              <a:gd name="connsiteY32" fmla="*/ 905795 h 2968432"/>
              <a:gd name="connsiteX33" fmla="*/ 1506467 w 1512255"/>
              <a:gd name="connsiteY33" fmla="*/ 905789 h 2968432"/>
              <a:gd name="connsiteX34" fmla="*/ 1512231 w 1512255"/>
              <a:gd name="connsiteY34" fmla="*/ 903431 h 2968432"/>
              <a:gd name="connsiteX35" fmla="*/ 1512255 w 1512255"/>
              <a:gd name="connsiteY35" fmla="*/ 903678 h 2968432"/>
              <a:gd name="connsiteX36" fmla="*/ 1506467 w 1512255"/>
              <a:gd name="connsiteY36" fmla="*/ 905789 h 2968432"/>
              <a:gd name="connsiteX37" fmla="*/ 1512231 w 1512255"/>
              <a:gd name="connsiteY37" fmla="*/ 903431 h 2968432"/>
              <a:gd name="connsiteX38" fmla="*/ 885063 w 1512255"/>
              <a:gd name="connsiteY38" fmla="*/ 0 h 2968432"/>
              <a:gd name="connsiteX39" fmla="*/ 1313137 w 1512255"/>
              <a:gd name="connsiteY39" fmla="*/ 428224 h 2968432"/>
              <a:gd name="connsiteX40" fmla="*/ 1203142 w 1512255"/>
              <a:gd name="connsiteY40" fmla="*/ 713935 h 2968432"/>
              <a:gd name="connsiteX41" fmla="*/ 1436399 w 1512255"/>
              <a:gd name="connsiteY41" fmla="*/ 942477 h 2968432"/>
              <a:gd name="connsiteX42" fmla="*/ 1436388 w 1512255"/>
              <a:gd name="connsiteY42" fmla="*/ 942488 h 2968432"/>
              <a:gd name="connsiteX43" fmla="*/ 1408845 w 1512255"/>
              <a:gd name="connsiteY43" fmla="*/ 966390 h 2968432"/>
              <a:gd name="connsiteX44" fmla="*/ 1327700 w 1512255"/>
              <a:gd name="connsiteY44" fmla="*/ 1042185 h 2968432"/>
              <a:gd name="connsiteX45" fmla="*/ 1327699 w 1512255"/>
              <a:gd name="connsiteY45" fmla="*/ 1042185 h 2968432"/>
              <a:gd name="connsiteX46" fmla="*/ 1408844 w 1512255"/>
              <a:gd name="connsiteY46" fmla="*/ 966390 h 2968432"/>
              <a:gd name="connsiteX47" fmla="*/ 1178081 w 1512255"/>
              <a:gd name="connsiteY47" fmla="*/ 740322 h 2968432"/>
              <a:gd name="connsiteX48" fmla="*/ 885063 w 1512255"/>
              <a:gd name="connsiteY48" fmla="*/ 856310 h 2968432"/>
              <a:gd name="connsiteX49" fmla="*/ 456876 w 1512255"/>
              <a:gd name="connsiteY49" fmla="*/ 428224 h 2968432"/>
              <a:gd name="connsiteX50" fmla="*/ 885063 w 1512255"/>
              <a:gd name="connsiteY50"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67542 w 1512255"/>
              <a:gd name="connsiteY3" fmla="*/ 1322215 h 2968432"/>
              <a:gd name="connsiteX4" fmla="*/ 1185798 w 1512255"/>
              <a:gd name="connsiteY4" fmla="*/ 1266617 h 2968432"/>
              <a:gd name="connsiteX5" fmla="*/ 1185798 w 1512255"/>
              <a:gd name="connsiteY5" fmla="*/ 1266619 h 2968432"/>
              <a:gd name="connsiteX6" fmla="*/ 1145764 w 1512255"/>
              <a:gd name="connsiteY6" fmla="*/ 1472260 h 2968432"/>
              <a:gd name="connsiteX7" fmla="*/ 1145764 w 1512255"/>
              <a:gd name="connsiteY7" fmla="*/ 1508128 h 2968432"/>
              <a:gd name="connsiteX8" fmla="*/ 1362239 w 1512255"/>
              <a:gd name="connsiteY8" fmla="*/ 1975794 h 2968432"/>
              <a:gd name="connsiteX9" fmla="*/ 1370028 w 1512255"/>
              <a:gd name="connsiteY9" fmla="*/ 1994222 h 2968432"/>
              <a:gd name="connsiteX10" fmla="*/ 1369335 w 1512255"/>
              <a:gd name="connsiteY10" fmla="*/ 1994028 h 2968432"/>
              <a:gd name="connsiteX11" fmla="*/ 1372129 w 1512255"/>
              <a:gd name="connsiteY11" fmla="*/ 1999193 h 2968432"/>
              <a:gd name="connsiteX12" fmla="*/ 1370028 w 1512255"/>
              <a:gd name="connsiteY12" fmla="*/ 1994222 h 2968432"/>
              <a:gd name="connsiteX13" fmla="*/ 1389681 w 1512255"/>
              <a:gd name="connsiteY13" fmla="*/ 1999706 h 2968432"/>
              <a:gd name="connsiteX14" fmla="*/ 1389680 w 1512255"/>
              <a:gd name="connsiteY14" fmla="*/ 1999706 h 2968432"/>
              <a:gd name="connsiteX15" fmla="*/ 1189988 w 1512255"/>
              <a:gd name="connsiteY15" fmla="*/ 2229348 h 2968432"/>
              <a:gd name="connsiteX16" fmla="*/ 1323910 w 1512255"/>
              <a:gd name="connsiteY16" fmla="*/ 2540208 h 2968432"/>
              <a:gd name="connsiteX17" fmla="*/ 895836 w 1512255"/>
              <a:gd name="connsiteY17" fmla="*/ 2968432 h 2968432"/>
              <a:gd name="connsiteX18" fmla="*/ 467649 w 1512255"/>
              <a:gd name="connsiteY18" fmla="*/ 2540208 h 2968432"/>
              <a:gd name="connsiteX19" fmla="*/ 895836 w 1512255"/>
              <a:gd name="connsiteY19" fmla="*/ 2112122 h 2968432"/>
              <a:gd name="connsiteX20" fmla="*/ 1162546 w 1512255"/>
              <a:gd name="connsiteY20" fmla="*/ 2205435 h 2968432"/>
              <a:gd name="connsiteX21" fmla="*/ 1362238 w 1512255"/>
              <a:gd name="connsiteY21" fmla="*/ 1975794 h 2968432"/>
              <a:gd name="connsiteX22" fmla="*/ 1145763 w 1512255"/>
              <a:gd name="connsiteY22" fmla="*/ 1508129 h 2968432"/>
              <a:gd name="connsiteX23" fmla="*/ 856374 w 1512255"/>
              <a:gd name="connsiteY23" fmla="*/ 1508129 h 2968432"/>
              <a:gd name="connsiteX24" fmla="*/ 428187 w 1512255"/>
              <a:gd name="connsiteY24" fmla="*/ 1916013 h 2968432"/>
              <a:gd name="connsiteX25" fmla="*/ 0 w 1512255"/>
              <a:gd name="connsiteY25" fmla="*/ 1487789 h 2968432"/>
              <a:gd name="connsiteX26" fmla="*/ 428187 w 1512255"/>
              <a:gd name="connsiteY26" fmla="*/ 1059703 h 2968432"/>
              <a:gd name="connsiteX27" fmla="*/ 1506467 w 1512255"/>
              <a:gd name="connsiteY27" fmla="*/ 905789 h 2968432"/>
              <a:gd name="connsiteX28" fmla="*/ 1506452 w 1512255"/>
              <a:gd name="connsiteY28" fmla="*/ 905795 h 2968432"/>
              <a:gd name="connsiteX29" fmla="*/ 1423246 w 1512255"/>
              <a:gd name="connsiteY29" fmla="*/ 955533 h 2968432"/>
              <a:gd name="connsiteX30" fmla="*/ 1423248 w 1512255"/>
              <a:gd name="connsiteY30" fmla="*/ 955531 h 2968432"/>
              <a:gd name="connsiteX31" fmla="*/ 1506450 w 1512255"/>
              <a:gd name="connsiteY31" fmla="*/ 905795 h 2968432"/>
              <a:gd name="connsiteX32" fmla="*/ 1506467 w 1512255"/>
              <a:gd name="connsiteY32" fmla="*/ 905789 h 2968432"/>
              <a:gd name="connsiteX33" fmla="*/ 1512231 w 1512255"/>
              <a:gd name="connsiteY33" fmla="*/ 903431 h 2968432"/>
              <a:gd name="connsiteX34" fmla="*/ 1512255 w 1512255"/>
              <a:gd name="connsiteY34" fmla="*/ 903678 h 2968432"/>
              <a:gd name="connsiteX35" fmla="*/ 1506467 w 1512255"/>
              <a:gd name="connsiteY35" fmla="*/ 905789 h 2968432"/>
              <a:gd name="connsiteX36" fmla="*/ 1512231 w 1512255"/>
              <a:gd name="connsiteY36" fmla="*/ 903431 h 2968432"/>
              <a:gd name="connsiteX37" fmla="*/ 885063 w 1512255"/>
              <a:gd name="connsiteY37" fmla="*/ 0 h 2968432"/>
              <a:gd name="connsiteX38" fmla="*/ 1313137 w 1512255"/>
              <a:gd name="connsiteY38" fmla="*/ 428224 h 2968432"/>
              <a:gd name="connsiteX39" fmla="*/ 1203142 w 1512255"/>
              <a:gd name="connsiteY39" fmla="*/ 713935 h 2968432"/>
              <a:gd name="connsiteX40" fmla="*/ 1436399 w 1512255"/>
              <a:gd name="connsiteY40" fmla="*/ 942477 h 2968432"/>
              <a:gd name="connsiteX41" fmla="*/ 1436388 w 1512255"/>
              <a:gd name="connsiteY41" fmla="*/ 942488 h 2968432"/>
              <a:gd name="connsiteX42" fmla="*/ 1408845 w 1512255"/>
              <a:gd name="connsiteY42" fmla="*/ 966390 h 2968432"/>
              <a:gd name="connsiteX43" fmla="*/ 1327700 w 1512255"/>
              <a:gd name="connsiteY43" fmla="*/ 1042185 h 2968432"/>
              <a:gd name="connsiteX44" fmla="*/ 1327699 w 1512255"/>
              <a:gd name="connsiteY44" fmla="*/ 1042185 h 2968432"/>
              <a:gd name="connsiteX45" fmla="*/ 1408844 w 1512255"/>
              <a:gd name="connsiteY45" fmla="*/ 966390 h 2968432"/>
              <a:gd name="connsiteX46" fmla="*/ 1178081 w 1512255"/>
              <a:gd name="connsiteY46" fmla="*/ 740322 h 2968432"/>
              <a:gd name="connsiteX47" fmla="*/ 885063 w 1512255"/>
              <a:gd name="connsiteY47" fmla="*/ 856310 h 2968432"/>
              <a:gd name="connsiteX48" fmla="*/ 456876 w 1512255"/>
              <a:gd name="connsiteY48" fmla="*/ 428224 h 2968432"/>
              <a:gd name="connsiteX49" fmla="*/ 885063 w 1512255"/>
              <a:gd name="connsiteY49"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85798 w 1512255"/>
              <a:gd name="connsiteY3" fmla="*/ 1266617 h 2968432"/>
              <a:gd name="connsiteX4" fmla="*/ 1185798 w 1512255"/>
              <a:gd name="connsiteY4" fmla="*/ 1266619 h 2968432"/>
              <a:gd name="connsiteX5" fmla="*/ 1145764 w 1512255"/>
              <a:gd name="connsiteY5" fmla="*/ 1472260 h 2968432"/>
              <a:gd name="connsiteX6" fmla="*/ 1145764 w 1512255"/>
              <a:gd name="connsiteY6" fmla="*/ 1508128 h 2968432"/>
              <a:gd name="connsiteX7" fmla="*/ 1362239 w 1512255"/>
              <a:gd name="connsiteY7" fmla="*/ 1975794 h 2968432"/>
              <a:gd name="connsiteX8" fmla="*/ 1370028 w 1512255"/>
              <a:gd name="connsiteY8" fmla="*/ 1994222 h 2968432"/>
              <a:gd name="connsiteX9" fmla="*/ 1369335 w 1512255"/>
              <a:gd name="connsiteY9" fmla="*/ 1994028 h 2968432"/>
              <a:gd name="connsiteX10" fmla="*/ 1372129 w 1512255"/>
              <a:gd name="connsiteY10" fmla="*/ 1999193 h 2968432"/>
              <a:gd name="connsiteX11" fmla="*/ 1370028 w 1512255"/>
              <a:gd name="connsiteY11" fmla="*/ 1994222 h 2968432"/>
              <a:gd name="connsiteX12" fmla="*/ 1389681 w 1512255"/>
              <a:gd name="connsiteY12" fmla="*/ 1999706 h 2968432"/>
              <a:gd name="connsiteX13" fmla="*/ 1389680 w 1512255"/>
              <a:gd name="connsiteY13" fmla="*/ 1999706 h 2968432"/>
              <a:gd name="connsiteX14" fmla="*/ 1189988 w 1512255"/>
              <a:gd name="connsiteY14" fmla="*/ 2229348 h 2968432"/>
              <a:gd name="connsiteX15" fmla="*/ 1323910 w 1512255"/>
              <a:gd name="connsiteY15" fmla="*/ 2540208 h 2968432"/>
              <a:gd name="connsiteX16" fmla="*/ 895836 w 1512255"/>
              <a:gd name="connsiteY16" fmla="*/ 2968432 h 2968432"/>
              <a:gd name="connsiteX17" fmla="*/ 467649 w 1512255"/>
              <a:gd name="connsiteY17" fmla="*/ 2540208 h 2968432"/>
              <a:gd name="connsiteX18" fmla="*/ 895836 w 1512255"/>
              <a:gd name="connsiteY18" fmla="*/ 2112122 h 2968432"/>
              <a:gd name="connsiteX19" fmla="*/ 1162546 w 1512255"/>
              <a:gd name="connsiteY19" fmla="*/ 2205435 h 2968432"/>
              <a:gd name="connsiteX20" fmla="*/ 1362238 w 1512255"/>
              <a:gd name="connsiteY20" fmla="*/ 1975794 h 2968432"/>
              <a:gd name="connsiteX21" fmla="*/ 1145763 w 1512255"/>
              <a:gd name="connsiteY21" fmla="*/ 1508129 h 2968432"/>
              <a:gd name="connsiteX22" fmla="*/ 856374 w 1512255"/>
              <a:gd name="connsiteY22" fmla="*/ 1508129 h 2968432"/>
              <a:gd name="connsiteX23" fmla="*/ 428187 w 1512255"/>
              <a:gd name="connsiteY23" fmla="*/ 1916013 h 2968432"/>
              <a:gd name="connsiteX24" fmla="*/ 0 w 1512255"/>
              <a:gd name="connsiteY24" fmla="*/ 1487789 h 2968432"/>
              <a:gd name="connsiteX25" fmla="*/ 428187 w 1512255"/>
              <a:gd name="connsiteY25" fmla="*/ 1059703 h 2968432"/>
              <a:gd name="connsiteX26" fmla="*/ 1506467 w 1512255"/>
              <a:gd name="connsiteY26" fmla="*/ 905789 h 2968432"/>
              <a:gd name="connsiteX27" fmla="*/ 1506452 w 1512255"/>
              <a:gd name="connsiteY27" fmla="*/ 905795 h 2968432"/>
              <a:gd name="connsiteX28" fmla="*/ 1423246 w 1512255"/>
              <a:gd name="connsiteY28" fmla="*/ 955533 h 2968432"/>
              <a:gd name="connsiteX29" fmla="*/ 1423248 w 1512255"/>
              <a:gd name="connsiteY29" fmla="*/ 955531 h 2968432"/>
              <a:gd name="connsiteX30" fmla="*/ 1506450 w 1512255"/>
              <a:gd name="connsiteY30" fmla="*/ 905795 h 2968432"/>
              <a:gd name="connsiteX31" fmla="*/ 1506467 w 1512255"/>
              <a:gd name="connsiteY31" fmla="*/ 905789 h 2968432"/>
              <a:gd name="connsiteX32" fmla="*/ 1512231 w 1512255"/>
              <a:gd name="connsiteY32" fmla="*/ 903431 h 2968432"/>
              <a:gd name="connsiteX33" fmla="*/ 1512255 w 1512255"/>
              <a:gd name="connsiteY33" fmla="*/ 903678 h 2968432"/>
              <a:gd name="connsiteX34" fmla="*/ 1506467 w 1512255"/>
              <a:gd name="connsiteY34" fmla="*/ 905789 h 2968432"/>
              <a:gd name="connsiteX35" fmla="*/ 1512231 w 1512255"/>
              <a:gd name="connsiteY35" fmla="*/ 903431 h 2968432"/>
              <a:gd name="connsiteX36" fmla="*/ 885063 w 1512255"/>
              <a:gd name="connsiteY36" fmla="*/ 0 h 2968432"/>
              <a:gd name="connsiteX37" fmla="*/ 1313137 w 1512255"/>
              <a:gd name="connsiteY37" fmla="*/ 428224 h 2968432"/>
              <a:gd name="connsiteX38" fmla="*/ 1203142 w 1512255"/>
              <a:gd name="connsiteY38" fmla="*/ 713935 h 2968432"/>
              <a:gd name="connsiteX39" fmla="*/ 1436399 w 1512255"/>
              <a:gd name="connsiteY39" fmla="*/ 942477 h 2968432"/>
              <a:gd name="connsiteX40" fmla="*/ 1436388 w 1512255"/>
              <a:gd name="connsiteY40" fmla="*/ 942488 h 2968432"/>
              <a:gd name="connsiteX41" fmla="*/ 1408845 w 1512255"/>
              <a:gd name="connsiteY41" fmla="*/ 966390 h 2968432"/>
              <a:gd name="connsiteX42" fmla="*/ 1327700 w 1512255"/>
              <a:gd name="connsiteY42" fmla="*/ 1042185 h 2968432"/>
              <a:gd name="connsiteX43" fmla="*/ 1327699 w 1512255"/>
              <a:gd name="connsiteY43" fmla="*/ 1042185 h 2968432"/>
              <a:gd name="connsiteX44" fmla="*/ 1408844 w 1512255"/>
              <a:gd name="connsiteY44" fmla="*/ 966390 h 2968432"/>
              <a:gd name="connsiteX45" fmla="*/ 1178081 w 1512255"/>
              <a:gd name="connsiteY45" fmla="*/ 740322 h 2968432"/>
              <a:gd name="connsiteX46" fmla="*/ 885063 w 1512255"/>
              <a:gd name="connsiteY46" fmla="*/ 856310 h 2968432"/>
              <a:gd name="connsiteX47" fmla="*/ 456876 w 1512255"/>
              <a:gd name="connsiteY47" fmla="*/ 428224 h 2968432"/>
              <a:gd name="connsiteX48" fmla="*/ 885063 w 1512255"/>
              <a:gd name="connsiteY48"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85798 w 1512255"/>
              <a:gd name="connsiteY3" fmla="*/ 1266617 h 2968432"/>
              <a:gd name="connsiteX4" fmla="*/ 1145764 w 1512255"/>
              <a:gd name="connsiteY4" fmla="*/ 1472260 h 2968432"/>
              <a:gd name="connsiteX5" fmla="*/ 1145764 w 1512255"/>
              <a:gd name="connsiteY5" fmla="*/ 1508128 h 2968432"/>
              <a:gd name="connsiteX6" fmla="*/ 1362239 w 1512255"/>
              <a:gd name="connsiteY6" fmla="*/ 1975794 h 2968432"/>
              <a:gd name="connsiteX7" fmla="*/ 1370028 w 1512255"/>
              <a:gd name="connsiteY7" fmla="*/ 1994222 h 2968432"/>
              <a:gd name="connsiteX8" fmla="*/ 1369335 w 1512255"/>
              <a:gd name="connsiteY8" fmla="*/ 1994028 h 2968432"/>
              <a:gd name="connsiteX9" fmla="*/ 1372129 w 1512255"/>
              <a:gd name="connsiteY9" fmla="*/ 1999193 h 2968432"/>
              <a:gd name="connsiteX10" fmla="*/ 1370028 w 1512255"/>
              <a:gd name="connsiteY10" fmla="*/ 1994222 h 2968432"/>
              <a:gd name="connsiteX11" fmla="*/ 1389681 w 1512255"/>
              <a:gd name="connsiteY11" fmla="*/ 1999706 h 2968432"/>
              <a:gd name="connsiteX12" fmla="*/ 1389680 w 1512255"/>
              <a:gd name="connsiteY12" fmla="*/ 1999706 h 2968432"/>
              <a:gd name="connsiteX13" fmla="*/ 1189988 w 1512255"/>
              <a:gd name="connsiteY13" fmla="*/ 2229348 h 2968432"/>
              <a:gd name="connsiteX14" fmla="*/ 1323910 w 1512255"/>
              <a:gd name="connsiteY14" fmla="*/ 2540208 h 2968432"/>
              <a:gd name="connsiteX15" fmla="*/ 895836 w 1512255"/>
              <a:gd name="connsiteY15" fmla="*/ 2968432 h 2968432"/>
              <a:gd name="connsiteX16" fmla="*/ 467649 w 1512255"/>
              <a:gd name="connsiteY16" fmla="*/ 2540208 h 2968432"/>
              <a:gd name="connsiteX17" fmla="*/ 895836 w 1512255"/>
              <a:gd name="connsiteY17" fmla="*/ 2112122 h 2968432"/>
              <a:gd name="connsiteX18" fmla="*/ 1162546 w 1512255"/>
              <a:gd name="connsiteY18" fmla="*/ 2205435 h 2968432"/>
              <a:gd name="connsiteX19" fmla="*/ 1362238 w 1512255"/>
              <a:gd name="connsiteY19" fmla="*/ 1975794 h 2968432"/>
              <a:gd name="connsiteX20" fmla="*/ 1145763 w 1512255"/>
              <a:gd name="connsiteY20" fmla="*/ 1508129 h 2968432"/>
              <a:gd name="connsiteX21" fmla="*/ 856374 w 1512255"/>
              <a:gd name="connsiteY21" fmla="*/ 1508129 h 2968432"/>
              <a:gd name="connsiteX22" fmla="*/ 428187 w 1512255"/>
              <a:gd name="connsiteY22" fmla="*/ 1916013 h 2968432"/>
              <a:gd name="connsiteX23" fmla="*/ 0 w 1512255"/>
              <a:gd name="connsiteY23" fmla="*/ 1487789 h 2968432"/>
              <a:gd name="connsiteX24" fmla="*/ 428187 w 1512255"/>
              <a:gd name="connsiteY24" fmla="*/ 1059703 h 2968432"/>
              <a:gd name="connsiteX25" fmla="*/ 1506467 w 1512255"/>
              <a:gd name="connsiteY25" fmla="*/ 905789 h 2968432"/>
              <a:gd name="connsiteX26" fmla="*/ 1506452 w 1512255"/>
              <a:gd name="connsiteY26" fmla="*/ 905795 h 2968432"/>
              <a:gd name="connsiteX27" fmla="*/ 1423246 w 1512255"/>
              <a:gd name="connsiteY27" fmla="*/ 955533 h 2968432"/>
              <a:gd name="connsiteX28" fmla="*/ 1423248 w 1512255"/>
              <a:gd name="connsiteY28" fmla="*/ 955531 h 2968432"/>
              <a:gd name="connsiteX29" fmla="*/ 1506450 w 1512255"/>
              <a:gd name="connsiteY29" fmla="*/ 905795 h 2968432"/>
              <a:gd name="connsiteX30" fmla="*/ 1506467 w 1512255"/>
              <a:gd name="connsiteY30" fmla="*/ 905789 h 2968432"/>
              <a:gd name="connsiteX31" fmla="*/ 1512231 w 1512255"/>
              <a:gd name="connsiteY31" fmla="*/ 903431 h 2968432"/>
              <a:gd name="connsiteX32" fmla="*/ 1512255 w 1512255"/>
              <a:gd name="connsiteY32" fmla="*/ 903678 h 2968432"/>
              <a:gd name="connsiteX33" fmla="*/ 1506467 w 1512255"/>
              <a:gd name="connsiteY33" fmla="*/ 905789 h 2968432"/>
              <a:gd name="connsiteX34" fmla="*/ 1512231 w 1512255"/>
              <a:gd name="connsiteY34" fmla="*/ 903431 h 2968432"/>
              <a:gd name="connsiteX35" fmla="*/ 885063 w 1512255"/>
              <a:gd name="connsiteY35" fmla="*/ 0 h 2968432"/>
              <a:gd name="connsiteX36" fmla="*/ 1313137 w 1512255"/>
              <a:gd name="connsiteY36" fmla="*/ 428224 h 2968432"/>
              <a:gd name="connsiteX37" fmla="*/ 1203142 w 1512255"/>
              <a:gd name="connsiteY37" fmla="*/ 713935 h 2968432"/>
              <a:gd name="connsiteX38" fmla="*/ 1436399 w 1512255"/>
              <a:gd name="connsiteY38" fmla="*/ 942477 h 2968432"/>
              <a:gd name="connsiteX39" fmla="*/ 1436388 w 1512255"/>
              <a:gd name="connsiteY39" fmla="*/ 942488 h 2968432"/>
              <a:gd name="connsiteX40" fmla="*/ 1408845 w 1512255"/>
              <a:gd name="connsiteY40" fmla="*/ 966390 h 2968432"/>
              <a:gd name="connsiteX41" fmla="*/ 1327700 w 1512255"/>
              <a:gd name="connsiteY41" fmla="*/ 1042185 h 2968432"/>
              <a:gd name="connsiteX42" fmla="*/ 1327699 w 1512255"/>
              <a:gd name="connsiteY42" fmla="*/ 1042185 h 2968432"/>
              <a:gd name="connsiteX43" fmla="*/ 1408844 w 1512255"/>
              <a:gd name="connsiteY43" fmla="*/ 966390 h 2968432"/>
              <a:gd name="connsiteX44" fmla="*/ 1178081 w 1512255"/>
              <a:gd name="connsiteY44" fmla="*/ 740322 h 2968432"/>
              <a:gd name="connsiteX45" fmla="*/ 885063 w 1512255"/>
              <a:gd name="connsiteY45" fmla="*/ 856310 h 2968432"/>
              <a:gd name="connsiteX46" fmla="*/ 456876 w 1512255"/>
              <a:gd name="connsiteY46" fmla="*/ 428224 h 2968432"/>
              <a:gd name="connsiteX47" fmla="*/ 885063 w 1512255"/>
              <a:gd name="connsiteY47"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327700 w 1512255"/>
              <a:gd name="connsiteY40" fmla="*/ 1042185 h 2968432"/>
              <a:gd name="connsiteX41" fmla="*/ 1327699 w 1512255"/>
              <a:gd name="connsiteY41" fmla="*/ 1042185 h 2968432"/>
              <a:gd name="connsiteX42" fmla="*/ 1408844 w 1512255"/>
              <a:gd name="connsiteY42" fmla="*/ 966390 h 2968432"/>
              <a:gd name="connsiteX43" fmla="*/ 1178081 w 1512255"/>
              <a:gd name="connsiteY43" fmla="*/ 740322 h 2968432"/>
              <a:gd name="connsiteX44" fmla="*/ 885063 w 1512255"/>
              <a:gd name="connsiteY44" fmla="*/ 856310 h 2968432"/>
              <a:gd name="connsiteX45" fmla="*/ 456876 w 1512255"/>
              <a:gd name="connsiteY45" fmla="*/ 428224 h 2968432"/>
              <a:gd name="connsiteX46" fmla="*/ 885063 w 1512255"/>
              <a:gd name="connsiteY46"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327700 w 1512255"/>
              <a:gd name="connsiteY40" fmla="*/ 1042185 h 2968432"/>
              <a:gd name="connsiteX41" fmla="*/ 1408844 w 1512255"/>
              <a:gd name="connsiteY41" fmla="*/ 966390 h 2968432"/>
              <a:gd name="connsiteX42" fmla="*/ 1178081 w 1512255"/>
              <a:gd name="connsiteY42" fmla="*/ 740322 h 2968432"/>
              <a:gd name="connsiteX43" fmla="*/ 885063 w 1512255"/>
              <a:gd name="connsiteY43" fmla="*/ 856310 h 2968432"/>
              <a:gd name="connsiteX44" fmla="*/ 456876 w 1512255"/>
              <a:gd name="connsiteY44" fmla="*/ 428224 h 2968432"/>
              <a:gd name="connsiteX45" fmla="*/ 885063 w 1512255"/>
              <a:gd name="connsiteY45"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12231 w 1512255"/>
              <a:gd name="connsiteY30" fmla="*/ 903431 h 2968432"/>
              <a:gd name="connsiteX31" fmla="*/ 1512255 w 1512255"/>
              <a:gd name="connsiteY31" fmla="*/ 903678 h 2968432"/>
              <a:gd name="connsiteX32" fmla="*/ 1506467 w 1512255"/>
              <a:gd name="connsiteY32" fmla="*/ 905789 h 2968432"/>
              <a:gd name="connsiteX33" fmla="*/ 1512231 w 1512255"/>
              <a:gd name="connsiteY33" fmla="*/ 903431 h 2968432"/>
              <a:gd name="connsiteX34" fmla="*/ 885063 w 1512255"/>
              <a:gd name="connsiteY34" fmla="*/ 0 h 2968432"/>
              <a:gd name="connsiteX35" fmla="*/ 1313137 w 1512255"/>
              <a:gd name="connsiteY35" fmla="*/ 428224 h 2968432"/>
              <a:gd name="connsiteX36" fmla="*/ 1203142 w 1512255"/>
              <a:gd name="connsiteY36" fmla="*/ 713935 h 2968432"/>
              <a:gd name="connsiteX37" fmla="*/ 1436399 w 1512255"/>
              <a:gd name="connsiteY37" fmla="*/ 942477 h 2968432"/>
              <a:gd name="connsiteX38" fmla="*/ 1436388 w 1512255"/>
              <a:gd name="connsiteY38" fmla="*/ 942488 h 2968432"/>
              <a:gd name="connsiteX39" fmla="*/ 1408845 w 1512255"/>
              <a:gd name="connsiteY39" fmla="*/ 966390 h 2968432"/>
              <a:gd name="connsiteX40" fmla="*/ 1408844 w 1512255"/>
              <a:gd name="connsiteY40" fmla="*/ 966390 h 2968432"/>
              <a:gd name="connsiteX41" fmla="*/ 1178081 w 1512255"/>
              <a:gd name="connsiteY41" fmla="*/ 740322 h 2968432"/>
              <a:gd name="connsiteX42" fmla="*/ 885063 w 1512255"/>
              <a:gd name="connsiteY42" fmla="*/ 856310 h 2968432"/>
              <a:gd name="connsiteX43" fmla="*/ 456876 w 1512255"/>
              <a:gd name="connsiteY43" fmla="*/ 428224 h 2968432"/>
              <a:gd name="connsiteX44" fmla="*/ 885063 w 1512255"/>
              <a:gd name="connsiteY44" fmla="*/ 0 h 2968432"/>
              <a:gd name="connsiteX0" fmla="*/ 428187 w 1512255"/>
              <a:gd name="connsiteY0" fmla="*/ 1059703 h 2968432"/>
              <a:gd name="connsiteX1" fmla="*/ 856374 w 1512255"/>
              <a:gd name="connsiteY1" fmla="*/ 1472260 h 2968432"/>
              <a:gd name="connsiteX2" fmla="*/ 1145763 w 1512255"/>
              <a:gd name="connsiteY2" fmla="*/ 1472260 h 2968432"/>
              <a:gd name="connsiteX3" fmla="*/ 1145764 w 1512255"/>
              <a:gd name="connsiteY3" fmla="*/ 1472260 h 2968432"/>
              <a:gd name="connsiteX4" fmla="*/ 1145764 w 1512255"/>
              <a:gd name="connsiteY4" fmla="*/ 1508128 h 2968432"/>
              <a:gd name="connsiteX5" fmla="*/ 1362239 w 1512255"/>
              <a:gd name="connsiteY5" fmla="*/ 1975794 h 2968432"/>
              <a:gd name="connsiteX6" fmla="*/ 1370028 w 1512255"/>
              <a:gd name="connsiteY6" fmla="*/ 1994222 h 2968432"/>
              <a:gd name="connsiteX7" fmla="*/ 1369335 w 1512255"/>
              <a:gd name="connsiteY7" fmla="*/ 1994028 h 2968432"/>
              <a:gd name="connsiteX8" fmla="*/ 1372129 w 1512255"/>
              <a:gd name="connsiteY8" fmla="*/ 1999193 h 2968432"/>
              <a:gd name="connsiteX9" fmla="*/ 1370028 w 1512255"/>
              <a:gd name="connsiteY9" fmla="*/ 1994222 h 2968432"/>
              <a:gd name="connsiteX10" fmla="*/ 1389681 w 1512255"/>
              <a:gd name="connsiteY10" fmla="*/ 1999706 h 2968432"/>
              <a:gd name="connsiteX11" fmla="*/ 1389680 w 1512255"/>
              <a:gd name="connsiteY11" fmla="*/ 1999706 h 2968432"/>
              <a:gd name="connsiteX12" fmla="*/ 1189988 w 1512255"/>
              <a:gd name="connsiteY12" fmla="*/ 2229348 h 2968432"/>
              <a:gd name="connsiteX13" fmla="*/ 1323910 w 1512255"/>
              <a:gd name="connsiteY13" fmla="*/ 2540208 h 2968432"/>
              <a:gd name="connsiteX14" fmla="*/ 895836 w 1512255"/>
              <a:gd name="connsiteY14" fmla="*/ 2968432 h 2968432"/>
              <a:gd name="connsiteX15" fmla="*/ 467649 w 1512255"/>
              <a:gd name="connsiteY15" fmla="*/ 2540208 h 2968432"/>
              <a:gd name="connsiteX16" fmla="*/ 895836 w 1512255"/>
              <a:gd name="connsiteY16" fmla="*/ 2112122 h 2968432"/>
              <a:gd name="connsiteX17" fmla="*/ 1162546 w 1512255"/>
              <a:gd name="connsiteY17" fmla="*/ 2205435 h 2968432"/>
              <a:gd name="connsiteX18" fmla="*/ 1362238 w 1512255"/>
              <a:gd name="connsiteY18" fmla="*/ 1975794 h 2968432"/>
              <a:gd name="connsiteX19" fmla="*/ 1145763 w 1512255"/>
              <a:gd name="connsiteY19" fmla="*/ 1508129 h 2968432"/>
              <a:gd name="connsiteX20" fmla="*/ 856374 w 1512255"/>
              <a:gd name="connsiteY20" fmla="*/ 1508129 h 2968432"/>
              <a:gd name="connsiteX21" fmla="*/ 428187 w 1512255"/>
              <a:gd name="connsiteY21" fmla="*/ 1916013 h 2968432"/>
              <a:gd name="connsiteX22" fmla="*/ 0 w 1512255"/>
              <a:gd name="connsiteY22" fmla="*/ 1487789 h 2968432"/>
              <a:gd name="connsiteX23" fmla="*/ 428187 w 1512255"/>
              <a:gd name="connsiteY23" fmla="*/ 1059703 h 2968432"/>
              <a:gd name="connsiteX24" fmla="*/ 1506467 w 1512255"/>
              <a:gd name="connsiteY24" fmla="*/ 905789 h 2968432"/>
              <a:gd name="connsiteX25" fmla="*/ 1506452 w 1512255"/>
              <a:gd name="connsiteY25" fmla="*/ 905795 h 2968432"/>
              <a:gd name="connsiteX26" fmla="*/ 1423246 w 1512255"/>
              <a:gd name="connsiteY26" fmla="*/ 955533 h 2968432"/>
              <a:gd name="connsiteX27" fmla="*/ 1423248 w 1512255"/>
              <a:gd name="connsiteY27" fmla="*/ 955531 h 2968432"/>
              <a:gd name="connsiteX28" fmla="*/ 1506450 w 1512255"/>
              <a:gd name="connsiteY28" fmla="*/ 905795 h 2968432"/>
              <a:gd name="connsiteX29" fmla="*/ 1506467 w 1512255"/>
              <a:gd name="connsiteY29" fmla="*/ 905789 h 2968432"/>
              <a:gd name="connsiteX30" fmla="*/ 1506467 w 1512255"/>
              <a:gd name="connsiteY30" fmla="*/ 905789 h 2968432"/>
              <a:gd name="connsiteX31" fmla="*/ 1512255 w 1512255"/>
              <a:gd name="connsiteY31" fmla="*/ 903678 h 2968432"/>
              <a:gd name="connsiteX32" fmla="*/ 1506467 w 1512255"/>
              <a:gd name="connsiteY32" fmla="*/ 905789 h 2968432"/>
              <a:gd name="connsiteX33" fmla="*/ 885063 w 1512255"/>
              <a:gd name="connsiteY33" fmla="*/ 0 h 2968432"/>
              <a:gd name="connsiteX34" fmla="*/ 1313137 w 1512255"/>
              <a:gd name="connsiteY34" fmla="*/ 428224 h 2968432"/>
              <a:gd name="connsiteX35" fmla="*/ 1203142 w 1512255"/>
              <a:gd name="connsiteY35" fmla="*/ 713935 h 2968432"/>
              <a:gd name="connsiteX36" fmla="*/ 1436399 w 1512255"/>
              <a:gd name="connsiteY36" fmla="*/ 942477 h 2968432"/>
              <a:gd name="connsiteX37" fmla="*/ 1436388 w 1512255"/>
              <a:gd name="connsiteY37" fmla="*/ 942488 h 2968432"/>
              <a:gd name="connsiteX38" fmla="*/ 1408845 w 1512255"/>
              <a:gd name="connsiteY38" fmla="*/ 966390 h 2968432"/>
              <a:gd name="connsiteX39" fmla="*/ 1408844 w 1512255"/>
              <a:gd name="connsiteY39" fmla="*/ 966390 h 2968432"/>
              <a:gd name="connsiteX40" fmla="*/ 1178081 w 1512255"/>
              <a:gd name="connsiteY40" fmla="*/ 740322 h 2968432"/>
              <a:gd name="connsiteX41" fmla="*/ 885063 w 1512255"/>
              <a:gd name="connsiteY41" fmla="*/ 856310 h 2968432"/>
              <a:gd name="connsiteX42" fmla="*/ 456876 w 1512255"/>
              <a:gd name="connsiteY42" fmla="*/ 428224 h 2968432"/>
              <a:gd name="connsiteX43" fmla="*/ 885063 w 1512255"/>
              <a:gd name="connsiteY43" fmla="*/ 0 h 2968432"/>
              <a:gd name="connsiteX0" fmla="*/ 428187 w 1506467"/>
              <a:gd name="connsiteY0" fmla="*/ 1059703 h 2968432"/>
              <a:gd name="connsiteX1" fmla="*/ 856374 w 1506467"/>
              <a:gd name="connsiteY1" fmla="*/ 1472260 h 2968432"/>
              <a:gd name="connsiteX2" fmla="*/ 1145763 w 1506467"/>
              <a:gd name="connsiteY2" fmla="*/ 1472260 h 2968432"/>
              <a:gd name="connsiteX3" fmla="*/ 1145764 w 1506467"/>
              <a:gd name="connsiteY3" fmla="*/ 1472260 h 2968432"/>
              <a:gd name="connsiteX4" fmla="*/ 1145764 w 1506467"/>
              <a:gd name="connsiteY4" fmla="*/ 1508128 h 2968432"/>
              <a:gd name="connsiteX5" fmla="*/ 1362239 w 1506467"/>
              <a:gd name="connsiteY5" fmla="*/ 1975794 h 2968432"/>
              <a:gd name="connsiteX6" fmla="*/ 1370028 w 1506467"/>
              <a:gd name="connsiteY6" fmla="*/ 1994222 h 2968432"/>
              <a:gd name="connsiteX7" fmla="*/ 1369335 w 1506467"/>
              <a:gd name="connsiteY7" fmla="*/ 1994028 h 2968432"/>
              <a:gd name="connsiteX8" fmla="*/ 1372129 w 1506467"/>
              <a:gd name="connsiteY8" fmla="*/ 1999193 h 2968432"/>
              <a:gd name="connsiteX9" fmla="*/ 1370028 w 1506467"/>
              <a:gd name="connsiteY9" fmla="*/ 1994222 h 2968432"/>
              <a:gd name="connsiteX10" fmla="*/ 1389681 w 1506467"/>
              <a:gd name="connsiteY10" fmla="*/ 1999706 h 2968432"/>
              <a:gd name="connsiteX11" fmla="*/ 1389680 w 1506467"/>
              <a:gd name="connsiteY11" fmla="*/ 1999706 h 2968432"/>
              <a:gd name="connsiteX12" fmla="*/ 1189988 w 1506467"/>
              <a:gd name="connsiteY12" fmla="*/ 2229348 h 2968432"/>
              <a:gd name="connsiteX13" fmla="*/ 1323910 w 1506467"/>
              <a:gd name="connsiteY13" fmla="*/ 2540208 h 2968432"/>
              <a:gd name="connsiteX14" fmla="*/ 895836 w 1506467"/>
              <a:gd name="connsiteY14" fmla="*/ 2968432 h 2968432"/>
              <a:gd name="connsiteX15" fmla="*/ 467649 w 1506467"/>
              <a:gd name="connsiteY15" fmla="*/ 2540208 h 2968432"/>
              <a:gd name="connsiteX16" fmla="*/ 895836 w 1506467"/>
              <a:gd name="connsiteY16" fmla="*/ 2112122 h 2968432"/>
              <a:gd name="connsiteX17" fmla="*/ 1162546 w 1506467"/>
              <a:gd name="connsiteY17" fmla="*/ 2205435 h 2968432"/>
              <a:gd name="connsiteX18" fmla="*/ 1362238 w 1506467"/>
              <a:gd name="connsiteY18" fmla="*/ 1975794 h 2968432"/>
              <a:gd name="connsiteX19" fmla="*/ 1145763 w 1506467"/>
              <a:gd name="connsiteY19" fmla="*/ 1508129 h 2968432"/>
              <a:gd name="connsiteX20" fmla="*/ 856374 w 1506467"/>
              <a:gd name="connsiteY20" fmla="*/ 1508129 h 2968432"/>
              <a:gd name="connsiteX21" fmla="*/ 428187 w 1506467"/>
              <a:gd name="connsiteY21" fmla="*/ 1916013 h 2968432"/>
              <a:gd name="connsiteX22" fmla="*/ 0 w 1506467"/>
              <a:gd name="connsiteY22" fmla="*/ 1487789 h 2968432"/>
              <a:gd name="connsiteX23" fmla="*/ 428187 w 1506467"/>
              <a:gd name="connsiteY23" fmla="*/ 1059703 h 2968432"/>
              <a:gd name="connsiteX24" fmla="*/ 1506467 w 1506467"/>
              <a:gd name="connsiteY24" fmla="*/ 905789 h 2968432"/>
              <a:gd name="connsiteX25" fmla="*/ 1506452 w 1506467"/>
              <a:gd name="connsiteY25" fmla="*/ 905795 h 2968432"/>
              <a:gd name="connsiteX26" fmla="*/ 1423246 w 1506467"/>
              <a:gd name="connsiteY26" fmla="*/ 955533 h 2968432"/>
              <a:gd name="connsiteX27" fmla="*/ 1423248 w 1506467"/>
              <a:gd name="connsiteY27" fmla="*/ 955531 h 2968432"/>
              <a:gd name="connsiteX28" fmla="*/ 1506450 w 1506467"/>
              <a:gd name="connsiteY28" fmla="*/ 905795 h 2968432"/>
              <a:gd name="connsiteX29" fmla="*/ 1506467 w 1506467"/>
              <a:gd name="connsiteY29" fmla="*/ 905789 h 2968432"/>
              <a:gd name="connsiteX30" fmla="*/ 885063 w 1506467"/>
              <a:gd name="connsiteY30" fmla="*/ 0 h 2968432"/>
              <a:gd name="connsiteX31" fmla="*/ 1313137 w 1506467"/>
              <a:gd name="connsiteY31" fmla="*/ 428224 h 2968432"/>
              <a:gd name="connsiteX32" fmla="*/ 1203142 w 1506467"/>
              <a:gd name="connsiteY32" fmla="*/ 713935 h 2968432"/>
              <a:gd name="connsiteX33" fmla="*/ 1436399 w 1506467"/>
              <a:gd name="connsiteY33" fmla="*/ 942477 h 2968432"/>
              <a:gd name="connsiteX34" fmla="*/ 1436388 w 1506467"/>
              <a:gd name="connsiteY34" fmla="*/ 942488 h 2968432"/>
              <a:gd name="connsiteX35" fmla="*/ 1408845 w 1506467"/>
              <a:gd name="connsiteY35" fmla="*/ 966390 h 2968432"/>
              <a:gd name="connsiteX36" fmla="*/ 1408844 w 1506467"/>
              <a:gd name="connsiteY36" fmla="*/ 966390 h 2968432"/>
              <a:gd name="connsiteX37" fmla="*/ 1178081 w 1506467"/>
              <a:gd name="connsiteY37" fmla="*/ 740322 h 2968432"/>
              <a:gd name="connsiteX38" fmla="*/ 885063 w 1506467"/>
              <a:gd name="connsiteY38" fmla="*/ 856310 h 2968432"/>
              <a:gd name="connsiteX39" fmla="*/ 456876 w 1506467"/>
              <a:gd name="connsiteY39" fmla="*/ 428224 h 2968432"/>
              <a:gd name="connsiteX40" fmla="*/ 885063 w 1506467"/>
              <a:gd name="connsiteY40" fmla="*/ 0 h 2968432"/>
              <a:gd name="connsiteX0" fmla="*/ 428187 w 1516851"/>
              <a:gd name="connsiteY0" fmla="*/ 1059703 h 2968432"/>
              <a:gd name="connsiteX1" fmla="*/ 856374 w 1516851"/>
              <a:gd name="connsiteY1" fmla="*/ 1472260 h 2968432"/>
              <a:gd name="connsiteX2" fmla="*/ 1145763 w 1516851"/>
              <a:gd name="connsiteY2" fmla="*/ 1472260 h 2968432"/>
              <a:gd name="connsiteX3" fmla="*/ 1145764 w 1516851"/>
              <a:gd name="connsiteY3" fmla="*/ 1472260 h 2968432"/>
              <a:gd name="connsiteX4" fmla="*/ 1145764 w 1516851"/>
              <a:gd name="connsiteY4" fmla="*/ 1508128 h 2968432"/>
              <a:gd name="connsiteX5" fmla="*/ 1362239 w 1516851"/>
              <a:gd name="connsiteY5" fmla="*/ 1975794 h 2968432"/>
              <a:gd name="connsiteX6" fmla="*/ 1370028 w 1516851"/>
              <a:gd name="connsiteY6" fmla="*/ 1994222 h 2968432"/>
              <a:gd name="connsiteX7" fmla="*/ 1369335 w 1516851"/>
              <a:gd name="connsiteY7" fmla="*/ 1994028 h 2968432"/>
              <a:gd name="connsiteX8" fmla="*/ 1372129 w 1516851"/>
              <a:gd name="connsiteY8" fmla="*/ 1999193 h 2968432"/>
              <a:gd name="connsiteX9" fmla="*/ 1370028 w 1516851"/>
              <a:gd name="connsiteY9" fmla="*/ 1994222 h 2968432"/>
              <a:gd name="connsiteX10" fmla="*/ 1389681 w 1516851"/>
              <a:gd name="connsiteY10" fmla="*/ 1999706 h 2968432"/>
              <a:gd name="connsiteX11" fmla="*/ 1389680 w 1516851"/>
              <a:gd name="connsiteY11" fmla="*/ 1999706 h 2968432"/>
              <a:gd name="connsiteX12" fmla="*/ 1189988 w 1516851"/>
              <a:gd name="connsiteY12" fmla="*/ 2229348 h 2968432"/>
              <a:gd name="connsiteX13" fmla="*/ 1323910 w 1516851"/>
              <a:gd name="connsiteY13" fmla="*/ 2540208 h 2968432"/>
              <a:gd name="connsiteX14" fmla="*/ 895836 w 1516851"/>
              <a:gd name="connsiteY14" fmla="*/ 2968432 h 2968432"/>
              <a:gd name="connsiteX15" fmla="*/ 467649 w 1516851"/>
              <a:gd name="connsiteY15" fmla="*/ 2540208 h 2968432"/>
              <a:gd name="connsiteX16" fmla="*/ 895836 w 1516851"/>
              <a:gd name="connsiteY16" fmla="*/ 2112122 h 2968432"/>
              <a:gd name="connsiteX17" fmla="*/ 1162546 w 1516851"/>
              <a:gd name="connsiteY17" fmla="*/ 2205435 h 2968432"/>
              <a:gd name="connsiteX18" fmla="*/ 1362238 w 1516851"/>
              <a:gd name="connsiteY18" fmla="*/ 1975794 h 2968432"/>
              <a:gd name="connsiteX19" fmla="*/ 1145763 w 1516851"/>
              <a:gd name="connsiteY19" fmla="*/ 1508129 h 2968432"/>
              <a:gd name="connsiteX20" fmla="*/ 856374 w 1516851"/>
              <a:gd name="connsiteY20" fmla="*/ 1508129 h 2968432"/>
              <a:gd name="connsiteX21" fmla="*/ 428187 w 1516851"/>
              <a:gd name="connsiteY21" fmla="*/ 1916013 h 2968432"/>
              <a:gd name="connsiteX22" fmla="*/ 0 w 1516851"/>
              <a:gd name="connsiteY22" fmla="*/ 1487789 h 2968432"/>
              <a:gd name="connsiteX23" fmla="*/ 428187 w 1516851"/>
              <a:gd name="connsiteY23" fmla="*/ 1059703 h 2968432"/>
              <a:gd name="connsiteX24" fmla="*/ 1506450 w 1516851"/>
              <a:gd name="connsiteY24" fmla="*/ 905795 h 2968432"/>
              <a:gd name="connsiteX25" fmla="*/ 1506452 w 1516851"/>
              <a:gd name="connsiteY25" fmla="*/ 905795 h 2968432"/>
              <a:gd name="connsiteX26" fmla="*/ 1423246 w 1516851"/>
              <a:gd name="connsiteY26" fmla="*/ 955533 h 2968432"/>
              <a:gd name="connsiteX27" fmla="*/ 1423248 w 1516851"/>
              <a:gd name="connsiteY27" fmla="*/ 955531 h 2968432"/>
              <a:gd name="connsiteX28" fmla="*/ 1506450 w 1516851"/>
              <a:gd name="connsiteY28" fmla="*/ 905795 h 2968432"/>
              <a:gd name="connsiteX29" fmla="*/ 885063 w 1516851"/>
              <a:gd name="connsiteY29" fmla="*/ 0 h 2968432"/>
              <a:gd name="connsiteX30" fmla="*/ 1313137 w 1516851"/>
              <a:gd name="connsiteY30" fmla="*/ 428224 h 2968432"/>
              <a:gd name="connsiteX31" fmla="*/ 1203142 w 1516851"/>
              <a:gd name="connsiteY31" fmla="*/ 713935 h 2968432"/>
              <a:gd name="connsiteX32" fmla="*/ 1436399 w 1516851"/>
              <a:gd name="connsiteY32" fmla="*/ 942477 h 2968432"/>
              <a:gd name="connsiteX33" fmla="*/ 1436388 w 1516851"/>
              <a:gd name="connsiteY33" fmla="*/ 942488 h 2968432"/>
              <a:gd name="connsiteX34" fmla="*/ 1408845 w 1516851"/>
              <a:gd name="connsiteY34" fmla="*/ 966390 h 2968432"/>
              <a:gd name="connsiteX35" fmla="*/ 1408844 w 1516851"/>
              <a:gd name="connsiteY35" fmla="*/ 966390 h 2968432"/>
              <a:gd name="connsiteX36" fmla="*/ 1178081 w 1516851"/>
              <a:gd name="connsiteY36" fmla="*/ 740322 h 2968432"/>
              <a:gd name="connsiteX37" fmla="*/ 885063 w 1516851"/>
              <a:gd name="connsiteY37" fmla="*/ 856310 h 2968432"/>
              <a:gd name="connsiteX38" fmla="*/ 456876 w 1516851"/>
              <a:gd name="connsiteY38" fmla="*/ 428224 h 2968432"/>
              <a:gd name="connsiteX39" fmla="*/ 885063 w 1516851"/>
              <a:gd name="connsiteY39" fmla="*/ 0 h 2968432"/>
              <a:gd name="connsiteX0" fmla="*/ 428187 w 1506452"/>
              <a:gd name="connsiteY0" fmla="*/ 1059703 h 2968432"/>
              <a:gd name="connsiteX1" fmla="*/ 856374 w 1506452"/>
              <a:gd name="connsiteY1" fmla="*/ 1472260 h 2968432"/>
              <a:gd name="connsiteX2" fmla="*/ 1145763 w 1506452"/>
              <a:gd name="connsiteY2" fmla="*/ 1472260 h 2968432"/>
              <a:gd name="connsiteX3" fmla="*/ 1145764 w 1506452"/>
              <a:gd name="connsiteY3" fmla="*/ 1472260 h 2968432"/>
              <a:gd name="connsiteX4" fmla="*/ 1145764 w 1506452"/>
              <a:gd name="connsiteY4" fmla="*/ 1508128 h 2968432"/>
              <a:gd name="connsiteX5" fmla="*/ 1362239 w 1506452"/>
              <a:gd name="connsiteY5" fmla="*/ 1975794 h 2968432"/>
              <a:gd name="connsiteX6" fmla="*/ 1370028 w 1506452"/>
              <a:gd name="connsiteY6" fmla="*/ 1994222 h 2968432"/>
              <a:gd name="connsiteX7" fmla="*/ 1369335 w 1506452"/>
              <a:gd name="connsiteY7" fmla="*/ 1994028 h 2968432"/>
              <a:gd name="connsiteX8" fmla="*/ 1372129 w 1506452"/>
              <a:gd name="connsiteY8" fmla="*/ 1999193 h 2968432"/>
              <a:gd name="connsiteX9" fmla="*/ 1370028 w 1506452"/>
              <a:gd name="connsiteY9" fmla="*/ 1994222 h 2968432"/>
              <a:gd name="connsiteX10" fmla="*/ 1389681 w 1506452"/>
              <a:gd name="connsiteY10" fmla="*/ 1999706 h 2968432"/>
              <a:gd name="connsiteX11" fmla="*/ 1389680 w 1506452"/>
              <a:gd name="connsiteY11" fmla="*/ 1999706 h 2968432"/>
              <a:gd name="connsiteX12" fmla="*/ 1189988 w 1506452"/>
              <a:gd name="connsiteY12" fmla="*/ 2229348 h 2968432"/>
              <a:gd name="connsiteX13" fmla="*/ 1323910 w 1506452"/>
              <a:gd name="connsiteY13" fmla="*/ 2540208 h 2968432"/>
              <a:gd name="connsiteX14" fmla="*/ 895836 w 1506452"/>
              <a:gd name="connsiteY14" fmla="*/ 2968432 h 2968432"/>
              <a:gd name="connsiteX15" fmla="*/ 467649 w 1506452"/>
              <a:gd name="connsiteY15" fmla="*/ 2540208 h 2968432"/>
              <a:gd name="connsiteX16" fmla="*/ 895836 w 1506452"/>
              <a:gd name="connsiteY16" fmla="*/ 2112122 h 2968432"/>
              <a:gd name="connsiteX17" fmla="*/ 1162546 w 1506452"/>
              <a:gd name="connsiteY17" fmla="*/ 2205435 h 2968432"/>
              <a:gd name="connsiteX18" fmla="*/ 1362238 w 1506452"/>
              <a:gd name="connsiteY18" fmla="*/ 1975794 h 2968432"/>
              <a:gd name="connsiteX19" fmla="*/ 1145763 w 1506452"/>
              <a:gd name="connsiteY19" fmla="*/ 1508129 h 2968432"/>
              <a:gd name="connsiteX20" fmla="*/ 856374 w 1506452"/>
              <a:gd name="connsiteY20" fmla="*/ 1508129 h 2968432"/>
              <a:gd name="connsiteX21" fmla="*/ 428187 w 1506452"/>
              <a:gd name="connsiteY21" fmla="*/ 1916013 h 2968432"/>
              <a:gd name="connsiteX22" fmla="*/ 0 w 1506452"/>
              <a:gd name="connsiteY22" fmla="*/ 1487789 h 2968432"/>
              <a:gd name="connsiteX23" fmla="*/ 428187 w 1506452"/>
              <a:gd name="connsiteY23" fmla="*/ 1059703 h 2968432"/>
              <a:gd name="connsiteX24" fmla="*/ 1423248 w 1506452"/>
              <a:gd name="connsiteY24" fmla="*/ 955531 h 2968432"/>
              <a:gd name="connsiteX25" fmla="*/ 1506452 w 1506452"/>
              <a:gd name="connsiteY25" fmla="*/ 905795 h 2968432"/>
              <a:gd name="connsiteX26" fmla="*/ 1423246 w 1506452"/>
              <a:gd name="connsiteY26" fmla="*/ 955533 h 2968432"/>
              <a:gd name="connsiteX27" fmla="*/ 1423248 w 1506452"/>
              <a:gd name="connsiteY27" fmla="*/ 955531 h 2968432"/>
              <a:gd name="connsiteX28" fmla="*/ 885063 w 1506452"/>
              <a:gd name="connsiteY28" fmla="*/ 0 h 2968432"/>
              <a:gd name="connsiteX29" fmla="*/ 1313137 w 1506452"/>
              <a:gd name="connsiteY29" fmla="*/ 428224 h 2968432"/>
              <a:gd name="connsiteX30" fmla="*/ 1203142 w 1506452"/>
              <a:gd name="connsiteY30" fmla="*/ 713935 h 2968432"/>
              <a:gd name="connsiteX31" fmla="*/ 1436399 w 1506452"/>
              <a:gd name="connsiteY31" fmla="*/ 942477 h 2968432"/>
              <a:gd name="connsiteX32" fmla="*/ 1436388 w 1506452"/>
              <a:gd name="connsiteY32" fmla="*/ 942488 h 2968432"/>
              <a:gd name="connsiteX33" fmla="*/ 1408845 w 1506452"/>
              <a:gd name="connsiteY33" fmla="*/ 966390 h 2968432"/>
              <a:gd name="connsiteX34" fmla="*/ 1408844 w 1506452"/>
              <a:gd name="connsiteY34" fmla="*/ 966390 h 2968432"/>
              <a:gd name="connsiteX35" fmla="*/ 1178081 w 1506452"/>
              <a:gd name="connsiteY35" fmla="*/ 740322 h 2968432"/>
              <a:gd name="connsiteX36" fmla="*/ 885063 w 1506452"/>
              <a:gd name="connsiteY36" fmla="*/ 856310 h 2968432"/>
              <a:gd name="connsiteX37" fmla="*/ 456876 w 1506452"/>
              <a:gd name="connsiteY37" fmla="*/ 428224 h 2968432"/>
              <a:gd name="connsiteX38" fmla="*/ 885063 w 1506452"/>
              <a:gd name="connsiteY38"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72129 w 1436399"/>
              <a:gd name="connsiteY8" fmla="*/ 1999193 h 2968432"/>
              <a:gd name="connsiteX9" fmla="*/ 1370028 w 1436399"/>
              <a:gd name="connsiteY9" fmla="*/ 1994222 h 2968432"/>
              <a:gd name="connsiteX10" fmla="*/ 1389681 w 1436399"/>
              <a:gd name="connsiteY10" fmla="*/ 1999706 h 2968432"/>
              <a:gd name="connsiteX11" fmla="*/ 1389680 w 1436399"/>
              <a:gd name="connsiteY11" fmla="*/ 1999706 h 2968432"/>
              <a:gd name="connsiteX12" fmla="*/ 1189988 w 1436399"/>
              <a:gd name="connsiteY12" fmla="*/ 2229348 h 2968432"/>
              <a:gd name="connsiteX13" fmla="*/ 1323910 w 1436399"/>
              <a:gd name="connsiteY13" fmla="*/ 2540208 h 2968432"/>
              <a:gd name="connsiteX14" fmla="*/ 895836 w 1436399"/>
              <a:gd name="connsiteY14" fmla="*/ 2968432 h 2968432"/>
              <a:gd name="connsiteX15" fmla="*/ 467649 w 1436399"/>
              <a:gd name="connsiteY15" fmla="*/ 2540208 h 2968432"/>
              <a:gd name="connsiteX16" fmla="*/ 895836 w 1436399"/>
              <a:gd name="connsiteY16" fmla="*/ 2112122 h 2968432"/>
              <a:gd name="connsiteX17" fmla="*/ 1162546 w 1436399"/>
              <a:gd name="connsiteY17" fmla="*/ 2205435 h 2968432"/>
              <a:gd name="connsiteX18" fmla="*/ 1362238 w 1436399"/>
              <a:gd name="connsiteY18" fmla="*/ 1975794 h 2968432"/>
              <a:gd name="connsiteX19" fmla="*/ 1145763 w 1436399"/>
              <a:gd name="connsiteY19" fmla="*/ 1508129 h 2968432"/>
              <a:gd name="connsiteX20" fmla="*/ 856374 w 1436399"/>
              <a:gd name="connsiteY20" fmla="*/ 1508129 h 2968432"/>
              <a:gd name="connsiteX21" fmla="*/ 428187 w 1436399"/>
              <a:gd name="connsiteY21" fmla="*/ 1916013 h 2968432"/>
              <a:gd name="connsiteX22" fmla="*/ 0 w 1436399"/>
              <a:gd name="connsiteY22" fmla="*/ 1487789 h 2968432"/>
              <a:gd name="connsiteX23" fmla="*/ 428187 w 1436399"/>
              <a:gd name="connsiteY23" fmla="*/ 1059703 h 2968432"/>
              <a:gd name="connsiteX24" fmla="*/ 1423248 w 1436399"/>
              <a:gd name="connsiteY24" fmla="*/ 955531 h 2968432"/>
              <a:gd name="connsiteX25" fmla="*/ 1423246 w 1436399"/>
              <a:gd name="connsiteY25" fmla="*/ 955533 h 2968432"/>
              <a:gd name="connsiteX26" fmla="*/ 1423248 w 1436399"/>
              <a:gd name="connsiteY26" fmla="*/ 955531 h 2968432"/>
              <a:gd name="connsiteX27" fmla="*/ 885063 w 1436399"/>
              <a:gd name="connsiteY27" fmla="*/ 0 h 2968432"/>
              <a:gd name="connsiteX28" fmla="*/ 1313137 w 1436399"/>
              <a:gd name="connsiteY28" fmla="*/ 428224 h 2968432"/>
              <a:gd name="connsiteX29" fmla="*/ 1203142 w 1436399"/>
              <a:gd name="connsiteY29" fmla="*/ 713935 h 2968432"/>
              <a:gd name="connsiteX30" fmla="*/ 1436399 w 1436399"/>
              <a:gd name="connsiteY30" fmla="*/ 942477 h 2968432"/>
              <a:gd name="connsiteX31" fmla="*/ 1436388 w 1436399"/>
              <a:gd name="connsiteY31" fmla="*/ 942488 h 2968432"/>
              <a:gd name="connsiteX32" fmla="*/ 1408845 w 1436399"/>
              <a:gd name="connsiteY32" fmla="*/ 966390 h 2968432"/>
              <a:gd name="connsiteX33" fmla="*/ 1408844 w 1436399"/>
              <a:gd name="connsiteY33" fmla="*/ 966390 h 2968432"/>
              <a:gd name="connsiteX34" fmla="*/ 1178081 w 1436399"/>
              <a:gd name="connsiteY34" fmla="*/ 740322 h 2968432"/>
              <a:gd name="connsiteX35" fmla="*/ 885063 w 1436399"/>
              <a:gd name="connsiteY35" fmla="*/ 856310 h 2968432"/>
              <a:gd name="connsiteX36" fmla="*/ 456876 w 1436399"/>
              <a:gd name="connsiteY36" fmla="*/ 428224 h 2968432"/>
              <a:gd name="connsiteX37" fmla="*/ 885063 w 1436399"/>
              <a:gd name="connsiteY37"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72129 w 1436399"/>
              <a:gd name="connsiteY8" fmla="*/ 1999193 h 2968432"/>
              <a:gd name="connsiteX9" fmla="*/ 1389681 w 1436399"/>
              <a:gd name="connsiteY9" fmla="*/ 1999706 h 2968432"/>
              <a:gd name="connsiteX10" fmla="*/ 1389680 w 1436399"/>
              <a:gd name="connsiteY10" fmla="*/ 1999706 h 2968432"/>
              <a:gd name="connsiteX11" fmla="*/ 1189988 w 1436399"/>
              <a:gd name="connsiteY11" fmla="*/ 2229348 h 2968432"/>
              <a:gd name="connsiteX12" fmla="*/ 1323910 w 1436399"/>
              <a:gd name="connsiteY12" fmla="*/ 2540208 h 2968432"/>
              <a:gd name="connsiteX13" fmla="*/ 895836 w 1436399"/>
              <a:gd name="connsiteY13" fmla="*/ 2968432 h 2968432"/>
              <a:gd name="connsiteX14" fmla="*/ 467649 w 1436399"/>
              <a:gd name="connsiteY14" fmla="*/ 2540208 h 2968432"/>
              <a:gd name="connsiteX15" fmla="*/ 895836 w 1436399"/>
              <a:gd name="connsiteY15" fmla="*/ 2112122 h 2968432"/>
              <a:gd name="connsiteX16" fmla="*/ 1162546 w 1436399"/>
              <a:gd name="connsiteY16" fmla="*/ 2205435 h 2968432"/>
              <a:gd name="connsiteX17" fmla="*/ 1362238 w 1436399"/>
              <a:gd name="connsiteY17" fmla="*/ 1975794 h 2968432"/>
              <a:gd name="connsiteX18" fmla="*/ 1145763 w 1436399"/>
              <a:gd name="connsiteY18" fmla="*/ 1508129 h 2968432"/>
              <a:gd name="connsiteX19" fmla="*/ 856374 w 1436399"/>
              <a:gd name="connsiteY19" fmla="*/ 1508129 h 2968432"/>
              <a:gd name="connsiteX20" fmla="*/ 428187 w 1436399"/>
              <a:gd name="connsiteY20" fmla="*/ 1916013 h 2968432"/>
              <a:gd name="connsiteX21" fmla="*/ 0 w 1436399"/>
              <a:gd name="connsiteY21" fmla="*/ 1487789 h 2968432"/>
              <a:gd name="connsiteX22" fmla="*/ 428187 w 1436399"/>
              <a:gd name="connsiteY22" fmla="*/ 1059703 h 2968432"/>
              <a:gd name="connsiteX23" fmla="*/ 1423248 w 1436399"/>
              <a:gd name="connsiteY23" fmla="*/ 955531 h 2968432"/>
              <a:gd name="connsiteX24" fmla="*/ 1423246 w 1436399"/>
              <a:gd name="connsiteY24" fmla="*/ 955533 h 2968432"/>
              <a:gd name="connsiteX25" fmla="*/ 1423248 w 1436399"/>
              <a:gd name="connsiteY25" fmla="*/ 955531 h 2968432"/>
              <a:gd name="connsiteX26" fmla="*/ 885063 w 1436399"/>
              <a:gd name="connsiteY26" fmla="*/ 0 h 2968432"/>
              <a:gd name="connsiteX27" fmla="*/ 1313137 w 1436399"/>
              <a:gd name="connsiteY27" fmla="*/ 428224 h 2968432"/>
              <a:gd name="connsiteX28" fmla="*/ 1203142 w 1436399"/>
              <a:gd name="connsiteY28" fmla="*/ 713935 h 2968432"/>
              <a:gd name="connsiteX29" fmla="*/ 1436399 w 1436399"/>
              <a:gd name="connsiteY29" fmla="*/ 942477 h 2968432"/>
              <a:gd name="connsiteX30" fmla="*/ 1436388 w 1436399"/>
              <a:gd name="connsiteY30" fmla="*/ 942488 h 2968432"/>
              <a:gd name="connsiteX31" fmla="*/ 1408845 w 1436399"/>
              <a:gd name="connsiteY31" fmla="*/ 966390 h 2968432"/>
              <a:gd name="connsiteX32" fmla="*/ 1408844 w 1436399"/>
              <a:gd name="connsiteY32" fmla="*/ 966390 h 2968432"/>
              <a:gd name="connsiteX33" fmla="*/ 1178081 w 1436399"/>
              <a:gd name="connsiteY33" fmla="*/ 740322 h 2968432"/>
              <a:gd name="connsiteX34" fmla="*/ 885063 w 1436399"/>
              <a:gd name="connsiteY34" fmla="*/ 856310 h 2968432"/>
              <a:gd name="connsiteX35" fmla="*/ 456876 w 1436399"/>
              <a:gd name="connsiteY35" fmla="*/ 428224 h 2968432"/>
              <a:gd name="connsiteX36" fmla="*/ 885063 w 1436399"/>
              <a:gd name="connsiteY36"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69335 w 1436399"/>
              <a:gd name="connsiteY7" fmla="*/ 1994028 h 2968432"/>
              <a:gd name="connsiteX8" fmla="*/ 1389681 w 1436399"/>
              <a:gd name="connsiteY8" fmla="*/ 1999706 h 2968432"/>
              <a:gd name="connsiteX9" fmla="*/ 1389680 w 1436399"/>
              <a:gd name="connsiteY9" fmla="*/ 1999706 h 2968432"/>
              <a:gd name="connsiteX10" fmla="*/ 1189988 w 1436399"/>
              <a:gd name="connsiteY10" fmla="*/ 2229348 h 2968432"/>
              <a:gd name="connsiteX11" fmla="*/ 1323910 w 1436399"/>
              <a:gd name="connsiteY11" fmla="*/ 2540208 h 2968432"/>
              <a:gd name="connsiteX12" fmla="*/ 895836 w 1436399"/>
              <a:gd name="connsiteY12" fmla="*/ 2968432 h 2968432"/>
              <a:gd name="connsiteX13" fmla="*/ 467649 w 1436399"/>
              <a:gd name="connsiteY13" fmla="*/ 2540208 h 2968432"/>
              <a:gd name="connsiteX14" fmla="*/ 895836 w 1436399"/>
              <a:gd name="connsiteY14" fmla="*/ 2112122 h 2968432"/>
              <a:gd name="connsiteX15" fmla="*/ 1162546 w 1436399"/>
              <a:gd name="connsiteY15" fmla="*/ 2205435 h 2968432"/>
              <a:gd name="connsiteX16" fmla="*/ 1362238 w 1436399"/>
              <a:gd name="connsiteY16" fmla="*/ 1975794 h 2968432"/>
              <a:gd name="connsiteX17" fmla="*/ 1145763 w 1436399"/>
              <a:gd name="connsiteY17" fmla="*/ 1508129 h 2968432"/>
              <a:gd name="connsiteX18" fmla="*/ 856374 w 1436399"/>
              <a:gd name="connsiteY18" fmla="*/ 1508129 h 2968432"/>
              <a:gd name="connsiteX19" fmla="*/ 428187 w 1436399"/>
              <a:gd name="connsiteY19" fmla="*/ 1916013 h 2968432"/>
              <a:gd name="connsiteX20" fmla="*/ 0 w 1436399"/>
              <a:gd name="connsiteY20" fmla="*/ 1487789 h 2968432"/>
              <a:gd name="connsiteX21" fmla="*/ 428187 w 1436399"/>
              <a:gd name="connsiteY21" fmla="*/ 1059703 h 2968432"/>
              <a:gd name="connsiteX22" fmla="*/ 1423248 w 1436399"/>
              <a:gd name="connsiteY22" fmla="*/ 955531 h 2968432"/>
              <a:gd name="connsiteX23" fmla="*/ 1423246 w 1436399"/>
              <a:gd name="connsiteY23" fmla="*/ 955533 h 2968432"/>
              <a:gd name="connsiteX24" fmla="*/ 1423248 w 1436399"/>
              <a:gd name="connsiteY24" fmla="*/ 955531 h 2968432"/>
              <a:gd name="connsiteX25" fmla="*/ 885063 w 1436399"/>
              <a:gd name="connsiteY25" fmla="*/ 0 h 2968432"/>
              <a:gd name="connsiteX26" fmla="*/ 1313137 w 1436399"/>
              <a:gd name="connsiteY26" fmla="*/ 428224 h 2968432"/>
              <a:gd name="connsiteX27" fmla="*/ 1203142 w 1436399"/>
              <a:gd name="connsiteY27" fmla="*/ 713935 h 2968432"/>
              <a:gd name="connsiteX28" fmla="*/ 1436399 w 1436399"/>
              <a:gd name="connsiteY28" fmla="*/ 942477 h 2968432"/>
              <a:gd name="connsiteX29" fmla="*/ 1436388 w 1436399"/>
              <a:gd name="connsiteY29" fmla="*/ 942488 h 2968432"/>
              <a:gd name="connsiteX30" fmla="*/ 1408845 w 1436399"/>
              <a:gd name="connsiteY30" fmla="*/ 966390 h 2968432"/>
              <a:gd name="connsiteX31" fmla="*/ 1408844 w 1436399"/>
              <a:gd name="connsiteY31" fmla="*/ 966390 h 2968432"/>
              <a:gd name="connsiteX32" fmla="*/ 1178081 w 1436399"/>
              <a:gd name="connsiteY32" fmla="*/ 740322 h 2968432"/>
              <a:gd name="connsiteX33" fmla="*/ 885063 w 1436399"/>
              <a:gd name="connsiteY33" fmla="*/ 856310 h 2968432"/>
              <a:gd name="connsiteX34" fmla="*/ 456876 w 1436399"/>
              <a:gd name="connsiteY34" fmla="*/ 428224 h 2968432"/>
              <a:gd name="connsiteX35" fmla="*/ 885063 w 1436399"/>
              <a:gd name="connsiteY35"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70028 w 1436399"/>
              <a:gd name="connsiteY6" fmla="*/ 1994222 h 2968432"/>
              <a:gd name="connsiteX7" fmla="*/ 1389681 w 1436399"/>
              <a:gd name="connsiteY7" fmla="*/ 1999706 h 2968432"/>
              <a:gd name="connsiteX8" fmla="*/ 1389680 w 1436399"/>
              <a:gd name="connsiteY8" fmla="*/ 1999706 h 2968432"/>
              <a:gd name="connsiteX9" fmla="*/ 1189988 w 1436399"/>
              <a:gd name="connsiteY9" fmla="*/ 2229348 h 2968432"/>
              <a:gd name="connsiteX10" fmla="*/ 1323910 w 1436399"/>
              <a:gd name="connsiteY10" fmla="*/ 2540208 h 2968432"/>
              <a:gd name="connsiteX11" fmla="*/ 895836 w 1436399"/>
              <a:gd name="connsiteY11" fmla="*/ 2968432 h 2968432"/>
              <a:gd name="connsiteX12" fmla="*/ 467649 w 1436399"/>
              <a:gd name="connsiteY12" fmla="*/ 2540208 h 2968432"/>
              <a:gd name="connsiteX13" fmla="*/ 895836 w 1436399"/>
              <a:gd name="connsiteY13" fmla="*/ 2112122 h 2968432"/>
              <a:gd name="connsiteX14" fmla="*/ 1162546 w 1436399"/>
              <a:gd name="connsiteY14" fmla="*/ 2205435 h 2968432"/>
              <a:gd name="connsiteX15" fmla="*/ 1362238 w 1436399"/>
              <a:gd name="connsiteY15" fmla="*/ 1975794 h 2968432"/>
              <a:gd name="connsiteX16" fmla="*/ 1145763 w 1436399"/>
              <a:gd name="connsiteY16" fmla="*/ 1508129 h 2968432"/>
              <a:gd name="connsiteX17" fmla="*/ 856374 w 1436399"/>
              <a:gd name="connsiteY17" fmla="*/ 1508129 h 2968432"/>
              <a:gd name="connsiteX18" fmla="*/ 428187 w 1436399"/>
              <a:gd name="connsiteY18" fmla="*/ 1916013 h 2968432"/>
              <a:gd name="connsiteX19" fmla="*/ 0 w 1436399"/>
              <a:gd name="connsiteY19" fmla="*/ 1487789 h 2968432"/>
              <a:gd name="connsiteX20" fmla="*/ 428187 w 1436399"/>
              <a:gd name="connsiteY20" fmla="*/ 1059703 h 2968432"/>
              <a:gd name="connsiteX21" fmla="*/ 1423248 w 1436399"/>
              <a:gd name="connsiteY21" fmla="*/ 955531 h 2968432"/>
              <a:gd name="connsiteX22" fmla="*/ 1423246 w 1436399"/>
              <a:gd name="connsiteY22" fmla="*/ 955533 h 2968432"/>
              <a:gd name="connsiteX23" fmla="*/ 1423248 w 1436399"/>
              <a:gd name="connsiteY23" fmla="*/ 955531 h 2968432"/>
              <a:gd name="connsiteX24" fmla="*/ 885063 w 1436399"/>
              <a:gd name="connsiteY24" fmla="*/ 0 h 2968432"/>
              <a:gd name="connsiteX25" fmla="*/ 1313137 w 1436399"/>
              <a:gd name="connsiteY25" fmla="*/ 428224 h 2968432"/>
              <a:gd name="connsiteX26" fmla="*/ 1203142 w 1436399"/>
              <a:gd name="connsiteY26" fmla="*/ 713935 h 2968432"/>
              <a:gd name="connsiteX27" fmla="*/ 1436399 w 1436399"/>
              <a:gd name="connsiteY27" fmla="*/ 942477 h 2968432"/>
              <a:gd name="connsiteX28" fmla="*/ 1436388 w 1436399"/>
              <a:gd name="connsiteY28" fmla="*/ 942488 h 2968432"/>
              <a:gd name="connsiteX29" fmla="*/ 1408845 w 1436399"/>
              <a:gd name="connsiteY29" fmla="*/ 966390 h 2968432"/>
              <a:gd name="connsiteX30" fmla="*/ 1408844 w 1436399"/>
              <a:gd name="connsiteY30" fmla="*/ 966390 h 2968432"/>
              <a:gd name="connsiteX31" fmla="*/ 1178081 w 1436399"/>
              <a:gd name="connsiteY31" fmla="*/ 740322 h 2968432"/>
              <a:gd name="connsiteX32" fmla="*/ 885063 w 1436399"/>
              <a:gd name="connsiteY32" fmla="*/ 856310 h 2968432"/>
              <a:gd name="connsiteX33" fmla="*/ 456876 w 1436399"/>
              <a:gd name="connsiteY33" fmla="*/ 428224 h 2968432"/>
              <a:gd name="connsiteX34" fmla="*/ 885063 w 1436399"/>
              <a:gd name="connsiteY34"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89681 w 1436399"/>
              <a:gd name="connsiteY6" fmla="*/ 1999706 h 2968432"/>
              <a:gd name="connsiteX7" fmla="*/ 1389680 w 1436399"/>
              <a:gd name="connsiteY7" fmla="*/ 1999706 h 2968432"/>
              <a:gd name="connsiteX8" fmla="*/ 1189988 w 1436399"/>
              <a:gd name="connsiteY8" fmla="*/ 2229348 h 2968432"/>
              <a:gd name="connsiteX9" fmla="*/ 1323910 w 1436399"/>
              <a:gd name="connsiteY9" fmla="*/ 2540208 h 2968432"/>
              <a:gd name="connsiteX10" fmla="*/ 895836 w 1436399"/>
              <a:gd name="connsiteY10" fmla="*/ 2968432 h 2968432"/>
              <a:gd name="connsiteX11" fmla="*/ 467649 w 1436399"/>
              <a:gd name="connsiteY11" fmla="*/ 2540208 h 2968432"/>
              <a:gd name="connsiteX12" fmla="*/ 895836 w 1436399"/>
              <a:gd name="connsiteY12" fmla="*/ 2112122 h 2968432"/>
              <a:gd name="connsiteX13" fmla="*/ 1162546 w 1436399"/>
              <a:gd name="connsiteY13" fmla="*/ 2205435 h 2968432"/>
              <a:gd name="connsiteX14" fmla="*/ 1362238 w 1436399"/>
              <a:gd name="connsiteY14" fmla="*/ 1975794 h 2968432"/>
              <a:gd name="connsiteX15" fmla="*/ 1145763 w 1436399"/>
              <a:gd name="connsiteY15" fmla="*/ 1508129 h 2968432"/>
              <a:gd name="connsiteX16" fmla="*/ 856374 w 1436399"/>
              <a:gd name="connsiteY16" fmla="*/ 1508129 h 2968432"/>
              <a:gd name="connsiteX17" fmla="*/ 428187 w 1436399"/>
              <a:gd name="connsiteY17" fmla="*/ 1916013 h 2968432"/>
              <a:gd name="connsiteX18" fmla="*/ 0 w 1436399"/>
              <a:gd name="connsiteY18" fmla="*/ 1487789 h 2968432"/>
              <a:gd name="connsiteX19" fmla="*/ 428187 w 1436399"/>
              <a:gd name="connsiteY19" fmla="*/ 1059703 h 2968432"/>
              <a:gd name="connsiteX20" fmla="*/ 1423248 w 1436399"/>
              <a:gd name="connsiteY20" fmla="*/ 955531 h 2968432"/>
              <a:gd name="connsiteX21" fmla="*/ 1423246 w 1436399"/>
              <a:gd name="connsiteY21" fmla="*/ 955533 h 2968432"/>
              <a:gd name="connsiteX22" fmla="*/ 1423248 w 1436399"/>
              <a:gd name="connsiteY22" fmla="*/ 955531 h 2968432"/>
              <a:gd name="connsiteX23" fmla="*/ 885063 w 1436399"/>
              <a:gd name="connsiteY23" fmla="*/ 0 h 2968432"/>
              <a:gd name="connsiteX24" fmla="*/ 1313137 w 1436399"/>
              <a:gd name="connsiteY24" fmla="*/ 428224 h 2968432"/>
              <a:gd name="connsiteX25" fmla="*/ 1203142 w 1436399"/>
              <a:gd name="connsiteY25" fmla="*/ 713935 h 2968432"/>
              <a:gd name="connsiteX26" fmla="*/ 1436399 w 1436399"/>
              <a:gd name="connsiteY26" fmla="*/ 942477 h 2968432"/>
              <a:gd name="connsiteX27" fmla="*/ 1436388 w 1436399"/>
              <a:gd name="connsiteY27" fmla="*/ 942488 h 2968432"/>
              <a:gd name="connsiteX28" fmla="*/ 1408845 w 1436399"/>
              <a:gd name="connsiteY28" fmla="*/ 966390 h 2968432"/>
              <a:gd name="connsiteX29" fmla="*/ 1408844 w 1436399"/>
              <a:gd name="connsiteY29" fmla="*/ 966390 h 2968432"/>
              <a:gd name="connsiteX30" fmla="*/ 1178081 w 1436399"/>
              <a:gd name="connsiteY30" fmla="*/ 740322 h 2968432"/>
              <a:gd name="connsiteX31" fmla="*/ 885063 w 1436399"/>
              <a:gd name="connsiteY31" fmla="*/ 856310 h 2968432"/>
              <a:gd name="connsiteX32" fmla="*/ 456876 w 1436399"/>
              <a:gd name="connsiteY32" fmla="*/ 428224 h 2968432"/>
              <a:gd name="connsiteX33" fmla="*/ 885063 w 1436399"/>
              <a:gd name="connsiteY33" fmla="*/ 0 h 2968432"/>
              <a:gd name="connsiteX0" fmla="*/ 428187 w 1436399"/>
              <a:gd name="connsiteY0" fmla="*/ 1059703 h 2968432"/>
              <a:gd name="connsiteX1" fmla="*/ 856374 w 1436399"/>
              <a:gd name="connsiteY1" fmla="*/ 1472260 h 2968432"/>
              <a:gd name="connsiteX2" fmla="*/ 1145763 w 1436399"/>
              <a:gd name="connsiteY2" fmla="*/ 1472260 h 2968432"/>
              <a:gd name="connsiteX3" fmla="*/ 1145764 w 1436399"/>
              <a:gd name="connsiteY3" fmla="*/ 1472260 h 2968432"/>
              <a:gd name="connsiteX4" fmla="*/ 1145764 w 1436399"/>
              <a:gd name="connsiteY4" fmla="*/ 1508128 h 2968432"/>
              <a:gd name="connsiteX5" fmla="*/ 1362239 w 1436399"/>
              <a:gd name="connsiteY5" fmla="*/ 1975794 h 2968432"/>
              <a:gd name="connsiteX6" fmla="*/ 1389681 w 1436399"/>
              <a:gd name="connsiteY6" fmla="*/ 1999706 h 2968432"/>
              <a:gd name="connsiteX7" fmla="*/ 1389680 w 1436399"/>
              <a:gd name="connsiteY7" fmla="*/ 1999706 h 2968432"/>
              <a:gd name="connsiteX8" fmla="*/ 1189988 w 1436399"/>
              <a:gd name="connsiteY8" fmla="*/ 2229348 h 2968432"/>
              <a:gd name="connsiteX9" fmla="*/ 1323910 w 1436399"/>
              <a:gd name="connsiteY9" fmla="*/ 2540208 h 2968432"/>
              <a:gd name="connsiteX10" fmla="*/ 895836 w 1436399"/>
              <a:gd name="connsiteY10" fmla="*/ 2968432 h 2968432"/>
              <a:gd name="connsiteX11" fmla="*/ 467649 w 1436399"/>
              <a:gd name="connsiteY11" fmla="*/ 2540208 h 2968432"/>
              <a:gd name="connsiteX12" fmla="*/ 895836 w 1436399"/>
              <a:gd name="connsiteY12" fmla="*/ 2112122 h 2968432"/>
              <a:gd name="connsiteX13" fmla="*/ 1162546 w 1436399"/>
              <a:gd name="connsiteY13" fmla="*/ 2205435 h 2968432"/>
              <a:gd name="connsiteX14" fmla="*/ 1362238 w 1436399"/>
              <a:gd name="connsiteY14" fmla="*/ 1975794 h 2968432"/>
              <a:gd name="connsiteX15" fmla="*/ 1145763 w 1436399"/>
              <a:gd name="connsiteY15" fmla="*/ 1508129 h 2968432"/>
              <a:gd name="connsiteX16" fmla="*/ 856374 w 1436399"/>
              <a:gd name="connsiteY16" fmla="*/ 1508129 h 2968432"/>
              <a:gd name="connsiteX17" fmla="*/ 428187 w 1436399"/>
              <a:gd name="connsiteY17" fmla="*/ 1916013 h 2968432"/>
              <a:gd name="connsiteX18" fmla="*/ 0 w 1436399"/>
              <a:gd name="connsiteY18" fmla="*/ 1487789 h 2968432"/>
              <a:gd name="connsiteX19" fmla="*/ 428187 w 1436399"/>
              <a:gd name="connsiteY19" fmla="*/ 1059703 h 2968432"/>
              <a:gd name="connsiteX20" fmla="*/ 1423248 w 1436399"/>
              <a:gd name="connsiteY20" fmla="*/ 955531 h 2968432"/>
              <a:gd name="connsiteX21" fmla="*/ 1423246 w 1436399"/>
              <a:gd name="connsiteY21" fmla="*/ 955533 h 2968432"/>
              <a:gd name="connsiteX22" fmla="*/ 1423248 w 1436399"/>
              <a:gd name="connsiteY22" fmla="*/ 955531 h 2968432"/>
              <a:gd name="connsiteX23" fmla="*/ 885063 w 1436399"/>
              <a:gd name="connsiteY23" fmla="*/ 0 h 2968432"/>
              <a:gd name="connsiteX24" fmla="*/ 1313137 w 1436399"/>
              <a:gd name="connsiteY24" fmla="*/ 428224 h 2968432"/>
              <a:gd name="connsiteX25" fmla="*/ 1203142 w 1436399"/>
              <a:gd name="connsiteY25" fmla="*/ 713935 h 2968432"/>
              <a:gd name="connsiteX26" fmla="*/ 1436399 w 1436399"/>
              <a:gd name="connsiteY26" fmla="*/ 942477 h 2968432"/>
              <a:gd name="connsiteX27" fmla="*/ 1436388 w 1436399"/>
              <a:gd name="connsiteY27" fmla="*/ 942488 h 2968432"/>
              <a:gd name="connsiteX28" fmla="*/ 1408845 w 1436399"/>
              <a:gd name="connsiteY28" fmla="*/ 966390 h 2968432"/>
              <a:gd name="connsiteX29" fmla="*/ 1408844 w 1436399"/>
              <a:gd name="connsiteY29" fmla="*/ 966390 h 2968432"/>
              <a:gd name="connsiteX30" fmla="*/ 1178081 w 1436399"/>
              <a:gd name="connsiteY30" fmla="*/ 740322 h 2968432"/>
              <a:gd name="connsiteX31" fmla="*/ 885063 w 1436399"/>
              <a:gd name="connsiteY31" fmla="*/ 856310 h 2968432"/>
              <a:gd name="connsiteX32" fmla="*/ 456876 w 1436399"/>
              <a:gd name="connsiteY32" fmla="*/ 428224 h 2968432"/>
              <a:gd name="connsiteX33" fmla="*/ 885063 w 1436399"/>
              <a:gd name="connsiteY33" fmla="*/ 0 h 296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6399" h="2968432">
                <a:moveTo>
                  <a:pt x="428187" y="1059703"/>
                </a:moveTo>
                <a:cubicBezTo>
                  <a:pt x="660197" y="1059703"/>
                  <a:pt x="847983" y="1242619"/>
                  <a:pt x="856374" y="1472260"/>
                </a:cubicBezTo>
                <a:lnTo>
                  <a:pt x="1145763" y="1472260"/>
                </a:lnTo>
                <a:cubicBezTo>
                  <a:pt x="1193995" y="1472260"/>
                  <a:pt x="1145764" y="1466282"/>
                  <a:pt x="1145764" y="1472260"/>
                </a:cubicBezTo>
                <a:lnTo>
                  <a:pt x="1145764" y="1508128"/>
                </a:lnTo>
                <a:cubicBezTo>
                  <a:pt x="1150527" y="1693518"/>
                  <a:pt x="1233080" y="1859805"/>
                  <a:pt x="1362239" y="1975794"/>
                </a:cubicBezTo>
                <a:lnTo>
                  <a:pt x="1389681" y="1999706"/>
                </a:lnTo>
                <a:cubicBezTo>
                  <a:pt x="1392956" y="2000620"/>
                  <a:pt x="1391212" y="2002707"/>
                  <a:pt x="1389680" y="1999706"/>
                </a:cubicBezTo>
                <a:lnTo>
                  <a:pt x="1189988" y="2229348"/>
                </a:lnTo>
                <a:cubicBezTo>
                  <a:pt x="1272541" y="2306994"/>
                  <a:pt x="1323910" y="2417073"/>
                  <a:pt x="1323910" y="2540208"/>
                </a:cubicBezTo>
                <a:cubicBezTo>
                  <a:pt x="1323910" y="2777133"/>
                  <a:pt x="1132609" y="2968432"/>
                  <a:pt x="895836" y="2968432"/>
                </a:cubicBezTo>
                <a:cubicBezTo>
                  <a:pt x="658950" y="2968432"/>
                  <a:pt x="467649" y="2777133"/>
                  <a:pt x="467649" y="2540208"/>
                </a:cubicBezTo>
                <a:cubicBezTo>
                  <a:pt x="467649" y="2303421"/>
                  <a:pt x="658950" y="2112122"/>
                  <a:pt x="895836" y="2112122"/>
                </a:cubicBezTo>
                <a:cubicBezTo>
                  <a:pt x="996306" y="2112122"/>
                  <a:pt x="1089518" y="2146754"/>
                  <a:pt x="1162546" y="2205435"/>
                </a:cubicBezTo>
                <a:lnTo>
                  <a:pt x="1362238" y="1975794"/>
                </a:lnTo>
                <a:cubicBezTo>
                  <a:pt x="1233079" y="1859805"/>
                  <a:pt x="1150526" y="1693518"/>
                  <a:pt x="1145763" y="1508129"/>
                </a:cubicBezTo>
                <a:lnTo>
                  <a:pt x="856374" y="1508129"/>
                </a:lnTo>
                <a:cubicBezTo>
                  <a:pt x="845601" y="1735433"/>
                  <a:pt x="657816" y="1916013"/>
                  <a:pt x="428187" y="1916013"/>
                </a:cubicBezTo>
                <a:cubicBezTo>
                  <a:pt x="191414" y="1916013"/>
                  <a:pt x="0" y="1724577"/>
                  <a:pt x="0" y="1487789"/>
                </a:cubicBezTo>
                <a:cubicBezTo>
                  <a:pt x="0" y="1251002"/>
                  <a:pt x="191414" y="1059703"/>
                  <a:pt x="428187" y="1059703"/>
                </a:cubicBezTo>
                <a:close/>
                <a:moveTo>
                  <a:pt x="1423248" y="955531"/>
                </a:moveTo>
                <a:lnTo>
                  <a:pt x="1423246" y="955533"/>
                </a:lnTo>
                <a:lnTo>
                  <a:pt x="1423248" y="955531"/>
                </a:lnTo>
                <a:close/>
                <a:moveTo>
                  <a:pt x="885063" y="0"/>
                </a:moveTo>
                <a:cubicBezTo>
                  <a:pt x="1121836" y="0"/>
                  <a:pt x="1313137" y="191299"/>
                  <a:pt x="1313137" y="428224"/>
                </a:cubicBezTo>
                <a:cubicBezTo>
                  <a:pt x="1313137" y="538166"/>
                  <a:pt x="1271293" y="638625"/>
                  <a:pt x="1203142" y="713935"/>
                </a:cubicBezTo>
                <a:lnTo>
                  <a:pt x="1436399" y="942477"/>
                </a:lnTo>
                <a:lnTo>
                  <a:pt x="1436388" y="942488"/>
                </a:lnTo>
                <a:lnTo>
                  <a:pt x="1408845" y="966390"/>
                </a:lnTo>
                <a:lnTo>
                  <a:pt x="1408844" y="966390"/>
                </a:lnTo>
                <a:lnTo>
                  <a:pt x="1178081" y="740322"/>
                </a:lnTo>
                <a:cubicBezTo>
                  <a:pt x="1101538" y="812059"/>
                  <a:pt x="998687" y="856310"/>
                  <a:pt x="885063" y="856310"/>
                </a:cubicBezTo>
                <a:cubicBezTo>
                  <a:pt x="648177" y="856310"/>
                  <a:pt x="456876" y="665011"/>
                  <a:pt x="456876" y="428224"/>
                </a:cubicBezTo>
                <a:cubicBezTo>
                  <a:pt x="456876" y="191299"/>
                  <a:pt x="648177" y="0"/>
                  <a:pt x="885063" y="0"/>
                </a:cubicBezTo>
                <a:close/>
              </a:path>
            </a:pathLst>
          </a:custGeom>
          <a:solidFill>
            <a:srgbClr val="F7931F">
              <a:lumMod val="75000"/>
            </a:srgbClr>
          </a:solidFill>
          <a:ln w="12700">
            <a:miter lim="400000"/>
          </a:ln>
        </p:spPr>
        <p:txBody>
          <a:bodyPr wrap="square" lIns="28560" tIns="28560" rIns="28560" bIns="28560" anchor="ctr">
            <a:noAutofit/>
          </a:bodyPr>
          <a:lstStyle/>
          <a:p>
            <a:pPr algn="ctr" defTabSz="913943">
              <a:defRPr sz="3000">
                <a:solidFill>
                  <a:srgbClr val="FFFFFF"/>
                </a:solidFill>
              </a:defRPr>
            </a:pPr>
            <a:endParaRPr sz="2249" b="1" kern="0">
              <a:solidFill>
                <a:prstClr val="white"/>
              </a:solidFill>
              <a:latin typeface="Calibri" panose="020F0502020204030204"/>
            </a:endParaRPr>
          </a:p>
        </p:txBody>
      </p:sp>
      <p:grpSp>
        <p:nvGrpSpPr>
          <p:cNvPr id="164" name="Graphic 30" descr="Lightbulb">
            <a:extLst>
              <a:ext uri="{FF2B5EF4-FFF2-40B4-BE49-F238E27FC236}">
                <a16:creationId xmlns:a16="http://schemas.microsoft.com/office/drawing/2014/main" id="{A460A6DB-EE67-13C1-FC93-3349DFB85ECA}"/>
              </a:ext>
            </a:extLst>
          </p:cNvPr>
          <p:cNvGrpSpPr/>
          <p:nvPr/>
        </p:nvGrpSpPr>
        <p:grpSpPr>
          <a:xfrm>
            <a:off x="2352429" y="1608407"/>
            <a:ext cx="236325" cy="381754"/>
            <a:chOff x="3545741" y="986632"/>
            <a:chExt cx="315264" cy="509272"/>
          </a:xfrm>
        </p:grpSpPr>
        <p:sp>
          <p:nvSpPr>
            <p:cNvPr id="165" name="Freeform: Shape 164">
              <a:extLst>
                <a:ext uri="{FF2B5EF4-FFF2-40B4-BE49-F238E27FC236}">
                  <a16:creationId xmlns:a16="http://schemas.microsoft.com/office/drawing/2014/main" id="{7D8F73BF-69A2-ACDD-80DD-133E95085E55}"/>
                </a:ext>
              </a:extLst>
            </p:cNvPr>
            <p:cNvSpPr/>
            <p:nvPr/>
          </p:nvSpPr>
          <p:spPr>
            <a:xfrm>
              <a:off x="3624557" y="1338273"/>
              <a:ext cx="157632" cy="36376"/>
            </a:xfrm>
            <a:custGeom>
              <a:avLst/>
              <a:gdLst>
                <a:gd name="connsiteX0" fmla="*/ 18188 w 157632"/>
                <a:gd name="connsiteY0" fmla="*/ 0 h 36376"/>
                <a:gd name="connsiteX1" fmla="*/ 139444 w 157632"/>
                <a:gd name="connsiteY1" fmla="*/ 0 h 36376"/>
                <a:gd name="connsiteX2" fmla="*/ 157632 w 157632"/>
                <a:gd name="connsiteY2" fmla="*/ 18188 h 36376"/>
                <a:gd name="connsiteX3" fmla="*/ 139444 w 157632"/>
                <a:gd name="connsiteY3" fmla="*/ 36377 h 36376"/>
                <a:gd name="connsiteX4" fmla="*/ 18188 w 157632"/>
                <a:gd name="connsiteY4" fmla="*/ 36377 h 36376"/>
                <a:gd name="connsiteX5" fmla="*/ 0 w 157632"/>
                <a:gd name="connsiteY5" fmla="*/ 18188 h 36376"/>
                <a:gd name="connsiteX6" fmla="*/ 18188 w 157632"/>
                <a:gd name="connsiteY6" fmla="*/ 0 h 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32" h="36376">
                  <a:moveTo>
                    <a:pt x="18188" y="0"/>
                  </a:moveTo>
                  <a:lnTo>
                    <a:pt x="139444" y="0"/>
                  </a:lnTo>
                  <a:cubicBezTo>
                    <a:pt x="149750" y="0"/>
                    <a:pt x="157632" y="7882"/>
                    <a:pt x="157632" y="18188"/>
                  </a:cubicBezTo>
                  <a:cubicBezTo>
                    <a:pt x="157632" y="28495"/>
                    <a:pt x="149750" y="36377"/>
                    <a:pt x="139444" y="36377"/>
                  </a:cubicBezTo>
                  <a:lnTo>
                    <a:pt x="18188" y="36377"/>
                  </a:lnTo>
                  <a:cubicBezTo>
                    <a:pt x="7882" y="36377"/>
                    <a:pt x="0" y="28495"/>
                    <a:pt x="0" y="18188"/>
                  </a:cubicBezTo>
                  <a:cubicBezTo>
                    <a:pt x="0" y="7882"/>
                    <a:pt x="7882" y="0"/>
                    <a:pt x="18188" y="0"/>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66" name="Freeform: Shape 165">
              <a:extLst>
                <a:ext uri="{FF2B5EF4-FFF2-40B4-BE49-F238E27FC236}">
                  <a16:creationId xmlns:a16="http://schemas.microsoft.com/office/drawing/2014/main" id="{181E89BC-ADE3-EA4C-EEC3-2261F901E2F6}"/>
                </a:ext>
              </a:extLst>
            </p:cNvPr>
            <p:cNvSpPr/>
            <p:nvPr/>
          </p:nvSpPr>
          <p:spPr>
            <a:xfrm>
              <a:off x="3624557" y="1398901"/>
              <a:ext cx="157632" cy="36376"/>
            </a:xfrm>
            <a:custGeom>
              <a:avLst/>
              <a:gdLst>
                <a:gd name="connsiteX0" fmla="*/ 18188 w 157632"/>
                <a:gd name="connsiteY0" fmla="*/ 0 h 36376"/>
                <a:gd name="connsiteX1" fmla="*/ 139444 w 157632"/>
                <a:gd name="connsiteY1" fmla="*/ 0 h 36376"/>
                <a:gd name="connsiteX2" fmla="*/ 157632 w 157632"/>
                <a:gd name="connsiteY2" fmla="*/ 18188 h 36376"/>
                <a:gd name="connsiteX3" fmla="*/ 139444 w 157632"/>
                <a:gd name="connsiteY3" fmla="*/ 36377 h 36376"/>
                <a:gd name="connsiteX4" fmla="*/ 18188 w 157632"/>
                <a:gd name="connsiteY4" fmla="*/ 36377 h 36376"/>
                <a:gd name="connsiteX5" fmla="*/ 0 w 157632"/>
                <a:gd name="connsiteY5" fmla="*/ 18188 h 36376"/>
                <a:gd name="connsiteX6" fmla="*/ 18188 w 157632"/>
                <a:gd name="connsiteY6" fmla="*/ 0 h 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32" h="36376">
                  <a:moveTo>
                    <a:pt x="18188" y="0"/>
                  </a:moveTo>
                  <a:lnTo>
                    <a:pt x="139444" y="0"/>
                  </a:lnTo>
                  <a:cubicBezTo>
                    <a:pt x="149750" y="0"/>
                    <a:pt x="157632" y="7882"/>
                    <a:pt x="157632" y="18188"/>
                  </a:cubicBezTo>
                  <a:cubicBezTo>
                    <a:pt x="157632" y="28495"/>
                    <a:pt x="149750" y="36377"/>
                    <a:pt x="139444" y="36377"/>
                  </a:cubicBezTo>
                  <a:lnTo>
                    <a:pt x="18188" y="36377"/>
                  </a:lnTo>
                  <a:cubicBezTo>
                    <a:pt x="7882" y="36377"/>
                    <a:pt x="0" y="28495"/>
                    <a:pt x="0" y="18188"/>
                  </a:cubicBezTo>
                  <a:cubicBezTo>
                    <a:pt x="0" y="7882"/>
                    <a:pt x="7882" y="0"/>
                    <a:pt x="18188" y="0"/>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67" name="Freeform: Shape 166">
              <a:extLst>
                <a:ext uri="{FF2B5EF4-FFF2-40B4-BE49-F238E27FC236}">
                  <a16:creationId xmlns:a16="http://schemas.microsoft.com/office/drawing/2014/main" id="{010A8BAC-1D63-C94F-88B1-710EDCA41627}"/>
                </a:ext>
              </a:extLst>
            </p:cNvPr>
            <p:cNvSpPr/>
            <p:nvPr/>
          </p:nvSpPr>
          <p:spPr>
            <a:xfrm>
              <a:off x="3663965" y="1459528"/>
              <a:ext cx="78816" cy="36376"/>
            </a:xfrm>
            <a:custGeom>
              <a:avLst/>
              <a:gdLst>
                <a:gd name="connsiteX0" fmla="*/ 0 w 78816"/>
                <a:gd name="connsiteY0" fmla="*/ 0 h 36376"/>
                <a:gd name="connsiteX1" fmla="*/ 39408 w 78816"/>
                <a:gd name="connsiteY1" fmla="*/ 36377 h 36376"/>
                <a:gd name="connsiteX2" fmla="*/ 78816 w 78816"/>
                <a:gd name="connsiteY2" fmla="*/ 0 h 36376"/>
                <a:gd name="connsiteX3" fmla="*/ 0 w 78816"/>
                <a:gd name="connsiteY3" fmla="*/ 0 h 36376"/>
              </a:gdLst>
              <a:ahLst/>
              <a:cxnLst>
                <a:cxn ang="0">
                  <a:pos x="connsiteX0" y="connsiteY0"/>
                </a:cxn>
                <a:cxn ang="0">
                  <a:pos x="connsiteX1" y="connsiteY1"/>
                </a:cxn>
                <a:cxn ang="0">
                  <a:pos x="connsiteX2" y="connsiteY2"/>
                </a:cxn>
                <a:cxn ang="0">
                  <a:pos x="connsiteX3" y="connsiteY3"/>
                </a:cxn>
              </a:cxnLst>
              <a:rect l="l" t="t" r="r" b="b"/>
              <a:pathLst>
                <a:path w="78816" h="36376">
                  <a:moveTo>
                    <a:pt x="0" y="0"/>
                  </a:moveTo>
                  <a:cubicBezTo>
                    <a:pt x="1819" y="20613"/>
                    <a:pt x="18795" y="36377"/>
                    <a:pt x="39408" y="36377"/>
                  </a:cubicBezTo>
                  <a:cubicBezTo>
                    <a:pt x="60021" y="36377"/>
                    <a:pt x="76997" y="20613"/>
                    <a:pt x="78816" y="0"/>
                  </a:cubicBezTo>
                  <a:lnTo>
                    <a:pt x="0"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68" name="Freeform: Shape 167">
              <a:extLst>
                <a:ext uri="{FF2B5EF4-FFF2-40B4-BE49-F238E27FC236}">
                  <a16:creationId xmlns:a16="http://schemas.microsoft.com/office/drawing/2014/main" id="{44BB9F5E-62DE-D0B6-7D6F-2841FC3A8A95}"/>
                </a:ext>
              </a:extLst>
            </p:cNvPr>
            <p:cNvSpPr/>
            <p:nvPr/>
          </p:nvSpPr>
          <p:spPr>
            <a:xfrm>
              <a:off x="3545741" y="986632"/>
              <a:ext cx="315264" cy="327389"/>
            </a:xfrm>
            <a:custGeom>
              <a:avLst/>
              <a:gdLst>
                <a:gd name="connsiteX0" fmla="*/ 157632 w 315264"/>
                <a:gd name="connsiteY0" fmla="*/ 0 h 327389"/>
                <a:gd name="connsiteX1" fmla="*/ 157632 w 315264"/>
                <a:gd name="connsiteY1" fmla="*/ 0 h 327389"/>
                <a:gd name="connsiteX2" fmla="*/ 157632 w 315264"/>
                <a:gd name="connsiteY2" fmla="*/ 0 h 327389"/>
                <a:gd name="connsiteX3" fmla="*/ 0 w 315264"/>
                <a:gd name="connsiteY3" fmla="*/ 155813 h 327389"/>
                <a:gd name="connsiteX4" fmla="*/ 0 w 315264"/>
                <a:gd name="connsiteY4" fmla="*/ 161270 h 327389"/>
                <a:gd name="connsiteX5" fmla="*/ 10913 w 315264"/>
                <a:gd name="connsiteY5" fmla="*/ 215835 h 327389"/>
                <a:gd name="connsiteX6" fmla="*/ 38195 w 315264"/>
                <a:gd name="connsiteY6" fmla="*/ 260699 h 327389"/>
                <a:gd name="connsiteX7" fmla="*/ 75178 w 315264"/>
                <a:gd name="connsiteY7" fmla="*/ 320721 h 327389"/>
                <a:gd name="connsiteX8" fmla="*/ 86091 w 315264"/>
                <a:gd name="connsiteY8" fmla="*/ 327390 h 327389"/>
                <a:gd name="connsiteX9" fmla="*/ 229173 w 315264"/>
                <a:gd name="connsiteY9" fmla="*/ 327390 h 327389"/>
                <a:gd name="connsiteX10" fmla="*/ 240086 w 315264"/>
                <a:gd name="connsiteY10" fmla="*/ 320721 h 327389"/>
                <a:gd name="connsiteX11" fmla="*/ 277069 w 315264"/>
                <a:gd name="connsiteY11" fmla="*/ 260699 h 327389"/>
                <a:gd name="connsiteX12" fmla="*/ 304351 w 315264"/>
                <a:gd name="connsiteY12" fmla="*/ 215835 h 327389"/>
                <a:gd name="connsiteX13" fmla="*/ 315264 w 315264"/>
                <a:gd name="connsiteY13" fmla="*/ 161270 h 327389"/>
                <a:gd name="connsiteX14" fmla="*/ 315264 w 315264"/>
                <a:gd name="connsiteY14" fmla="*/ 155813 h 327389"/>
                <a:gd name="connsiteX15" fmla="*/ 157632 w 315264"/>
                <a:gd name="connsiteY15" fmla="*/ 0 h 327389"/>
                <a:gd name="connsiteX16" fmla="*/ 278887 w 315264"/>
                <a:gd name="connsiteY16" fmla="*/ 160663 h 327389"/>
                <a:gd name="connsiteX17" fmla="*/ 270400 w 315264"/>
                <a:gd name="connsiteY17" fmla="*/ 203103 h 327389"/>
                <a:gd name="connsiteX18" fmla="*/ 249786 w 315264"/>
                <a:gd name="connsiteY18" fmla="*/ 236448 h 327389"/>
                <a:gd name="connsiteX19" fmla="*/ 214622 w 315264"/>
                <a:gd name="connsiteY19" fmla="*/ 291013 h 327389"/>
                <a:gd name="connsiteX20" fmla="*/ 157632 w 315264"/>
                <a:gd name="connsiteY20" fmla="*/ 291013 h 327389"/>
                <a:gd name="connsiteX21" fmla="*/ 101248 w 315264"/>
                <a:gd name="connsiteY21" fmla="*/ 291013 h 327389"/>
                <a:gd name="connsiteX22" fmla="*/ 66084 w 315264"/>
                <a:gd name="connsiteY22" fmla="*/ 236448 h 327389"/>
                <a:gd name="connsiteX23" fmla="*/ 45471 w 315264"/>
                <a:gd name="connsiteY23" fmla="*/ 203103 h 327389"/>
                <a:gd name="connsiteX24" fmla="*/ 36983 w 315264"/>
                <a:gd name="connsiteY24" fmla="*/ 160663 h 327389"/>
                <a:gd name="connsiteX25" fmla="*/ 36983 w 315264"/>
                <a:gd name="connsiteY25" fmla="*/ 155813 h 327389"/>
                <a:gd name="connsiteX26" fmla="*/ 158238 w 315264"/>
                <a:gd name="connsiteY26" fmla="*/ 35770 h 327389"/>
                <a:gd name="connsiteX27" fmla="*/ 158238 w 315264"/>
                <a:gd name="connsiteY27" fmla="*/ 35770 h 327389"/>
                <a:gd name="connsiteX28" fmla="*/ 158238 w 315264"/>
                <a:gd name="connsiteY28" fmla="*/ 35770 h 327389"/>
                <a:gd name="connsiteX29" fmla="*/ 158238 w 315264"/>
                <a:gd name="connsiteY29" fmla="*/ 35770 h 327389"/>
                <a:gd name="connsiteX30" fmla="*/ 158238 w 315264"/>
                <a:gd name="connsiteY30" fmla="*/ 35770 h 327389"/>
                <a:gd name="connsiteX31" fmla="*/ 158238 w 315264"/>
                <a:gd name="connsiteY31" fmla="*/ 35770 h 327389"/>
                <a:gd name="connsiteX32" fmla="*/ 158238 w 315264"/>
                <a:gd name="connsiteY32" fmla="*/ 35770 h 327389"/>
                <a:gd name="connsiteX33" fmla="*/ 279494 w 315264"/>
                <a:gd name="connsiteY33" fmla="*/ 155813 h 327389"/>
                <a:gd name="connsiteX34" fmla="*/ 279494 w 315264"/>
                <a:gd name="connsiteY34" fmla="*/ 160663 h 32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5264" h="327389">
                  <a:moveTo>
                    <a:pt x="157632" y="0"/>
                  </a:moveTo>
                  <a:cubicBezTo>
                    <a:pt x="157632" y="0"/>
                    <a:pt x="157632" y="0"/>
                    <a:pt x="157632" y="0"/>
                  </a:cubicBezTo>
                  <a:cubicBezTo>
                    <a:pt x="157632" y="0"/>
                    <a:pt x="157632" y="0"/>
                    <a:pt x="157632" y="0"/>
                  </a:cubicBezTo>
                  <a:cubicBezTo>
                    <a:pt x="71541" y="606"/>
                    <a:pt x="1819" y="69722"/>
                    <a:pt x="0" y="155813"/>
                  </a:cubicBezTo>
                  <a:lnTo>
                    <a:pt x="0" y="161270"/>
                  </a:lnTo>
                  <a:cubicBezTo>
                    <a:pt x="606" y="180064"/>
                    <a:pt x="4244" y="198253"/>
                    <a:pt x="10913" y="215835"/>
                  </a:cubicBezTo>
                  <a:cubicBezTo>
                    <a:pt x="17582" y="232204"/>
                    <a:pt x="26676" y="247361"/>
                    <a:pt x="38195" y="260699"/>
                  </a:cubicBezTo>
                  <a:cubicBezTo>
                    <a:pt x="52746" y="276462"/>
                    <a:pt x="68509" y="307383"/>
                    <a:pt x="75178" y="320721"/>
                  </a:cubicBezTo>
                  <a:cubicBezTo>
                    <a:pt x="76997" y="324965"/>
                    <a:pt x="81241" y="327390"/>
                    <a:pt x="86091" y="327390"/>
                  </a:cubicBezTo>
                  <a:lnTo>
                    <a:pt x="229173" y="327390"/>
                  </a:lnTo>
                  <a:cubicBezTo>
                    <a:pt x="234023" y="327390"/>
                    <a:pt x="238267" y="324965"/>
                    <a:pt x="240086" y="320721"/>
                  </a:cubicBezTo>
                  <a:cubicBezTo>
                    <a:pt x="246755" y="307383"/>
                    <a:pt x="262518" y="276462"/>
                    <a:pt x="277069" y="260699"/>
                  </a:cubicBezTo>
                  <a:cubicBezTo>
                    <a:pt x="288588" y="247361"/>
                    <a:pt x="298288" y="232204"/>
                    <a:pt x="304351" y="215835"/>
                  </a:cubicBezTo>
                  <a:cubicBezTo>
                    <a:pt x="311020" y="198253"/>
                    <a:pt x="314658" y="180064"/>
                    <a:pt x="315264" y="161270"/>
                  </a:cubicBezTo>
                  <a:lnTo>
                    <a:pt x="315264" y="155813"/>
                  </a:lnTo>
                  <a:cubicBezTo>
                    <a:pt x="313445" y="69722"/>
                    <a:pt x="243723" y="606"/>
                    <a:pt x="157632" y="0"/>
                  </a:cubicBezTo>
                  <a:close/>
                  <a:moveTo>
                    <a:pt x="278887" y="160663"/>
                  </a:moveTo>
                  <a:cubicBezTo>
                    <a:pt x="278281" y="175214"/>
                    <a:pt x="275250" y="189765"/>
                    <a:pt x="270400" y="203103"/>
                  </a:cubicBezTo>
                  <a:cubicBezTo>
                    <a:pt x="265549" y="215228"/>
                    <a:pt x="258880" y="226748"/>
                    <a:pt x="249786" y="236448"/>
                  </a:cubicBezTo>
                  <a:cubicBezTo>
                    <a:pt x="235842" y="253424"/>
                    <a:pt x="223716" y="271612"/>
                    <a:pt x="214622" y="291013"/>
                  </a:cubicBezTo>
                  <a:lnTo>
                    <a:pt x="157632" y="291013"/>
                  </a:lnTo>
                  <a:lnTo>
                    <a:pt x="101248" y="291013"/>
                  </a:lnTo>
                  <a:cubicBezTo>
                    <a:pt x="91548" y="271612"/>
                    <a:pt x="79422" y="253424"/>
                    <a:pt x="66084" y="236448"/>
                  </a:cubicBezTo>
                  <a:cubicBezTo>
                    <a:pt x="57596" y="226748"/>
                    <a:pt x="50321" y="215228"/>
                    <a:pt x="45471" y="203103"/>
                  </a:cubicBezTo>
                  <a:cubicBezTo>
                    <a:pt x="40014" y="189765"/>
                    <a:pt x="37589" y="175214"/>
                    <a:pt x="36983" y="160663"/>
                  </a:cubicBezTo>
                  <a:lnTo>
                    <a:pt x="36983" y="155813"/>
                  </a:lnTo>
                  <a:cubicBezTo>
                    <a:pt x="38195" y="89729"/>
                    <a:pt x="92154" y="36377"/>
                    <a:pt x="158238" y="35770"/>
                  </a:cubicBezTo>
                  <a:lnTo>
                    <a:pt x="158238" y="35770"/>
                  </a:lnTo>
                  <a:lnTo>
                    <a:pt x="158238" y="35770"/>
                  </a:lnTo>
                  <a:cubicBezTo>
                    <a:pt x="158238" y="35770"/>
                    <a:pt x="158238" y="35770"/>
                    <a:pt x="158238" y="35770"/>
                  </a:cubicBezTo>
                  <a:cubicBezTo>
                    <a:pt x="158238" y="35770"/>
                    <a:pt x="158238" y="35770"/>
                    <a:pt x="158238" y="35770"/>
                  </a:cubicBezTo>
                  <a:lnTo>
                    <a:pt x="158238" y="35770"/>
                  </a:lnTo>
                  <a:lnTo>
                    <a:pt x="158238" y="35770"/>
                  </a:lnTo>
                  <a:cubicBezTo>
                    <a:pt x="224323" y="36377"/>
                    <a:pt x="278281" y="89123"/>
                    <a:pt x="279494" y="155813"/>
                  </a:cubicBezTo>
                  <a:lnTo>
                    <a:pt x="279494" y="160663"/>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69" name="Graphic 29" descr="Upward trend">
            <a:extLst>
              <a:ext uri="{FF2B5EF4-FFF2-40B4-BE49-F238E27FC236}">
                <a16:creationId xmlns:a16="http://schemas.microsoft.com/office/drawing/2014/main" id="{24833B4B-F275-EDCF-0DE5-2F48C361BF96}"/>
              </a:ext>
            </a:extLst>
          </p:cNvPr>
          <p:cNvGrpSpPr/>
          <p:nvPr/>
        </p:nvGrpSpPr>
        <p:grpSpPr>
          <a:xfrm>
            <a:off x="1970510" y="2449855"/>
            <a:ext cx="309040" cy="309040"/>
            <a:chOff x="3036250" y="2109146"/>
            <a:chExt cx="412268" cy="412268"/>
          </a:xfrm>
        </p:grpSpPr>
        <p:sp>
          <p:nvSpPr>
            <p:cNvPr id="170" name="Freeform: Shape 169">
              <a:extLst>
                <a:ext uri="{FF2B5EF4-FFF2-40B4-BE49-F238E27FC236}">
                  <a16:creationId xmlns:a16="http://schemas.microsoft.com/office/drawing/2014/main" id="{4A5D2C6F-E9F2-2D8E-D791-D377257DECE6}"/>
                </a:ext>
              </a:extLst>
            </p:cNvPr>
            <p:cNvSpPr/>
            <p:nvPr/>
          </p:nvSpPr>
          <p:spPr>
            <a:xfrm>
              <a:off x="3036250" y="2109146"/>
              <a:ext cx="412268" cy="412268"/>
            </a:xfrm>
            <a:custGeom>
              <a:avLst/>
              <a:gdLst>
                <a:gd name="connsiteX0" fmla="*/ 36377 w 412268"/>
                <a:gd name="connsiteY0" fmla="*/ 0 h 412268"/>
                <a:gd name="connsiteX1" fmla="*/ 0 w 412268"/>
                <a:gd name="connsiteY1" fmla="*/ 0 h 412268"/>
                <a:gd name="connsiteX2" fmla="*/ 0 w 412268"/>
                <a:gd name="connsiteY2" fmla="*/ 412268 h 412268"/>
                <a:gd name="connsiteX3" fmla="*/ 412268 w 412268"/>
                <a:gd name="connsiteY3" fmla="*/ 412268 h 412268"/>
                <a:gd name="connsiteX4" fmla="*/ 412268 w 412268"/>
                <a:gd name="connsiteY4" fmla="*/ 375892 h 412268"/>
                <a:gd name="connsiteX5" fmla="*/ 36377 w 412268"/>
                <a:gd name="connsiteY5" fmla="*/ 375892 h 41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268" h="412268">
                  <a:moveTo>
                    <a:pt x="36377" y="0"/>
                  </a:moveTo>
                  <a:lnTo>
                    <a:pt x="0" y="0"/>
                  </a:lnTo>
                  <a:lnTo>
                    <a:pt x="0" y="412268"/>
                  </a:lnTo>
                  <a:lnTo>
                    <a:pt x="412268" y="412268"/>
                  </a:lnTo>
                  <a:lnTo>
                    <a:pt x="412268" y="375892"/>
                  </a:lnTo>
                  <a:lnTo>
                    <a:pt x="36377" y="375892"/>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71" name="Freeform: Shape 170">
              <a:extLst>
                <a:ext uri="{FF2B5EF4-FFF2-40B4-BE49-F238E27FC236}">
                  <a16:creationId xmlns:a16="http://schemas.microsoft.com/office/drawing/2014/main" id="{C9E48D86-BB52-0379-FE78-3F024CB8A4DC}"/>
                </a:ext>
              </a:extLst>
            </p:cNvPr>
            <p:cNvSpPr/>
            <p:nvPr/>
          </p:nvSpPr>
          <p:spPr>
            <a:xfrm>
              <a:off x="3096272" y="2212213"/>
              <a:ext cx="352246" cy="206740"/>
            </a:xfrm>
            <a:custGeom>
              <a:avLst/>
              <a:gdLst>
                <a:gd name="connsiteX0" fmla="*/ 255243 w 352246"/>
                <a:gd name="connsiteY0" fmla="*/ 0 h 206740"/>
                <a:gd name="connsiteX1" fmla="*/ 291013 w 352246"/>
                <a:gd name="connsiteY1" fmla="*/ 35770 h 206740"/>
                <a:gd name="connsiteX2" fmla="*/ 243117 w 352246"/>
                <a:gd name="connsiteY2" fmla="*/ 83666 h 206740"/>
                <a:gd name="connsiteX3" fmla="*/ 206740 w 352246"/>
                <a:gd name="connsiteY3" fmla="*/ 47290 h 206740"/>
                <a:gd name="connsiteX4" fmla="*/ 146113 w 352246"/>
                <a:gd name="connsiteY4" fmla="*/ 107917 h 206740"/>
                <a:gd name="connsiteX5" fmla="*/ 109736 w 352246"/>
                <a:gd name="connsiteY5" fmla="*/ 71541 h 206740"/>
                <a:gd name="connsiteX6" fmla="*/ 0 w 352246"/>
                <a:gd name="connsiteY6" fmla="*/ 181277 h 206740"/>
                <a:gd name="connsiteX7" fmla="*/ 25464 w 352246"/>
                <a:gd name="connsiteY7" fmla="*/ 206740 h 206740"/>
                <a:gd name="connsiteX8" fmla="*/ 109736 w 352246"/>
                <a:gd name="connsiteY8" fmla="*/ 122468 h 206740"/>
                <a:gd name="connsiteX9" fmla="*/ 146113 w 352246"/>
                <a:gd name="connsiteY9" fmla="*/ 158845 h 206740"/>
                <a:gd name="connsiteX10" fmla="*/ 206740 w 352246"/>
                <a:gd name="connsiteY10" fmla="*/ 98217 h 206740"/>
                <a:gd name="connsiteX11" fmla="*/ 243117 w 352246"/>
                <a:gd name="connsiteY11" fmla="*/ 134594 h 206740"/>
                <a:gd name="connsiteX12" fmla="*/ 316477 w 352246"/>
                <a:gd name="connsiteY12" fmla="*/ 61234 h 206740"/>
                <a:gd name="connsiteX13" fmla="*/ 352247 w 352246"/>
                <a:gd name="connsiteY13" fmla="*/ 97004 h 206740"/>
                <a:gd name="connsiteX14" fmla="*/ 352247 w 352246"/>
                <a:gd name="connsiteY14" fmla="*/ 0 h 20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246" h="206740">
                  <a:moveTo>
                    <a:pt x="255243" y="0"/>
                  </a:moveTo>
                  <a:lnTo>
                    <a:pt x="291013" y="35770"/>
                  </a:lnTo>
                  <a:lnTo>
                    <a:pt x="243117" y="83666"/>
                  </a:lnTo>
                  <a:lnTo>
                    <a:pt x="206740" y="47290"/>
                  </a:lnTo>
                  <a:lnTo>
                    <a:pt x="146113" y="107917"/>
                  </a:lnTo>
                  <a:lnTo>
                    <a:pt x="109736" y="71541"/>
                  </a:lnTo>
                  <a:lnTo>
                    <a:pt x="0" y="181277"/>
                  </a:lnTo>
                  <a:lnTo>
                    <a:pt x="25464" y="206740"/>
                  </a:lnTo>
                  <a:lnTo>
                    <a:pt x="109736" y="122468"/>
                  </a:lnTo>
                  <a:lnTo>
                    <a:pt x="146113" y="158845"/>
                  </a:lnTo>
                  <a:lnTo>
                    <a:pt x="206740" y="98217"/>
                  </a:lnTo>
                  <a:lnTo>
                    <a:pt x="243117" y="134594"/>
                  </a:lnTo>
                  <a:lnTo>
                    <a:pt x="316477" y="61234"/>
                  </a:lnTo>
                  <a:lnTo>
                    <a:pt x="352247" y="97004"/>
                  </a:lnTo>
                  <a:lnTo>
                    <a:pt x="352247"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72" name="Graphic 28" descr="Bullseye">
            <a:extLst>
              <a:ext uri="{FF2B5EF4-FFF2-40B4-BE49-F238E27FC236}">
                <a16:creationId xmlns:a16="http://schemas.microsoft.com/office/drawing/2014/main" id="{02595EBB-E72A-2DEC-CA30-472FE92FA4BB}"/>
              </a:ext>
            </a:extLst>
          </p:cNvPr>
          <p:cNvGrpSpPr/>
          <p:nvPr/>
        </p:nvGrpSpPr>
        <p:grpSpPr>
          <a:xfrm>
            <a:off x="2299506" y="3218244"/>
            <a:ext cx="359033" cy="359032"/>
            <a:chOff x="3475126" y="3134194"/>
            <a:chExt cx="478958" cy="478958"/>
          </a:xfrm>
        </p:grpSpPr>
        <p:sp>
          <p:nvSpPr>
            <p:cNvPr id="173" name="Freeform: Shape 172">
              <a:extLst>
                <a:ext uri="{FF2B5EF4-FFF2-40B4-BE49-F238E27FC236}">
                  <a16:creationId xmlns:a16="http://schemas.microsoft.com/office/drawing/2014/main" id="{DA0FD467-33D3-CC11-D078-880B374D1D71}"/>
                </a:ext>
              </a:extLst>
            </p:cNvPr>
            <p:cNvSpPr/>
            <p:nvPr/>
          </p:nvSpPr>
          <p:spPr>
            <a:xfrm>
              <a:off x="3644277" y="3134194"/>
              <a:ext cx="309807" cy="309201"/>
            </a:xfrm>
            <a:custGeom>
              <a:avLst/>
              <a:gdLst>
                <a:gd name="connsiteX0" fmla="*/ 255243 w 309807"/>
                <a:gd name="connsiteY0" fmla="*/ 54565 h 309201"/>
                <a:gd name="connsiteX1" fmla="*/ 249180 w 309807"/>
                <a:gd name="connsiteY1" fmla="*/ 0 h 309201"/>
                <a:gd name="connsiteX2" fmla="*/ 182489 w 309807"/>
                <a:gd name="connsiteY2" fmla="*/ 66690 h 309201"/>
                <a:gd name="connsiteX3" fmla="*/ 186127 w 309807"/>
                <a:gd name="connsiteY3" fmla="*/ 98217 h 309201"/>
                <a:gd name="connsiteX4" fmla="*/ 89123 w 309807"/>
                <a:gd name="connsiteY4" fmla="*/ 195221 h 309201"/>
                <a:gd name="connsiteX5" fmla="*/ 60628 w 309807"/>
                <a:gd name="connsiteY5" fmla="*/ 187946 h 309201"/>
                <a:gd name="connsiteX6" fmla="*/ 0 w 309807"/>
                <a:gd name="connsiteY6" fmla="*/ 248574 h 309201"/>
                <a:gd name="connsiteX7" fmla="*/ 60628 w 309807"/>
                <a:gd name="connsiteY7" fmla="*/ 309201 h 309201"/>
                <a:gd name="connsiteX8" fmla="*/ 121255 w 309807"/>
                <a:gd name="connsiteY8" fmla="*/ 248574 h 309201"/>
                <a:gd name="connsiteX9" fmla="*/ 114586 w 309807"/>
                <a:gd name="connsiteY9" fmla="*/ 220685 h 309201"/>
                <a:gd name="connsiteX10" fmla="*/ 211591 w 309807"/>
                <a:gd name="connsiteY10" fmla="*/ 123681 h 309201"/>
                <a:gd name="connsiteX11" fmla="*/ 243117 w 309807"/>
                <a:gd name="connsiteY11" fmla="*/ 127318 h 309201"/>
                <a:gd name="connsiteX12" fmla="*/ 309808 w 309807"/>
                <a:gd name="connsiteY12" fmla="*/ 60628 h 309201"/>
                <a:gd name="connsiteX13" fmla="*/ 255243 w 309807"/>
                <a:gd name="connsiteY13" fmla="*/ 54565 h 30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807" h="309201">
                  <a:moveTo>
                    <a:pt x="255243" y="54565"/>
                  </a:moveTo>
                  <a:lnTo>
                    <a:pt x="249180" y="0"/>
                  </a:lnTo>
                  <a:lnTo>
                    <a:pt x="182489" y="66690"/>
                  </a:lnTo>
                  <a:lnTo>
                    <a:pt x="186127" y="98217"/>
                  </a:lnTo>
                  <a:lnTo>
                    <a:pt x="89123" y="195221"/>
                  </a:lnTo>
                  <a:cubicBezTo>
                    <a:pt x="80635" y="190977"/>
                    <a:pt x="70934" y="187946"/>
                    <a:pt x="60628" y="187946"/>
                  </a:cubicBezTo>
                  <a:cubicBezTo>
                    <a:pt x="27282" y="187946"/>
                    <a:pt x="0" y="215228"/>
                    <a:pt x="0" y="248574"/>
                  </a:cubicBezTo>
                  <a:cubicBezTo>
                    <a:pt x="0" y="281919"/>
                    <a:pt x="27282" y="309201"/>
                    <a:pt x="60628" y="309201"/>
                  </a:cubicBezTo>
                  <a:cubicBezTo>
                    <a:pt x="93973" y="309201"/>
                    <a:pt x="121255" y="281919"/>
                    <a:pt x="121255" y="248574"/>
                  </a:cubicBezTo>
                  <a:cubicBezTo>
                    <a:pt x="121255" y="238267"/>
                    <a:pt x="118830" y="229173"/>
                    <a:pt x="114586" y="220685"/>
                  </a:cubicBezTo>
                  <a:lnTo>
                    <a:pt x="211591" y="123681"/>
                  </a:lnTo>
                  <a:lnTo>
                    <a:pt x="243117" y="127318"/>
                  </a:lnTo>
                  <a:lnTo>
                    <a:pt x="309808" y="60628"/>
                  </a:lnTo>
                  <a:lnTo>
                    <a:pt x="255243" y="5456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74" name="Freeform: Shape 173">
              <a:extLst>
                <a:ext uri="{FF2B5EF4-FFF2-40B4-BE49-F238E27FC236}">
                  <a16:creationId xmlns:a16="http://schemas.microsoft.com/office/drawing/2014/main" id="{DF61686C-6B98-1D82-3E5E-D2ECBEF1B2EB}"/>
                </a:ext>
              </a:extLst>
            </p:cNvPr>
            <p:cNvSpPr/>
            <p:nvPr/>
          </p:nvSpPr>
          <p:spPr>
            <a:xfrm>
              <a:off x="3475126" y="3152382"/>
              <a:ext cx="460770" cy="460770"/>
            </a:xfrm>
            <a:custGeom>
              <a:avLst/>
              <a:gdLst>
                <a:gd name="connsiteX0" fmla="*/ 429244 w 460770"/>
                <a:gd name="connsiteY0" fmla="*/ 126106 h 460770"/>
                <a:gd name="connsiteX1" fmla="*/ 421363 w 460770"/>
                <a:gd name="connsiteY1" fmla="*/ 134594 h 460770"/>
                <a:gd name="connsiteX2" fmla="*/ 409843 w 460770"/>
                <a:gd name="connsiteY2" fmla="*/ 133381 h 460770"/>
                <a:gd name="connsiteX3" fmla="*/ 397112 w 460770"/>
                <a:gd name="connsiteY3" fmla="*/ 131562 h 460770"/>
                <a:gd name="connsiteX4" fmla="*/ 424394 w 460770"/>
                <a:gd name="connsiteY4" fmla="*/ 230385 h 460770"/>
                <a:gd name="connsiteX5" fmla="*/ 230385 w 460770"/>
                <a:gd name="connsiteY5" fmla="*/ 424394 h 460770"/>
                <a:gd name="connsiteX6" fmla="*/ 36377 w 460770"/>
                <a:gd name="connsiteY6" fmla="*/ 230385 h 460770"/>
                <a:gd name="connsiteX7" fmla="*/ 230385 w 460770"/>
                <a:gd name="connsiteY7" fmla="*/ 36377 h 460770"/>
                <a:gd name="connsiteX8" fmla="*/ 329208 w 460770"/>
                <a:gd name="connsiteY8" fmla="*/ 63659 h 460770"/>
                <a:gd name="connsiteX9" fmla="*/ 327996 w 460770"/>
                <a:gd name="connsiteY9" fmla="*/ 51534 h 460770"/>
                <a:gd name="connsiteX10" fmla="*/ 326177 w 460770"/>
                <a:gd name="connsiteY10" fmla="*/ 39408 h 460770"/>
                <a:gd name="connsiteX11" fmla="*/ 334665 w 460770"/>
                <a:gd name="connsiteY11" fmla="*/ 30920 h 460770"/>
                <a:gd name="connsiteX12" fmla="*/ 338909 w 460770"/>
                <a:gd name="connsiteY12" fmla="*/ 26676 h 460770"/>
                <a:gd name="connsiteX13" fmla="*/ 230385 w 460770"/>
                <a:gd name="connsiteY13" fmla="*/ 0 h 460770"/>
                <a:gd name="connsiteX14" fmla="*/ 0 w 460770"/>
                <a:gd name="connsiteY14" fmla="*/ 230385 h 460770"/>
                <a:gd name="connsiteX15" fmla="*/ 230385 w 460770"/>
                <a:gd name="connsiteY15" fmla="*/ 460771 h 460770"/>
                <a:gd name="connsiteX16" fmla="*/ 460771 w 460770"/>
                <a:gd name="connsiteY16" fmla="*/ 230385 h 460770"/>
                <a:gd name="connsiteX17" fmla="*/ 433488 w 460770"/>
                <a:gd name="connsiteY17" fmla="*/ 122468 h 460770"/>
                <a:gd name="connsiteX18" fmla="*/ 429244 w 460770"/>
                <a:gd name="connsiteY18" fmla="*/ 126106 h 46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0770" h="460770">
                  <a:moveTo>
                    <a:pt x="429244" y="126106"/>
                  </a:moveTo>
                  <a:lnTo>
                    <a:pt x="421363" y="134594"/>
                  </a:lnTo>
                  <a:lnTo>
                    <a:pt x="409843" y="133381"/>
                  </a:lnTo>
                  <a:lnTo>
                    <a:pt x="397112" y="131562"/>
                  </a:lnTo>
                  <a:cubicBezTo>
                    <a:pt x="414087" y="160663"/>
                    <a:pt x="424394" y="194009"/>
                    <a:pt x="424394" y="230385"/>
                  </a:cubicBezTo>
                  <a:cubicBezTo>
                    <a:pt x="424394" y="337090"/>
                    <a:pt x="337090" y="424394"/>
                    <a:pt x="230385" y="424394"/>
                  </a:cubicBezTo>
                  <a:cubicBezTo>
                    <a:pt x="123681" y="424394"/>
                    <a:pt x="36377" y="337090"/>
                    <a:pt x="36377" y="230385"/>
                  </a:cubicBezTo>
                  <a:cubicBezTo>
                    <a:pt x="36377" y="123681"/>
                    <a:pt x="123681" y="36377"/>
                    <a:pt x="230385" y="36377"/>
                  </a:cubicBezTo>
                  <a:cubicBezTo>
                    <a:pt x="266156" y="36377"/>
                    <a:pt x="300107" y="46077"/>
                    <a:pt x="329208" y="63659"/>
                  </a:cubicBezTo>
                  <a:lnTo>
                    <a:pt x="327996" y="51534"/>
                  </a:lnTo>
                  <a:lnTo>
                    <a:pt x="326177" y="39408"/>
                  </a:lnTo>
                  <a:lnTo>
                    <a:pt x="334665" y="30920"/>
                  </a:lnTo>
                  <a:lnTo>
                    <a:pt x="338909" y="26676"/>
                  </a:lnTo>
                  <a:cubicBezTo>
                    <a:pt x="306170" y="9700"/>
                    <a:pt x="269793" y="0"/>
                    <a:pt x="230385" y="0"/>
                  </a:cubicBezTo>
                  <a:cubicBezTo>
                    <a:pt x="103067" y="0"/>
                    <a:pt x="0" y="103067"/>
                    <a:pt x="0" y="230385"/>
                  </a:cubicBezTo>
                  <a:cubicBezTo>
                    <a:pt x="0" y="357703"/>
                    <a:pt x="103067" y="460771"/>
                    <a:pt x="230385" y="460771"/>
                  </a:cubicBezTo>
                  <a:cubicBezTo>
                    <a:pt x="357703" y="460771"/>
                    <a:pt x="460771" y="357703"/>
                    <a:pt x="460771" y="230385"/>
                  </a:cubicBezTo>
                  <a:cubicBezTo>
                    <a:pt x="460771" y="190977"/>
                    <a:pt x="451070" y="154601"/>
                    <a:pt x="433488" y="122468"/>
                  </a:cubicBezTo>
                  <a:lnTo>
                    <a:pt x="429244" y="126106"/>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75" name="Freeform: Shape 174">
              <a:extLst>
                <a:ext uri="{FF2B5EF4-FFF2-40B4-BE49-F238E27FC236}">
                  <a16:creationId xmlns:a16="http://schemas.microsoft.com/office/drawing/2014/main" id="{E09C53AD-37C8-21E7-CD7C-9A4AF97AE9C8}"/>
                </a:ext>
              </a:extLst>
            </p:cNvPr>
            <p:cNvSpPr/>
            <p:nvPr/>
          </p:nvSpPr>
          <p:spPr>
            <a:xfrm>
              <a:off x="3560005" y="3237261"/>
              <a:ext cx="291013" cy="291013"/>
            </a:xfrm>
            <a:custGeom>
              <a:avLst/>
              <a:gdLst>
                <a:gd name="connsiteX0" fmla="*/ 246755 w 291013"/>
                <a:gd name="connsiteY0" fmla="*/ 104280 h 291013"/>
                <a:gd name="connsiteX1" fmla="*/ 254636 w 291013"/>
                <a:gd name="connsiteY1" fmla="*/ 145507 h 291013"/>
                <a:gd name="connsiteX2" fmla="*/ 145507 w 291013"/>
                <a:gd name="connsiteY2" fmla="*/ 254636 h 291013"/>
                <a:gd name="connsiteX3" fmla="*/ 36377 w 291013"/>
                <a:gd name="connsiteY3" fmla="*/ 145507 h 291013"/>
                <a:gd name="connsiteX4" fmla="*/ 145507 w 291013"/>
                <a:gd name="connsiteY4" fmla="*/ 36377 h 291013"/>
                <a:gd name="connsiteX5" fmla="*/ 186733 w 291013"/>
                <a:gd name="connsiteY5" fmla="*/ 44258 h 291013"/>
                <a:gd name="connsiteX6" fmla="*/ 214016 w 291013"/>
                <a:gd name="connsiteY6" fmla="*/ 16976 h 291013"/>
                <a:gd name="connsiteX7" fmla="*/ 145507 w 291013"/>
                <a:gd name="connsiteY7" fmla="*/ 0 h 291013"/>
                <a:gd name="connsiteX8" fmla="*/ 0 w 291013"/>
                <a:gd name="connsiteY8" fmla="*/ 145507 h 291013"/>
                <a:gd name="connsiteX9" fmla="*/ 145507 w 291013"/>
                <a:gd name="connsiteY9" fmla="*/ 291013 h 291013"/>
                <a:gd name="connsiteX10" fmla="*/ 291013 w 291013"/>
                <a:gd name="connsiteY10" fmla="*/ 145507 h 291013"/>
                <a:gd name="connsiteX11" fmla="*/ 274037 w 291013"/>
                <a:gd name="connsiteY11" fmla="*/ 76997 h 291013"/>
                <a:gd name="connsiteX12" fmla="*/ 246755 w 291013"/>
                <a:gd name="connsiteY12" fmla="*/ 104280 h 29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013" h="291013">
                  <a:moveTo>
                    <a:pt x="246755" y="104280"/>
                  </a:moveTo>
                  <a:cubicBezTo>
                    <a:pt x="252211" y="117011"/>
                    <a:pt x="254636" y="130956"/>
                    <a:pt x="254636" y="145507"/>
                  </a:cubicBezTo>
                  <a:cubicBezTo>
                    <a:pt x="254636" y="205528"/>
                    <a:pt x="205528" y="254636"/>
                    <a:pt x="145507" y="254636"/>
                  </a:cubicBezTo>
                  <a:cubicBezTo>
                    <a:pt x="85485" y="254636"/>
                    <a:pt x="36377" y="205528"/>
                    <a:pt x="36377" y="145507"/>
                  </a:cubicBezTo>
                  <a:cubicBezTo>
                    <a:pt x="36377" y="85485"/>
                    <a:pt x="85485" y="36377"/>
                    <a:pt x="145507" y="36377"/>
                  </a:cubicBezTo>
                  <a:cubicBezTo>
                    <a:pt x="160057" y="36377"/>
                    <a:pt x="174002" y="39408"/>
                    <a:pt x="186733" y="44258"/>
                  </a:cubicBezTo>
                  <a:lnTo>
                    <a:pt x="214016" y="16976"/>
                  </a:lnTo>
                  <a:cubicBezTo>
                    <a:pt x="193402" y="6063"/>
                    <a:pt x="170364" y="0"/>
                    <a:pt x="145507" y="0"/>
                  </a:cubicBezTo>
                  <a:cubicBezTo>
                    <a:pt x="65478" y="0"/>
                    <a:pt x="0" y="65478"/>
                    <a:pt x="0" y="145507"/>
                  </a:cubicBezTo>
                  <a:cubicBezTo>
                    <a:pt x="0" y="225535"/>
                    <a:pt x="65478" y="291013"/>
                    <a:pt x="145507" y="291013"/>
                  </a:cubicBezTo>
                  <a:cubicBezTo>
                    <a:pt x="225535" y="291013"/>
                    <a:pt x="291013" y="225535"/>
                    <a:pt x="291013" y="145507"/>
                  </a:cubicBezTo>
                  <a:cubicBezTo>
                    <a:pt x="291013" y="120649"/>
                    <a:pt x="284950" y="97611"/>
                    <a:pt x="274037" y="76997"/>
                  </a:cubicBezTo>
                  <a:lnTo>
                    <a:pt x="246755" y="10428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76" name="Graphic 27" descr="Speaker Phone">
            <a:extLst>
              <a:ext uri="{FF2B5EF4-FFF2-40B4-BE49-F238E27FC236}">
                <a16:creationId xmlns:a16="http://schemas.microsoft.com/office/drawing/2014/main" id="{0B04BC79-CEB0-BD76-8409-BC29B4F9834E}"/>
              </a:ext>
            </a:extLst>
          </p:cNvPr>
          <p:cNvGrpSpPr/>
          <p:nvPr/>
        </p:nvGrpSpPr>
        <p:grpSpPr>
          <a:xfrm>
            <a:off x="1848865" y="4138118"/>
            <a:ext cx="302120" cy="297785"/>
            <a:chOff x="3041456" y="4433739"/>
            <a:chExt cx="403036" cy="397250"/>
          </a:xfrm>
        </p:grpSpPr>
        <p:sp>
          <p:nvSpPr>
            <p:cNvPr id="177" name="Freeform: Shape 176">
              <a:extLst>
                <a:ext uri="{FF2B5EF4-FFF2-40B4-BE49-F238E27FC236}">
                  <a16:creationId xmlns:a16="http://schemas.microsoft.com/office/drawing/2014/main" id="{4D97CF4D-30C0-2C15-915F-D74B80E78C52}"/>
                </a:ext>
              </a:extLst>
            </p:cNvPr>
            <p:cNvSpPr/>
            <p:nvPr/>
          </p:nvSpPr>
          <p:spPr>
            <a:xfrm>
              <a:off x="3082120" y="4497580"/>
              <a:ext cx="94640" cy="94518"/>
            </a:xfrm>
            <a:custGeom>
              <a:avLst/>
              <a:gdLst>
                <a:gd name="connsiteX0" fmla="*/ 89547 w 94640"/>
                <a:gd name="connsiteY0" fmla="*/ 88213 h 94518"/>
                <a:gd name="connsiteX1" fmla="*/ 94640 w 94640"/>
                <a:gd name="connsiteY1" fmla="*/ 75603 h 94518"/>
                <a:gd name="connsiteX2" fmla="*/ 89365 w 94640"/>
                <a:gd name="connsiteY2" fmla="*/ 62871 h 94518"/>
                <a:gd name="connsiteX3" fmla="*/ 31890 w 94640"/>
                <a:gd name="connsiteY3" fmla="*/ 5335 h 94518"/>
                <a:gd name="connsiteX4" fmla="*/ 19098 w 94640"/>
                <a:gd name="connsiteY4" fmla="*/ 0 h 94518"/>
                <a:gd name="connsiteX5" fmla="*/ 6366 w 94640"/>
                <a:gd name="connsiteY5" fmla="*/ 5335 h 94518"/>
                <a:gd name="connsiteX6" fmla="*/ 0 w 94640"/>
                <a:gd name="connsiteY6" fmla="*/ 11762 h 94518"/>
                <a:gd name="connsiteX7" fmla="*/ 82939 w 94640"/>
                <a:gd name="connsiteY7" fmla="*/ 94519 h 9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40" h="94518">
                  <a:moveTo>
                    <a:pt x="89547" y="88213"/>
                  </a:moveTo>
                  <a:cubicBezTo>
                    <a:pt x="92811" y="84827"/>
                    <a:pt x="94637" y="80307"/>
                    <a:pt x="94640" y="75603"/>
                  </a:cubicBezTo>
                  <a:cubicBezTo>
                    <a:pt x="94660" y="70823"/>
                    <a:pt x="92759" y="66236"/>
                    <a:pt x="89365" y="62871"/>
                  </a:cubicBezTo>
                  <a:lnTo>
                    <a:pt x="31890" y="5335"/>
                  </a:lnTo>
                  <a:cubicBezTo>
                    <a:pt x="28497" y="1938"/>
                    <a:pt x="23899" y="20"/>
                    <a:pt x="19098" y="0"/>
                  </a:cubicBezTo>
                  <a:cubicBezTo>
                    <a:pt x="14318" y="36"/>
                    <a:pt x="9744" y="1953"/>
                    <a:pt x="6366" y="5335"/>
                  </a:cubicBezTo>
                  <a:lnTo>
                    <a:pt x="0" y="11762"/>
                  </a:lnTo>
                  <a:lnTo>
                    <a:pt x="82939" y="94519"/>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78" name="Freeform: Shape 177">
              <a:extLst>
                <a:ext uri="{FF2B5EF4-FFF2-40B4-BE49-F238E27FC236}">
                  <a16:creationId xmlns:a16="http://schemas.microsoft.com/office/drawing/2014/main" id="{F54F90C1-96A5-6336-4EFB-0CF08C7C4920}"/>
                </a:ext>
              </a:extLst>
            </p:cNvPr>
            <p:cNvSpPr/>
            <p:nvPr/>
          </p:nvSpPr>
          <p:spPr>
            <a:xfrm>
              <a:off x="3041456" y="4522013"/>
              <a:ext cx="309002" cy="308976"/>
            </a:xfrm>
            <a:custGeom>
              <a:avLst/>
              <a:gdLst>
                <a:gd name="connsiteX0" fmla="*/ 213574 w 309002"/>
                <a:gd name="connsiteY0" fmla="*/ 210984 h 308976"/>
                <a:gd name="connsiteX1" fmla="*/ 200885 w 309002"/>
                <a:gd name="connsiteY1" fmla="*/ 211087 h 308976"/>
                <a:gd name="connsiteX2" fmla="*/ 200782 w 309002"/>
                <a:gd name="connsiteY2" fmla="*/ 210984 h 308976"/>
                <a:gd name="connsiteX3" fmla="*/ 97715 w 309002"/>
                <a:gd name="connsiteY3" fmla="*/ 107917 h 308976"/>
                <a:gd name="connsiteX4" fmla="*/ 97715 w 309002"/>
                <a:gd name="connsiteY4" fmla="*/ 95064 h 308976"/>
                <a:gd name="connsiteX5" fmla="*/ 110568 w 309002"/>
                <a:gd name="connsiteY5" fmla="*/ 82575 h 308976"/>
                <a:gd name="connsiteX6" fmla="*/ 27932 w 309002"/>
                <a:gd name="connsiteY6" fmla="*/ 0 h 308976"/>
                <a:gd name="connsiteX7" fmla="*/ 13988 w 309002"/>
                <a:gd name="connsiteY7" fmla="*/ 13762 h 308976"/>
                <a:gd name="connsiteX8" fmla="*/ 104 w 309002"/>
                <a:gd name="connsiteY8" fmla="*/ 43591 h 308976"/>
                <a:gd name="connsiteX9" fmla="*/ 9804 w 309002"/>
                <a:gd name="connsiteY9" fmla="*/ 97732 h 308976"/>
                <a:gd name="connsiteX10" fmla="*/ 34844 w 309002"/>
                <a:gd name="connsiteY10" fmla="*/ 141323 h 308976"/>
                <a:gd name="connsiteX11" fmla="*/ 162162 w 309002"/>
                <a:gd name="connsiteY11" fmla="*/ 272764 h 308976"/>
                <a:gd name="connsiteX12" fmla="*/ 188474 w 309002"/>
                <a:gd name="connsiteY12" fmla="*/ 289437 h 308976"/>
                <a:gd name="connsiteX13" fmla="*/ 255165 w 309002"/>
                <a:gd name="connsiteY13" fmla="*/ 308838 h 308976"/>
                <a:gd name="connsiteX14" fmla="*/ 297604 w 309002"/>
                <a:gd name="connsiteY14" fmla="*/ 292165 h 308976"/>
                <a:gd name="connsiteX15" fmla="*/ 309002 w 309002"/>
                <a:gd name="connsiteY15" fmla="*/ 280767 h 308976"/>
                <a:gd name="connsiteX16" fmla="*/ 226064 w 309002"/>
                <a:gd name="connsiteY16" fmla="*/ 198131 h 30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002" h="308976">
                  <a:moveTo>
                    <a:pt x="213574" y="210984"/>
                  </a:moveTo>
                  <a:cubicBezTo>
                    <a:pt x="210098" y="214517"/>
                    <a:pt x="204418" y="214563"/>
                    <a:pt x="200885" y="211087"/>
                  </a:cubicBezTo>
                  <a:cubicBezTo>
                    <a:pt x="200850" y="211054"/>
                    <a:pt x="200816" y="211019"/>
                    <a:pt x="200782" y="210984"/>
                  </a:cubicBezTo>
                  <a:lnTo>
                    <a:pt x="97715" y="107917"/>
                  </a:lnTo>
                  <a:cubicBezTo>
                    <a:pt x="94169" y="104367"/>
                    <a:pt x="94169" y="98615"/>
                    <a:pt x="97715" y="95064"/>
                  </a:cubicBezTo>
                  <a:lnTo>
                    <a:pt x="110568" y="82575"/>
                  </a:lnTo>
                  <a:lnTo>
                    <a:pt x="27932" y="0"/>
                  </a:lnTo>
                  <a:cubicBezTo>
                    <a:pt x="22597" y="5335"/>
                    <a:pt x="17383" y="10549"/>
                    <a:pt x="13988" y="13762"/>
                  </a:cubicBezTo>
                  <a:cubicBezTo>
                    <a:pt x="5673" y="21533"/>
                    <a:pt x="696" y="32226"/>
                    <a:pt x="104" y="43591"/>
                  </a:cubicBezTo>
                  <a:cubicBezTo>
                    <a:pt x="-646" y="62129"/>
                    <a:pt x="2665" y="80608"/>
                    <a:pt x="9804" y="97732"/>
                  </a:cubicBezTo>
                  <a:cubicBezTo>
                    <a:pt x="16646" y="113077"/>
                    <a:pt x="25035" y="127683"/>
                    <a:pt x="34844" y="141323"/>
                  </a:cubicBezTo>
                  <a:cubicBezTo>
                    <a:pt x="68955" y="192500"/>
                    <a:pt x="112097" y="237040"/>
                    <a:pt x="162162" y="272764"/>
                  </a:cubicBezTo>
                  <a:cubicBezTo>
                    <a:pt x="170521" y="278947"/>
                    <a:pt x="179314" y="284519"/>
                    <a:pt x="188474" y="289437"/>
                  </a:cubicBezTo>
                  <a:cubicBezTo>
                    <a:pt x="209176" y="300317"/>
                    <a:pt x="231857" y="306915"/>
                    <a:pt x="255165" y="308838"/>
                  </a:cubicBezTo>
                  <a:cubicBezTo>
                    <a:pt x="271107" y="309997"/>
                    <a:pt x="286715" y="303865"/>
                    <a:pt x="297604" y="292165"/>
                  </a:cubicBezTo>
                  <a:lnTo>
                    <a:pt x="309002" y="280767"/>
                  </a:lnTo>
                  <a:lnTo>
                    <a:pt x="226064" y="198131"/>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79" name="Freeform: Shape 178">
              <a:extLst>
                <a:ext uri="{FF2B5EF4-FFF2-40B4-BE49-F238E27FC236}">
                  <a16:creationId xmlns:a16="http://schemas.microsoft.com/office/drawing/2014/main" id="{E6B794F9-843E-5DE0-9077-70D7DF66E1DF}"/>
                </a:ext>
              </a:extLst>
            </p:cNvPr>
            <p:cNvSpPr/>
            <p:nvPr/>
          </p:nvSpPr>
          <p:spPr>
            <a:xfrm>
              <a:off x="3280373" y="4695242"/>
              <a:ext cx="94381" cy="94866"/>
            </a:xfrm>
            <a:custGeom>
              <a:avLst/>
              <a:gdLst>
                <a:gd name="connsiteX0" fmla="*/ 89123 w 94381"/>
                <a:gd name="connsiteY0" fmla="*/ 62916 h 94866"/>
                <a:gd name="connsiteX1" fmla="*/ 31648 w 94381"/>
                <a:gd name="connsiteY1" fmla="*/ 5259 h 94866"/>
                <a:gd name="connsiteX2" fmla="*/ 6063 w 94381"/>
                <a:gd name="connsiteY2" fmla="*/ 5259 h 94866"/>
                <a:gd name="connsiteX3" fmla="*/ 0 w 94381"/>
                <a:gd name="connsiteY3" fmla="*/ 11807 h 94866"/>
                <a:gd name="connsiteX4" fmla="*/ 82696 w 94381"/>
                <a:gd name="connsiteY4" fmla="*/ 94867 h 94866"/>
                <a:gd name="connsiteX5" fmla="*/ 89123 w 94381"/>
                <a:gd name="connsiteY5" fmla="*/ 88804 h 94866"/>
                <a:gd name="connsiteX6" fmla="*/ 89123 w 94381"/>
                <a:gd name="connsiteY6" fmla="*/ 63219 h 9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81" h="94866">
                  <a:moveTo>
                    <a:pt x="89123" y="62916"/>
                  </a:moveTo>
                  <a:lnTo>
                    <a:pt x="31648" y="5259"/>
                  </a:lnTo>
                  <a:cubicBezTo>
                    <a:pt x="24561" y="-1753"/>
                    <a:pt x="13150" y="-1753"/>
                    <a:pt x="6063" y="5259"/>
                  </a:cubicBezTo>
                  <a:lnTo>
                    <a:pt x="0" y="11807"/>
                  </a:lnTo>
                  <a:lnTo>
                    <a:pt x="82696" y="94867"/>
                  </a:lnTo>
                  <a:lnTo>
                    <a:pt x="89123" y="88804"/>
                  </a:lnTo>
                  <a:cubicBezTo>
                    <a:pt x="96135" y="81717"/>
                    <a:pt x="96135" y="70306"/>
                    <a:pt x="89123" y="63219"/>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0" name="Freeform: Shape 179">
              <a:extLst>
                <a:ext uri="{FF2B5EF4-FFF2-40B4-BE49-F238E27FC236}">
                  <a16:creationId xmlns:a16="http://schemas.microsoft.com/office/drawing/2014/main" id="{6A1E1092-03A7-15E3-2FEC-1C81D8BEC51D}"/>
                </a:ext>
              </a:extLst>
            </p:cNvPr>
            <p:cNvSpPr/>
            <p:nvPr/>
          </p:nvSpPr>
          <p:spPr>
            <a:xfrm>
              <a:off x="3238358" y="4549417"/>
              <a:ext cx="85727" cy="96519"/>
            </a:xfrm>
            <a:custGeom>
              <a:avLst/>
              <a:gdLst>
                <a:gd name="connsiteX0" fmla="*/ 85728 w 85727"/>
                <a:gd name="connsiteY0" fmla="*/ 96519 h 96519"/>
                <a:gd name="connsiteX1" fmla="*/ 61476 w 85727"/>
                <a:gd name="connsiteY1" fmla="*/ 96519 h 96519"/>
                <a:gd name="connsiteX2" fmla="*/ 0 w 85727"/>
                <a:gd name="connsiteY2" fmla="*/ 24736 h 96519"/>
                <a:gd name="connsiteX3" fmla="*/ 0 w 85727"/>
                <a:gd name="connsiteY3" fmla="*/ 0 h 96519"/>
                <a:gd name="connsiteX4" fmla="*/ 85728 w 85727"/>
                <a:gd name="connsiteY4" fmla="*/ 96519 h 96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7" h="96519">
                  <a:moveTo>
                    <a:pt x="85728" y="96519"/>
                  </a:moveTo>
                  <a:lnTo>
                    <a:pt x="61476" y="96519"/>
                  </a:lnTo>
                  <a:cubicBezTo>
                    <a:pt x="58848" y="61738"/>
                    <a:pt x="33962" y="32682"/>
                    <a:pt x="0" y="24736"/>
                  </a:cubicBezTo>
                  <a:lnTo>
                    <a:pt x="0" y="0"/>
                  </a:lnTo>
                  <a:cubicBezTo>
                    <a:pt x="47449" y="8492"/>
                    <a:pt x="82894" y="48399"/>
                    <a:pt x="85728" y="96519"/>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1" name="Freeform: Shape 180">
              <a:extLst>
                <a:ext uri="{FF2B5EF4-FFF2-40B4-BE49-F238E27FC236}">
                  <a16:creationId xmlns:a16="http://schemas.microsoft.com/office/drawing/2014/main" id="{A14606DE-865F-2967-C564-145BF4FF1C20}"/>
                </a:ext>
              </a:extLst>
            </p:cNvPr>
            <p:cNvSpPr/>
            <p:nvPr/>
          </p:nvSpPr>
          <p:spPr>
            <a:xfrm>
              <a:off x="3238358" y="4490123"/>
              <a:ext cx="143687" cy="155813"/>
            </a:xfrm>
            <a:custGeom>
              <a:avLst/>
              <a:gdLst>
                <a:gd name="connsiteX0" fmla="*/ 143688 w 143687"/>
                <a:gd name="connsiteY0" fmla="*/ 143688 h 155813"/>
                <a:gd name="connsiteX1" fmla="*/ 143142 w 143687"/>
                <a:gd name="connsiteY1" fmla="*/ 155813 h 155813"/>
                <a:gd name="connsiteX2" fmla="*/ 118891 w 143687"/>
                <a:gd name="connsiteY2" fmla="*/ 155813 h 155813"/>
                <a:gd name="connsiteX3" fmla="*/ 119497 w 143687"/>
                <a:gd name="connsiteY3" fmla="*/ 143688 h 155813"/>
                <a:gd name="connsiteX4" fmla="*/ 0 w 143687"/>
                <a:gd name="connsiteY4" fmla="*/ 24251 h 155813"/>
                <a:gd name="connsiteX5" fmla="*/ 0 w 143687"/>
                <a:gd name="connsiteY5" fmla="*/ 0 h 155813"/>
                <a:gd name="connsiteX6" fmla="*/ 143688 w 143687"/>
                <a:gd name="connsiteY6" fmla="*/ 143688 h 1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687" h="155813">
                  <a:moveTo>
                    <a:pt x="143688" y="143688"/>
                  </a:moveTo>
                  <a:cubicBezTo>
                    <a:pt x="143688" y="147750"/>
                    <a:pt x="143688" y="151812"/>
                    <a:pt x="143142" y="155813"/>
                  </a:cubicBezTo>
                  <a:lnTo>
                    <a:pt x="118891" y="155813"/>
                  </a:lnTo>
                  <a:cubicBezTo>
                    <a:pt x="119307" y="151785"/>
                    <a:pt x="119510" y="147738"/>
                    <a:pt x="119497" y="143688"/>
                  </a:cubicBezTo>
                  <a:cubicBezTo>
                    <a:pt x="119397" y="77742"/>
                    <a:pt x="65945" y="24318"/>
                    <a:pt x="0" y="24251"/>
                  </a:cubicBezTo>
                  <a:lnTo>
                    <a:pt x="0" y="0"/>
                  </a:lnTo>
                  <a:cubicBezTo>
                    <a:pt x="79329" y="67"/>
                    <a:pt x="143621" y="64359"/>
                    <a:pt x="143688" y="143688"/>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2" name="Freeform: Shape 181">
              <a:extLst>
                <a:ext uri="{FF2B5EF4-FFF2-40B4-BE49-F238E27FC236}">
                  <a16:creationId xmlns:a16="http://schemas.microsoft.com/office/drawing/2014/main" id="{B2932869-104A-68C1-BCE1-971BD16D312F}"/>
                </a:ext>
              </a:extLst>
            </p:cNvPr>
            <p:cNvSpPr/>
            <p:nvPr/>
          </p:nvSpPr>
          <p:spPr>
            <a:xfrm>
              <a:off x="3238358" y="4433739"/>
              <a:ext cx="206134" cy="212196"/>
            </a:xfrm>
            <a:custGeom>
              <a:avLst/>
              <a:gdLst>
                <a:gd name="connsiteX0" fmla="*/ 206134 w 206134"/>
                <a:gd name="connsiteY0" fmla="*/ 200071 h 212196"/>
                <a:gd name="connsiteX1" fmla="*/ 205710 w 206134"/>
                <a:gd name="connsiteY1" fmla="*/ 212197 h 212196"/>
                <a:gd name="connsiteX2" fmla="*/ 181459 w 206134"/>
                <a:gd name="connsiteY2" fmla="*/ 212197 h 212196"/>
                <a:gd name="connsiteX3" fmla="*/ 181944 w 206134"/>
                <a:gd name="connsiteY3" fmla="*/ 200071 h 212196"/>
                <a:gd name="connsiteX4" fmla="*/ 6123 w 206134"/>
                <a:gd name="connsiteY4" fmla="*/ 24251 h 212196"/>
                <a:gd name="connsiteX5" fmla="*/ 6063 w 206134"/>
                <a:gd name="connsiteY5" fmla="*/ 24251 h 212196"/>
                <a:gd name="connsiteX6" fmla="*/ 0 w 206134"/>
                <a:gd name="connsiteY6" fmla="*/ 24251 h 212196"/>
                <a:gd name="connsiteX7" fmla="*/ 0 w 206134"/>
                <a:gd name="connsiteY7" fmla="*/ 0 h 212196"/>
                <a:gd name="connsiteX8" fmla="*/ 6063 w 206134"/>
                <a:gd name="connsiteY8" fmla="*/ 0 h 212196"/>
                <a:gd name="connsiteX9" fmla="*/ 206134 w 206134"/>
                <a:gd name="connsiteY9" fmla="*/ 200071 h 21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134" h="212196">
                  <a:moveTo>
                    <a:pt x="206134" y="200071"/>
                  </a:moveTo>
                  <a:cubicBezTo>
                    <a:pt x="206134" y="204133"/>
                    <a:pt x="206134" y="208196"/>
                    <a:pt x="205710" y="212197"/>
                  </a:cubicBezTo>
                  <a:lnTo>
                    <a:pt x="181459" y="212197"/>
                  </a:lnTo>
                  <a:cubicBezTo>
                    <a:pt x="181459" y="208196"/>
                    <a:pt x="181944" y="204133"/>
                    <a:pt x="181944" y="200071"/>
                  </a:cubicBezTo>
                  <a:cubicBezTo>
                    <a:pt x="181944" y="102968"/>
                    <a:pt x="103227" y="24251"/>
                    <a:pt x="6123" y="24251"/>
                  </a:cubicBezTo>
                  <a:cubicBezTo>
                    <a:pt x="6103" y="24251"/>
                    <a:pt x="6083" y="24251"/>
                    <a:pt x="6063" y="24251"/>
                  </a:cubicBezTo>
                  <a:cubicBezTo>
                    <a:pt x="4001" y="24251"/>
                    <a:pt x="2001" y="24251"/>
                    <a:pt x="0" y="24251"/>
                  </a:cubicBezTo>
                  <a:lnTo>
                    <a:pt x="0" y="0"/>
                  </a:lnTo>
                  <a:lnTo>
                    <a:pt x="6063" y="0"/>
                  </a:lnTo>
                  <a:cubicBezTo>
                    <a:pt x="116559" y="0"/>
                    <a:pt x="206134" y="89575"/>
                    <a:pt x="206134" y="200071"/>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83" name="Graphic 31" descr="Stopwatch">
            <a:extLst>
              <a:ext uri="{FF2B5EF4-FFF2-40B4-BE49-F238E27FC236}">
                <a16:creationId xmlns:a16="http://schemas.microsoft.com/office/drawing/2014/main" id="{2BA02566-C65E-03D2-8393-8F7BAF44374F}"/>
              </a:ext>
            </a:extLst>
          </p:cNvPr>
          <p:cNvGrpSpPr/>
          <p:nvPr/>
        </p:nvGrpSpPr>
        <p:grpSpPr>
          <a:xfrm>
            <a:off x="2197776" y="4920687"/>
            <a:ext cx="309306" cy="354235"/>
            <a:chOff x="3506971" y="5477824"/>
            <a:chExt cx="412629" cy="472565"/>
          </a:xfrm>
        </p:grpSpPr>
        <p:sp>
          <p:nvSpPr>
            <p:cNvPr id="184" name="Freeform: Shape 183">
              <a:extLst>
                <a:ext uri="{FF2B5EF4-FFF2-40B4-BE49-F238E27FC236}">
                  <a16:creationId xmlns:a16="http://schemas.microsoft.com/office/drawing/2014/main" id="{BA827E71-7C22-32CE-5FCC-3716D10FADE2}"/>
                </a:ext>
              </a:extLst>
            </p:cNvPr>
            <p:cNvSpPr/>
            <p:nvPr/>
          </p:nvSpPr>
          <p:spPr>
            <a:xfrm>
              <a:off x="3700794" y="5611205"/>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5" name="Freeform: Shape 184">
              <a:extLst>
                <a:ext uri="{FF2B5EF4-FFF2-40B4-BE49-F238E27FC236}">
                  <a16:creationId xmlns:a16="http://schemas.microsoft.com/office/drawing/2014/main" id="{82ABE570-E027-4FAA-528E-CFF510C4358C}"/>
                </a:ext>
              </a:extLst>
            </p:cNvPr>
            <p:cNvSpPr/>
            <p:nvPr/>
          </p:nvSpPr>
          <p:spPr>
            <a:xfrm>
              <a:off x="3700794" y="5853716"/>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6" name="Freeform: Shape 185">
              <a:extLst>
                <a:ext uri="{FF2B5EF4-FFF2-40B4-BE49-F238E27FC236}">
                  <a16:creationId xmlns:a16="http://schemas.microsoft.com/office/drawing/2014/main" id="{2883F0CB-A250-3F62-C2E3-74FAB44A60D9}"/>
                </a:ext>
              </a:extLst>
            </p:cNvPr>
            <p:cNvSpPr/>
            <p:nvPr/>
          </p:nvSpPr>
          <p:spPr>
            <a:xfrm>
              <a:off x="3822049" y="5726398"/>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7" name="Freeform: Shape 186">
              <a:extLst>
                <a:ext uri="{FF2B5EF4-FFF2-40B4-BE49-F238E27FC236}">
                  <a16:creationId xmlns:a16="http://schemas.microsoft.com/office/drawing/2014/main" id="{454F7AA1-BD94-4FA9-AA34-BD4D7C4C5376}"/>
                </a:ext>
              </a:extLst>
            </p:cNvPr>
            <p:cNvSpPr/>
            <p:nvPr/>
          </p:nvSpPr>
          <p:spPr>
            <a:xfrm>
              <a:off x="3579539" y="5726398"/>
              <a:ext cx="24251" cy="24251"/>
            </a:xfrm>
            <a:custGeom>
              <a:avLst/>
              <a:gdLst>
                <a:gd name="connsiteX0" fmla="*/ 24251 w 24251"/>
                <a:gd name="connsiteY0" fmla="*/ 12126 h 24251"/>
                <a:gd name="connsiteX1" fmla="*/ 12126 w 24251"/>
                <a:gd name="connsiteY1" fmla="*/ 24251 h 24251"/>
                <a:gd name="connsiteX2" fmla="*/ 0 w 24251"/>
                <a:gd name="connsiteY2" fmla="*/ 12126 h 24251"/>
                <a:gd name="connsiteX3" fmla="*/ 12126 w 24251"/>
                <a:gd name="connsiteY3" fmla="*/ 0 h 24251"/>
                <a:gd name="connsiteX4" fmla="*/ 24251 w 24251"/>
                <a:gd name="connsiteY4" fmla="*/ 12126 h 2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1" h="24251">
                  <a:moveTo>
                    <a:pt x="24251" y="12126"/>
                  </a:moveTo>
                  <a:cubicBezTo>
                    <a:pt x="24251" y="18822"/>
                    <a:pt x="18822" y="24251"/>
                    <a:pt x="12126" y="24251"/>
                  </a:cubicBezTo>
                  <a:cubicBezTo>
                    <a:pt x="5429" y="24251"/>
                    <a:pt x="0" y="18822"/>
                    <a:pt x="0" y="12126"/>
                  </a:cubicBezTo>
                  <a:cubicBezTo>
                    <a:pt x="0" y="5429"/>
                    <a:pt x="5429" y="0"/>
                    <a:pt x="12126" y="0"/>
                  </a:cubicBezTo>
                  <a:cubicBezTo>
                    <a:pt x="18822" y="0"/>
                    <a:pt x="24251" y="5429"/>
                    <a:pt x="24251" y="1212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8" name="Freeform: Shape 187">
              <a:extLst>
                <a:ext uri="{FF2B5EF4-FFF2-40B4-BE49-F238E27FC236}">
                  <a16:creationId xmlns:a16="http://schemas.microsoft.com/office/drawing/2014/main" id="{5448BF34-3F4C-1A0D-50B5-297446B92FED}"/>
                </a:ext>
              </a:extLst>
            </p:cNvPr>
            <p:cNvSpPr/>
            <p:nvPr/>
          </p:nvSpPr>
          <p:spPr>
            <a:xfrm>
              <a:off x="3700794" y="5653645"/>
              <a:ext cx="80634" cy="153388"/>
            </a:xfrm>
            <a:custGeom>
              <a:avLst/>
              <a:gdLst>
                <a:gd name="connsiteX0" fmla="*/ 24251 w 80634"/>
                <a:gd name="connsiteY0" fmla="*/ 0 h 153388"/>
                <a:gd name="connsiteX1" fmla="*/ 0 w 80634"/>
                <a:gd name="connsiteY1" fmla="*/ 0 h 153388"/>
                <a:gd name="connsiteX2" fmla="*/ 0 w 80634"/>
                <a:gd name="connsiteY2" fmla="*/ 84879 h 153388"/>
                <a:gd name="connsiteX3" fmla="*/ 3638 w 80634"/>
                <a:gd name="connsiteY3" fmla="*/ 93367 h 153388"/>
                <a:gd name="connsiteX4" fmla="*/ 63659 w 80634"/>
                <a:gd name="connsiteY4" fmla="*/ 153388 h 153388"/>
                <a:gd name="connsiteX5" fmla="*/ 80635 w 80634"/>
                <a:gd name="connsiteY5" fmla="*/ 136412 h 153388"/>
                <a:gd name="connsiteX6" fmla="*/ 24251 w 80634"/>
                <a:gd name="connsiteY6" fmla="*/ 80029 h 153388"/>
                <a:gd name="connsiteX7" fmla="*/ 24251 w 80634"/>
                <a:gd name="connsiteY7" fmla="*/ 0 h 1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4" h="153388">
                  <a:moveTo>
                    <a:pt x="24251" y="0"/>
                  </a:moveTo>
                  <a:lnTo>
                    <a:pt x="0" y="0"/>
                  </a:lnTo>
                  <a:lnTo>
                    <a:pt x="0" y="84879"/>
                  </a:lnTo>
                  <a:cubicBezTo>
                    <a:pt x="0" y="87910"/>
                    <a:pt x="1213" y="90942"/>
                    <a:pt x="3638" y="93367"/>
                  </a:cubicBezTo>
                  <a:lnTo>
                    <a:pt x="63659" y="153388"/>
                  </a:lnTo>
                  <a:lnTo>
                    <a:pt x="80635" y="136412"/>
                  </a:lnTo>
                  <a:lnTo>
                    <a:pt x="24251" y="80029"/>
                  </a:lnTo>
                  <a:lnTo>
                    <a:pt x="24251"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89" name="Freeform: Shape 188">
              <a:extLst>
                <a:ext uri="{FF2B5EF4-FFF2-40B4-BE49-F238E27FC236}">
                  <a16:creationId xmlns:a16="http://schemas.microsoft.com/office/drawing/2014/main" id="{F71B604B-B781-95E2-BB4E-A58CD238BCC7}"/>
                </a:ext>
              </a:extLst>
            </p:cNvPr>
            <p:cNvSpPr/>
            <p:nvPr/>
          </p:nvSpPr>
          <p:spPr>
            <a:xfrm>
              <a:off x="3506971" y="5477824"/>
              <a:ext cx="412629" cy="472565"/>
            </a:xfrm>
            <a:custGeom>
              <a:avLst/>
              <a:gdLst>
                <a:gd name="connsiteX0" fmla="*/ 205949 w 412629"/>
                <a:gd name="connsiteY0" fmla="*/ 436520 h 472565"/>
                <a:gd name="connsiteX1" fmla="*/ 36191 w 412629"/>
                <a:gd name="connsiteY1" fmla="*/ 266762 h 472565"/>
                <a:gd name="connsiteX2" fmla="*/ 205949 w 412629"/>
                <a:gd name="connsiteY2" fmla="*/ 97004 h 472565"/>
                <a:gd name="connsiteX3" fmla="*/ 375706 w 412629"/>
                <a:gd name="connsiteY3" fmla="*/ 266762 h 472565"/>
                <a:gd name="connsiteX4" fmla="*/ 205949 w 412629"/>
                <a:gd name="connsiteY4" fmla="*/ 436520 h 472565"/>
                <a:gd name="connsiteX5" fmla="*/ 205949 w 412629"/>
                <a:gd name="connsiteY5" fmla="*/ 436520 h 472565"/>
                <a:gd name="connsiteX6" fmla="*/ 349637 w 412629"/>
                <a:gd name="connsiteY6" fmla="*/ 118830 h 472565"/>
                <a:gd name="connsiteX7" fmla="*/ 367825 w 412629"/>
                <a:gd name="connsiteY7" fmla="*/ 100642 h 472565"/>
                <a:gd name="connsiteX8" fmla="*/ 367219 w 412629"/>
                <a:gd name="connsiteY8" fmla="*/ 75178 h 472565"/>
                <a:gd name="connsiteX9" fmla="*/ 341755 w 412629"/>
                <a:gd name="connsiteY9" fmla="*/ 74572 h 472565"/>
                <a:gd name="connsiteX10" fmla="*/ 321142 w 412629"/>
                <a:gd name="connsiteY10" fmla="*/ 95792 h 472565"/>
                <a:gd name="connsiteX11" fmla="*/ 224137 w 412629"/>
                <a:gd name="connsiteY11" fmla="*/ 61840 h 472565"/>
                <a:gd name="connsiteX12" fmla="*/ 224137 w 412629"/>
                <a:gd name="connsiteY12" fmla="*/ 36377 h 472565"/>
                <a:gd name="connsiteX13" fmla="*/ 278702 w 412629"/>
                <a:gd name="connsiteY13" fmla="*/ 36377 h 472565"/>
                <a:gd name="connsiteX14" fmla="*/ 278702 w 412629"/>
                <a:gd name="connsiteY14" fmla="*/ 0 h 472565"/>
                <a:gd name="connsiteX15" fmla="*/ 133196 w 412629"/>
                <a:gd name="connsiteY15" fmla="*/ 0 h 472565"/>
                <a:gd name="connsiteX16" fmla="*/ 133196 w 412629"/>
                <a:gd name="connsiteY16" fmla="*/ 36377 h 472565"/>
                <a:gd name="connsiteX17" fmla="*/ 187761 w 412629"/>
                <a:gd name="connsiteY17" fmla="*/ 36377 h 472565"/>
                <a:gd name="connsiteX18" fmla="*/ 187761 w 412629"/>
                <a:gd name="connsiteY18" fmla="*/ 61234 h 472565"/>
                <a:gd name="connsiteX19" fmla="*/ 1633 w 412629"/>
                <a:gd name="connsiteY19" fmla="*/ 240692 h 472565"/>
                <a:gd name="connsiteX20" fmla="*/ 137440 w 412629"/>
                <a:gd name="connsiteY20" fmla="*/ 460771 h 472565"/>
                <a:gd name="connsiteX21" fmla="*/ 381769 w 412629"/>
                <a:gd name="connsiteY21" fmla="*/ 375286 h 472565"/>
                <a:gd name="connsiteX22" fmla="*/ 349637 w 412629"/>
                <a:gd name="connsiteY22" fmla="*/ 118830 h 472565"/>
                <a:gd name="connsiteX23" fmla="*/ 349637 w 412629"/>
                <a:gd name="connsiteY23" fmla="*/ 118830 h 47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2629" h="472565">
                  <a:moveTo>
                    <a:pt x="205949" y="436520"/>
                  </a:moveTo>
                  <a:cubicBezTo>
                    <a:pt x="111976" y="436520"/>
                    <a:pt x="36191" y="360735"/>
                    <a:pt x="36191" y="266762"/>
                  </a:cubicBezTo>
                  <a:cubicBezTo>
                    <a:pt x="36191" y="172789"/>
                    <a:pt x="111976" y="97004"/>
                    <a:pt x="205949" y="97004"/>
                  </a:cubicBezTo>
                  <a:cubicBezTo>
                    <a:pt x="299922" y="97004"/>
                    <a:pt x="375706" y="172789"/>
                    <a:pt x="375706" y="266762"/>
                  </a:cubicBezTo>
                  <a:cubicBezTo>
                    <a:pt x="375706" y="360735"/>
                    <a:pt x="299922" y="436520"/>
                    <a:pt x="205949" y="436520"/>
                  </a:cubicBezTo>
                  <a:lnTo>
                    <a:pt x="205949" y="436520"/>
                  </a:lnTo>
                  <a:close/>
                  <a:moveTo>
                    <a:pt x="349637" y="118830"/>
                  </a:moveTo>
                  <a:lnTo>
                    <a:pt x="367825" y="100642"/>
                  </a:lnTo>
                  <a:cubicBezTo>
                    <a:pt x="374494" y="93367"/>
                    <a:pt x="374494" y="82454"/>
                    <a:pt x="367219" y="75178"/>
                  </a:cubicBezTo>
                  <a:cubicBezTo>
                    <a:pt x="360550" y="68509"/>
                    <a:pt x="349030" y="67903"/>
                    <a:pt x="341755" y="74572"/>
                  </a:cubicBezTo>
                  <a:lnTo>
                    <a:pt x="321142" y="95792"/>
                  </a:lnTo>
                  <a:cubicBezTo>
                    <a:pt x="292040" y="76391"/>
                    <a:pt x="258695" y="64265"/>
                    <a:pt x="224137" y="61840"/>
                  </a:cubicBezTo>
                  <a:lnTo>
                    <a:pt x="224137" y="36377"/>
                  </a:lnTo>
                  <a:lnTo>
                    <a:pt x="278702" y="36377"/>
                  </a:lnTo>
                  <a:lnTo>
                    <a:pt x="278702" y="0"/>
                  </a:lnTo>
                  <a:lnTo>
                    <a:pt x="133196" y="0"/>
                  </a:lnTo>
                  <a:lnTo>
                    <a:pt x="133196" y="36377"/>
                  </a:lnTo>
                  <a:lnTo>
                    <a:pt x="187761" y="36377"/>
                  </a:lnTo>
                  <a:lnTo>
                    <a:pt x="187761" y="61234"/>
                  </a:lnTo>
                  <a:cubicBezTo>
                    <a:pt x="91362" y="69722"/>
                    <a:pt x="13759" y="144294"/>
                    <a:pt x="1633" y="240692"/>
                  </a:cubicBezTo>
                  <a:cubicBezTo>
                    <a:pt x="-10492" y="337090"/>
                    <a:pt x="45892" y="428638"/>
                    <a:pt x="137440" y="460771"/>
                  </a:cubicBezTo>
                  <a:cubicBezTo>
                    <a:pt x="228987" y="492903"/>
                    <a:pt x="330236" y="457739"/>
                    <a:pt x="381769" y="375286"/>
                  </a:cubicBezTo>
                  <a:cubicBezTo>
                    <a:pt x="433303" y="292832"/>
                    <a:pt x="418752" y="186127"/>
                    <a:pt x="349637" y="118830"/>
                  </a:cubicBezTo>
                  <a:lnTo>
                    <a:pt x="349637" y="11883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grpSp>
        <p:nvGrpSpPr>
          <p:cNvPr id="190" name="Graphic 32" descr="Gears">
            <a:extLst>
              <a:ext uri="{FF2B5EF4-FFF2-40B4-BE49-F238E27FC236}">
                <a16:creationId xmlns:a16="http://schemas.microsoft.com/office/drawing/2014/main" id="{6D632E16-3362-E6B3-6D1B-F4CE5DCA95EB}"/>
              </a:ext>
            </a:extLst>
          </p:cNvPr>
          <p:cNvGrpSpPr/>
          <p:nvPr/>
        </p:nvGrpSpPr>
        <p:grpSpPr>
          <a:xfrm>
            <a:off x="3811542" y="4601379"/>
            <a:ext cx="296317" cy="358577"/>
            <a:chOff x="5659700" y="5051777"/>
            <a:chExt cx="395293" cy="478352"/>
          </a:xfrm>
          <a:solidFill>
            <a:srgbClr val="FFFFFF"/>
          </a:solidFill>
        </p:grpSpPr>
        <p:sp>
          <p:nvSpPr>
            <p:cNvPr id="191" name="Freeform: Shape 190">
              <a:extLst>
                <a:ext uri="{FF2B5EF4-FFF2-40B4-BE49-F238E27FC236}">
                  <a16:creationId xmlns:a16="http://schemas.microsoft.com/office/drawing/2014/main" id="{77FED95D-6AB8-DD8A-42D6-28665DDBFCB0}"/>
                </a:ext>
              </a:extLst>
            </p:cNvPr>
            <p:cNvSpPr/>
            <p:nvPr/>
          </p:nvSpPr>
          <p:spPr>
            <a:xfrm>
              <a:off x="5796719" y="5051777"/>
              <a:ext cx="258274" cy="257667"/>
            </a:xfrm>
            <a:custGeom>
              <a:avLst/>
              <a:gdLst>
                <a:gd name="connsiteX0" fmla="*/ 129137 w 258274"/>
                <a:gd name="connsiteY0" fmla="*/ 174608 h 257667"/>
                <a:gd name="connsiteX1" fmla="*/ 83666 w 258274"/>
                <a:gd name="connsiteY1" fmla="*/ 129137 h 257667"/>
                <a:gd name="connsiteX2" fmla="*/ 129137 w 258274"/>
                <a:gd name="connsiteY2" fmla="*/ 83666 h 257667"/>
                <a:gd name="connsiteX3" fmla="*/ 174608 w 258274"/>
                <a:gd name="connsiteY3" fmla="*/ 129137 h 257667"/>
                <a:gd name="connsiteX4" fmla="*/ 129137 w 258274"/>
                <a:gd name="connsiteY4" fmla="*/ 174608 h 257667"/>
                <a:gd name="connsiteX5" fmla="*/ 231598 w 258274"/>
                <a:gd name="connsiteY5" fmla="*/ 100642 h 257667"/>
                <a:gd name="connsiteX6" fmla="*/ 221897 w 258274"/>
                <a:gd name="connsiteY6" fmla="*/ 76997 h 257667"/>
                <a:gd name="connsiteX7" fmla="*/ 231598 w 258274"/>
                <a:gd name="connsiteY7" fmla="*/ 48502 h 257667"/>
                <a:gd name="connsiteX8" fmla="*/ 209772 w 258274"/>
                <a:gd name="connsiteY8" fmla="*/ 26676 h 257667"/>
                <a:gd name="connsiteX9" fmla="*/ 181277 w 258274"/>
                <a:gd name="connsiteY9" fmla="*/ 36377 h 257667"/>
                <a:gd name="connsiteX10" fmla="*/ 157632 w 258274"/>
                <a:gd name="connsiteY10" fmla="*/ 26676 h 257667"/>
                <a:gd name="connsiteX11" fmla="*/ 144294 w 258274"/>
                <a:gd name="connsiteY11" fmla="*/ 0 h 257667"/>
                <a:gd name="connsiteX12" fmla="*/ 113980 w 258274"/>
                <a:gd name="connsiteY12" fmla="*/ 0 h 257667"/>
                <a:gd name="connsiteX13" fmla="*/ 100642 w 258274"/>
                <a:gd name="connsiteY13" fmla="*/ 26676 h 257667"/>
                <a:gd name="connsiteX14" fmla="*/ 76997 w 258274"/>
                <a:gd name="connsiteY14" fmla="*/ 36377 h 257667"/>
                <a:gd name="connsiteX15" fmla="*/ 48502 w 258274"/>
                <a:gd name="connsiteY15" fmla="*/ 26676 h 257667"/>
                <a:gd name="connsiteX16" fmla="*/ 26676 w 258274"/>
                <a:gd name="connsiteY16" fmla="*/ 48502 h 257667"/>
                <a:gd name="connsiteX17" fmla="*/ 36377 w 258274"/>
                <a:gd name="connsiteY17" fmla="*/ 76997 h 257667"/>
                <a:gd name="connsiteX18" fmla="*/ 26676 w 258274"/>
                <a:gd name="connsiteY18" fmla="*/ 100642 h 257667"/>
                <a:gd name="connsiteX19" fmla="*/ 0 w 258274"/>
                <a:gd name="connsiteY19" fmla="*/ 113980 h 257667"/>
                <a:gd name="connsiteX20" fmla="*/ 0 w 258274"/>
                <a:gd name="connsiteY20" fmla="*/ 144294 h 257667"/>
                <a:gd name="connsiteX21" fmla="*/ 26676 w 258274"/>
                <a:gd name="connsiteY21" fmla="*/ 157632 h 257667"/>
                <a:gd name="connsiteX22" fmla="*/ 36377 w 258274"/>
                <a:gd name="connsiteY22" fmla="*/ 181277 h 257667"/>
                <a:gd name="connsiteX23" fmla="*/ 26676 w 258274"/>
                <a:gd name="connsiteY23" fmla="*/ 209772 h 257667"/>
                <a:gd name="connsiteX24" fmla="*/ 47896 w 258274"/>
                <a:gd name="connsiteY24" fmla="*/ 230992 h 257667"/>
                <a:gd name="connsiteX25" fmla="*/ 76391 w 258274"/>
                <a:gd name="connsiteY25" fmla="*/ 221291 h 257667"/>
                <a:gd name="connsiteX26" fmla="*/ 100036 w 258274"/>
                <a:gd name="connsiteY26" fmla="*/ 230992 h 257667"/>
                <a:gd name="connsiteX27" fmla="*/ 113374 w 258274"/>
                <a:gd name="connsiteY27" fmla="*/ 257668 h 257667"/>
                <a:gd name="connsiteX28" fmla="*/ 143688 w 258274"/>
                <a:gd name="connsiteY28" fmla="*/ 257668 h 257667"/>
                <a:gd name="connsiteX29" fmla="*/ 157026 w 258274"/>
                <a:gd name="connsiteY29" fmla="*/ 230992 h 257667"/>
                <a:gd name="connsiteX30" fmla="*/ 180671 w 258274"/>
                <a:gd name="connsiteY30" fmla="*/ 221291 h 257667"/>
                <a:gd name="connsiteX31" fmla="*/ 209166 w 258274"/>
                <a:gd name="connsiteY31" fmla="*/ 230992 h 257667"/>
                <a:gd name="connsiteX32" fmla="*/ 230992 w 258274"/>
                <a:gd name="connsiteY32" fmla="*/ 209772 h 257667"/>
                <a:gd name="connsiteX33" fmla="*/ 221291 w 258274"/>
                <a:gd name="connsiteY33" fmla="*/ 181277 h 257667"/>
                <a:gd name="connsiteX34" fmla="*/ 231598 w 258274"/>
                <a:gd name="connsiteY34" fmla="*/ 157632 h 257667"/>
                <a:gd name="connsiteX35" fmla="*/ 258274 w 258274"/>
                <a:gd name="connsiteY35" fmla="*/ 144294 h 257667"/>
                <a:gd name="connsiteX36" fmla="*/ 258274 w 258274"/>
                <a:gd name="connsiteY36" fmla="*/ 113980 h 257667"/>
                <a:gd name="connsiteX37" fmla="*/ 231598 w 258274"/>
                <a:gd name="connsiteY37" fmla="*/ 100642 h 25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8274" h="257667">
                  <a:moveTo>
                    <a:pt x="129137" y="174608"/>
                  </a:moveTo>
                  <a:cubicBezTo>
                    <a:pt x="103673" y="174608"/>
                    <a:pt x="83666" y="153994"/>
                    <a:pt x="83666" y="129137"/>
                  </a:cubicBezTo>
                  <a:cubicBezTo>
                    <a:pt x="83666" y="104280"/>
                    <a:pt x="104280" y="83666"/>
                    <a:pt x="129137" y="83666"/>
                  </a:cubicBezTo>
                  <a:cubicBezTo>
                    <a:pt x="154601" y="83666"/>
                    <a:pt x="174608" y="104280"/>
                    <a:pt x="174608" y="129137"/>
                  </a:cubicBezTo>
                  <a:cubicBezTo>
                    <a:pt x="174608" y="153994"/>
                    <a:pt x="153994" y="174608"/>
                    <a:pt x="129137" y="174608"/>
                  </a:cubicBezTo>
                  <a:close/>
                  <a:moveTo>
                    <a:pt x="231598" y="100642"/>
                  </a:moveTo>
                  <a:cubicBezTo>
                    <a:pt x="229173" y="92154"/>
                    <a:pt x="226141" y="84273"/>
                    <a:pt x="221897" y="76997"/>
                  </a:cubicBezTo>
                  <a:lnTo>
                    <a:pt x="231598" y="48502"/>
                  </a:lnTo>
                  <a:lnTo>
                    <a:pt x="209772" y="26676"/>
                  </a:lnTo>
                  <a:lnTo>
                    <a:pt x="181277" y="36377"/>
                  </a:lnTo>
                  <a:cubicBezTo>
                    <a:pt x="174002" y="32133"/>
                    <a:pt x="166120" y="29101"/>
                    <a:pt x="157632" y="26676"/>
                  </a:cubicBezTo>
                  <a:lnTo>
                    <a:pt x="144294" y="0"/>
                  </a:lnTo>
                  <a:lnTo>
                    <a:pt x="113980" y="0"/>
                  </a:lnTo>
                  <a:lnTo>
                    <a:pt x="100642" y="26676"/>
                  </a:lnTo>
                  <a:cubicBezTo>
                    <a:pt x="92154" y="29101"/>
                    <a:pt x="84273" y="32133"/>
                    <a:pt x="76997" y="36377"/>
                  </a:cubicBezTo>
                  <a:lnTo>
                    <a:pt x="48502" y="26676"/>
                  </a:lnTo>
                  <a:lnTo>
                    <a:pt x="26676" y="48502"/>
                  </a:lnTo>
                  <a:lnTo>
                    <a:pt x="36377" y="76997"/>
                  </a:lnTo>
                  <a:cubicBezTo>
                    <a:pt x="32133" y="84273"/>
                    <a:pt x="29101" y="92154"/>
                    <a:pt x="26676" y="100642"/>
                  </a:cubicBezTo>
                  <a:lnTo>
                    <a:pt x="0" y="113980"/>
                  </a:lnTo>
                  <a:lnTo>
                    <a:pt x="0" y="144294"/>
                  </a:lnTo>
                  <a:lnTo>
                    <a:pt x="26676" y="157632"/>
                  </a:lnTo>
                  <a:cubicBezTo>
                    <a:pt x="29101" y="166120"/>
                    <a:pt x="32133" y="174002"/>
                    <a:pt x="36377" y="181277"/>
                  </a:cubicBezTo>
                  <a:lnTo>
                    <a:pt x="26676" y="209772"/>
                  </a:lnTo>
                  <a:lnTo>
                    <a:pt x="47896" y="230992"/>
                  </a:lnTo>
                  <a:lnTo>
                    <a:pt x="76391" y="221291"/>
                  </a:lnTo>
                  <a:cubicBezTo>
                    <a:pt x="83666" y="225535"/>
                    <a:pt x="91548" y="228566"/>
                    <a:pt x="100036" y="230992"/>
                  </a:cubicBezTo>
                  <a:lnTo>
                    <a:pt x="113374" y="257668"/>
                  </a:lnTo>
                  <a:lnTo>
                    <a:pt x="143688" y="257668"/>
                  </a:lnTo>
                  <a:lnTo>
                    <a:pt x="157026" y="230992"/>
                  </a:lnTo>
                  <a:cubicBezTo>
                    <a:pt x="165514" y="228566"/>
                    <a:pt x="173395" y="225535"/>
                    <a:pt x="180671" y="221291"/>
                  </a:cubicBezTo>
                  <a:lnTo>
                    <a:pt x="209166" y="230992"/>
                  </a:lnTo>
                  <a:lnTo>
                    <a:pt x="230992" y="209772"/>
                  </a:lnTo>
                  <a:lnTo>
                    <a:pt x="221291" y="181277"/>
                  </a:lnTo>
                  <a:cubicBezTo>
                    <a:pt x="225535" y="174002"/>
                    <a:pt x="229173" y="165514"/>
                    <a:pt x="231598" y="157632"/>
                  </a:cubicBezTo>
                  <a:lnTo>
                    <a:pt x="258274" y="144294"/>
                  </a:lnTo>
                  <a:lnTo>
                    <a:pt x="258274" y="113980"/>
                  </a:lnTo>
                  <a:lnTo>
                    <a:pt x="231598" y="100642"/>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92" name="Freeform: Shape 191">
              <a:extLst>
                <a:ext uri="{FF2B5EF4-FFF2-40B4-BE49-F238E27FC236}">
                  <a16:creationId xmlns:a16="http://schemas.microsoft.com/office/drawing/2014/main" id="{A0B7C4B6-9CAD-74D1-A130-1521C8EF32A5}"/>
                </a:ext>
              </a:extLst>
            </p:cNvPr>
            <p:cNvSpPr/>
            <p:nvPr/>
          </p:nvSpPr>
          <p:spPr>
            <a:xfrm>
              <a:off x="5659700" y="5272462"/>
              <a:ext cx="258274" cy="257667"/>
            </a:xfrm>
            <a:custGeom>
              <a:avLst/>
              <a:gdLst>
                <a:gd name="connsiteX0" fmla="*/ 129137 w 258274"/>
                <a:gd name="connsiteY0" fmla="*/ 174608 h 257667"/>
                <a:gd name="connsiteX1" fmla="*/ 83666 w 258274"/>
                <a:gd name="connsiteY1" fmla="*/ 129137 h 257667"/>
                <a:gd name="connsiteX2" fmla="*/ 129137 w 258274"/>
                <a:gd name="connsiteY2" fmla="*/ 83666 h 257667"/>
                <a:gd name="connsiteX3" fmla="*/ 174608 w 258274"/>
                <a:gd name="connsiteY3" fmla="*/ 129137 h 257667"/>
                <a:gd name="connsiteX4" fmla="*/ 129137 w 258274"/>
                <a:gd name="connsiteY4" fmla="*/ 174608 h 257667"/>
                <a:gd name="connsiteX5" fmla="*/ 129137 w 258274"/>
                <a:gd name="connsiteY5" fmla="*/ 174608 h 257667"/>
                <a:gd name="connsiteX6" fmla="*/ 221897 w 258274"/>
                <a:gd name="connsiteY6" fmla="*/ 76997 h 257667"/>
                <a:gd name="connsiteX7" fmla="*/ 231598 w 258274"/>
                <a:gd name="connsiteY7" fmla="*/ 48502 h 257667"/>
                <a:gd name="connsiteX8" fmla="*/ 209772 w 258274"/>
                <a:gd name="connsiteY8" fmla="*/ 26676 h 257667"/>
                <a:gd name="connsiteX9" fmla="*/ 181277 w 258274"/>
                <a:gd name="connsiteY9" fmla="*/ 36377 h 257667"/>
                <a:gd name="connsiteX10" fmla="*/ 157632 w 258274"/>
                <a:gd name="connsiteY10" fmla="*/ 26676 h 257667"/>
                <a:gd name="connsiteX11" fmla="*/ 144294 w 258274"/>
                <a:gd name="connsiteY11" fmla="*/ 0 h 257667"/>
                <a:gd name="connsiteX12" fmla="*/ 113980 w 258274"/>
                <a:gd name="connsiteY12" fmla="*/ 0 h 257667"/>
                <a:gd name="connsiteX13" fmla="*/ 100642 w 258274"/>
                <a:gd name="connsiteY13" fmla="*/ 26676 h 257667"/>
                <a:gd name="connsiteX14" fmla="*/ 76997 w 258274"/>
                <a:gd name="connsiteY14" fmla="*/ 36377 h 257667"/>
                <a:gd name="connsiteX15" fmla="*/ 48502 w 258274"/>
                <a:gd name="connsiteY15" fmla="*/ 26676 h 257667"/>
                <a:gd name="connsiteX16" fmla="*/ 27282 w 258274"/>
                <a:gd name="connsiteY16" fmla="*/ 47896 h 257667"/>
                <a:gd name="connsiteX17" fmla="*/ 36377 w 258274"/>
                <a:gd name="connsiteY17" fmla="*/ 76391 h 257667"/>
                <a:gd name="connsiteX18" fmla="*/ 26676 w 258274"/>
                <a:gd name="connsiteY18" fmla="*/ 100036 h 257667"/>
                <a:gd name="connsiteX19" fmla="*/ 0 w 258274"/>
                <a:gd name="connsiteY19" fmla="*/ 113374 h 257667"/>
                <a:gd name="connsiteX20" fmla="*/ 0 w 258274"/>
                <a:gd name="connsiteY20" fmla="*/ 143688 h 257667"/>
                <a:gd name="connsiteX21" fmla="*/ 26676 w 258274"/>
                <a:gd name="connsiteY21" fmla="*/ 157026 h 257667"/>
                <a:gd name="connsiteX22" fmla="*/ 36377 w 258274"/>
                <a:gd name="connsiteY22" fmla="*/ 180671 h 257667"/>
                <a:gd name="connsiteX23" fmla="*/ 27282 w 258274"/>
                <a:gd name="connsiteY23" fmla="*/ 209166 h 257667"/>
                <a:gd name="connsiteX24" fmla="*/ 48502 w 258274"/>
                <a:gd name="connsiteY24" fmla="*/ 230385 h 257667"/>
                <a:gd name="connsiteX25" fmla="*/ 76997 w 258274"/>
                <a:gd name="connsiteY25" fmla="*/ 221291 h 257667"/>
                <a:gd name="connsiteX26" fmla="*/ 100642 w 258274"/>
                <a:gd name="connsiteY26" fmla="*/ 230992 h 257667"/>
                <a:gd name="connsiteX27" fmla="*/ 113980 w 258274"/>
                <a:gd name="connsiteY27" fmla="*/ 257668 h 257667"/>
                <a:gd name="connsiteX28" fmla="*/ 144294 w 258274"/>
                <a:gd name="connsiteY28" fmla="*/ 257668 h 257667"/>
                <a:gd name="connsiteX29" fmla="*/ 157632 w 258274"/>
                <a:gd name="connsiteY29" fmla="*/ 230992 h 257667"/>
                <a:gd name="connsiteX30" fmla="*/ 181277 w 258274"/>
                <a:gd name="connsiteY30" fmla="*/ 221291 h 257667"/>
                <a:gd name="connsiteX31" fmla="*/ 209772 w 258274"/>
                <a:gd name="connsiteY31" fmla="*/ 230992 h 257667"/>
                <a:gd name="connsiteX32" fmla="*/ 230992 w 258274"/>
                <a:gd name="connsiteY32" fmla="*/ 209166 h 257667"/>
                <a:gd name="connsiteX33" fmla="*/ 221897 w 258274"/>
                <a:gd name="connsiteY33" fmla="*/ 181277 h 257667"/>
                <a:gd name="connsiteX34" fmla="*/ 231598 w 258274"/>
                <a:gd name="connsiteY34" fmla="*/ 157632 h 257667"/>
                <a:gd name="connsiteX35" fmla="*/ 258274 w 258274"/>
                <a:gd name="connsiteY35" fmla="*/ 144294 h 257667"/>
                <a:gd name="connsiteX36" fmla="*/ 258274 w 258274"/>
                <a:gd name="connsiteY36" fmla="*/ 113980 h 257667"/>
                <a:gd name="connsiteX37" fmla="*/ 231598 w 258274"/>
                <a:gd name="connsiteY37" fmla="*/ 100642 h 257667"/>
                <a:gd name="connsiteX38" fmla="*/ 221897 w 258274"/>
                <a:gd name="connsiteY38" fmla="*/ 76997 h 25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8274" h="257667">
                  <a:moveTo>
                    <a:pt x="129137" y="174608"/>
                  </a:moveTo>
                  <a:cubicBezTo>
                    <a:pt x="103673" y="174608"/>
                    <a:pt x="83666" y="153994"/>
                    <a:pt x="83666" y="129137"/>
                  </a:cubicBezTo>
                  <a:cubicBezTo>
                    <a:pt x="83666" y="103673"/>
                    <a:pt x="104280" y="83666"/>
                    <a:pt x="129137" y="83666"/>
                  </a:cubicBezTo>
                  <a:cubicBezTo>
                    <a:pt x="154601" y="83666"/>
                    <a:pt x="174608" y="104280"/>
                    <a:pt x="174608" y="129137"/>
                  </a:cubicBezTo>
                  <a:cubicBezTo>
                    <a:pt x="174608" y="153994"/>
                    <a:pt x="154601" y="174608"/>
                    <a:pt x="129137" y="174608"/>
                  </a:cubicBezTo>
                  <a:lnTo>
                    <a:pt x="129137" y="174608"/>
                  </a:lnTo>
                  <a:close/>
                  <a:moveTo>
                    <a:pt x="221897" y="76997"/>
                  </a:moveTo>
                  <a:lnTo>
                    <a:pt x="231598" y="48502"/>
                  </a:lnTo>
                  <a:lnTo>
                    <a:pt x="209772" y="26676"/>
                  </a:lnTo>
                  <a:lnTo>
                    <a:pt x="181277" y="36377"/>
                  </a:lnTo>
                  <a:cubicBezTo>
                    <a:pt x="174002" y="32133"/>
                    <a:pt x="165514" y="29101"/>
                    <a:pt x="157632" y="26676"/>
                  </a:cubicBezTo>
                  <a:lnTo>
                    <a:pt x="144294" y="0"/>
                  </a:lnTo>
                  <a:lnTo>
                    <a:pt x="113980" y="0"/>
                  </a:lnTo>
                  <a:lnTo>
                    <a:pt x="100642" y="26676"/>
                  </a:lnTo>
                  <a:cubicBezTo>
                    <a:pt x="92154" y="29101"/>
                    <a:pt x="84273" y="32133"/>
                    <a:pt x="76997" y="36377"/>
                  </a:cubicBezTo>
                  <a:lnTo>
                    <a:pt x="48502" y="26676"/>
                  </a:lnTo>
                  <a:lnTo>
                    <a:pt x="27282" y="47896"/>
                  </a:lnTo>
                  <a:lnTo>
                    <a:pt x="36377" y="76391"/>
                  </a:lnTo>
                  <a:cubicBezTo>
                    <a:pt x="32133" y="83666"/>
                    <a:pt x="29101" y="92154"/>
                    <a:pt x="26676" y="100036"/>
                  </a:cubicBezTo>
                  <a:lnTo>
                    <a:pt x="0" y="113374"/>
                  </a:lnTo>
                  <a:lnTo>
                    <a:pt x="0" y="143688"/>
                  </a:lnTo>
                  <a:lnTo>
                    <a:pt x="26676" y="157026"/>
                  </a:lnTo>
                  <a:cubicBezTo>
                    <a:pt x="29101" y="165514"/>
                    <a:pt x="32133" y="173395"/>
                    <a:pt x="36377" y="180671"/>
                  </a:cubicBezTo>
                  <a:lnTo>
                    <a:pt x="27282" y="209166"/>
                  </a:lnTo>
                  <a:lnTo>
                    <a:pt x="48502" y="230385"/>
                  </a:lnTo>
                  <a:lnTo>
                    <a:pt x="76997" y="221291"/>
                  </a:lnTo>
                  <a:cubicBezTo>
                    <a:pt x="84273" y="225535"/>
                    <a:pt x="92154" y="228566"/>
                    <a:pt x="100642" y="230992"/>
                  </a:cubicBezTo>
                  <a:lnTo>
                    <a:pt x="113980" y="257668"/>
                  </a:lnTo>
                  <a:lnTo>
                    <a:pt x="144294" y="257668"/>
                  </a:lnTo>
                  <a:lnTo>
                    <a:pt x="157632" y="230992"/>
                  </a:lnTo>
                  <a:cubicBezTo>
                    <a:pt x="166120" y="228566"/>
                    <a:pt x="174002" y="225535"/>
                    <a:pt x="181277" y="221291"/>
                  </a:cubicBezTo>
                  <a:lnTo>
                    <a:pt x="209772" y="230992"/>
                  </a:lnTo>
                  <a:lnTo>
                    <a:pt x="230992" y="209166"/>
                  </a:lnTo>
                  <a:lnTo>
                    <a:pt x="221897" y="181277"/>
                  </a:lnTo>
                  <a:cubicBezTo>
                    <a:pt x="226141" y="174002"/>
                    <a:pt x="229173" y="166120"/>
                    <a:pt x="231598" y="157632"/>
                  </a:cubicBezTo>
                  <a:lnTo>
                    <a:pt x="258274" y="144294"/>
                  </a:lnTo>
                  <a:lnTo>
                    <a:pt x="258274" y="113980"/>
                  </a:lnTo>
                  <a:lnTo>
                    <a:pt x="231598" y="100642"/>
                  </a:lnTo>
                  <a:cubicBezTo>
                    <a:pt x="229173" y="92154"/>
                    <a:pt x="226141" y="84273"/>
                    <a:pt x="221897" y="76997"/>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sp>
        <p:nvSpPr>
          <p:cNvPr id="193" name="Graphic 24" descr="Trophy">
            <a:extLst>
              <a:ext uri="{FF2B5EF4-FFF2-40B4-BE49-F238E27FC236}">
                <a16:creationId xmlns:a16="http://schemas.microsoft.com/office/drawing/2014/main" id="{F2DDE8A3-1DFD-E9D0-F320-54C35E91F16F}"/>
              </a:ext>
            </a:extLst>
          </p:cNvPr>
          <p:cNvSpPr/>
          <p:nvPr/>
        </p:nvSpPr>
        <p:spPr>
          <a:xfrm>
            <a:off x="3738229" y="1462674"/>
            <a:ext cx="318129" cy="358577"/>
          </a:xfrm>
          <a:custGeom>
            <a:avLst/>
            <a:gdLst>
              <a:gd name="connsiteX0" fmla="*/ 363160 w 424393"/>
              <a:gd name="connsiteY0" fmla="*/ 230385 h 478352"/>
              <a:gd name="connsiteX1" fmla="*/ 278281 w 424393"/>
              <a:gd name="connsiteY1" fmla="*/ 271006 h 478352"/>
              <a:gd name="connsiteX2" fmla="*/ 314658 w 424393"/>
              <a:gd name="connsiteY2" fmla="*/ 234023 h 478352"/>
              <a:gd name="connsiteX3" fmla="*/ 328602 w 424393"/>
              <a:gd name="connsiteY3" fmla="*/ 215835 h 478352"/>
              <a:gd name="connsiteX4" fmla="*/ 344972 w 424393"/>
              <a:gd name="connsiteY4" fmla="*/ 158238 h 478352"/>
              <a:gd name="connsiteX5" fmla="*/ 344972 w 424393"/>
              <a:gd name="connsiteY5" fmla="*/ 79422 h 478352"/>
              <a:gd name="connsiteX6" fmla="*/ 387411 w 424393"/>
              <a:gd name="connsiteY6" fmla="*/ 79422 h 478352"/>
              <a:gd name="connsiteX7" fmla="*/ 387411 w 424393"/>
              <a:gd name="connsiteY7" fmla="*/ 171576 h 478352"/>
              <a:gd name="connsiteX8" fmla="*/ 363160 w 424393"/>
              <a:gd name="connsiteY8" fmla="*/ 230385 h 478352"/>
              <a:gd name="connsiteX9" fmla="*/ 61840 w 424393"/>
              <a:gd name="connsiteY9" fmla="*/ 230385 h 478352"/>
              <a:gd name="connsiteX10" fmla="*/ 36377 w 424393"/>
              <a:gd name="connsiteY10" fmla="*/ 171576 h 478352"/>
              <a:gd name="connsiteX11" fmla="*/ 36377 w 424393"/>
              <a:gd name="connsiteY11" fmla="*/ 78816 h 478352"/>
              <a:gd name="connsiteX12" fmla="*/ 78816 w 424393"/>
              <a:gd name="connsiteY12" fmla="*/ 78816 h 478352"/>
              <a:gd name="connsiteX13" fmla="*/ 78816 w 424393"/>
              <a:gd name="connsiteY13" fmla="*/ 157632 h 478352"/>
              <a:gd name="connsiteX14" fmla="*/ 95186 w 424393"/>
              <a:gd name="connsiteY14" fmla="*/ 215228 h 478352"/>
              <a:gd name="connsiteX15" fmla="*/ 109130 w 424393"/>
              <a:gd name="connsiteY15" fmla="*/ 233417 h 478352"/>
              <a:gd name="connsiteX16" fmla="*/ 145507 w 424393"/>
              <a:gd name="connsiteY16" fmla="*/ 270400 h 478352"/>
              <a:gd name="connsiteX17" fmla="*/ 61840 w 424393"/>
              <a:gd name="connsiteY17" fmla="*/ 230385 h 478352"/>
              <a:gd name="connsiteX18" fmla="*/ 424394 w 424393"/>
              <a:gd name="connsiteY18" fmla="*/ 169758 h 478352"/>
              <a:gd name="connsiteX19" fmla="*/ 424394 w 424393"/>
              <a:gd name="connsiteY19" fmla="*/ 42439 h 478352"/>
              <a:gd name="connsiteX20" fmla="*/ 345578 w 424393"/>
              <a:gd name="connsiteY20" fmla="*/ 42439 h 478352"/>
              <a:gd name="connsiteX21" fmla="*/ 345578 w 424393"/>
              <a:gd name="connsiteY21" fmla="*/ 0 h 478352"/>
              <a:gd name="connsiteX22" fmla="*/ 212197 w 424393"/>
              <a:gd name="connsiteY22" fmla="*/ 0 h 478352"/>
              <a:gd name="connsiteX23" fmla="*/ 78816 w 424393"/>
              <a:gd name="connsiteY23" fmla="*/ 0 h 478352"/>
              <a:gd name="connsiteX24" fmla="*/ 78816 w 424393"/>
              <a:gd name="connsiteY24" fmla="*/ 42439 h 478352"/>
              <a:gd name="connsiteX25" fmla="*/ 0 w 424393"/>
              <a:gd name="connsiteY25" fmla="*/ 42439 h 478352"/>
              <a:gd name="connsiteX26" fmla="*/ 0 w 424393"/>
              <a:gd name="connsiteY26" fmla="*/ 169151 h 478352"/>
              <a:gd name="connsiteX27" fmla="*/ 34558 w 424393"/>
              <a:gd name="connsiteY27" fmla="*/ 254030 h 478352"/>
              <a:gd name="connsiteX28" fmla="*/ 179458 w 424393"/>
              <a:gd name="connsiteY28" fmla="*/ 308595 h 478352"/>
              <a:gd name="connsiteX29" fmla="*/ 187946 w 424393"/>
              <a:gd name="connsiteY29" fmla="*/ 338909 h 478352"/>
              <a:gd name="connsiteX30" fmla="*/ 187946 w 424393"/>
              <a:gd name="connsiteY30" fmla="*/ 417725 h 478352"/>
              <a:gd name="connsiteX31" fmla="*/ 157632 w 424393"/>
              <a:gd name="connsiteY31" fmla="*/ 417725 h 478352"/>
              <a:gd name="connsiteX32" fmla="*/ 133381 w 424393"/>
              <a:gd name="connsiteY32" fmla="*/ 441976 h 478352"/>
              <a:gd name="connsiteX33" fmla="*/ 103067 w 424393"/>
              <a:gd name="connsiteY33" fmla="*/ 441976 h 478352"/>
              <a:gd name="connsiteX34" fmla="*/ 78816 w 424393"/>
              <a:gd name="connsiteY34" fmla="*/ 466227 h 478352"/>
              <a:gd name="connsiteX35" fmla="*/ 78816 w 424393"/>
              <a:gd name="connsiteY35" fmla="*/ 478353 h 478352"/>
              <a:gd name="connsiteX36" fmla="*/ 345578 w 424393"/>
              <a:gd name="connsiteY36" fmla="*/ 478353 h 478352"/>
              <a:gd name="connsiteX37" fmla="*/ 345578 w 424393"/>
              <a:gd name="connsiteY37" fmla="*/ 466227 h 478352"/>
              <a:gd name="connsiteX38" fmla="*/ 321327 w 424393"/>
              <a:gd name="connsiteY38" fmla="*/ 441976 h 478352"/>
              <a:gd name="connsiteX39" fmla="*/ 291013 w 424393"/>
              <a:gd name="connsiteY39" fmla="*/ 441976 h 478352"/>
              <a:gd name="connsiteX40" fmla="*/ 266762 w 424393"/>
              <a:gd name="connsiteY40" fmla="*/ 417725 h 478352"/>
              <a:gd name="connsiteX41" fmla="*/ 236448 w 424393"/>
              <a:gd name="connsiteY41" fmla="*/ 417725 h 478352"/>
              <a:gd name="connsiteX42" fmla="*/ 236448 w 424393"/>
              <a:gd name="connsiteY42" fmla="*/ 339515 h 478352"/>
              <a:gd name="connsiteX43" fmla="*/ 244936 w 424393"/>
              <a:gd name="connsiteY43" fmla="*/ 309201 h 478352"/>
              <a:gd name="connsiteX44" fmla="*/ 389836 w 424393"/>
              <a:gd name="connsiteY44" fmla="*/ 254636 h 478352"/>
              <a:gd name="connsiteX45" fmla="*/ 424394 w 424393"/>
              <a:gd name="connsiteY45" fmla="*/ 169758 h 47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4393" h="478352">
                <a:moveTo>
                  <a:pt x="363160" y="230385"/>
                </a:moveTo>
                <a:cubicBezTo>
                  <a:pt x="341940" y="252211"/>
                  <a:pt x="321933" y="266156"/>
                  <a:pt x="278281" y="271006"/>
                </a:cubicBezTo>
                <a:cubicBezTo>
                  <a:pt x="289800" y="259487"/>
                  <a:pt x="303139" y="247967"/>
                  <a:pt x="314658" y="234023"/>
                </a:cubicBezTo>
                <a:cubicBezTo>
                  <a:pt x="319508" y="228566"/>
                  <a:pt x="328602" y="216441"/>
                  <a:pt x="328602" y="215835"/>
                </a:cubicBezTo>
                <a:cubicBezTo>
                  <a:pt x="338909" y="198859"/>
                  <a:pt x="344972" y="179458"/>
                  <a:pt x="344972" y="158238"/>
                </a:cubicBezTo>
                <a:lnTo>
                  <a:pt x="344972" y="79422"/>
                </a:lnTo>
                <a:lnTo>
                  <a:pt x="387411" y="79422"/>
                </a:lnTo>
                <a:lnTo>
                  <a:pt x="387411" y="171576"/>
                </a:lnTo>
                <a:cubicBezTo>
                  <a:pt x="388017" y="172789"/>
                  <a:pt x="389230" y="203103"/>
                  <a:pt x="363160" y="230385"/>
                </a:cubicBezTo>
                <a:close/>
                <a:moveTo>
                  <a:pt x="61840" y="230385"/>
                </a:moveTo>
                <a:cubicBezTo>
                  <a:pt x="35164" y="203103"/>
                  <a:pt x="36377" y="172789"/>
                  <a:pt x="36377" y="171576"/>
                </a:cubicBezTo>
                <a:lnTo>
                  <a:pt x="36377" y="78816"/>
                </a:lnTo>
                <a:lnTo>
                  <a:pt x="78816" y="78816"/>
                </a:lnTo>
                <a:lnTo>
                  <a:pt x="78816" y="157632"/>
                </a:lnTo>
                <a:cubicBezTo>
                  <a:pt x="78816" y="178852"/>
                  <a:pt x="84879" y="198253"/>
                  <a:pt x="95186" y="215228"/>
                </a:cubicBezTo>
                <a:cubicBezTo>
                  <a:pt x="95186" y="215835"/>
                  <a:pt x="104280" y="228566"/>
                  <a:pt x="109130" y="233417"/>
                </a:cubicBezTo>
                <a:cubicBezTo>
                  <a:pt x="121255" y="247361"/>
                  <a:pt x="133987" y="258880"/>
                  <a:pt x="145507" y="270400"/>
                </a:cubicBezTo>
                <a:cubicBezTo>
                  <a:pt x="103067" y="265549"/>
                  <a:pt x="82454" y="251605"/>
                  <a:pt x="61840" y="230385"/>
                </a:cubicBezTo>
                <a:close/>
                <a:moveTo>
                  <a:pt x="424394" y="169758"/>
                </a:moveTo>
                <a:lnTo>
                  <a:pt x="424394" y="42439"/>
                </a:lnTo>
                <a:lnTo>
                  <a:pt x="345578" y="42439"/>
                </a:lnTo>
                <a:lnTo>
                  <a:pt x="345578" y="0"/>
                </a:lnTo>
                <a:lnTo>
                  <a:pt x="212197" y="0"/>
                </a:lnTo>
                <a:lnTo>
                  <a:pt x="78816" y="0"/>
                </a:lnTo>
                <a:lnTo>
                  <a:pt x="78816" y="42439"/>
                </a:lnTo>
                <a:lnTo>
                  <a:pt x="0" y="42439"/>
                </a:lnTo>
                <a:lnTo>
                  <a:pt x="0" y="169151"/>
                </a:lnTo>
                <a:cubicBezTo>
                  <a:pt x="0" y="175214"/>
                  <a:pt x="0" y="217047"/>
                  <a:pt x="34558" y="254030"/>
                </a:cubicBezTo>
                <a:cubicBezTo>
                  <a:pt x="67903" y="289194"/>
                  <a:pt x="108524" y="307383"/>
                  <a:pt x="179458" y="308595"/>
                </a:cubicBezTo>
                <a:cubicBezTo>
                  <a:pt x="184915" y="317689"/>
                  <a:pt x="187946" y="327996"/>
                  <a:pt x="187946" y="338909"/>
                </a:cubicBezTo>
                <a:lnTo>
                  <a:pt x="187946" y="417725"/>
                </a:lnTo>
                <a:lnTo>
                  <a:pt x="157632" y="417725"/>
                </a:lnTo>
                <a:cubicBezTo>
                  <a:pt x="144294" y="417725"/>
                  <a:pt x="133381" y="428638"/>
                  <a:pt x="133381" y="441976"/>
                </a:cubicBezTo>
                <a:lnTo>
                  <a:pt x="103067" y="441976"/>
                </a:lnTo>
                <a:cubicBezTo>
                  <a:pt x="89729" y="441976"/>
                  <a:pt x="78816" y="452889"/>
                  <a:pt x="78816" y="466227"/>
                </a:cubicBezTo>
                <a:lnTo>
                  <a:pt x="78816" y="478353"/>
                </a:lnTo>
                <a:lnTo>
                  <a:pt x="345578" y="478353"/>
                </a:lnTo>
                <a:lnTo>
                  <a:pt x="345578" y="466227"/>
                </a:lnTo>
                <a:cubicBezTo>
                  <a:pt x="345578" y="452889"/>
                  <a:pt x="334665" y="441976"/>
                  <a:pt x="321327" y="441976"/>
                </a:cubicBezTo>
                <a:lnTo>
                  <a:pt x="291013" y="441976"/>
                </a:lnTo>
                <a:cubicBezTo>
                  <a:pt x="291013" y="428638"/>
                  <a:pt x="280100" y="417725"/>
                  <a:pt x="266762" y="417725"/>
                </a:cubicBezTo>
                <a:lnTo>
                  <a:pt x="236448" y="417725"/>
                </a:lnTo>
                <a:lnTo>
                  <a:pt x="236448" y="339515"/>
                </a:lnTo>
                <a:cubicBezTo>
                  <a:pt x="236448" y="328602"/>
                  <a:pt x="239479" y="318295"/>
                  <a:pt x="244936" y="309201"/>
                </a:cubicBezTo>
                <a:cubicBezTo>
                  <a:pt x="315870" y="307989"/>
                  <a:pt x="356491" y="289194"/>
                  <a:pt x="389836" y="254636"/>
                </a:cubicBezTo>
                <a:cubicBezTo>
                  <a:pt x="424394" y="218260"/>
                  <a:pt x="424394" y="175820"/>
                  <a:pt x="424394" y="169758"/>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94" name="Graphic 25" descr="Coins">
            <a:extLst>
              <a:ext uri="{FF2B5EF4-FFF2-40B4-BE49-F238E27FC236}">
                <a16:creationId xmlns:a16="http://schemas.microsoft.com/office/drawing/2014/main" id="{CBF9CDFC-63EB-554B-88F2-4B5912FBFEF3}"/>
              </a:ext>
            </a:extLst>
          </p:cNvPr>
          <p:cNvSpPr/>
          <p:nvPr/>
        </p:nvSpPr>
        <p:spPr>
          <a:xfrm>
            <a:off x="5337932" y="1147724"/>
            <a:ext cx="381780" cy="327219"/>
          </a:xfrm>
          <a:custGeom>
            <a:avLst/>
            <a:gdLst>
              <a:gd name="connsiteX0" fmla="*/ 473502 w 509305"/>
              <a:gd name="connsiteY0" fmla="*/ 363766 h 436519"/>
              <a:gd name="connsiteX1" fmla="*/ 449251 w 509305"/>
              <a:gd name="connsiteY1" fmla="*/ 384380 h 436519"/>
              <a:gd name="connsiteX2" fmla="*/ 449251 w 509305"/>
              <a:gd name="connsiteY2" fmla="*/ 362554 h 436519"/>
              <a:gd name="connsiteX3" fmla="*/ 473502 w 509305"/>
              <a:gd name="connsiteY3" fmla="*/ 352853 h 436519"/>
              <a:gd name="connsiteX4" fmla="*/ 473502 w 509305"/>
              <a:gd name="connsiteY4" fmla="*/ 363766 h 436519"/>
              <a:gd name="connsiteX5" fmla="*/ 425000 w 509305"/>
              <a:gd name="connsiteY5" fmla="*/ 323752 h 436519"/>
              <a:gd name="connsiteX6" fmla="*/ 425000 w 509305"/>
              <a:gd name="connsiteY6" fmla="*/ 301926 h 436519"/>
              <a:gd name="connsiteX7" fmla="*/ 449251 w 509305"/>
              <a:gd name="connsiteY7" fmla="*/ 292226 h 436519"/>
              <a:gd name="connsiteX8" fmla="*/ 449251 w 509305"/>
              <a:gd name="connsiteY8" fmla="*/ 303139 h 436519"/>
              <a:gd name="connsiteX9" fmla="*/ 425000 w 509305"/>
              <a:gd name="connsiteY9" fmla="*/ 323752 h 436519"/>
              <a:gd name="connsiteX10" fmla="*/ 425000 w 509305"/>
              <a:gd name="connsiteY10" fmla="*/ 391655 h 436519"/>
              <a:gd name="connsiteX11" fmla="*/ 400749 w 509305"/>
              <a:gd name="connsiteY11" fmla="*/ 395899 h 436519"/>
              <a:gd name="connsiteX12" fmla="*/ 400749 w 509305"/>
              <a:gd name="connsiteY12" fmla="*/ 372254 h 436519"/>
              <a:gd name="connsiteX13" fmla="*/ 425000 w 509305"/>
              <a:gd name="connsiteY13" fmla="*/ 368617 h 436519"/>
              <a:gd name="connsiteX14" fmla="*/ 425000 w 509305"/>
              <a:gd name="connsiteY14" fmla="*/ 391655 h 436519"/>
              <a:gd name="connsiteX15" fmla="*/ 376498 w 509305"/>
              <a:gd name="connsiteY15" fmla="*/ 311626 h 436519"/>
              <a:gd name="connsiteX16" fmla="*/ 400749 w 509305"/>
              <a:gd name="connsiteY16" fmla="*/ 307989 h 436519"/>
              <a:gd name="connsiteX17" fmla="*/ 400749 w 509305"/>
              <a:gd name="connsiteY17" fmla="*/ 331027 h 436519"/>
              <a:gd name="connsiteX18" fmla="*/ 376498 w 509305"/>
              <a:gd name="connsiteY18" fmla="*/ 335271 h 436519"/>
              <a:gd name="connsiteX19" fmla="*/ 376498 w 509305"/>
              <a:gd name="connsiteY19" fmla="*/ 311626 h 436519"/>
              <a:gd name="connsiteX20" fmla="*/ 376498 w 509305"/>
              <a:gd name="connsiteY20" fmla="*/ 398930 h 436519"/>
              <a:gd name="connsiteX21" fmla="*/ 352247 w 509305"/>
              <a:gd name="connsiteY21" fmla="*/ 400143 h 436519"/>
              <a:gd name="connsiteX22" fmla="*/ 352247 w 509305"/>
              <a:gd name="connsiteY22" fmla="*/ 375892 h 436519"/>
              <a:gd name="connsiteX23" fmla="*/ 376498 w 509305"/>
              <a:gd name="connsiteY23" fmla="*/ 374679 h 436519"/>
              <a:gd name="connsiteX24" fmla="*/ 376498 w 509305"/>
              <a:gd name="connsiteY24" fmla="*/ 398930 h 436519"/>
              <a:gd name="connsiteX25" fmla="*/ 327996 w 509305"/>
              <a:gd name="connsiteY25" fmla="*/ 339515 h 436519"/>
              <a:gd name="connsiteX26" fmla="*/ 327996 w 509305"/>
              <a:gd name="connsiteY26" fmla="*/ 315264 h 436519"/>
              <a:gd name="connsiteX27" fmla="*/ 352247 w 509305"/>
              <a:gd name="connsiteY27" fmla="*/ 314052 h 436519"/>
              <a:gd name="connsiteX28" fmla="*/ 352247 w 509305"/>
              <a:gd name="connsiteY28" fmla="*/ 338303 h 436519"/>
              <a:gd name="connsiteX29" fmla="*/ 327996 w 509305"/>
              <a:gd name="connsiteY29" fmla="*/ 339515 h 436519"/>
              <a:gd name="connsiteX30" fmla="*/ 327996 w 509305"/>
              <a:gd name="connsiteY30" fmla="*/ 400143 h 436519"/>
              <a:gd name="connsiteX31" fmla="*/ 303745 w 509305"/>
              <a:gd name="connsiteY31" fmla="*/ 398930 h 436519"/>
              <a:gd name="connsiteX32" fmla="*/ 303745 w 509305"/>
              <a:gd name="connsiteY32" fmla="*/ 375892 h 436519"/>
              <a:gd name="connsiteX33" fmla="*/ 315870 w 509305"/>
              <a:gd name="connsiteY33" fmla="*/ 375892 h 436519"/>
              <a:gd name="connsiteX34" fmla="*/ 327996 w 509305"/>
              <a:gd name="connsiteY34" fmla="*/ 375892 h 436519"/>
              <a:gd name="connsiteX35" fmla="*/ 327996 w 509305"/>
              <a:gd name="connsiteY35" fmla="*/ 400143 h 436519"/>
              <a:gd name="connsiteX36" fmla="*/ 279494 w 509305"/>
              <a:gd name="connsiteY36" fmla="*/ 314052 h 436519"/>
              <a:gd name="connsiteX37" fmla="*/ 303745 w 509305"/>
              <a:gd name="connsiteY37" fmla="*/ 315264 h 436519"/>
              <a:gd name="connsiteX38" fmla="*/ 303745 w 509305"/>
              <a:gd name="connsiteY38" fmla="*/ 339515 h 436519"/>
              <a:gd name="connsiteX39" fmla="*/ 279494 w 509305"/>
              <a:gd name="connsiteY39" fmla="*/ 338303 h 436519"/>
              <a:gd name="connsiteX40" fmla="*/ 279494 w 509305"/>
              <a:gd name="connsiteY40" fmla="*/ 314052 h 436519"/>
              <a:gd name="connsiteX41" fmla="*/ 279494 w 509305"/>
              <a:gd name="connsiteY41" fmla="*/ 395899 h 436519"/>
              <a:gd name="connsiteX42" fmla="*/ 255243 w 509305"/>
              <a:gd name="connsiteY42" fmla="*/ 391655 h 436519"/>
              <a:gd name="connsiteX43" fmla="*/ 255243 w 509305"/>
              <a:gd name="connsiteY43" fmla="*/ 372254 h 436519"/>
              <a:gd name="connsiteX44" fmla="*/ 279494 w 509305"/>
              <a:gd name="connsiteY44" fmla="*/ 374679 h 436519"/>
              <a:gd name="connsiteX45" fmla="*/ 279494 w 509305"/>
              <a:gd name="connsiteY45" fmla="*/ 395899 h 436519"/>
              <a:gd name="connsiteX46" fmla="*/ 230992 w 509305"/>
              <a:gd name="connsiteY46" fmla="*/ 331027 h 436519"/>
              <a:gd name="connsiteX47" fmla="*/ 230992 w 509305"/>
              <a:gd name="connsiteY47" fmla="*/ 307383 h 436519"/>
              <a:gd name="connsiteX48" fmla="*/ 255243 w 509305"/>
              <a:gd name="connsiteY48" fmla="*/ 311020 h 436519"/>
              <a:gd name="connsiteX49" fmla="*/ 255243 w 509305"/>
              <a:gd name="connsiteY49" fmla="*/ 335271 h 436519"/>
              <a:gd name="connsiteX50" fmla="*/ 230992 w 509305"/>
              <a:gd name="connsiteY50" fmla="*/ 331027 h 436519"/>
              <a:gd name="connsiteX51" fmla="*/ 230992 w 509305"/>
              <a:gd name="connsiteY51" fmla="*/ 384380 h 436519"/>
              <a:gd name="connsiteX52" fmla="*/ 206740 w 509305"/>
              <a:gd name="connsiteY52" fmla="*/ 363766 h 436519"/>
              <a:gd name="connsiteX53" fmla="*/ 206740 w 509305"/>
              <a:gd name="connsiteY53" fmla="*/ 362554 h 436519"/>
              <a:gd name="connsiteX54" fmla="*/ 207347 w 509305"/>
              <a:gd name="connsiteY54" fmla="*/ 362554 h 436519"/>
              <a:gd name="connsiteX55" fmla="*/ 212197 w 509305"/>
              <a:gd name="connsiteY55" fmla="*/ 363766 h 436519"/>
              <a:gd name="connsiteX56" fmla="*/ 230992 w 509305"/>
              <a:gd name="connsiteY56" fmla="*/ 368010 h 436519"/>
              <a:gd name="connsiteX57" fmla="*/ 230992 w 509305"/>
              <a:gd name="connsiteY57" fmla="*/ 384380 h 436519"/>
              <a:gd name="connsiteX58" fmla="*/ 133987 w 509305"/>
              <a:gd name="connsiteY58" fmla="*/ 301926 h 436519"/>
              <a:gd name="connsiteX59" fmla="*/ 146113 w 509305"/>
              <a:gd name="connsiteY59" fmla="*/ 302532 h 436519"/>
              <a:gd name="connsiteX60" fmla="*/ 146113 w 509305"/>
              <a:gd name="connsiteY60" fmla="*/ 303139 h 436519"/>
              <a:gd name="connsiteX61" fmla="*/ 152176 w 509305"/>
              <a:gd name="connsiteY61" fmla="*/ 326783 h 436519"/>
              <a:gd name="connsiteX62" fmla="*/ 133987 w 509305"/>
              <a:gd name="connsiteY62" fmla="*/ 325571 h 436519"/>
              <a:gd name="connsiteX63" fmla="*/ 133987 w 509305"/>
              <a:gd name="connsiteY63" fmla="*/ 301926 h 436519"/>
              <a:gd name="connsiteX64" fmla="*/ 109736 w 509305"/>
              <a:gd name="connsiteY64" fmla="*/ 229173 h 436519"/>
              <a:gd name="connsiteX65" fmla="*/ 133987 w 509305"/>
              <a:gd name="connsiteY65" fmla="*/ 232810 h 436519"/>
              <a:gd name="connsiteX66" fmla="*/ 133987 w 509305"/>
              <a:gd name="connsiteY66" fmla="*/ 257062 h 436519"/>
              <a:gd name="connsiteX67" fmla="*/ 109736 w 509305"/>
              <a:gd name="connsiteY67" fmla="*/ 252818 h 436519"/>
              <a:gd name="connsiteX68" fmla="*/ 109736 w 509305"/>
              <a:gd name="connsiteY68" fmla="*/ 229173 h 436519"/>
              <a:gd name="connsiteX69" fmla="*/ 109736 w 509305"/>
              <a:gd name="connsiteY69" fmla="*/ 323146 h 436519"/>
              <a:gd name="connsiteX70" fmla="*/ 85485 w 509305"/>
              <a:gd name="connsiteY70" fmla="*/ 318902 h 436519"/>
              <a:gd name="connsiteX71" fmla="*/ 85485 w 509305"/>
              <a:gd name="connsiteY71" fmla="*/ 295257 h 436519"/>
              <a:gd name="connsiteX72" fmla="*/ 109736 w 509305"/>
              <a:gd name="connsiteY72" fmla="*/ 298895 h 436519"/>
              <a:gd name="connsiteX73" fmla="*/ 109736 w 509305"/>
              <a:gd name="connsiteY73" fmla="*/ 323146 h 436519"/>
              <a:gd name="connsiteX74" fmla="*/ 61234 w 509305"/>
              <a:gd name="connsiteY74" fmla="*/ 224323 h 436519"/>
              <a:gd name="connsiteX75" fmla="*/ 61234 w 509305"/>
              <a:gd name="connsiteY75" fmla="*/ 213410 h 436519"/>
              <a:gd name="connsiteX76" fmla="*/ 85485 w 509305"/>
              <a:gd name="connsiteY76" fmla="*/ 222504 h 436519"/>
              <a:gd name="connsiteX77" fmla="*/ 85485 w 509305"/>
              <a:gd name="connsiteY77" fmla="*/ 244936 h 436519"/>
              <a:gd name="connsiteX78" fmla="*/ 61234 w 509305"/>
              <a:gd name="connsiteY78" fmla="*/ 224323 h 436519"/>
              <a:gd name="connsiteX79" fmla="*/ 61234 w 509305"/>
              <a:gd name="connsiteY79" fmla="*/ 311626 h 436519"/>
              <a:gd name="connsiteX80" fmla="*/ 36983 w 509305"/>
              <a:gd name="connsiteY80" fmla="*/ 291013 h 436519"/>
              <a:gd name="connsiteX81" fmla="*/ 36983 w 509305"/>
              <a:gd name="connsiteY81" fmla="*/ 280100 h 436519"/>
              <a:gd name="connsiteX82" fmla="*/ 61234 w 509305"/>
              <a:gd name="connsiteY82" fmla="*/ 289194 h 436519"/>
              <a:gd name="connsiteX83" fmla="*/ 61234 w 509305"/>
              <a:gd name="connsiteY83" fmla="*/ 311626 h 436519"/>
              <a:gd name="connsiteX84" fmla="*/ 36983 w 509305"/>
              <a:gd name="connsiteY84" fmla="*/ 122468 h 436519"/>
              <a:gd name="connsiteX85" fmla="*/ 61234 w 509305"/>
              <a:gd name="connsiteY85" fmla="*/ 131562 h 436519"/>
              <a:gd name="connsiteX86" fmla="*/ 61234 w 509305"/>
              <a:gd name="connsiteY86" fmla="*/ 153994 h 436519"/>
              <a:gd name="connsiteX87" fmla="*/ 36983 w 509305"/>
              <a:gd name="connsiteY87" fmla="*/ 133381 h 436519"/>
              <a:gd name="connsiteX88" fmla="*/ 36983 w 509305"/>
              <a:gd name="connsiteY88" fmla="*/ 122468 h 436519"/>
              <a:gd name="connsiteX89" fmla="*/ 109736 w 509305"/>
              <a:gd name="connsiteY89" fmla="*/ 141869 h 436519"/>
              <a:gd name="connsiteX90" fmla="*/ 109736 w 509305"/>
              <a:gd name="connsiteY90" fmla="*/ 166120 h 436519"/>
              <a:gd name="connsiteX91" fmla="*/ 85485 w 509305"/>
              <a:gd name="connsiteY91" fmla="*/ 161876 h 436519"/>
              <a:gd name="connsiteX92" fmla="*/ 85485 w 509305"/>
              <a:gd name="connsiteY92" fmla="*/ 138231 h 436519"/>
              <a:gd name="connsiteX93" fmla="*/ 109736 w 509305"/>
              <a:gd name="connsiteY93" fmla="*/ 141869 h 436519"/>
              <a:gd name="connsiteX94" fmla="*/ 170364 w 509305"/>
              <a:gd name="connsiteY94" fmla="*/ 36377 h 436519"/>
              <a:gd name="connsiteX95" fmla="*/ 303745 w 509305"/>
              <a:gd name="connsiteY95" fmla="*/ 72753 h 436519"/>
              <a:gd name="connsiteX96" fmla="*/ 170364 w 509305"/>
              <a:gd name="connsiteY96" fmla="*/ 109130 h 436519"/>
              <a:gd name="connsiteX97" fmla="*/ 36983 w 509305"/>
              <a:gd name="connsiteY97" fmla="*/ 72753 h 436519"/>
              <a:gd name="connsiteX98" fmla="*/ 170364 w 509305"/>
              <a:gd name="connsiteY98" fmla="*/ 36377 h 436519"/>
              <a:gd name="connsiteX99" fmla="*/ 206740 w 509305"/>
              <a:gd name="connsiteY99" fmla="*/ 323752 h 436519"/>
              <a:gd name="connsiteX100" fmla="*/ 182489 w 509305"/>
              <a:gd name="connsiteY100" fmla="*/ 303139 h 436519"/>
              <a:gd name="connsiteX101" fmla="*/ 182489 w 509305"/>
              <a:gd name="connsiteY101" fmla="*/ 292226 h 436519"/>
              <a:gd name="connsiteX102" fmla="*/ 206740 w 509305"/>
              <a:gd name="connsiteY102" fmla="*/ 301320 h 436519"/>
              <a:gd name="connsiteX103" fmla="*/ 206740 w 509305"/>
              <a:gd name="connsiteY103" fmla="*/ 323752 h 436519"/>
              <a:gd name="connsiteX104" fmla="*/ 279494 w 509305"/>
              <a:gd name="connsiteY104" fmla="*/ 153994 h 436519"/>
              <a:gd name="connsiteX105" fmla="*/ 279494 w 509305"/>
              <a:gd name="connsiteY105" fmla="*/ 132168 h 436519"/>
              <a:gd name="connsiteX106" fmla="*/ 303745 w 509305"/>
              <a:gd name="connsiteY106" fmla="*/ 122468 h 436519"/>
              <a:gd name="connsiteX107" fmla="*/ 303745 w 509305"/>
              <a:gd name="connsiteY107" fmla="*/ 133381 h 436519"/>
              <a:gd name="connsiteX108" fmla="*/ 279494 w 509305"/>
              <a:gd name="connsiteY108" fmla="*/ 153994 h 436519"/>
              <a:gd name="connsiteX109" fmla="*/ 230992 w 509305"/>
              <a:gd name="connsiteY109" fmla="*/ 165514 h 436519"/>
              <a:gd name="connsiteX110" fmla="*/ 230992 w 509305"/>
              <a:gd name="connsiteY110" fmla="*/ 141869 h 436519"/>
              <a:gd name="connsiteX111" fmla="*/ 255243 w 509305"/>
              <a:gd name="connsiteY111" fmla="*/ 138231 h 436519"/>
              <a:gd name="connsiteX112" fmla="*/ 255243 w 509305"/>
              <a:gd name="connsiteY112" fmla="*/ 161270 h 436519"/>
              <a:gd name="connsiteX113" fmla="*/ 230992 w 509305"/>
              <a:gd name="connsiteY113" fmla="*/ 165514 h 436519"/>
              <a:gd name="connsiteX114" fmla="*/ 182489 w 509305"/>
              <a:gd name="connsiteY114" fmla="*/ 169758 h 436519"/>
              <a:gd name="connsiteX115" fmla="*/ 182489 w 509305"/>
              <a:gd name="connsiteY115" fmla="*/ 145507 h 436519"/>
              <a:gd name="connsiteX116" fmla="*/ 206740 w 509305"/>
              <a:gd name="connsiteY116" fmla="*/ 144294 h 436519"/>
              <a:gd name="connsiteX117" fmla="*/ 206740 w 509305"/>
              <a:gd name="connsiteY117" fmla="*/ 168545 h 436519"/>
              <a:gd name="connsiteX118" fmla="*/ 182489 w 509305"/>
              <a:gd name="connsiteY118" fmla="*/ 169758 h 436519"/>
              <a:gd name="connsiteX119" fmla="*/ 133987 w 509305"/>
              <a:gd name="connsiteY119" fmla="*/ 168545 h 436519"/>
              <a:gd name="connsiteX120" fmla="*/ 133987 w 509305"/>
              <a:gd name="connsiteY120" fmla="*/ 144294 h 436519"/>
              <a:gd name="connsiteX121" fmla="*/ 158238 w 509305"/>
              <a:gd name="connsiteY121" fmla="*/ 145507 h 436519"/>
              <a:gd name="connsiteX122" fmla="*/ 158238 w 509305"/>
              <a:gd name="connsiteY122" fmla="*/ 169758 h 436519"/>
              <a:gd name="connsiteX123" fmla="*/ 133987 w 509305"/>
              <a:gd name="connsiteY123" fmla="*/ 168545 h 436519"/>
              <a:gd name="connsiteX124" fmla="*/ 449251 w 509305"/>
              <a:gd name="connsiteY124" fmla="*/ 242511 h 436519"/>
              <a:gd name="connsiteX125" fmla="*/ 315870 w 509305"/>
              <a:gd name="connsiteY125" fmla="*/ 278887 h 436519"/>
              <a:gd name="connsiteX126" fmla="*/ 182489 w 509305"/>
              <a:gd name="connsiteY126" fmla="*/ 242511 h 436519"/>
              <a:gd name="connsiteX127" fmla="*/ 315870 w 509305"/>
              <a:gd name="connsiteY127" fmla="*/ 206134 h 436519"/>
              <a:gd name="connsiteX128" fmla="*/ 449251 w 509305"/>
              <a:gd name="connsiteY128" fmla="*/ 242511 h 436519"/>
              <a:gd name="connsiteX129" fmla="*/ 485628 w 509305"/>
              <a:gd name="connsiteY129" fmla="*/ 260699 h 436519"/>
              <a:gd name="connsiteX130" fmla="*/ 485628 w 509305"/>
              <a:gd name="connsiteY130" fmla="*/ 242511 h 436519"/>
              <a:gd name="connsiteX131" fmla="*/ 419544 w 509305"/>
              <a:gd name="connsiteY131" fmla="*/ 181883 h 436519"/>
              <a:gd name="connsiteX132" fmla="*/ 363160 w 509305"/>
              <a:gd name="connsiteY132" fmla="*/ 172183 h 436519"/>
              <a:gd name="connsiteX133" fmla="*/ 363766 w 509305"/>
              <a:gd name="connsiteY133" fmla="*/ 163695 h 436519"/>
              <a:gd name="connsiteX134" fmla="*/ 339515 w 509305"/>
              <a:gd name="connsiteY134" fmla="*/ 121255 h 436519"/>
              <a:gd name="connsiteX135" fmla="*/ 339515 w 509305"/>
              <a:gd name="connsiteY135" fmla="*/ 72753 h 436519"/>
              <a:gd name="connsiteX136" fmla="*/ 273431 w 509305"/>
              <a:gd name="connsiteY136" fmla="*/ 12126 h 436519"/>
              <a:gd name="connsiteX137" fmla="*/ 169758 w 509305"/>
              <a:gd name="connsiteY137" fmla="*/ 0 h 436519"/>
              <a:gd name="connsiteX138" fmla="*/ 0 w 509305"/>
              <a:gd name="connsiteY138" fmla="*/ 72753 h 436519"/>
              <a:gd name="connsiteX139" fmla="*/ 0 w 509305"/>
              <a:gd name="connsiteY139" fmla="*/ 133381 h 436519"/>
              <a:gd name="connsiteX140" fmla="*/ 24251 w 509305"/>
              <a:gd name="connsiteY140" fmla="*/ 175820 h 436519"/>
              <a:gd name="connsiteX141" fmla="*/ 24251 w 509305"/>
              <a:gd name="connsiteY141" fmla="*/ 187340 h 436519"/>
              <a:gd name="connsiteX142" fmla="*/ 0 w 509305"/>
              <a:gd name="connsiteY142" fmla="*/ 230385 h 436519"/>
              <a:gd name="connsiteX143" fmla="*/ 0 w 509305"/>
              <a:gd name="connsiteY143" fmla="*/ 291013 h 436519"/>
              <a:gd name="connsiteX144" fmla="*/ 66084 w 509305"/>
              <a:gd name="connsiteY144" fmla="*/ 351641 h 436519"/>
              <a:gd name="connsiteX145" fmla="*/ 169758 w 509305"/>
              <a:gd name="connsiteY145" fmla="*/ 363766 h 436519"/>
              <a:gd name="connsiteX146" fmla="*/ 235842 w 509305"/>
              <a:gd name="connsiteY146" fmla="*/ 424394 h 436519"/>
              <a:gd name="connsiteX147" fmla="*/ 339515 w 509305"/>
              <a:gd name="connsiteY147" fmla="*/ 436520 h 436519"/>
              <a:gd name="connsiteX148" fmla="*/ 509273 w 509305"/>
              <a:gd name="connsiteY148" fmla="*/ 363766 h 436519"/>
              <a:gd name="connsiteX149" fmla="*/ 509273 w 509305"/>
              <a:gd name="connsiteY149" fmla="*/ 303139 h 436519"/>
              <a:gd name="connsiteX150" fmla="*/ 485628 w 509305"/>
              <a:gd name="connsiteY150" fmla="*/ 260699 h 436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509305" h="436519">
                <a:moveTo>
                  <a:pt x="473502" y="363766"/>
                </a:moveTo>
                <a:cubicBezTo>
                  <a:pt x="473502" y="371648"/>
                  <a:pt x="464408" y="378923"/>
                  <a:pt x="449251" y="384380"/>
                </a:cubicBezTo>
                <a:lnTo>
                  <a:pt x="449251" y="362554"/>
                </a:lnTo>
                <a:cubicBezTo>
                  <a:pt x="457739" y="360129"/>
                  <a:pt x="466227" y="356491"/>
                  <a:pt x="473502" y="352853"/>
                </a:cubicBezTo>
                <a:lnTo>
                  <a:pt x="473502" y="363766"/>
                </a:lnTo>
                <a:close/>
                <a:moveTo>
                  <a:pt x="425000" y="323752"/>
                </a:moveTo>
                <a:lnTo>
                  <a:pt x="425000" y="301926"/>
                </a:lnTo>
                <a:cubicBezTo>
                  <a:pt x="433488" y="299501"/>
                  <a:pt x="441976" y="295863"/>
                  <a:pt x="449251" y="292226"/>
                </a:cubicBezTo>
                <a:lnTo>
                  <a:pt x="449251" y="303139"/>
                </a:lnTo>
                <a:cubicBezTo>
                  <a:pt x="449251" y="311020"/>
                  <a:pt x="440157" y="318295"/>
                  <a:pt x="425000" y="323752"/>
                </a:cubicBezTo>
                <a:close/>
                <a:moveTo>
                  <a:pt x="425000" y="391655"/>
                </a:moveTo>
                <a:cubicBezTo>
                  <a:pt x="417725" y="393474"/>
                  <a:pt x="409237" y="394686"/>
                  <a:pt x="400749" y="395899"/>
                </a:cubicBezTo>
                <a:lnTo>
                  <a:pt x="400749" y="372254"/>
                </a:lnTo>
                <a:cubicBezTo>
                  <a:pt x="408631" y="371042"/>
                  <a:pt x="417119" y="369829"/>
                  <a:pt x="425000" y="368617"/>
                </a:cubicBezTo>
                <a:lnTo>
                  <a:pt x="425000" y="391655"/>
                </a:lnTo>
                <a:close/>
                <a:moveTo>
                  <a:pt x="376498" y="311626"/>
                </a:moveTo>
                <a:cubicBezTo>
                  <a:pt x="384380" y="310414"/>
                  <a:pt x="392868" y="309201"/>
                  <a:pt x="400749" y="307989"/>
                </a:cubicBezTo>
                <a:lnTo>
                  <a:pt x="400749" y="331027"/>
                </a:lnTo>
                <a:cubicBezTo>
                  <a:pt x="393474" y="332846"/>
                  <a:pt x="384986" y="334059"/>
                  <a:pt x="376498" y="335271"/>
                </a:cubicBezTo>
                <a:lnTo>
                  <a:pt x="376498" y="311626"/>
                </a:lnTo>
                <a:close/>
                <a:moveTo>
                  <a:pt x="376498" y="398930"/>
                </a:moveTo>
                <a:cubicBezTo>
                  <a:pt x="368616" y="399537"/>
                  <a:pt x="360735" y="400143"/>
                  <a:pt x="352247" y="400143"/>
                </a:cubicBezTo>
                <a:lnTo>
                  <a:pt x="352247" y="375892"/>
                </a:lnTo>
                <a:cubicBezTo>
                  <a:pt x="359522" y="375892"/>
                  <a:pt x="368010" y="375286"/>
                  <a:pt x="376498" y="374679"/>
                </a:cubicBezTo>
                <a:lnTo>
                  <a:pt x="376498" y="398930"/>
                </a:lnTo>
                <a:close/>
                <a:moveTo>
                  <a:pt x="327996" y="339515"/>
                </a:moveTo>
                <a:lnTo>
                  <a:pt x="327996" y="315264"/>
                </a:lnTo>
                <a:cubicBezTo>
                  <a:pt x="335271" y="315264"/>
                  <a:pt x="343759" y="314658"/>
                  <a:pt x="352247" y="314052"/>
                </a:cubicBezTo>
                <a:lnTo>
                  <a:pt x="352247" y="338303"/>
                </a:lnTo>
                <a:cubicBezTo>
                  <a:pt x="344365" y="338909"/>
                  <a:pt x="336484" y="338909"/>
                  <a:pt x="327996" y="339515"/>
                </a:cubicBezTo>
                <a:close/>
                <a:moveTo>
                  <a:pt x="327996" y="400143"/>
                </a:moveTo>
                <a:cubicBezTo>
                  <a:pt x="319508" y="400143"/>
                  <a:pt x="311626" y="399537"/>
                  <a:pt x="303745" y="398930"/>
                </a:cubicBezTo>
                <a:lnTo>
                  <a:pt x="303745" y="375892"/>
                </a:lnTo>
                <a:cubicBezTo>
                  <a:pt x="307989" y="375892"/>
                  <a:pt x="311626" y="375892"/>
                  <a:pt x="315870" y="375892"/>
                </a:cubicBezTo>
                <a:cubicBezTo>
                  <a:pt x="319508" y="375892"/>
                  <a:pt x="323752" y="375892"/>
                  <a:pt x="327996" y="375892"/>
                </a:cubicBezTo>
                <a:lnTo>
                  <a:pt x="327996" y="400143"/>
                </a:lnTo>
                <a:close/>
                <a:moveTo>
                  <a:pt x="279494" y="314052"/>
                </a:moveTo>
                <a:cubicBezTo>
                  <a:pt x="287375" y="314658"/>
                  <a:pt x="295257" y="315264"/>
                  <a:pt x="303745" y="315264"/>
                </a:cubicBezTo>
                <a:lnTo>
                  <a:pt x="303745" y="339515"/>
                </a:lnTo>
                <a:cubicBezTo>
                  <a:pt x="295257" y="339515"/>
                  <a:pt x="287375" y="338909"/>
                  <a:pt x="279494" y="338303"/>
                </a:cubicBezTo>
                <a:lnTo>
                  <a:pt x="279494" y="314052"/>
                </a:lnTo>
                <a:close/>
                <a:moveTo>
                  <a:pt x="279494" y="395899"/>
                </a:moveTo>
                <a:cubicBezTo>
                  <a:pt x="271006" y="394686"/>
                  <a:pt x="262518" y="393474"/>
                  <a:pt x="255243" y="391655"/>
                </a:cubicBezTo>
                <a:lnTo>
                  <a:pt x="255243" y="372254"/>
                </a:lnTo>
                <a:cubicBezTo>
                  <a:pt x="263124" y="373467"/>
                  <a:pt x="271006" y="374073"/>
                  <a:pt x="279494" y="374679"/>
                </a:cubicBezTo>
                <a:lnTo>
                  <a:pt x="279494" y="395899"/>
                </a:lnTo>
                <a:close/>
                <a:moveTo>
                  <a:pt x="230992" y="331027"/>
                </a:moveTo>
                <a:lnTo>
                  <a:pt x="230992" y="307383"/>
                </a:lnTo>
                <a:cubicBezTo>
                  <a:pt x="238873" y="308595"/>
                  <a:pt x="246755" y="310414"/>
                  <a:pt x="255243" y="311020"/>
                </a:cubicBezTo>
                <a:lnTo>
                  <a:pt x="255243" y="335271"/>
                </a:lnTo>
                <a:cubicBezTo>
                  <a:pt x="246755" y="334059"/>
                  <a:pt x="238267" y="332846"/>
                  <a:pt x="230992" y="331027"/>
                </a:cubicBezTo>
                <a:close/>
                <a:moveTo>
                  <a:pt x="230992" y="384380"/>
                </a:moveTo>
                <a:cubicBezTo>
                  <a:pt x="215835" y="378317"/>
                  <a:pt x="206740" y="371042"/>
                  <a:pt x="206740" y="363766"/>
                </a:cubicBezTo>
                <a:lnTo>
                  <a:pt x="206740" y="362554"/>
                </a:lnTo>
                <a:cubicBezTo>
                  <a:pt x="206740" y="362554"/>
                  <a:pt x="206740" y="362554"/>
                  <a:pt x="207347" y="362554"/>
                </a:cubicBezTo>
                <a:cubicBezTo>
                  <a:pt x="209166" y="363160"/>
                  <a:pt x="210378" y="363766"/>
                  <a:pt x="212197" y="363766"/>
                </a:cubicBezTo>
                <a:cubicBezTo>
                  <a:pt x="218260" y="365585"/>
                  <a:pt x="224323" y="366798"/>
                  <a:pt x="230992" y="368010"/>
                </a:cubicBezTo>
                <a:lnTo>
                  <a:pt x="230992" y="384380"/>
                </a:lnTo>
                <a:close/>
                <a:moveTo>
                  <a:pt x="133987" y="301926"/>
                </a:moveTo>
                <a:cubicBezTo>
                  <a:pt x="138231" y="301926"/>
                  <a:pt x="141869" y="302532"/>
                  <a:pt x="146113" y="302532"/>
                </a:cubicBezTo>
                <a:lnTo>
                  <a:pt x="146113" y="303139"/>
                </a:lnTo>
                <a:cubicBezTo>
                  <a:pt x="146113" y="311626"/>
                  <a:pt x="147932" y="320114"/>
                  <a:pt x="152176" y="326783"/>
                </a:cubicBezTo>
                <a:cubicBezTo>
                  <a:pt x="146113" y="326783"/>
                  <a:pt x="140050" y="326177"/>
                  <a:pt x="133987" y="325571"/>
                </a:cubicBezTo>
                <a:lnTo>
                  <a:pt x="133987" y="301926"/>
                </a:lnTo>
                <a:close/>
                <a:moveTo>
                  <a:pt x="109736" y="229173"/>
                </a:moveTo>
                <a:cubicBezTo>
                  <a:pt x="117618" y="230385"/>
                  <a:pt x="125499" y="232204"/>
                  <a:pt x="133987" y="232810"/>
                </a:cubicBezTo>
                <a:lnTo>
                  <a:pt x="133987" y="257062"/>
                </a:lnTo>
                <a:cubicBezTo>
                  <a:pt x="125499" y="255849"/>
                  <a:pt x="117011" y="254636"/>
                  <a:pt x="109736" y="252818"/>
                </a:cubicBezTo>
                <a:lnTo>
                  <a:pt x="109736" y="229173"/>
                </a:lnTo>
                <a:close/>
                <a:moveTo>
                  <a:pt x="109736" y="323146"/>
                </a:moveTo>
                <a:cubicBezTo>
                  <a:pt x="101248" y="321933"/>
                  <a:pt x="92760" y="320721"/>
                  <a:pt x="85485" y="318902"/>
                </a:cubicBezTo>
                <a:lnTo>
                  <a:pt x="85485" y="295257"/>
                </a:lnTo>
                <a:cubicBezTo>
                  <a:pt x="93367" y="296470"/>
                  <a:pt x="101248" y="298288"/>
                  <a:pt x="109736" y="298895"/>
                </a:cubicBezTo>
                <a:lnTo>
                  <a:pt x="109736" y="323146"/>
                </a:lnTo>
                <a:close/>
                <a:moveTo>
                  <a:pt x="61234" y="224323"/>
                </a:moveTo>
                <a:lnTo>
                  <a:pt x="61234" y="213410"/>
                </a:lnTo>
                <a:cubicBezTo>
                  <a:pt x="68509" y="217047"/>
                  <a:pt x="76391" y="220079"/>
                  <a:pt x="85485" y="222504"/>
                </a:cubicBezTo>
                <a:lnTo>
                  <a:pt x="85485" y="244936"/>
                </a:lnTo>
                <a:cubicBezTo>
                  <a:pt x="70328" y="239479"/>
                  <a:pt x="61234" y="232204"/>
                  <a:pt x="61234" y="224323"/>
                </a:cubicBezTo>
                <a:close/>
                <a:moveTo>
                  <a:pt x="61234" y="311626"/>
                </a:moveTo>
                <a:cubicBezTo>
                  <a:pt x="46077" y="305564"/>
                  <a:pt x="36983" y="298288"/>
                  <a:pt x="36983" y="291013"/>
                </a:cubicBezTo>
                <a:lnTo>
                  <a:pt x="36983" y="280100"/>
                </a:lnTo>
                <a:cubicBezTo>
                  <a:pt x="44258" y="283738"/>
                  <a:pt x="52140" y="286769"/>
                  <a:pt x="61234" y="289194"/>
                </a:cubicBezTo>
                <a:lnTo>
                  <a:pt x="61234" y="311626"/>
                </a:lnTo>
                <a:close/>
                <a:moveTo>
                  <a:pt x="36983" y="122468"/>
                </a:moveTo>
                <a:cubicBezTo>
                  <a:pt x="44258" y="126106"/>
                  <a:pt x="52140" y="129137"/>
                  <a:pt x="61234" y="131562"/>
                </a:cubicBezTo>
                <a:lnTo>
                  <a:pt x="61234" y="153994"/>
                </a:lnTo>
                <a:cubicBezTo>
                  <a:pt x="46077" y="147932"/>
                  <a:pt x="36983" y="140656"/>
                  <a:pt x="36983" y="133381"/>
                </a:cubicBezTo>
                <a:lnTo>
                  <a:pt x="36983" y="122468"/>
                </a:lnTo>
                <a:close/>
                <a:moveTo>
                  <a:pt x="109736" y="141869"/>
                </a:moveTo>
                <a:lnTo>
                  <a:pt x="109736" y="166120"/>
                </a:lnTo>
                <a:cubicBezTo>
                  <a:pt x="101248" y="164907"/>
                  <a:pt x="92760" y="163695"/>
                  <a:pt x="85485" y="161876"/>
                </a:cubicBezTo>
                <a:lnTo>
                  <a:pt x="85485" y="138231"/>
                </a:lnTo>
                <a:cubicBezTo>
                  <a:pt x="93367" y="139444"/>
                  <a:pt x="101248" y="140656"/>
                  <a:pt x="109736" y="141869"/>
                </a:cubicBezTo>
                <a:close/>
                <a:moveTo>
                  <a:pt x="170364" y="36377"/>
                </a:moveTo>
                <a:cubicBezTo>
                  <a:pt x="244330" y="36377"/>
                  <a:pt x="303745" y="52746"/>
                  <a:pt x="303745" y="72753"/>
                </a:cubicBezTo>
                <a:cubicBezTo>
                  <a:pt x="303745" y="92760"/>
                  <a:pt x="244330" y="109130"/>
                  <a:pt x="170364" y="109130"/>
                </a:cubicBezTo>
                <a:cubicBezTo>
                  <a:pt x="96398" y="109130"/>
                  <a:pt x="36983" y="92760"/>
                  <a:pt x="36983" y="72753"/>
                </a:cubicBezTo>
                <a:cubicBezTo>
                  <a:pt x="36983" y="52746"/>
                  <a:pt x="96398" y="36377"/>
                  <a:pt x="170364" y="36377"/>
                </a:cubicBezTo>
                <a:close/>
                <a:moveTo>
                  <a:pt x="206740" y="323752"/>
                </a:moveTo>
                <a:cubicBezTo>
                  <a:pt x="191584" y="317689"/>
                  <a:pt x="182489" y="310414"/>
                  <a:pt x="182489" y="303139"/>
                </a:cubicBezTo>
                <a:lnTo>
                  <a:pt x="182489" y="292226"/>
                </a:lnTo>
                <a:cubicBezTo>
                  <a:pt x="189765" y="295863"/>
                  <a:pt x="197646" y="298895"/>
                  <a:pt x="206740" y="301320"/>
                </a:cubicBezTo>
                <a:lnTo>
                  <a:pt x="206740" y="323752"/>
                </a:lnTo>
                <a:close/>
                <a:moveTo>
                  <a:pt x="279494" y="153994"/>
                </a:moveTo>
                <a:lnTo>
                  <a:pt x="279494" y="132168"/>
                </a:lnTo>
                <a:cubicBezTo>
                  <a:pt x="287982" y="129743"/>
                  <a:pt x="296470" y="126106"/>
                  <a:pt x="303745" y="122468"/>
                </a:cubicBezTo>
                <a:lnTo>
                  <a:pt x="303745" y="133381"/>
                </a:lnTo>
                <a:cubicBezTo>
                  <a:pt x="303745" y="141263"/>
                  <a:pt x="294651" y="148538"/>
                  <a:pt x="279494" y="153994"/>
                </a:cubicBezTo>
                <a:close/>
                <a:moveTo>
                  <a:pt x="230992" y="165514"/>
                </a:moveTo>
                <a:lnTo>
                  <a:pt x="230992" y="141869"/>
                </a:lnTo>
                <a:cubicBezTo>
                  <a:pt x="238873" y="140656"/>
                  <a:pt x="247361" y="139444"/>
                  <a:pt x="255243" y="138231"/>
                </a:cubicBezTo>
                <a:lnTo>
                  <a:pt x="255243" y="161270"/>
                </a:lnTo>
                <a:cubicBezTo>
                  <a:pt x="247967" y="163089"/>
                  <a:pt x="239479" y="164301"/>
                  <a:pt x="230992" y="165514"/>
                </a:cubicBezTo>
                <a:close/>
                <a:moveTo>
                  <a:pt x="182489" y="169758"/>
                </a:moveTo>
                <a:lnTo>
                  <a:pt x="182489" y="145507"/>
                </a:lnTo>
                <a:cubicBezTo>
                  <a:pt x="189765" y="145507"/>
                  <a:pt x="198253" y="144900"/>
                  <a:pt x="206740" y="144294"/>
                </a:cubicBezTo>
                <a:lnTo>
                  <a:pt x="206740" y="168545"/>
                </a:lnTo>
                <a:cubicBezTo>
                  <a:pt x="198859" y="169151"/>
                  <a:pt x="190977" y="169151"/>
                  <a:pt x="182489" y="169758"/>
                </a:cubicBezTo>
                <a:close/>
                <a:moveTo>
                  <a:pt x="133987" y="168545"/>
                </a:moveTo>
                <a:lnTo>
                  <a:pt x="133987" y="144294"/>
                </a:lnTo>
                <a:cubicBezTo>
                  <a:pt x="141869" y="144900"/>
                  <a:pt x="149750" y="145507"/>
                  <a:pt x="158238" y="145507"/>
                </a:cubicBezTo>
                <a:lnTo>
                  <a:pt x="158238" y="169758"/>
                </a:lnTo>
                <a:cubicBezTo>
                  <a:pt x="149750" y="169151"/>
                  <a:pt x="141869" y="169151"/>
                  <a:pt x="133987" y="168545"/>
                </a:cubicBezTo>
                <a:close/>
                <a:moveTo>
                  <a:pt x="449251" y="242511"/>
                </a:moveTo>
                <a:cubicBezTo>
                  <a:pt x="449251" y="262518"/>
                  <a:pt x="389836" y="278887"/>
                  <a:pt x="315870" y="278887"/>
                </a:cubicBezTo>
                <a:cubicBezTo>
                  <a:pt x="241905" y="278887"/>
                  <a:pt x="182489" y="262518"/>
                  <a:pt x="182489" y="242511"/>
                </a:cubicBezTo>
                <a:cubicBezTo>
                  <a:pt x="182489" y="222504"/>
                  <a:pt x="241905" y="206134"/>
                  <a:pt x="315870" y="206134"/>
                </a:cubicBezTo>
                <a:cubicBezTo>
                  <a:pt x="389836" y="206134"/>
                  <a:pt x="449251" y="222504"/>
                  <a:pt x="449251" y="242511"/>
                </a:cubicBezTo>
                <a:close/>
                <a:moveTo>
                  <a:pt x="485628" y="260699"/>
                </a:moveTo>
                <a:lnTo>
                  <a:pt x="485628" y="242511"/>
                </a:lnTo>
                <a:cubicBezTo>
                  <a:pt x="485628" y="214016"/>
                  <a:pt x="463196" y="193402"/>
                  <a:pt x="419544" y="181883"/>
                </a:cubicBezTo>
                <a:cubicBezTo>
                  <a:pt x="403174" y="177639"/>
                  <a:pt x="384380" y="174002"/>
                  <a:pt x="363160" y="172183"/>
                </a:cubicBezTo>
                <a:cubicBezTo>
                  <a:pt x="363766" y="169758"/>
                  <a:pt x="363766" y="166726"/>
                  <a:pt x="363766" y="163695"/>
                </a:cubicBezTo>
                <a:cubicBezTo>
                  <a:pt x="363766" y="146719"/>
                  <a:pt x="355885" y="132168"/>
                  <a:pt x="339515" y="121255"/>
                </a:cubicBezTo>
                <a:lnTo>
                  <a:pt x="339515" y="72753"/>
                </a:lnTo>
                <a:cubicBezTo>
                  <a:pt x="339515" y="44258"/>
                  <a:pt x="317083" y="23645"/>
                  <a:pt x="273431" y="12126"/>
                </a:cubicBezTo>
                <a:cubicBezTo>
                  <a:pt x="244936" y="4244"/>
                  <a:pt x="208559" y="0"/>
                  <a:pt x="169758" y="0"/>
                </a:cubicBezTo>
                <a:cubicBezTo>
                  <a:pt x="118830" y="0"/>
                  <a:pt x="0" y="7275"/>
                  <a:pt x="0" y="72753"/>
                </a:cubicBezTo>
                <a:lnTo>
                  <a:pt x="0" y="133381"/>
                </a:lnTo>
                <a:cubicBezTo>
                  <a:pt x="0" y="150357"/>
                  <a:pt x="7882" y="164907"/>
                  <a:pt x="24251" y="175820"/>
                </a:cubicBezTo>
                <a:lnTo>
                  <a:pt x="24251" y="187340"/>
                </a:lnTo>
                <a:cubicBezTo>
                  <a:pt x="9700" y="197646"/>
                  <a:pt x="0" y="211591"/>
                  <a:pt x="0" y="230385"/>
                </a:cubicBezTo>
                <a:lnTo>
                  <a:pt x="0" y="291013"/>
                </a:lnTo>
                <a:cubicBezTo>
                  <a:pt x="0" y="319508"/>
                  <a:pt x="22432" y="340121"/>
                  <a:pt x="66084" y="351641"/>
                </a:cubicBezTo>
                <a:cubicBezTo>
                  <a:pt x="94579" y="359522"/>
                  <a:pt x="130956" y="363766"/>
                  <a:pt x="169758" y="363766"/>
                </a:cubicBezTo>
                <a:cubicBezTo>
                  <a:pt x="169758" y="392261"/>
                  <a:pt x="192190" y="412875"/>
                  <a:pt x="235842" y="424394"/>
                </a:cubicBezTo>
                <a:cubicBezTo>
                  <a:pt x="264337" y="432276"/>
                  <a:pt x="300713" y="436520"/>
                  <a:pt x="339515" y="436520"/>
                </a:cubicBezTo>
                <a:cubicBezTo>
                  <a:pt x="390442" y="436520"/>
                  <a:pt x="509273" y="429244"/>
                  <a:pt x="509273" y="363766"/>
                </a:cubicBezTo>
                <a:lnTo>
                  <a:pt x="509273" y="303139"/>
                </a:lnTo>
                <a:cubicBezTo>
                  <a:pt x="509879" y="286163"/>
                  <a:pt x="501997" y="271612"/>
                  <a:pt x="485628" y="260699"/>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95" name="Graphic 26" descr="Shopping bag">
            <a:extLst>
              <a:ext uri="{FF2B5EF4-FFF2-40B4-BE49-F238E27FC236}">
                <a16:creationId xmlns:a16="http://schemas.microsoft.com/office/drawing/2014/main" id="{833F62D7-F296-EDFB-E4C3-71413586EEC2}"/>
              </a:ext>
            </a:extLst>
          </p:cNvPr>
          <p:cNvSpPr/>
          <p:nvPr/>
        </p:nvSpPr>
        <p:spPr>
          <a:xfrm>
            <a:off x="5706188" y="1909879"/>
            <a:ext cx="290483" cy="399934"/>
          </a:xfrm>
          <a:custGeom>
            <a:avLst/>
            <a:gdLst>
              <a:gd name="connsiteX0" fmla="*/ 316501 w 387512"/>
              <a:gd name="connsiteY0" fmla="*/ 480171 h 533523"/>
              <a:gd name="connsiteX1" fmla="*/ 332870 w 387512"/>
              <a:gd name="connsiteY1" fmla="*/ 221897 h 533523"/>
              <a:gd name="connsiteX2" fmla="*/ 349846 w 387512"/>
              <a:gd name="connsiteY2" fmla="*/ 446826 h 533523"/>
              <a:gd name="connsiteX3" fmla="*/ 316501 w 387512"/>
              <a:gd name="connsiteY3" fmla="*/ 480171 h 533523"/>
              <a:gd name="connsiteX4" fmla="*/ 278912 w 387512"/>
              <a:gd name="connsiteY4" fmla="*/ 497147 h 533523"/>
              <a:gd name="connsiteX5" fmla="*/ 36401 w 387512"/>
              <a:gd name="connsiteY5" fmla="*/ 497147 h 533523"/>
              <a:gd name="connsiteX6" fmla="*/ 57620 w 387512"/>
              <a:gd name="connsiteY6" fmla="*/ 157632 h 533523"/>
              <a:gd name="connsiteX7" fmla="*/ 84297 w 387512"/>
              <a:gd name="connsiteY7" fmla="*/ 157632 h 533523"/>
              <a:gd name="connsiteX8" fmla="*/ 84297 w 387512"/>
              <a:gd name="connsiteY8" fmla="*/ 206134 h 533523"/>
              <a:gd name="connsiteX9" fmla="*/ 96422 w 387512"/>
              <a:gd name="connsiteY9" fmla="*/ 218260 h 533523"/>
              <a:gd name="connsiteX10" fmla="*/ 108548 w 387512"/>
              <a:gd name="connsiteY10" fmla="*/ 206134 h 533523"/>
              <a:gd name="connsiteX11" fmla="*/ 108548 w 387512"/>
              <a:gd name="connsiteY11" fmla="*/ 157632 h 533523"/>
              <a:gd name="connsiteX12" fmla="*/ 229803 w 387512"/>
              <a:gd name="connsiteY12" fmla="*/ 157632 h 533523"/>
              <a:gd name="connsiteX13" fmla="*/ 229803 w 387512"/>
              <a:gd name="connsiteY13" fmla="*/ 206134 h 533523"/>
              <a:gd name="connsiteX14" fmla="*/ 241929 w 387512"/>
              <a:gd name="connsiteY14" fmla="*/ 218260 h 533523"/>
              <a:gd name="connsiteX15" fmla="*/ 254054 w 387512"/>
              <a:gd name="connsiteY15" fmla="*/ 206134 h 533523"/>
              <a:gd name="connsiteX16" fmla="*/ 254054 w 387512"/>
              <a:gd name="connsiteY16" fmla="*/ 157632 h 533523"/>
              <a:gd name="connsiteX17" fmla="*/ 300131 w 387512"/>
              <a:gd name="connsiteY17" fmla="*/ 157632 h 533523"/>
              <a:gd name="connsiteX18" fmla="*/ 278912 w 387512"/>
              <a:gd name="connsiteY18" fmla="*/ 497147 h 533523"/>
              <a:gd name="connsiteX19" fmla="*/ 108548 w 387512"/>
              <a:gd name="connsiteY19" fmla="*/ 97004 h 533523"/>
              <a:gd name="connsiteX20" fmla="*/ 152806 w 387512"/>
              <a:gd name="connsiteY20" fmla="*/ 38802 h 533523"/>
              <a:gd name="connsiteX21" fmla="*/ 138862 w 387512"/>
              <a:gd name="connsiteY21" fmla="*/ 84879 h 533523"/>
              <a:gd name="connsiteX22" fmla="*/ 138862 w 387512"/>
              <a:gd name="connsiteY22" fmla="*/ 121255 h 533523"/>
              <a:gd name="connsiteX23" fmla="*/ 108548 w 387512"/>
              <a:gd name="connsiteY23" fmla="*/ 121255 h 533523"/>
              <a:gd name="connsiteX24" fmla="*/ 108548 w 387512"/>
              <a:gd name="connsiteY24" fmla="*/ 97004 h 533523"/>
              <a:gd name="connsiteX25" fmla="*/ 184939 w 387512"/>
              <a:gd name="connsiteY25" fmla="*/ 38195 h 533523"/>
              <a:gd name="connsiteX26" fmla="*/ 229803 w 387512"/>
              <a:gd name="connsiteY26" fmla="*/ 97004 h 533523"/>
              <a:gd name="connsiteX27" fmla="*/ 229803 w 387512"/>
              <a:gd name="connsiteY27" fmla="*/ 121255 h 533523"/>
              <a:gd name="connsiteX28" fmla="*/ 163113 w 387512"/>
              <a:gd name="connsiteY28" fmla="*/ 121255 h 533523"/>
              <a:gd name="connsiteX29" fmla="*/ 163113 w 387512"/>
              <a:gd name="connsiteY29" fmla="*/ 84879 h 533523"/>
              <a:gd name="connsiteX30" fmla="*/ 184939 w 387512"/>
              <a:gd name="connsiteY30" fmla="*/ 38195 h 533523"/>
              <a:gd name="connsiteX31" fmla="*/ 223740 w 387512"/>
              <a:gd name="connsiteY31" fmla="*/ 24251 h 533523"/>
              <a:gd name="connsiteX32" fmla="*/ 284368 w 387512"/>
              <a:gd name="connsiteY32" fmla="*/ 84879 h 533523"/>
              <a:gd name="connsiteX33" fmla="*/ 284368 w 387512"/>
              <a:gd name="connsiteY33" fmla="*/ 121255 h 533523"/>
              <a:gd name="connsiteX34" fmla="*/ 254054 w 387512"/>
              <a:gd name="connsiteY34" fmla="*/ 121255 h 533523"/>
              <a:gd name="connsiteX35" fmla="*/ 254054 w 387512"/>
              <a:gd name="connsiteY35" fmla="*/ 97004 h 533523"/>
              <a:gd name="connsiteX36" fmla="*/ 214040 w 387512"/>
              <a:gd name="connsiteY36" fmla="*/ 24857 h 533523"/>
              <a:gd name="connsiteX37" fmla="*/ 223740 w 387512"/>
              <a:gd name="connsiteY37" fmla="*/ 24251 h 533523"/>
              <a:gd name="connsiteX38" fmla="*/ 363184 w 387512"/>
              <a:gd name="connsiteY38" fmla="*/ 144294 h 533523"/>
              <a:gd name="connsiteX39" fmla="*/ 338933 w 387512"/>
              <a:gd name="connsiteY39" fmla="*/ 121255 h 533523"/>
              <a:gd name="connsiteX40" fmla="*/ 312863 w 387512"/>
              <a:gd name="connsiteY40" fmla="*/ 121255 h 533523"/>
              <a:gd name="connsiteX41" fmla="*/ 337114 w 387512"/>
              <a:gd name="connsiteY41" fmla="*/ 141869 h 533523"/>
              <a:gd name="connsiteX42" fmla="*/ 312863 w 387512"/>
              <a:gd name="connsiteY42" fmla="*/ 121255 h 533523"/>
              <a:gd name="connsiteX43" fmla="*/ 308619 w 387512"/>
              <a:gd name="connsiteY43" fmla="*/ 121255 h 533523"/>
              <a:gd name="connsiteX44" fmla="*/ 308619 w 387512"/>
              <a:gd name="connsiteY44" fmla="*/ 84879 h 533523"/>
              <a:gd name="connsiteX45" fmla="*/ 223740 w 387512"/>
              <a:gd name="connsiteY45" fmla="*/ 0 h 533523"/>
              <a:gd name="connsiteX46" fmla="*/ 179482 w 387512"/>
              <a:gd name="connsiteY46" fmla="*/ 12732 h 533523"/>
              <a:gd name="connsiteX47" fmla="*/ 169175 w 387512"/>
              <a:gd name="connsiteY47" fmla="*/ 12126 h 533523"/>
              <a:gd name="connsiteX48" fmla="*/ 84297 w 387512"/>
              <a:gd name="connsiteY48" fmla="*/ 97004 h 533523"/>
              <a:gd name="connsiteX49" fmla="*/ 84297 w 387512"/>
              <a:gd name="connsiteY49" fmla="*/ 121255 h 533523"/>
              <a:gd name="connsiteX50" fmla="*/ 46707 w 387512"/>
              <a:gd name="connsiteY50" fmla="*/ 121255 h 533523"/>
              <a:gd name="connsiteX51" fmla="*/ 22456 w 387512"/>
              <a:gd name="connsiteY51" fmla="*/ 144294 h 533523"/>
              <a:gd name="connsiteX52" fmla="*/ 24 w 387512"/>
              <a:gd name="connsiteY52" fmla="*/ 508060 h 533523"/>
              <a:gd name="connsiteX53" fmla="*/ 24275 w 387512"/>
              <a:gd name="connsiteY53" fmla="*/ 533524 h 533523"/>
              <a:gd name="connsiteX54" fmla="*/ 291037 w 387512"/>
              <a:gd name="connsiteY54" fmla="*/ 533524 h 533523"/>
              <a:gd name="connsiteX55" fmla="*/ 304981 w 387512"/>
              <a:gd name="connsiteY55" fmla="*/ 533524 h 533523"/>
              <a:gd name="connsiteX56" fmla="*/ 322564 w 387512"/>
              <a:gd name="connsiteY56" fmla="*/ 525642 h 533523"/>
              <a:gd name="connsiteX57" fmla="*/ 380160 w 387512"/>
              <a:gd name="connsiteY57" fmla="*/ 468652 h 533523"/>
              <a:gd name="connsiteX58" fmla="*/ 387435 w 387512"/>
              <a:gd name="connsiteY58" fmla="*/ 449858 h 533523"/>
              <a:gd name="connsiteX59" fmla="*/ 363184 w 387512"/>
              <a:gd name="connsiteY59" fmla="*/ 144294 h 53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7512" h="533523">
                <a:moveTo>
                  <a:pt x="316501" y="480171"/>
                </a:moveTo>
                <a:lnTo>
                  <a:pt x="332870" y="221897"/>
                </a:lnTo>
                <a:lnTo>
                  <a:pt x="349846" y="446826"/>
                </a:lnTo>
                <a:lnTo>
                  <a:pt x="316501" y="480171"/>
                </a:lnTo>
                <a:close/>
                <a:moveTo>
                  <a:pt x="278912" y="497147"/>
                </a:moveTo>
                <a:lnTo>
                  <a:pt x="36401" y="497147"/>
                </a:lnTo>
                <a:lnTo>
                  <a:pt x="57620" y="157632"/>
                </a:lnTo>
                <a:lnTo>
                  <a:pt x="84297" y="157632"/>
                </a:lnTo>
                <a:lnTo>
                  <a:pt x="84297" y="206134"/>
                </a:lnTo>
                <a:cubicBezTo>
                  <a:pt x="84297" y="212803"/>
                  <a:pt x="89753" y="218260"/>
                  <a:pt x="96422" y="218260"/>
                </a:cubicBezTo>
                <a:cubicBezTo>
                  <a:pt x="103091" y="218260"/>
                  <a:pt x="108548" y="212803"/>
                  <a:pt x="108548" y="206134"/>
                </a:cubicBezTo>
                <a:lnTo>
                  <a:pt x="108548" y="157632"/>
                </a:lnTo>
                <a:lnTo>
                  <a:pt x="229803" y="157632"/>
                </a:lnTo>
                <a:lnTo>
                  <a:pt x="229803" y="206134"/>
                </a:lnTo>
                <a:cubicBezTo>
                  <a:pt x="229803" y="212803"/>
                  <a:pt x="235260" y="218260"/>
                  <a:pt x="241929" y="218260"/>
                </a:cubicBezTo>
                <a:cubicBezTo>
                  <a:pt x="248598" y="218260"/>
                  <a:pt x="254054" y="212803"/>
                  <a:pt x="254054" y="206134"/>
                </a:cubicBezTo>
                <a:lnTo>
                  <a:pt x="254054" y="157632"/>
                </a:lnTo>
                <a:lnTo>
                  <a:pt x="300131" y="157632"/>
                </a:lnTo>
                <a:lnTo>
                  <a:pt x="278912" y="497147"/>
                </a:lnTo>
                <a:close/>
                <a:moveTo>
                  <a:pt x="108548" y="97004"/>
                </a:moveTo>
                <a:cubicBezTo>
                  <a:pt x="108548" y="69116"/>
                  <a:pt x="127342" y="46077"/>
                  <a:pt x="152806" y="38802"/>
                </a:cubicBezTo>
                <a:cubicBezTo>
                  <a:pt x="143712" y="52140"/>
                  <a:pt x="138862" y="67903"/>
                  <a:pt x="138862" y="84879"/>
                </a:cubicBezTo>
                <a:lnTo>
                  <a:pt x="138862" y="121255"/>
                </a:lnTo>
                <a:lnTo>
                  <a:pt x="108548" y="121255"/>
                </a:lnTo>
                <a:lnTo>
                  <a:pt x="108548" y="97004"/>
                </a:lnTo>
                <a:close/>
                <a:moveTo>
                  <a:pt x="184939" y="38195"/>
                </a:moveTo>
                <a:cubicBezTo>
                  <a:pt x="211009" y="44865"/>
                  <a:pt x="229803" y="68509"/>
                  <a:pt x="229803" y="97004"/>
                </a:cubicBezTo>
                <a:lnTo>
                  <a:pt x="229803" y="121255"/>
                </a:lnTo>
                <a:lnTo>
                  <a:pt x="163113" y="121255"/>
                </a:lnTo>
                <a:lnTo>
                  <a:pt x="163113" y="84879"/>
                </a:lnTo>
                <a:cubicBezTo>
                  <a:pt x="163113" y="66084"/>
                  <a:pt x="171601" y="49715"/>
                  <a:pt x="184939" y="38195"/>
                </a:cubicBezTo>
                <a:close/>
                <a:moveTo>
                  <a:pt x="223740" y="24251"/>
                </a:moveTo>
                <a:cubicBezTo>
                  <a:pt x="257086" y="24251"/>
                  <a:pt x="284368" y="51534"/>
                  <a:pt x="284368" y="84879"/>
                </a:cubicBezTo>
                <a:lnTo>
                  <a:pt x="284368" y="121255"/>
                </a:lnTo>
                <a:lnTo>
                  <a:pt x="254054" y="121255"/>
                </a:lnTo>
                <a:lnTo>
                  <a:pt x="254054" y="97004"/>
                </a:lnTo>
                <a:cubicBezTo>
                  <a:pt x="254054" y="66690"/>
                  <a:pt x="238291" y="40014"/>
                  <a:pt x="214040" y="24857"/>
                </a:cubicBezTo>
                <a:cubicBezTo>
                  <a:pt x="217071" y="24857"/>
                  <a:pt x="220709" y="24251"/>
                  <a:pt x="223740" y="24251"/>
                </a:cubicBezTo>
                <a:close/>
                <a:moveTo>
                  <a:pt x="363184" y="144294"/>
                </a:moveTo>
                <a:cubicBezTo>
                  <a:pt x="362578" y="131562"/>
                  <a:pt x="351665" y="121255"/>
                  <a:pt x="338933" y="121255"/>
                </a:cubicBezTo>
                <a:lnTo>
                  <a:pt x="312863" y="121255"/>
                </a:lnTo>
                <a:cubicBezTo>
                  <a:pt x="324989" y="121255"/>
                  <a:pt x="335295" y="130350"/>
                  <a:pt x="337114" y="141869"/>
                </a:cubicBezTo>
                <a:cubicBezTo>
                  <a:pt x="335295" y="130350"/>
                  <a:pt x="325595" y="121255"/>
                  <a:pt x="312863" y="121255"/>
                </a:cubicBezTo>
                <a:lnTo>
                  <a:pt x="308619" y="121255"/>
                </a:lnTo>
                <a:lnTo>
                  <a:pt x="308619" y="84879"/>
                </a:lnTo>
                <a:cubicBezTo>
                  <a:pt x="308619" y="38195"/>
                  <a:pt x="270424" y="0"/>
                  <a:pt x="223740" y="0"/>
                </a:cubicBezTo>
                <a:cubicBezTo>
                  <a:pt x="207371" y="0"/>
                  <a:pt x="192214" y="4850"/>
                  <a:pt x="179482" y="12732"/>
                </a:cubicBezTo>
                <a:cubicBezTo>
                  <a:pt x="175844" y="12126"/>
                  <a:pt x="172813" y="12126"/>
                  <a:pt x="169175" y="12126"/>
                </a:cubicBezTo>
                <a:cubicBezTo>
                  <a:pt x="122492" y="12126"/>
                  <a:pt x="84297" y="50321"/>
                  <a:pt x="84297" y="97004"/>
                </a:cubicBezTo>
                <a:lnTo>
                  <a:pt x="84297" y="121255"/>
                </a:lnTo>
                <a:lnTo>
                  <a:pt x="46707" y="121255"/>
                </a:lnTo>
                <a:cubicBezTo>
                  <a:pt x="33976" y="121255"/>
                  <a:pt x="23063" y="130956"/>
                  <a:pt x="22456" y="144294"/>
                </a:cubicBezTo>
                <a:lnTo>
                  <a:pt x="24" y="508060"/>
                </a:lnTo>
                <a:cubicBezTo>
                  <a:pt x="-582" y="522005"/>
                  <a:pt x="10331" y="533524"/>
                  <a:pt x="24275" y="533524"/>
                </a:cubicBezTo>
                <a:lnTo>
                  <a:pt x="291037" y="533524"/>
                </a:lnTo>
                <a:lnTo>
                  <a:pt x="304981" y="533524"/>
                </a:lnTo>
                <a:cubicBezTo>
                  <a:pt x="311651" y="533524"/>
                  <a:pt x="318320" y="530492"/>
                  <a:pt x="322564" y="525642"/>
                </a:cubicBezTo>
                <a:lnTo>
                  <a:pt x="380160" y="468652"/>
                </a:lnTo>
                <a:cubicBezTo>
                  <a:pt x="385010" y="463802"/>
                  <a:pt x="388041" y="456527"/>
                  <a:pt x="387435" y="449858"/>
                </a:cubicBezTo>
                <a:lnTo>
                  <a:pt x="363184" y="144294"/>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nvGrpSpPr>
          <p:cNvPr id="196" name="Graphic 33" descr="Research">
            <a:extLst>
              <a:ext uri="{FF2B5EF4-FFF2-40B4-BE49-F238E27FC236}">
                <a16:creationId xmlns:a16="http://schemas.microsoft.com/office/drawing/2014/main" id="{F0DE4317-0720-7B8C-1609-F53BA67597D3}"/>
              </a:ext>
            </a:extLst>
          </p:cNvPr>
          <p:cNvGrpSpPr/>
          <p:nvPr/>
        </p:nvGrpSpPr>
        <p:grpSpPr>
          <a:xfrm>
            <a:off x="5816227" y="3851066"/>
            <a:ext cx="359603" cy="360057"/>
            <a:chOff x="8246549" y="3354093"/>
            <a:chExt cx="479720" cy="480326"/>
          </a:xfrm>
        </p:grpSpPr>
        <p:sp>
          <p:nvSpPr>
            <p:cNvPr id="197" name="Freeform: Shape 196">
              <a:extLst>
                <a:ext uri="{FF2B5EF4-FFF2-40B4-BE49-F238E27FC236}">
                  <a16:creationId xmlns:a16="http://schemas.microsoft.com/office/drawing/2014/main" id="{1DDD9F6F-C72B-3D32-0160-07DC51B1425F}"/>
                </a:ext>
              </a:extLst>
            </p:cNvPr>
            <p:cNvSpPr/>
            <p:nvPr/>
          </p:nvSpPr>
          <p:spPr>
            <a:xfrm>
              <a:off x="8246549" y="3354093"/>
              <a:ext cx="479720" cy="480326"/>
            </a:xfrm>
            <a:custGeom>
              <a:avLst/>
              <a:gdLst>
                <a:gd name="connsiteX0" fmla="*/ 392265 w 479720"/>
                <a:gd name="connsiteY0" fmla="*/ 332243 h 480326"/>
                <a:gd name="connsiteX1" fmla="*/ 354675 w 479720"/>
                <a:gd name="connsiteY1" fmla="*/ 320724 h 480326"/>
                <a:gd name="connsiteX2" fmla="*/ 327393 w 479720"/>
                <a:gd name="connsiteY2" fmla="*/ 294048 h 480326"/>
                <a:gd name="connsiteX3" fmla="*/ 364982 w 479720"/>
                <a:gd name="connsiteY3" fmla="*/ 183705 h 480326"/>
                <a:gd name="connsiteX4" fmla="*/ 183099 w 479720"/>
                <a:gd name="connsiteY4" fmla="*/ 3 h 480326"/>
                <a:gd name="connsiteX5" fmla="*/ 3 w 479720"/>
                <a:gd name="connsiteY5" fmla="*/ 181886 h 480326"/>
                <a:gd name="connsiteX6" fmla="*/ 181886 w 479720"/>
                <a:gd name="connsiteY6" fmla="*/ 364982 h 480326"/>
                <a:gd name="connsiteX7" fmla="*/ 293441 w 479720"/>
                <a:gd name="connsiteY7" fmla="*/ 327393 h 480326"/>
                <a:gd name="connsiteX8" fmla="*/ 320118 w 479720"/>
                <a:gd name="connsiteY8" fmla="*/ 354069 h 480326"/>
                <a:gd name="connsiteX9" fmla="*/ 331637 w 479720"/>
                <a:gd name="connsiteY9" fmla="*/ 392265 h 480326"/>
                <a:gd name="connsiteX10" fmla="*/ 407422 w 479720"/>
                <a:gd name="connsiteY10" fmla="*/ 468049 h 480326"/>
                <a:gd name="connsiteX11" fmla="*/ 467443 w 479720"/>
                <a:gd name="connsiteY11" fmla="*/ 468049 h 480326"/>
                <a:gd name="connsiteX12" fmla="*/ 467443 w 479720"/>
                <a:gd name="connsiteY12" fmla="*/ 408028 h 480326"/>
                <a:gd name="connsiteX13" fmla="*/ 392265 w 479720"/>
                <a:gd name="connsiteY13" fmla="*/ 332243 h 480326"/>
                <a:gd name="connsiteX14" fmla="*/ 183099 w 479720"/>
                <a:gd name="connsiteY14" fmla="*/ 328606 h 480326"/>
                <a:gd name="connsiteX15" fmla="*/ 37593 w 479720"/>
                <a:gd name="connsiteY15" fmla="*/ 183099 h 480326"/>
                <a:gd name="connsiteX16" fmla="*/ 183099 w 479720"/>
                <a:gd name="connsiteY16" fmla="*/ 37593 h 480326"/>
                <a:gd name="connsiteX17" fmla="*/ 328606 w 479720"/>
                <a:gd name="connsiteY17" fmla="*/ 183099 h 480326"/>
                <a:gd name="connsiteX18" fmla="*/ 183099 w 479720"/>
                <a:gd name="connsiteY18" fmla="*/ 328606 h 4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9720" h="480326">
                  <a:moveTo>
                    <a:pt x="392265" y="332243"/>
                  </a:moveTo>
                  <a:cubicBezTo>
                    <a:pt x="382564" y="322543"/>
                    <a:pt x="368014" y="317693"/>
                    <a:pt x="354675" y="320724"/>
                  </a:cubicBezTo>
                  <a:lnTo>
                    <a:pt x="327393" y="294048"/>
                  </a:lnTo>
                  <a:cubicBezTo>
                    <a:pt x="351644" y="262521"/>
                    <a:pt x="364982" y="223720"/>
                    <a:pt x="364982" y="183705"/>
                  </a:cubicBezTo>
                  <a:cubicBezTo>
                    <a:pt x="365588" y="82457"/>
                    <a:pt x="283741" y="610"/>
                    <a:pt x="183099" y="3"/>
                  </a:cubicBezTo>
                  <a:cubicBezTo>
                    <a:pt x="82457" y="-603"/>
                    <a:pt x="610" y="81244"/>
                    <a:pt x="3" y="181886"/>
                  </a:cubicBezTo>
                  <a:cubicBezTo>
                    <a:pt x="-603" y="282528"/>
                    <a:pt x="81244" y="364376"/>
                    <a:pt x="181886" y="364982"/>
                  </a:cubicBezTo>
                  <a:cubicBezTo>
                    <a:pt x="221901" y="364982"/>
                    <a:pt x="261309" y="351644"/>
                    <a:pt x="293441" y="327393"/>
                  </a:cubicBezTo>
                  <a:lnTo>
                    <a:pt x="320118" y="354069"/>
                  </a:lnTo>
                  <a:cubicBezTo>
                    <a:pt x="317693" y="368014"/>
                    <a:pt x="321937" y="381958"/>
                    <a:pt x="331637" y="392265"/>
                  </a:cubicBezTo>
                  <a:lnTo>
                    <a:pt x="407422" y="468049"/>
                  </a:lnTo>
                  <a:cubicBezTo>
                    <a:pt x="423791" y="484419"/>
                    <a:pt x="451073" y="484419"/>
                    <a:pt x="467443" y="468049"/>
                  </a:cubicBezTo>
                  <a:cubicBezTo>
                    <a:pt x="483812" y="451680"/>
                    <a:pt x="483812" y="424397"/>
                    <a:pt x="467443" y="408028"/>
                  </a:cubicBezTo>
                  <a:lnTo>
                    <a:pt x="392265" y="332243"/>
                  </a:lnTo>
                  <a:close/>
                  <a:moveTo>
                    <a:pt x="183099" y="328606"/>
                  </a:moveTo>
                  <a:cubicBezTo>
                    <a:pt x="102464" y="328606"/>
                    <a:pt x="37593" y="263734"/>
                    <a:pt x="37593" y="183099"/>
                  </a:cubicBezTo>
                  <a:cubicBezTo>
                    <a:pt x="37593" y="102464"/>
                    <a:pt x="102464" y="37593"/>
                    <a:pt x="183099" y="37593"/>
                  </a:cubicBezTo>
                  <a:cubicBezTo>
                    <a:pt x="263734" y="37593"/>
                    <a:pt x="328606" y="102464"/>
                    <a:pt x="328606" y="183099"/>
                  </a:cubicBezTo>
                  <a:cubicBezTo>
                    <a:pt x="328606" y="263128"/>
                    <a:pt x="263128" y="328606"/>
                    <a:pt x="183099" y="328606"/>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198" name="Freeform: Shape 197">
              <a:extLst>
                <a:ext uri="{FF2B5EF4-FFF2-40B4-BE49-F238E27FC236}">
                  <a16:creationId xmlns:a16="http://schemas.microsoft.com/office/drawing/2014/main" id="{511FFD29-2649-533E-B761-58B83C8BC8EC}"/>
                </a:ext>
              </a:extLst>
            </p:cNvPr>
            <p:cNvSpPr/>
            <p:nvPr/>
          </p:nvSpPr>
          <p:spPr>
            <a:xfrm>
              <a:off x="8299298" y="3444199"/>
              <a:ext cx="261305" cy="191815"/>
            </a:xfrm>
            <a:custGeom>
              <a:avLst/>
              <a:gdLst>
                <a:gd name="connsiteX0" fmla="*/ 260699 w 261305"/>
                <a:gd name="connsiteY0" fmla="*/ 83899 h 191815"/>
                <a:gd name="connsiteX1" fmla="*/ 226141 w 261305"/>
                <a:gd name="connsiteY1" fmla="*/ 83899 h 191815"/>
                <a:gd name="connsiteX2" fmla="*/ 218260 w 261305"/>
                <a:gd name="connsiteY2" fmla="*/ 88749 h 191815"/>
                <a:gd name="connsiteX3" fmla="*/ 195221 w 261305"/>
                <a:gd name="connsiteY3" fmla="*/ 113606 h 191815"/>
                <a:gd name="connsiteX4" fmla="*/ 175820 w 261305"/>
                <a:gd name="connsiteY4" fmla="*/ 46309 h 191815"/>
                <a:gd name="connsiteX5" fmla="*/ 162482 w 261305"/>
                <a:gd name="connsiteY5" fmla="*/ 39034 h 191815"/>
                <a:gd name="connsiteX6" fmla="*/ 155207 w 261305"/>
                <a:gd name="connsiteY6" fmla="*/ 45703 h 191815"/>
                <a:gd name="connsiteX7" fmla="*/ 118830 w 261305"/>
                <a:gd name="connsiteY7" fmla="*/ 142101 h 191815"/>
                <a:gd name="connsiteX8" fmla="*/ 93973 w 261305"/>
                <a:gd name="connsiteY8" fmla="*/ 8720 h 191815"/>
                <a:gd name="connsiteX9" fmla="*/ 81847 w 261305"/>
                <a:gd name="connsiteY9" fmla="*/ 232 h 191815"/>
                <a:gd name="connsiteX10" fmla="*/ 73360 w 261305"/>
                <a:gd name="connsiteY10" fmla="*/ 7508 h 191815"/>
                <a:gd name="connsiteX11" fmla="*/ 47290 w 261305"/>
                <a:gd name="connsiteY11" fmla="*/ 83899 h 191815"/>
                <a:gd name="connsiteX12" fmla="*/ 0 w 261305"/>
                <a:gd name="connsiteY12" fmla="*/ 83899 h 191815"/>
                <a:gd name="connsiteX13" fmla="*/ 0 w 261305"/>
                <a:gd name="connsiteY13" fmla="*/ 108150 h 191815"/>
                <a:gd name="connsiteX14" fmla="*/ 55171 w 261305"/>
                <a:gd name="connsiteY14" fmla="*/ 108150 h 191815"/>
                <a:gd name="connsiteX15" fmla="*/ 65478 w 261305"/>
                <a:gd name="connsiteY15" fmla="*/ 99055 h 191815"/>
                <a:gd name="connsiteX16" fmla="*/ 80635 w 261305"/>
                <a:gd name="connsiteY16" fmla="*/ 52978 h 191815"/>
                <a:gd name="connsiteX17" fmla="*/ 104886 w 261305"/>
                <a:gd name="connsiteY17" fmla="*/ 183328 h 191815"/>
                <a:gd name="connsiteX18" fmla="*/ 114586 w 261305"/>
                <a:gd name="connsiteY18" fmla="*/ 191816 h 191815"/>
                <a:gd name="connsiteX19" fmla="*/ 115799 w 261305"/>
                <a:gd name="connsiteY19" fmla="*/ 191816 h 191815"/>
                <a:gd name="connsiteX20" fmla="*/ 126106 w 261305"/>
                <a:gd name="connsiteY20" fmla="*/ 185147 h 191815"/>
                <a:gd name="connsiteX21" fmla="*/ 164907 w 261305"/>
                <a:gd name="connsiteY21" fmla="*/ 83292 h 191815"/>
                <a:gd name="connsiteX22" fmla="*/ 180671 w 261305"/>
                <a:gd name="connsiteY22" fmla="*/ 137857 h 191815"/>
                <a:gd name="connsiteX23" fmla="*/ 194009 w 261305"/>
                <a:gd name="connsiteY23" fmla="*/ 145133 h 191815"/>
                <a:gd name="connsiteX24" fmla="*/ 198859 w 261305"/>
                <a:gd name="connsiteY24" fmla="*/ 142101 h 191815"/>
                <a:gd name="connsiteX25" fmla="*/ 231598 w 261305"/>
                <a:gd name="connsiteY25" fmla="*/ 108150 h 191815"/>
                <a:gd name="connsiteX26" fmla="*/ 261305 w 261305"/>
                <a:gd name="connsiteY26" fmla="*/ 108150 h 191815"/>
                <a:gd name="connsiteX27" fmla="*/ 261305 w 261305"/>
                <a:gd name="connsiteY27" fmla="*/ 83899 h 191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305" h="191815">
                  <a:moveTo>
                    <a:pt x="260699" y="83899"/>
                  </a:moveTo>
                  <a:lnTo>
                    <a:pt x="226141" y="83899"/>
                  </a:lnTo>
                  <a:cubicBezTo>
                    <a:pt x="223110" y="84505"/>
                    <a:pt x="220079" y="86324"/>
                    <a:pt x="218260" y="88749"/>
                  </a:cubicBezTo>
                  <a:lnTo>
                    <a:pt x="195221" y="113606"/>
                  </a:lnTo>
                  <a:lnTo>
                    <a:pt x="175820" y="46309"/>
                  </a:lnTo>
                  <a:cubicBezTo>
                    <a:pt x="174002" y="40853"/>
                    <a:pt x="167939" y="37215"/>
                    <a:pt x="162482" y="39034"/>
                  </a:cubicBezTo>
                  <a:cubicBezTo>
                    <a:pt x="159451" y="40247"/>
                    <a:pt x="156419" y="42065"/>
                    <a:pt x="155207" y="45703"/>
                  </a:cubicBezTo>
                  <a:lnTo>
                    <a:pt x="118830" y="142101"/>
                  </a:lnTo>
                  <a:lnTo>
                    <a:pt x="93973" y="8720"/>
                  </a:lnTo>
                  <a:cubicBezTo>
                    <a:pt x="92760" y="2657"/>
                    <a:pt x="87304" y="-980"/>
                    <a:pt x="81847" y="232"/>
                  </a:cubicBezTo>
                  <a:cubicBezTo>
                    <a:pt x="78210" y="839"/>
                    <a:pt x="75178" y="3870"/>
                    <a:pt x="73360" y="7508"/>
                  </a:cubicBezTo>
                  <a:lnTo>
                    <a:pt x="47290" y="83899"/>
                  </a:lnTo>
                  <a:lnTo>
                    <a:pt x="0" y="83899"/>
                  </a:lnTo>
                  <a:lnTo>
                    <a:pt x="0" y="108150"/>
                  </a:lnTo>
                  <a:lnTo>
                    <a:pt x="55171" y="108150"/>
                  </a:lnTo>
                  <a:cubicBezTo>
                    <a:pt x="60021" y="107543"/>
                    <a:pt x="64265" y="103906"/>
                    <a:pt x="65478" y="99055"/>
                  </a:cubicBezTo>
                  <a:lnTo>
                    <a:pt x="80635" y="52978"/>
                  </a:lnTo>
                  <a:lnTo>
                    <a:pt x="104886" y="183328"/>
                  </a:lnTo>
                  <a:cubicBezTo>
                    <a:pt x="105492" y="188178"/>
                    <a:pt x="109736" y="191816"/>
                    <a:pt x="114586" y="191816"/>
                  </a:cubicBezTo>
                  <a:lnTo>
                    <a:pt x="115799" y="191816"/>
                  </a:lnTo>
                  <a:cubicBezTo>
                    <a:pt x="120043" y="191816"/>
                    <a:pt x="124287" y="189391"/>
                    <a:pt x="126106" y="185147"/>
                  </a:cubicBezTo>
                  <a:lnTo>
                    <a:pt x="164907" y="83292"/>
                  </a:lnTo>
                  <a:lnTo>
                    <a:pt x="180671" y="137857"/>
                  </a:lnTo>
                  <a:cubicBezTo>
                    <a:pt x="182489" y="143314"/>
                    <a:pt x="187946" y="146951"/>
                    <a:pt x="194009" y="145133"/>
                  </a:cubicBezTo>
                  <a:cubicBezTo>
                    <a:pt x="195828" y="144526"/>
                    <a:pt x="197646" y="143314"/>
                    <a:pt x="198859" y="142101"/>
                  </a:cubicBezTo>
                  <a:lnTo>
                    <a:pt x="231598" y="108150"/>
                  </a:lnTo>
                  <a:lnTo>
                    <a:pt x="261305" y="108150"/>
                  </a:lnTo>
                  <a:lnTo>
                    <a:pt x="261305" y="83899"/>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sp>
        <p:nvSpPr>
          <p:cNvPr id="199" name="Graphic 34" descr="Hourglass">
            <a:extLst>
              <a:ext uri="{FF2B5EF4-FFF2-40B4-BE49-F238E27FC236}">
                <a16:creationId xmlns:a16="http://schemas.microsoft.com/office/drawing/2014/main" id="{E9A7D653-1CA7-2546-4515-046FD550EDF0}"/>
              </a:ext>
            </a:extLst>
          </p:cNvPr>
          <p:cNvSpPr/>
          <p:nvPr/>
        </p:nvSpPr>
        <p:spPr>
          <a:xfrm>
            <a:off x="6212710" y="4646478"/>
            <a:ext cx="254503" cy="363577"/>
          </a:xfrm>
          <a:custGeom>
            <a:avLst/>
            <a:gdLst>
              <a:gd name="connsiteX0" fmla="*/ 203709 w 339515"/>
              <a:gd name="connsiteY0" fmla="*/ 274644 h 485021"/>
              <a:gd name="connsiteX1" fmla="*/ 258274 w 339515"/>
              <a:gd name="connsiteY1" fmla="*/ 351641 h 485021"/>
              <a:gd name="connsiteX2" fmla="*/ 81241 w 339515"/>
              <a:gd name="connsiteY2" fmla="*/ 351641 h 485021"/>
              <a:gd name="connsiteX3" fmla="*/ 135806 w 339515"/>
              <a:gd name="connsiteY3" fmla="*/ 274644 h 485021"/>
              <a:gd name="connsiteX4" fmla="*/ 151569 w 339515"/>
              <a:gd name="connsiteY4" fmla="*/ 242511 h 485021"/>
              <a:gd name="connsiteX5" fmla="*/ 135806 w 339515"/>
              <a:gd name="connsiteY5" fmla="*/ 210378 h 485021"/>
              <a:gd name="connsiteX6" fmla="*/ 52746 w 339515"/>
              <a:gd name="connsiteY6" fmla="*/ 36377 h 485021"/>
              <a:gd name="connsiteX7" fmla="*/ 287375 w 339515"/>
              <a:gd name="connsiteY7" fmla="*/ 36377 h 485021"/>
              <a:gd name="connsiteX8" fmla="*/ 204315 w 339515"/>
              <a:gd name="connsiteY8" fmla="*/ 210378 h 485021"/>
              <a:gd name="connsiteX9" fmla="*/ 187946 w 339515"/>
              <a:gd name="connsiteY9" fmla="*/ 242511 h 485021"/>
              <a:gd name="connsiteX10" fmla="*/ 203709 w 339515"/>
              <a:gd name="connsiteY10" fmla="*/ 274644 h 485021"/>
              <a:gd name="connsiteX11" fmla="*/ 323146 w 339515"/>
              <a:gd name="connsiteY11" fmla="*/ 36377 h 485021"/>
              <a:gd name="connsiteX12" fmla="*/ 339515 w 339515"/>
              <a:gd name="connsiteY12" fmla="*/ 36377 h 485021"/>
              <a:gd name="connsiteX13" fmla="*/ 339515 w 339515"/>
              <a:gd name="connsiteY13" fmla="*/ 0 h 485021"/>
              <a:gd name="connsiteX14" fmla="*/ 0 w 339515"/>
              <a:gd name="connsiteY14" fmla="*/ 0 h 485021"/>
              <a:gd name="connsiteX15" fmla="*/ 0 w 339515"/>
              <a:gd name="connsiteY15" fmla="*/ 36377 h 485021"/>
              <a:gd name="connsiteX16" fmla="*/ 15763 w 339515"/>
              <a:gd name="connsiteY16" fmla="*/ 36377 h 485021"/>
              <a:gd name="connsiteX17" fmla="*/ 117618 w 339515"/>
              <a:gd name="connsiteY17" fmla="*/ 242511 h 485021"/>
              <a:gd name="connsiteX18" fmla="*/ 15763 w 339515"/>
              <a:gd name="connsiteY18" fmla="*/ 448645 h 485021"/>
              <a:gd name="connsiteX19" fmla="*/ 0 w 339515"/>
              <a:gd name="connsiteY19" fmla="*/ 448645 h 485021"/>
              <a:gd name="connsiteX20" fmla="*/ 0 w 339515"/>
              <a:gd name="connsiteY20" fmla="*/ 485022 h 485021"/>
              <a:gd name="connsiteX21" fmla="*/ 339515 w 339515"/>
              <a:gd name="connsiteY21" fmla="*/ 485022 h 485021"/>
              <a:gd name="connsiteX22" fmla="*/ 339515 w 339515"/>
              <a:gd name="connsiteY22" fmla="*/ 448645 h 485021"/>
              <a:gd name="connsiteX23" fmla="*/ 323146 w 339515"/>
              <a:gd name="connsiteY23" fmla="*/ 448645 h 485021"/>
              <a:gd name="connsiteX24" fmla="*/ 221291 w 339515"/>
              <a:gd name="connsiteY24" fmla="*/ 242511 h 485021"/>
              <a:gd name="connsiteX25" fmla="*/ 323146 w 339515"/>
              <a:gd name="connsiteY25" fmla="*/ 36377 h 48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9515" h="485021">
                <a:moveTo>
                  <a:pt x="203709" y="274644"/>
                </a:moveTo>
                <a:cubicBezTo>
                  <a:pt x="224323" y="291013"/>
                  <a:pt x="243723" y="319508"/>
                  <a:pt x="258274" y="351641"/>
                </a:cubicBezTo>
                <a:lnTo>
                  <a:pt x="81241" y="351641"/>
                </a:lnTo>
                <a:cubicBezTo>
                  <a:pt x="96398" y="319508"/>
                  <a:pt x="115193" y="290407"/>
                  <a:pt x="135806" y="274644"/>
                </a:cubicBezTo>
                <a:cubicBezTo>
                  <a:pt x="145507" y="266762"/>
                  <a:pt x="151569" y="255243"/>
                  <a:pt x="151569" y="242511"/>
                </a:cubicBezTo>
                <a:cubicBezTo>
                  <a:pt x="151569" y="229779"/>
                  <a:pt x="145507" y="218260"/>
                  <a:pt x="135806" y="210378"/>
                </a:cubicBezTo>
                <a:cubicBezTo>
                  <a:pt x="94579" y="178245"/>
                  <a:pt x="58809" y="95792"/>
                  <a:pt x="52746" y="36377"/>
                </a:cubicBezTo>
                <a:lnTo>
                  <a:pt x="287375" y="36377"/>
                </a:lnTo>
                <a:cubicBezTo>
                  <a:pt x="280706" y="95792"/>
                  <a:pt x="245542" y="178245"/>
                  <a:pt x="204315" y="210378"/>
                </a:cubicBezTo>
                <a:cubicBezTo>
                  <a:pt x="194009" y="218260"/>
                  <a:pt x="187946" y="229779"/>
                  <a:pt x="187946" y="242511"/>
                </a:cubicBezTo>
                <a:cubicBezTo>
                  <a:pt x="187946" y="255243"/>
                  <a:pt x="194009" y="266762"/>
                  <a:pt x="203709" y="274644"/>
                </a:cubicBezTo>
                <a:close/>
                <a:moveTo>
                  <a:pt x="323146" y="36377"/>
                </a:moveTo>
                <a:lnTo>
                  <a:pt x="339515" y="36377"/>
                </a:lnTo>
                <a:lnTo>
                  <a:pt x="339515" y="0"/>
                </a:lnTo>
                <a:lnTo>
                  <a:pt x="0" y="0"/>
                </a:lnTo>
                <a:lnTo>
                  <a:pt x="0" y="36377"/>
                </a:lnTo>
                <a:lnTo>
                  <a:pt x="15763" y="36377"/>
                </a:lnTo>
                <a:cubicBezTo>
                  <a:pt x="22432" y="103673"/>
                  <a:pt x="61234" y="201890"/>
                  <a:pt x="117618" y="242511"/>
                </a:cubicBezTo>
                <a:cubicBezTo>
                  <a:pt x="61234" y="283131"/>
                  <a:pt x="21826" y="381348"/>
                  <a:pt x="15763" y="448645"/>
                </a:cubicBezTo>
                <a:lnTo>
                  <a:pt x="0" y="448645"/>
                </a:lnTo>
                <a:lnTo>
                  <a:pt x="0" y="485022"/>
                </a:lnTo>
                <a:lnTo>
                  <a:pt x="339515" y="485022"/>
                </a:lnTo>
                <a:lnTo>
                  <a:pt x="339515" y="448645"/>
                </a:lnTo>
                <a:lnTo>
                  <a:pt x="323146" y="448645"/>
                </a:lnTo>
                <a:cubicBezTo>
                  <a:pt x="317083" y="381348"/>
                  <a:pt x="277675" y="283131"/>
                  <a:pt x="221291" y="242511"/>
                </a:cubicBezTo>
                <a:cubicBezTo>
                  <a:pt x="277675" y="201890"/>
                  <a:pt x="317083" y="103673"/>
                  <a:pt x="323146" y="36377"/>
                </a:cubicBez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nvGrpSpPr>
          <p:cNvPr id="200" name="Graphic 35" descr="Bar graph with downward trend">
            <a:extLst>
              <a:ext uri="{FF2B5EF4-FFF2-40B4-BE49-F238E27FC236}">
                <a16:creationId xmlns:a16="http://schemas.microsoft.com/office/drawing/2014/main" id="{43C09E47-0052-34B8-1D29-420A0C710B26}"/>
              </a:ext>
            </a:extLst>
          </p:cNvPr>
          <p:cNvGrpSpPr/>
          <p:nvPr/>
        </p:nvGrpSpPr>
        <p:grpSpPr>
          <a:xfrm>
            <a:off x="5839878" y="5454595"/>
            <a:ext cx="313586" cy="319993"/>
            <a:chOff x="8278079" y="5493240"/>
            <a:chExt cx="418331" cy="426879"/>
          </a:xfrm>
        </p:grpSpPr>
        <p:sp>
          <p:nvSpPr>
            <p:cNvPr id="201" name="Freeform: Shape 200">
              <a:extLst>
                <a:ext uri="{FF2B5EF4-FFF2-40B4-BE49-F238E27FC236}">
                  <a16:creationId xmlns:a16="http://schemas.microsoft.com/office/drawing/2014/main" id="{96101914-B1F0-BEFD-FAC6-D22E39563A84}"/>
                </a:ext>
              </a:extLst>
            </p:cNvPr>
            <p:cNvSpPr/>
            <p:nvPr/>
          </p:nvSpPr>
          <p:spPr>
            <a:xfrm>
              <a:off x="8278079" y="5495726"/>
              <a:ext cx="418331" cy="424393"/>
            </a:xfrm>
            <a:custGeom>
              <a:avLst/>
              <a:gdLst>
                <a:gd name="connsiteX0" fmla="*/ 36377 w 418331"/>
                <a:gd name="connsiteY0" fmla="*/ 0 h 424393"/>
                <a:gd name="connsiteX1" fmla="*/ 0 w 418331"/>
                <a:gd name="connsiteY1" fmla="*/ 0 h 424393"/>
                <a:gd name="connsiteX2" fmla="*/ 0 w 418331"/>
                <a:gd name="connsiteY2" fmla="*/ 424394 h 424393"/>
                <a:gd name="connsiteX3" fmla="*/ 418331 w 418331"/>
                <a:gd name="connsiteY3" fmla="*/ 424394 h 424393"/>
                <a:gd name="connsiteX4" fmla="*/ 418331 w 418331"/>
                <a:gd name="connsiteY4" fmla="*/ 388017 h 424393"/>
                <a:gd name="connsiteX5" fmla="*/ 36377 w 418331"/>
                <a:gd name="connsiteY5" fmla="*/ 388017 h 424393"/>
                <a:gd name="connsiteX6" fmla="*/ 36377 w 418331"/>
                <a:gd name="connsiteY6" fmla="*/ 0 h 42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331" h="424393">
                  <a:moveTo>
                    <a:pt x="36377" y="0"/>
                  </a:moveTo>
                  <a:lnTo>
                    <a:pt x="0" y="0"/>
                  </a:lnTo>
                  <a:lnTo>
                    <a:pt x="0" y="424394"/>
                  </a:lnTo>
                  <a:lnTo>
                    <a:pt x="418331" y="424394"/>
                  </a:lnTo>
                  <a:lnTo>
                    <a:pt x="418331" y="388017"/>
                  </a:lnTo>
                  <a:lnTo>
                    <a:pt x="36377" y="388017"/>
                  </a:lnTo>
                  <a:lnTo>
                    <a:pt x="36377" y="0"/>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202" name="Freeform: Shape 201">
              <a:extLst>
                <a:ext uri="{FF2B5EF4-FFF2-40B4-BE49-F238E27FC236}">
                  <a16:creationId xmlns:a16="http://schemas.microsoft.com/office/drawing/2014/main" id="{964516ED-3228-A037-C9DF-5454BC21232F}"/>
                </a:ext>
              </a:extLst>
            </p:cNvPr>
            <p:cNvSpPr/>
            <p:nvPr/>
          </p:nvSpPr>
          <p:spPr>
            <a:xfrm>
              <a:off x="8350832" y="5495726"/>
              <a:ext cx="90941" cy="351640"/>
            </a:xfrm>
            <a:custGeom>
              <a:avLst/>
              <a:gdLst>
                <a:gd name="connsiteX0" fmla="*/ 0 w 90941"/>
                <a:gd name="connsiteY0" fmla="*/ 0 h 351640"/>
                <a:gd name="connsiteX1" fmla="*/ 90942 w 90941"/>
                <a:gd name="connsiteY1" fmla="*/ 0 h 351640"/>
                <a:gd name="connsiteX2" fmla="*/ 90942 w 90941"/>
                <a:gd name="connsiteY2" fmla="*/ 351641 h 351640"/>
                <a:gd name="connsiteX3" fmla="*/ 0 w 90941"/>
                <a:gd name="connsiteY3" fmla="*/ 351641 h 351640"/>
              </a:gdLst>
              <a:ahLst/>
              <a:cxnLst>
                <a:cxn ang="0">
                  <a:pos x="connsiteX0" y="connsiteY0"/>
                </a:cxn>
                <a:cxn ang="0">
                  <a:pos x="connsiteX1" y="connsiteY1"/>
                </a:cxn>
                <a:cxn ang="0">
                  <a:pos x="connsiteX2" y="connsiteY2"/>
                </a:cxn>
                <a:cxn ang="0">
                  <a:pos x="connsiteX3" y="connsiteY3"/>
                </a:cxn>
              </a:cxnLst>
              <a:rect l="l" t="t" r="r" b="b"/>
              <a:pathLst>
                <a:path w="90941" h="351640">
                  <a:moveTo>
                    <a:pt x="0" y="0"/>
                  </a:moveTo>
                  <a:lnTo>
                    <a:pt x="90942" y="0"/>
                  </a:lnTo>
                  <a:lnTo>
                    <a:pt x="90942" y="351641"/>
                  </a:lnTo>
                  <a:lnTo>
                    <a:pt x="0" y="351641"/>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203" name="Freeform: Shape 202">
              <a:extLst>
                <a:ext uri="{FF2B5EF4-FFF2-40B4-BE49-F238E27FC236}">
                  <a16:creationId xmlns:a16="http://schemas.microsoft.com/office/drawing/2014/main" id="{61F3CC80-8584-FC13-E3EA-9F7066F87046}"/>
                </a:ext>
              </a:extLst>
            </p:cNvPr>
            <p:cNvSpPr/>
            <p:nvPr/>
          </p:nvSpPr>
          <p:spPr>
            <a:xfrm>
              <a:off x="8478150" y="5616981"/>
              <a:ext cx="90941" cy="230385"/>
            </a:xfrm>
            <a:custGeom>
              <a:avLst/>
              <a:gdLst>
                <a:gd name="connsiteX0" fmla="*/ 0 w 90941"/>
                <a:gd name="connsiteY0" fmla="*/ 0 h 230385"/>
                <a:gd name="connsiteX1" fmla="*/ 90942 w 90941"/>
                <a:gd name="connsiteY1" fmla="*/ 0 h 230385"/>
                <a:gd name="connsiteX2" fmla="*/ 90942 w 90941"/>
                <a:gd name="connsiteY2" fmla="*/ 230385 h 230385"/>
                <a:gd name="connsiteX3" fmla="*/ 0 w 90941"/>
                <a:gd name="connsiteY3" fmla="*/ 230385 h 230385"/>
              </a:gdLst>
              <a:ahLst/>
              <a:cxnLst>
                <a:cxn ang="0">
                  <a:pos x="connsiteX0" y="connsiteY0"/>
                </a:cxn>
                <a:cxn ang="0">
                  <a:pos x="connsiteX1" y="connsiteY1"/>
                </a:cxn>
                <a:cxn ang="0">
                  <a:pos x="connsiteX2" y="connsiteY2"/>
                </a:cxn>
                <a:cxn ang="0">
                  <a:pos x="connsiteX3" y="connsiteY3"/>
                </a:cxn>
              </a:cxnLst>
              <a:rect l="l" t="t" r="r" b="b"/>
              <a:pathLst>
                <a:path w="90941" h="230385">
                  <a:moveTo>
                    <a:pt x="0" y="0"/>
                  </a:moveTo>
                  <a:lnTo>
                    <a:pt x="90942" y="0"/>
                  </a:lnTo>
                  <a:lnTo>
                    <a:pt x="90942" y="230385"/>
                  </a:lnTo>
                  <a:lnTo>
                    <a:pt x="0" y="23038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204" name="Freeform: Shape 203">
              <a:extLst>
                <a:ext uri="{FF2B5EF4-FFF2-40B4-BE49-F238E27FC236}">
                  <a16:creationId xmlns:a16="http://schemas.microsoft.com/office/drawing/2014/main" id="{DE1F82D2-D895-E7C6-FC0C-95E6A4A09573}"/>
                </a:ext>
              </a:extLst>
            </p:cNvPr>
            <p:cNvSpPr/>
            <p:nvPr/>
          </p:nvSpPr>
          <p:spPr>
            <a:xfrm>
              <a:off x="8605468" y="5726111"/>
              <a:ext cx="90941" cy="121255"/>
            </a:xfrm>
            <a:custGeom>
              <a:avLst/>
              <a:gdLst>
                <a:gd name="connsiteX0" fmla="*/ 0 w 90941"/>
                <a:gd name="connsiteY0" fmla="*/ 0 h 121255"/>
                <a:gd name="connsiteX1" fmla="*/ 90942 w 90941"/>
                <a:gd name="connsiteY1" fmla="*/ 0 h 121255"/>
                <a:gd name="connsiteX2" fmla="*/ 90942 w 90941"/>
                <a:gd name="connsiteY2" fmla="*/ 121255 h 121255"/>
                <a:gd name="connsiteX3" fmla="*/ 0 w 90941"/>
                <a:gd name="connsiteY3" fmla="*/ 121255 h 121255"/>
              </a:gdLst>
              <a:ahLst/>
              <a:cxnLst>
                <a:cxn ang="0">
                  <a:pos x="connsiteX0" y="connsiteY0"/>
                </a:cxn>
                <a:cxn ang="0">
                  <a:pos x="connsiteX1" y="connsiteY1"/>
                </a:cxn>
                <a:cxn ang="0">
                  <a:pos x="connsiteX2" y="connsiteY2"/>
                </a:cxn>
                <a:cxn ang="0">
                  <a:pos x="connsiteX3" y="connsiteY3"/>
                </a:cxn>
              </a:cxnLst>
              <a:rect l="l" t="t" r="r" b="b"/>
              <a:pathLst>
                <a:path w="90941" h="121255">
                  <a:moveTo>
                    <a:pt x="0" y="0"/>
                  </a:moveTo>
                  <a:lnTo>
                    <a:pt x="90942" y="0"/>
                  </a:lnTo>
                  <a:lnTo>
                    <a:pt x="90942" y="121255"/>
                  </a:lnTo>
                  <a:lnTo>
                    <a:pt x="0" y="12125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sp>
          <p:nvSpPr>
            <p:cNvPr id="205" name="Freeform: Shape 204">
              <a:extLst>
                <a:ext uri="{FF2B5EF4-FFF2-40B4-BE49-F238E27FC236}">
                  <a16:creationId xmlns:a16="http://schemas.microsoft.com/office/drawing/2014/main" id="{6F40AD38-314E-6973-E213-F91A81514CB5}"/>
                </a:ext>
              </a:extLst>
            </p:cNvPr>
            <p:cNvSpPr/>
            <p:nvPr/>
          </p:nvSpPr>
          <p:spPr>
            <a:xfrm>
              <a:off x="8493853" y="5493240"/>
              <a:ext cx="196494" cy="196494"/>
            </a:xfrm>
            <a:custGeom>
              <a:avLst/>
              <a:gdLst>
                <a:gd name="connsiteX0" fmla="*/ 163392 w 196494"/>
                <a:gd name="connsiteY0" fmla="*/ 146295 h 196494"/>
                <a:gd name="connsiteX1" fmla="*/ 17097 w 196494"/>
                <a:gd name="connsiteY1" fmla="*/ 0 h 196494"/>
                <a:gd name="connsiteX2" fmla="*/ 0 w 196494"/>
                <a:gd name="connsiteY2" fmla="*/ 17097 h 196494"/>
                <a:gd name="connsiteX3" fmla="*/ 146295 w 196494"/>
                <a:gd name="connsiteY3" fmla="*/ 163392 h 196494"/>
                <a:gd name="connsiteX4" fmla="*/ 113192 w 196494"/>
                <a:gd name="connsiteY4" fmla="*/ 196494 h 196494"/>
                <a:gd name="connsiteX5" fmla="*/ 196494 w 196494"/>
                <a:gd name="connsiteY5" fmla="*/ 196494 h 196494"/>
                <a:gd name="connsiteX6" fmla="*/ 196494 w 196494"/>
                <a:gd name="connsiteY6" fmla="*/ 113192 h 196494"/>
                <a:gd name="connsiteX7" fmla="*/ 163392 w 196494"/>
                <a:gd name="connsiteY7" fmla="*/ 146295 h 19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494" h="196494">
                  <a:moveTo>
                    <a:pt x="163392" y="146295"/>
                  </a:moveTo>
                  <a:lnTo>
                    <a:pt x="17097" y="0"/>
                  </a:lnTo>
                  <a:lnTo>
                    <a:pt x="0" y="17097"/>
                  </a:lnTo>
                  <a:lnTo>
                    <a:pt x="146295" y="163392"/>
                  </a:lnTo>
                  <a:lnTo>
                    <a:pt x="113192" y="196494"/>
                  </a:lnTo>
                  <a:lnTo>
                    <a:pt x="196494" y="196494"/>
                  </a:lnTo>
                  <a:lnTo>
                    <a:pt x="196494" y="113192"/>
                  </a:lnTo>
                  <a:lnTo>
                    <a:pt x="163392" y="146295"/>
                  </a:lnTo>
                  <a:close/>
                </a:path>
              </a:pathLst>
            </a:custGeom>
            <a:solidFill>
              <a:sysClr val="window" lastClr="FFFFFF"/>
            </a:solidFill>
            <a:ln w="6052" cap="flat">
              <a:noFill/>
              <a:prstDash val="solid"/>
              <a:miter/>
            </a:ln>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defTabSz="913943">
                <a:defRPr/>
              </a:pPr>
              <a:endParaRPr lang="en-US" sz="1349" kern="0">
                <a:solidFill>
                  <a:prstClr val="black"/>
                </a:solidFill>
                <a:latin typeface="Calibri" panose="020F0502020204030204"/>
              </a:endParaRPr>
            </a:p>
          </p:txBody>
        </p:sp>
      </p:grpSp>
    </p:spTree>
    <p:extLst>
      <p:ext uri="{BB962C8B-B14F-4D97-AF65-F5344CB8AC3E}">
        <p14:creationId xmlns:p14="http://schemas.microsoft.com/office/powerpoint/2010/main" val="453026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E4EC4-7DD1-DDAC-15B1-8EE3B84444CA}"/>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65E7643D-7BC0-DC26-1319-5061AFA45992}"/>
              </a:ext>
            </a:extLst>
          </p:cNvPr>
          <p:cNvSpPr/>
          <p:nvPr/>
        </p:nvSpPr>
        <p:spPr>
          <a:xfrm>
            <a:off x="34602"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B8CB734F-8244-6EA4-411C-5B357A6AFD84}"/>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5" name="Group 4">
            <a:extLst>
              <a:ext uri="{FF2B5EF4-FFF2-40B4-BE49-F238E27FC236}">
                <a16:creationId xmlns:a16="http://schemas.microsoft.com/office/drawing/2014/main" id="{796FFE8C-5691-3F54-2D10-5FEE0CC91BB2}"/>
              </a:ext>
            </a:extLst>
          </p:cNvPr>
          <p:cNvGrpSpPr/>
          <p:nvPr/>
        </p:nvGrpSpPr>
        <p:grpSpPr>
          <a:xfrm>
            <a:off x="5066385" y="1700291"/>
            <a:ext cx="3513766" cy="1805366"/>
            <a:chOff x="-1085224" y="4170156"/>
            <a:chExt cx="5791509" cy="2408407"/>
          </a:xfrm>
        </p:grpSpPr>
        <p:sp>
          <p:nvSpPr>
            <p:cNvPr id="6" name="TextBox 5">
              <a:extLst>
                <a:ext uri="{FF2B5EF4-FFF2-40B4-BE49-F238E27FC236}">
                  <a16:creationId xmlns:a16="http://schemas.microsoft.com/office/drawing/2014/main" id="{C5FD2891-2AEF-BAB1-5F71-91FEA1FA187A}"/>
                </a:ext>
              </a:extLst>
            </p:cNvPr>
            <p:cNvSpPr txBox="1"/>
            <p:nvPr/>
          </p:nvSpPr>
          <p:spPr>
            <a:xfrm>
              <a:off x="-1085224" y="4170156"/>
              <a:ext cx="5791509" cy="943848"/>
            </a:xfrm>
            <a:prstGeom prst="rect">
              <a:avLst/>
            </a:prstGeom>
            <a:noFill/>
          </p:spPr>
          <p:txBody>
            <a:bodyPr wrap="square" lIns="0" rIns="0" rtlCol="0" anchor="b">
              <a:spAutoFit/>
            </a:bodyPr>
            <a:lstStyle/>
            <a:p>
              <a:pPr>
                <a:spcAft>
                  <a:spcPts val="300"/>
                </a:spcAft>
                <a:buClr>
                  <a:srgbClr val="000000"/>
                </a:buClr>
                <a:buSzPct val="100000"/>
                <a:defRPr/>
              </a:pPr>
              <a:r>
                <a:rPr lang="en-GB" sz="1999" b="1" kern="0">
                  <a:solidFill>
                    <a:srgbClr val="797991"/>
                  </a:solidFill>
                </a:rPr>
                <a:t>3. Operational Readiness &amp; Compliance</a:t>
              </a:r>
            </a:p>
          </p:txBody>
        </p:sp>
        <p:sp>
          <p:nvSpPr>
            <p:cNvPr id="7" name="TextBox 6">
              <a:extLst>
                <a:ext uri="{FF2B5EF4-FFF2-40B4-BE49-F238E27FC236}">
                  <a16:creationId xmlns:a16="http://schemas.microsoft.com/office/drawing/2014/main" id="{B224D826-4175-520D-72F5-35A444A30EA2}"/>
                </a:ext>
              </a:extLst>
            </p:cNvPr>
            <p:cNvSpPr txBox="1"/>
            <p:nvPr/>
          </p:nvSpPr>
          <p:spPr>
            <a:xfrm>
              <a:off x="-1053072" y="5111495"/>
              <a:ext cx="5450185" cy="1467068"/>
            </a:xfrm>
            <a:prstGeom prst="rect">
              <a:avLst/>
            </a:prstGeom>
            <a:noFill/>
          </p:spPr>
          <p:txBody>
            <a:bodyPr wrap="square" lIns="0" rIns="0" rtlCol="0" anchor="t">
              <a:spAutoFit/>
            </a:bodyPr>
            <a:lstStyle/>
            <a:p>
              <a:pPr marL="171364" indent="-171364">
                <a:spcBef>
                  <a:spcPts val="100"/>
                </a:spcBef>
                <a:buFont typeface="Arial" panose="020B0604020202020204" pitchFamily="34" charset="0"/>
                <a:buChar char="•"/>
              </a:pPr>
              <a:r>
                <a:rPr lang="en-GB" sz="1049">
                  <a:solidFill>
                    <a:schemeClr val="bg1"/>
                  </a:solidFill>
                </a:rPr>
                <a:t>Setup collaboration &amp; reporting tools</a:t>
              </a:r>
            </a:p>
            <a:p>
              <a:pPr marL="171364" indent="-171364">
                <a:spcBef>
                  <a:spcPts val="100"/>
                </a:spcBef>
                <a:buFont typeface="Arial" panose="020B0604020202020204" pitchFamily="34" charset="0"/>
                <a:buChar char="•"/>
              </a:pPr>
              <a:r>
                <a:rPr lang="en-GB" sz="1049">
                  <a:solidFill>
                    <a:schemeClr val="bg1"/>
                  </a:solidFill>
                </a:rPr>
                <a:t>Conduct compliance workshops (NCA, ISO/IEC 27001, NWC policies)</a:t>
              </a:r>
            </a:p>
            <a:p>
              <a:pPr marL="171364" indent="-171364">
                <a:spcBef>
                  <a:spcPts val="100"/>
                </a:spcBef>
                <a:buFont typeface="Arial" panose="020B0604020202020204" pitchFamily="34" charset="0"/>
                <a:buChar char="•"/>
              </a:pPr>
              <a:r>
                <a:rPr lang="en-GB" sz="1049">
                  <a:solidFill>
                    <a:schemeClr val="bg1"/>
                  </a:solidFill>
                </a:rPr>
                <a:t>Risk identification, dependencies &amp; mitigation</a:t>
              </a:r>
            </a:p>
            <a:p>
              <a:pPr marL="171364" indent="-171364">
                <a:spcBef>
                  <a:spcPts val="100"/>
                </a:spcBef>
                <a:buFont typeface="Arial" panose="020B0604020202020204" pitchFamily="34" charset="0"/>
                <a:buChar char="•"/>
              </a:pPr>
              <a:r>
                <a:rPr lang="en-GB" sz="1049">
                  <a:solidFill>
                    <a:schemeClr val="bg1"/>
                  </a:solidFill>
                </a:rPr>
                <a:t>Onboard 100% </a:t>
              </a:r>
              <a:r>
                <a:rPr lang="en-GB" sz="1049" err="1">
                  <a:solidFill>
                    <a:schemeClr val="bg1"/>
                  </a:solidFill>
                </a:rPr>
                <a:t>Saudized</a:t>
              </a:r>
              <a:r>
                <a:rPr lang="en-GB" sz="1049">
                  <a:solidFill>
                    <a:schemeClr val="bg1"/>
                  </a:solidFill>
                </a:rPr>
                <a:t> team: Leads, L2/L3 Engineers, remote support</a:t>
              </a:r>
            </a:p>
          </p:txBody>
        </p:sp>
      </p:grpSp>
      <p:grpSp>
        <p:nvGrpSpPr>
          <p:cNvPr id="11" name="Group 10">
            <a:extLst>
              <a:ext uri="{FF2B5EF4-FFF2-40B4-BE49-F238E27FC236}">
                <a16:creationId xmlns:a16="http://schemas.microsoft.com/office/drawing/2014/main" id="{6CF8A924-EA08-D16F-E89B-748EFF65B897}"/>
              </a:ext>
            </a:extLst>
          </p:cNvPr>
          <p:cNvGrpSpPr/>
          <p:nvPr/>
        </p:nvGrpSpPr>
        <p:grpSpPr>
          <a:xfrm>
            <a:off x="400295" y="4610618"/>
            <a:ext cx="3746284" cy="1681676"/>
            <a:chOff x="332934" y="4170158"/>
            <a:chExt cx="4518018" cy="2243398"/>
          </a:xfrm>
        </p:grpSpPr>
        <p:sp>
          <p:nvSpPr>
            <p:cNvPr id="12" name="TextBox 11">
              <a:extLst>
                <a:ext uri="{FF2B5EF4-FFF2-40B4-BE49-F238E27FC236}">
                  <a16:creationId xmlns:a16="http://schemas.microsoft.com/office/drawing/2014/main" id="{F8689375-8175-288A-3932-FDCED62B2E6E}"/>
                </a:ext>
              </a:extLst>
            </p:cNvPr>
            <p:cNvSpPr txBox="1"/>
            <p:nvPr/>
          </p:nvSpPr>
          <p:spPr>
            <a:xfrm>
              <a:off x="332936" y="4170158"/>
              <a:ext cx="4518016" cy="943846"/>
            </a:xfrm>
            <a:prstGeom prst="rect">
              <a:avLst/>
            </a:prstGeom>
            <a:noFill/>
          </p:spPr>
          <p:txBody>
            <a:bodyPr wrap="square" lIns="0" rIns="0" rtlCol="0" anchor="b">
              <a:spAutoFit/>
            </a:bodyPr>
            <a:lstStyle/>
            <a:p>
              <a:pPr>
                <a:spcAft>
                  <a:spcPts val="300"/>
                </a:spcAft>
                <a:buClr>
                  <a:srgbClr val="000000"/>
                </a:buClr>
                <a:buSzPct val="100000"/>
                <a:defRPr/>
              </a:pPr>
              <a:r>
                <a:rPr lang="en-GB" sz="1999" b="1" kern="0">
                  <a:solidFill>
                    <a:srgbClr val="FFE600"/>
                  </a:solidFill>
                </a:rPr>
                <a:t>2. Devise the Managed Services Framework</a:t>
              </a:r>
            </a:p>
          </p:txBody>
        </p:sp>
        <p:sp>
          <p:nvSpPr>
            <p:cNvPr id="13" name="TextBox 12">
              <a:extLst>
                <a:ext uri="{FF2B5EF4-FFF2-40B4-BE49-F238E27FC236}">
                  <a16:creationId xmlns:a16="http://schemas.microsoft.com/office/drawing/2014/main" id="{7D76BEDC-5698-FC9A-8927-6A62E0192F43}"/>
                </a:ext>
              </a:extLst>
            </p:cNvPr>
            <p:cNvSpPr txBox="1"/>
            <p:nvPr/>
          </p:nvSpPr>
          <p:spPr>
            <a:xfrm>
              <a:off x="332934" y="5111493"/>
              <a:ext cx="4161622" cy="1302063"/>
            </a:xfrm>
            <a:prstGeom prst="rect">
              <a:avLst/>
            </a:prstGeom>
            <a:noFill/>
          </p:spPr>
          <p:txBody>
            <a:bodyPr wrap="square" lIns="0" rIns="0" rtlCol="0" anchor="t">
              <a:spAutoFit/>
            </a:bodyPr>
            <a:lstStyle/>
            <a:p>
              <a:pPr marL="171364" indent="-171364">
                <a:spcBef>
                  <a:spcPts val="200"/>
                </a:spcBef>
                <a:buFont typeface="Arial" panose="020B0604020202020204" pitchFamily="34" charset="0"/>
                <a:buChar char="•"/>
              </a:pPr>
              <a:r>
                <a:rPr lang="en-GB" sz="1049">
                  <a:solidFill>
                    <a:schemeClr val="bg1"/>
                  </a:solidFill>
                </a:rPr>
                <a:t>Define service scope, SLAs &amp; KPIs (incl. high-demand periods)</a:t>
              </a:r>
            </a:p>
            <a:p>
              <a:pPr marL="171364" indent="-171364">
                <a:spcBef>
                  <a:spcPts val="200"/>
                </a:spcBef>
                <a:buFont typeface="Arial" panose="020B0604020202020204" pitchFamily="34" charset="0"/>
                <a:buChar char="•"/>
              </a:pPr>
              <a:r>
                <a:rPr lang="en-GB" sz="1049">
                  <a:solidFill>
                    <a:schemeClr val="bg1"/>
                  </a:solidFill>
                </a:rPr>
                <a:t>RACI matrix, escalation &amp; severity classification</a:t>
              </a:r>
            </a:p>
            <a:p>
              <a:pPr marL="171364" indent="-171364">
                <a:spcBef>
                  <a:spcPts val="200"/>
                </a:spcBef>
                <a:buFont typeface="Arial" panose="020B0604020202020204" pitchFamily="34" charset="0"/>
                <a:buChar char="•"/>
              </a:pPr>
              <a:r>
                <a:rPr lang="en-GB" sz="1049">
                  <a:solidFill>
                    <a:schemeClr val="bg1"/>
                  </a:solidFill>
                </a:rPr>
                <a:t>ITIL workflows for incident, problem, change mgmt.</a:t>
              </a:r>
            </a:p>
            <a:p>
              <a:pPr marL="171364" indent="-171364">
                <a:spcBef>
                  <a:spcPts val="200"/>
                </a:spcBef>
                <a:buFont typeface="Arial" panose="020B0604020202020204" pitchFamily="34" charset="0"/>
                <a:buChar char="•"/>
              </a:pPr>
              <a:r>
                <a:rPr lang="en-GB" sz="1049">
                  <a:solidFill>
                    <a:schemeClr val="bg1"/>
                  </a:solidFill>
                </a:rPr>
                <a:t>Reporting cadence &amp; formats</a:t>
              </a:r>
            </a:p>
          </p:txBody>
        </p:sp>
      </p:grpSp>
      <p:grpSp>
        <p:nvGrpSpPr>
          <p:cNvPr id="17" name="Group 16">
            <a:extLst>
              <a:ext uri="{FF2B5EF4-FFF2-40B4-BE49-F238E27FC236}">
                <a16:creationId xmlns:a16="http://schemas.microsoft.com/office/drawing/2014/main" id="{0E666087-F7F7-BE17-EF3C-15732A7EDA58}"/>
              </a:ext>
            </a:extLst>
          </p:cNvPr>
          <p:cNvGrpSpPr/>
          <p:nvPr/>
        </p:nvGrpSpPr>
        <p:grpSpPr>
          <a:xfrm>
            <a:off x="1225432" y="1642598"/>
            <a:ext cx="4889493" cy="2975063"/>
            <a:chOff x="2125980" y="2521448"/>
            <a:chExt cx="4892040" cy="2976613"/>
          </a:xfrm>
        </p:grpSpPr>
        <p:sp>
          <p:nvSpPr>
            <p:cNvPr id="18" name="Shape">
              <a:extLst>
                <a:ext uri="{FF2B5EF4-FFF2-40B4-BE49-F238E27FC236}">
                  <a16:creationId xmlns:a16="http://schemas.microsoft.com/office/drawing/2014/main" id="{47AA81DC-800C-7969-3255-BE0EF2944418}"/>
                </a:ext>
              </a:extLst>
            </p:cNvPr>
            <p:cNvSpPr/>
            <p:nvPr/>
          </p:nvSpPr>
          <p:spPr>
            <a:xfrm>
              <a:off x="4615285" y="4399316"/>
              <a:ext cx="2402735" cy="1098743"/>
            </a:xfrm>
            <a:custGeom>
              <a:avLst/>
              <a:gdLst/>
              <a:ahLst/>
              <a:cxnLst>
                <a:cxn ang="0">
                  <a:pos x="wd2" y="hd2"/>
                </a:cxn>
                <a:cxn ang="5400000">
                  <a:pos x="wd2" y="hd2"/>
                </a:cxn>
                <a:cxn ang="10800000">
                  <a:pos x="wd2" y="hd2"/>
                </a:cxn>
                <a:cxn ang="16200000">
                  <a:pos x="wd2" y="hd2"/>
                </a:cxn>
              </a:cxnLst>
              <a:rect l="0" t="0" r="r" b="b"/>
              <a:pathLst>
                <a:path w="21600" h="21600" extrusionOk="0">
                  <a:moveTo>
                    <a:pt x="0" y="11333"/>
                  </a:moveTo>
                  <a:cubicBezTo>
                    <a:pt x="176" y="17679"/>
                    <a:pt x="3501" y="21600"/>
                    <a:pt x="8768" y="21600"/>
                  </a:cubicBezTo>
                  <a:cubicBezTo>
                    <a:pt x="15133" y="21600"/>
                    <a:pt x="20466" y="12799"/>
                    <a:pt x="21600" y="10787"/>
                  </a:cubicBezTo>
                  <a:cubicBezTo>
                    <a:pt x="20513" y="8757"/>
                    <a:pt x="15430" y="0"/>
                    <a:pt x="8768" y="0"/>
                  </a:cubicBezTo>
                  <a:cubicBezTo>
                    <a:pt x="7210" y="0"/>
                    <a:pt x="5822" y="343"/>
                    <a:pt x="4636" y="993"/>
                  </a:cubicBezTo>
                  <a:cubicBezTo>
                    <a:pt x="3841" y="7302"/>
                    <a:pt x="2213" y="11057"/>
                    <a:pt x="0" y="11333"/>
                  </a:cubicBezTo>
                  <a:close/>
                </a:path>
              </a:pathLst>
            </a:custGeom>
            <a:solidFill>
              <a:schemeClr val="tx1">
                <a:lumMod val="60000"/>
                <a:lumOff val="40000"/>
              </a:schemeClr>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19" name="Shape">
              <a:extLst>
                <a:ext uri="{FF2B5EF4-FFF2-40B4-BE49-F238E27FC236}">
                  <a16:creationId xmlns:a16="http://schemas.microsoft.com/office/drawing/2014/main" id="{4C88E461-B0A7-9DB4-F777-32802061FBBE}"/>
                </a:ext>
              </a:extLst>
            </p:cNvPr>
            <p:cNvSpPr/>
            <p:nvPr/>
          </p:nvSpPr>
          <p:spPr>
            <a:xfrm>
              <a:off x="4022630" y="2521448"/>
              <a:ext cx="1098740" cy="2402548"/>
            </a:xfrm>
            <a:custGeom>
              <a:avLst/>
              <a:gdLst/>
              <a:ahLst/>
              <a:cxnLst>
                <a:cxn ang="0">
                  <a:pos x="wd2" y="hd2"/>
                </a:cxn>
                <a:cxn ang="5400000">
                  <a:pos x="wd2" y="hd2"/>
                </a:cxn>
                <a:cxn ang="10800000">
                  <a:pos x="wd2" y="hd2"/>
                </a:cxn>
                <a:cxn ang="16200000">
                  <a:pos x="wd2" y="hd2"/>
                </a:cxn>
              </a:cxnLst>
              <a:rect l="0" t="0" r="r" b="b"/>
              <a:pathLst>
                <a:path w="21600" h="21600" extrusionOk="0">
                  <a:moveTo>
                    <a:pt x="6261" y="17977"/>
                  </a:moveTo>
                  <a:cubicBezTo>
                    <a:pt x="8506" y="18625"/>
                    <a:pt x="10034" y="19447"/>
                    <a:pt x="10794" y="20398"/>
                  </a:cubicBezTo>
                  <a:cubicBezTo>
                    <a:pt x="10909" y="20541"/>
                    <a:pt x="11005" y="20690"/>
                    <a:pt x="11086" y="20839"/>
                  </a:cubicBezTo>
                  <a:cubicBezTo>
                    <a:pt x="11219" y="21085"/>
                    <a:pt x="11304" y="21340"/>
                    <a:pt x="11337" y="21600"/>
                  </a:cubicBezTo>
                  <a:cubicBezTo>
                    <a:pt x="11348" y="21600"/>
                    <a:pt x="11363" y="21600"/>
                    <a:pt x="11374" y="21600"/>
                  </a:cubicBezTo>
                  <a:cubicBezTo>
                    <a:pt x="15516" y="21477"/>
                    <a:pt x="18613" y="20008"/>
                    <a:pt x="20264" y="17535"/>
                  </a:cubicBezTo>
                  <a:cubicBezTo>
                    <a:pt x="20330" y="17437"/>
                    <a:pt x="20393" y="17339"/>
                    <a:pt x="20452" y="17239"/>
                  </a:cubicBezTo>
                  <a:cubicBezTo>
                    <a:pt x="20507" y="17150"/>
                    <a:pt x="20559" y="17057"/>
                    <a:pt x="20607" y="16964"/>
                  </a:cubicBezTo>
                  <a:cubicBezTo>
                    <a:pt x="21253" y="15777"/>
                    <a:pt x="21600" y="14389"/>
                    <a:pt x="21600" y="12831"/>
                  </a:cubicBezTo>
                  <a:cubicBezTo>
                    <a:pt x="21600" y="6471"/>
                    <a:pt x="12799" y="1135"/>
                    <a:pt x="10787" y="0"/>
                  </a:cubicBezTo>
                  <a:cubicBezTo>
                    <a:pt x="8757" y="1087"/>
                    <a:pt x="0" y="6171"/>
                    <a:pt x="0" y="12831"/>
                  </a:cubicBezTo>
                  <a:cubicBezTo>
                    <a:pt x="0" y="14388"/>
                    <a:pt x="343" y="15772"/>
                    <a:pt x="989" y="16959"/>
                  </a:cubicBezTo>
                  <a:cubicBezTo>
                    <a:pt x="3016" y="17212"/>
                    <a:pt x="4788" y="17551"/>
                    <a:pt x="6261" y="17977"/>
                  </a:cubicBezTo>
                  <a:close/>
                </a:path>
              </a:pathLst>
            </a:custGeom>
            <a:solidFill>
              <a:schemeClr val="bg1">
                <a:lumMod val="65000"/>
              </a:schemeClr>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0" name="Shape">
              <a:extLst>
                <a:ext uri="{FF2B5EF4-FFF2-40B4-BE49-F238E27FC236}">
                  <a16:creationId xmlns:a16="http://schemas.microsoft.com/office/drawing/2014/main" id="{F58638B0-2500-7538-D146-7CDCB8E6F8C8}"/>
                </a:ext>
              </a:extLst>
            </p:cNvPr>
            <p:cNvSpPr/>
            <p:nvPr/>
          </p:nvSpPr>
          <p:spPr>
            <a:xfrm>
              <a:off x="2125980" y="4399316"/>
              <a:ext cx="2403674" cy="1098745"/>
            </a:xfrm>
            <a:custGeom>
              <a:avLst/>
              <a:gdLst/>
              <a:ahLst/>
              <a:cxnLst>
                <a:cxn ang="0">
                  <a:pos x="wd2" y="hd2"/>
                </a:cxn>
                <a:cxn ang="5400000">
                  <a:pos x="wd2" y="hd2"/>
                </a:cxn>
                <a:cxn ang="10800000">
                  <a:pos x="wd2" y="hd2"/>
                </a:cxn>
                <a:cxn ang="16200000">
                  <a:pos x="wd2" y="hd2"/>
                </a:cxn>
              </a:cxnLst>
              <a:rect l="0" t="0" r="r" b="b"/>
              <a:pathLst>
                <a:path w="21600" h="21596" extrusionOk="0">
                  <a:moveTo>
                    <a:pt x="21592" y="11339"/>
                  </a:moveTo>
                  <a:cubicBezTo>
                    <a:pt x="21597" y="11162"/>
                    <a:pt x="21600" y="10985"/>
                    <a:pt x="21600" y="10804"/>
                  </a:cubicBezTo>
                  <a:cubicBezTo>
                    <a:pt x="21600" y="10796"/>
                    <a:pt x="21600" y="10793"/>
                    <a:pt x="21600" y="10785"/>
                  </a:cubicBezTo>
                  <a:cubicBezTo>
                    <a:pt x="21600" y="10597"/>
                    <a:pt x="21597" y="10412"/>
                    <a:pt x="21592" y="10228"/>
                  </a:cubicBezTo>
                  <a:cubicBezTo>
                    <a:pt x="21506" y="7419"/>
                    <a:pt x="20790" y="5012"/>
                    <a:pt x="19508" y="3241"/>
                  </a:cubicBezTo>
                  <a:cubicBezTo>
                    <a:pt x="18947" y="2466"/>
                    <a:pt x="18281" y="1827"/>
                    <a:pt x="17526" y="1325"/>
                  </a:cubicBezTo>
                  <a:cubicBezTo>
                    <a:pt x="17430" y="1262"/>
                    <a:pt x="17331" y="1200"/>
                    <a:pt x="17231" y="1141"/>
                  </a:cubicBezTo>
                  <a:cubicBezTo>
                    <a:pt x="17140" y="1085"/>
                    <a:pt x="17049" y="1033"/>
                    <a:pt x="16956" y="982"/>
                  </a:cubicBezTo>
                  <a:cubicBezTo>
                    <a:pt x="15761" y="336"/>
                    <a:pt x="14372" y="0"/>
                    <a:pt x="12827" y="0"/>
                  </a:cubicBezTo>
                  <a:cubicBezTo>
                    <a:pt x="6470" y="0"/>
                    <a:pt x="1134" y="8799"/>
                    <a:pt x="0" y="10811"/>
                  </a:cubicBezTo>
                  <a:cubicBezTo>
                    <a:pt x="1087" y="12841"/>
                    <a:pt x="6168" y="21596"/>
                    <a:pt x="12825" y="21596"/>
                  </a:cubicBezTo>
                  <a:cubicBezTo>
                    <a:pt x="18092" y="21600"/>
                    <a:pt x="21416" y="17684"/>
                    <a:pt x="21592" y="11339"/>
                  </a:cubicBezTo>
                  <a:close/>
                </a:path>
              </a:pathLst>
            </a:custGeom>
            <a:solidFill>
              <a:srgbClr val="FFE600"/>
            </a:solidFill>
            <a:ln w="12700">
              <a:miter lim="400000"/>
            </a:ln>
          </p:spPr>
          <p:txBody>
            <a:bodyPr lIns="28560" tIns="28560" rIns="28560" bIns="28560" anchor="ctr"/>
            <a:lstStyle/>
            <a:p>
              <a:pPr defTabSz="913943">
                <a:defRPr sz="3000">
                  <a:solidFill>
                    <a:srgbClr val="FFFFFF"/>
                  </a:solidFill>
                  <a:effectLst>
                    <a:outerShdw blurRad="38100" dist="12700" dir="5400000" rotWithShape="0">
                      <a:srgbClr val="000000">
                        <a:alpha val="50000"/>
                      </a:srgbClr>
                    </a:outerShdw>
                  </a:effectLst>
                </a:defRPr>
              </a:pPr>
              <a:endParaRPr sz="2249" kern="0">
                <a:solidFill>
                  <a:srgbClr val="FFFFFF"/>
                </a:solidFill>
                <a:effectLst>
                  <a:outerShdw blurRad="38100" dist="12700" dir="5400000" rotWithShape="0">
                    <a:srgbClr val="000000">
                      <a:alpha val="50000"/>
                    </a:srgbClr>
                  </a:outerShdw>
                </a:effectLst>
                <a:latin typeface="Calibri" panose="020F0502020204030204"/>
              </a:endParaRPr>
            </a:p>
          </p:txBody>
        </p:sp>
        <p:sp>
          <p:nvSpPr>
            <p:cNvPr id="21" name="Freeform: Shape 20">
              <a:extLst>
                <a:ext uri="{FF2B5EF4-FFF2-40B4-BE49-F238E27FC236}">
                  <a16:creationId xmlns:a16="http://schemas.microsoft.com/office/drawing/2014/main" id="{ACF06F4C-31F1-F0C8-3549-C4810054B289}"/>
                </a:ext>
              </a:extLst>
            </p:cNvPr>
            <p:cNvSpPr/>
            <p:nvPr/>
          </p:nvSpPr>
          <p:spPr>
            <a:xfrm>
              <a:off x="4615284" y="4421894"/>
              <a:ext cx="674671" cy="605410"/>
            </a:xfrm>
            <a:custGeom>
              <a:avLst/>
              <a:gdLst>
                <a:gd name="connsiteX0" fmla="*/ 767952 w 767952"/>
                <a:gd name="connsiteY0" fmla="*/ 0 h 689114"/>
                <a:gd name="connsiteX1" fmla="*/ 754740 w 767952"/>
                <a:gd name="connsiteY1" fmla="*/ 40272 h 689114"/>
                <a:gd name="connsiteX2" fmla="*/ 139918 w 767952"/>
                <a:gd name="connsiteY2" fmla="*/ 669796 h 689114"/>
                <a:gd name="connsiteX3" fmla="*/ 11967 w 767952"/>
                <a:gd name="connsiteY3" fmla="*/ 689114 h 689114"/>
                <a:gd name="connsiteX4" fmla="*/ 0 w 767952"/>
                <a:gd name="connsiteY4" fmla="*/ 630490 h 689114"/>
                <a:gd name="connsiteX5" fmla="*/ 587000 w 767952"/>
                <a:gd name="connsiteY5" fmla="*/ 31796 h 68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952" h="689114">
                  <a:moveTo>
                    <a:pt x="767952" y="0"/>
                  </a:moveTo>
                  <a:lnTo>
                    <a:pt x="754740" y="40272"/>
                  </a:lnTo>
                  <a:cubicBezTo>
                    <a:pt x="622975" y="381289"/>
                    <a:pt x="411903" y="601587"/>
                    <a:pt x="139918" y="669796"/>
                  </a:cubicBezTo>
                  <a:lnTo>
                    <a:pt x="11967" y="689114"/>
                  </a:lnTo>
                  <a:lnTo>
                    <a:pt x="0" y="630490"/>
                  </a:lnTo>
                  <a:cubicBezTo>
                    <a:pt x="280205" y="614509"/>
                    <a:pt x="486339" y="397092"/>
                    <a:pt x="587000" y="31796"/>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sp>
          <p:nvSpPr>
            <p:cNvPr id="22" name="Freeform: Shape 21">
              <a:extLst>
                <a:ext uri="{FF2B5EF4-FFF2-40B4-BE49-F238E27FC236}">
                  <a16:creationId xmlns:a16="http://schemas.microsoft.com/office/drawing/2014/main" id="{A65BDF3E-35DF-A34D-F4B7-DF69576FD67E}"/>
                </a:ext>
              </a:extLst>
            </p:cNvPr>
            <p:cNvSpPr/>
            <p:nvPr/>
          </p:nvSpPr>
          <p:spPr>
            <a:xfrm>
              <a:off x="4045821" y="4252829"/>
              <a:ext cx="603687" cy="671166"/>
            </a:xfrm>
            <a:custGeom>
              <a:avLst/>
              <a:gdLst>
                <a:gd name="connsiteX0" fmla="*/ 0 w 687153"/>
                <a:gd name="connsiteY0" fmla="*/ 0 h 763963"/>
                <a:gd name="connsiteX1" fmla="*/ 87038 w 687153"/>
                <a:gd name="connsiteY1" fmla="*/ 33047 h 763963"/>
                <a:gd name="connsiteX2" fmla="*/ 282244 w 687153"/>
                <a:gd name="connsiteY2" fmla="*/ 133925 h 763963"/>
                <a:gd name="connsiteX3" fmla="*/ 646650 w 687153"/>
                <a:gd name="connsiteY3" fmla="*/ 559496 h 763963"/>
                <a:gd name="connsiteX4" fmla="*/ 670124 w 687153"/>
                <a:gd name="connsiteY4" fmla="*/ 637016 h 763963"/>
                <a:gd name="connsiteX5" fmla="*/ 687153 w 687153"/>
                <a:gd name="connsiteY5" fmla="*/ 749917 h 763963"/>
                <a:gd name="connsiteX6" fmla="*/ 632165 w 687153"/>
                <a:gd name="connsiteY6" fmla="*/ 763963 h 763963"/>
                <a:gd name="connsiteX7" fmla="*/ 630022 w 687153"/>
                <a:gd name="connsiteY7" fmla="*/ 763963 h 763963"/>
                <a:gd name="connsiteX8" fmla="*/ 615489 w 687153"/>
                <a:gd name="connsiteY8" fmla="*/ 667615 h 763963"/>
                <a:gd name="connsiteX9" fmla="*/ 598582 w 687153"/>
                <a:gd name="connsiteY9" fmla="*/ 611781 h 763963"/>
                <a:gd name="connsiteX10" fmla="*/ 336119 w 687153"/>
                <a:gd name="connsiteY10" fmla="*/ 305263 h 763963"/>
                <a:gd name="connsiteX11" fmla="*/ 30867 w 687153"/>
                <a:gd name="connsiteY11" fmla="*/ 176377 h 7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153" h="763963">
                  <a:moveTo>
                    <a:pt x="0" y="0"/>
                  </a:moveTo>
                  <a:lnTo>
                    <a:pt x="87038" y="33047"/>
                  </a:lnTo>
                  <a:cubicBezTo>
                    <a:pt x="157821" y="62865"/>
                    <a:pt x="223037" y="96483"/>
                    <a:pt x="282244" y="133925"/>
                  </a:cubicBezTo>
                  <a:cubicBezTo>
                    <a:pt x="462718" y="247832"/>
                    <a:pt x="585554" y="392326"/>
                    <a:pt x="646650" y="559496"/>
                  </a:cubicBezTo>
                  <a:cubicBezTo>
                    <a:pt x="655895" y="584633"/>
                    <a:pt x="663612" y="610825"/>
                    <a:pt x="670124" y="637016"/>
                  </a:cubicBezTo>
                  <a:lnTo>
                    <a:pt x="687153" y="749917"/>
                  </a:lnTo>
                  <a:lnTo>
                    <a:pt x="632165" y="763963"/>
                  </a:lnTo>
                  <a:cubicBezTo>
                    <a:pt x="631528" y="763963"/>
                    <a:pt x="630659" y="763963"/>
                    <a:pt x="630022" y="763963"/>
                  </a:cubicBezTo>
                  <a:cubicBezTo>
                    <a:pt x="628112" y="731045"/>
                    <a:pt x="623190" y="698760"/>
                    <a:pt x="615489" y="667615"/>
                  </a:cubicBezTo>
                  <a:cubicBezTo>
                    <a:pt x="610799" y="648750"/>
                    <a:pt x="605241" y="629886"/>
                    <a:pt x="598582" y="611781"/>
                  </a:cubicBezTo>
                  <a:cubicBezTo>
                    <a:pt x="554578" y="491377"/>
                    <a:pt x="466106" y="387305"/>
                    <a:pt x="336119" y="305263"/>
                  </a:cubicBezTo>
                  <a:cubicBezTo>
                    <a:pt x="250831" y="251328"/>
                    <a:pt x="148231" y="208408"/>
                    <a:pt x="30867" y="176377"/>
                  </a:cubicBezTo>
                  <a:close/>
                </a:path>
              </a:pathLst>
            </a:custGeom>
            <a:solidFill>
              <a:srgbClr val="333333">
                <a:alpha val="22000"/>
              </a:srgbClr>
            </a:solidFill>
            <a:ln w="12700" cap="flat" cmpd="sng" algn="ctr">
              <a:noFill/>
              <a:prstDash val="solid"/>
              <a:miter lim="800000"/>
            </a:ln>
            <a:effectLst/>
          </p:spPr>
          <p:txBody>
            <a:bodyPr rtlCol="0" anchor="ctr"/>
            <a:lstStyle/>
            <a:p>
              <a:pPr algn="ctr" defTabSz="913943">
                <a:defRPr/>
              </a:pPr>
              <a:endParaRPr sz="1349" kern="0">
                <a:solidFill>
                  <a:prstClr val="white"/>
                </a:solidFill>
                <a:latin typeface="Calibri" panose="020F0502020204030204"/>
              </a:endParaRPr>
            </a:p>
          </p:txBody>
        </p:sp>
      </p:grpSp>
      <p:pic>
        <p:nvPicPr>
          <p:cNvPr id="23" name="Graphic 22" descr="Light bulb">
            <a:extLst>
              <a:ext uri="{FF2B5EF4-FFF2-40B4-BE49-F238E27FC236}">
                <a16:creationId xmlns:a16="http://schemas.microsoft.com/office/drawing/2014/main" id="{2D132D51-8276-B7A9-DB78-C71DFB358E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9013" y="2024438"/>
            <a:ext cx="642330" cy="642330"/>
          </a:xfrm>
          <a:prstGeom prst="rect">
            <a:avLst/>
          </a:prstGeom>
        </p:spPr>
      </p:pic>
      <p:pic>
        <p:nvPicPr>
          <p:cNvPr id="24" name="Graphic 23" descr="Users">
            <a:extLst>
              <a:ext uri="{FF2B5EF4-FFF2-40B4-BE49-F238E27FC236}">
                <a16:creationId xmlns:a16="http://schemas.microsoft.com/office/drawing/2014/main" id="{BCA4BC22-A52E-A57A-A919-46841ECFFC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16480" y="3747409"/>
            <a:ext cx="642330" cy="642330"/>
          </a:xfrm>
          <a:prstGeom prst="rect">
            <a:avLst/>
          </a:prstGeom>
        </p:spPr>
      </p:pic>
      <p:pic>
        <p:nvPicPr>
          <p:cNvPr id="25" name="Graphic 24" descr="Puzzle">
            <a:extLst>
              <a:ext uri="{FF2B5EF4-FFF2-40B4-BE49-F238E27FC236}">
                <a16:creationId xmlns:a16="http://schemas.microsoft.com/office/drawing/2014/main" id="{942C5D2C-72B8-F047-5CB4-B0DC6B9F73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81548" y="3747409"/>
            <a:ext cx="642330" cy="642330"/>
          </a:xfrm>
          <a:prstGeom prst="rect">
            <a:avLst/>
          </a:prstGeom>
        </p:spPr>
      </p:pic>
      <p:sp>
        <p:nvSpPr>
          <p:cNvPr id="91" name="Rectangle: Rounded Corners 90">
            <a:extLst>
              <a:ext uri="{FF2B5EF4-FFF2-40B4-BE49-F238E27FC236}">
                <a16:creationId xmlns:a16="http://schemas.microsoft.com/office/drawing/2014/main" id="{B261202F-8663-80BC-3CE9-61DAEB6BD165}"/>
              </a:ext>
            </a:extLst>
          </p:cNvPr>
          <p:cNvSpPr/>
          <p:nvPr/>
        </p:nvSpPr>
        <p:spPr>
          <a:xfrm>
            <a:off x="8580152" y="1051791"/>
            <a:ext cx="1714776" cy="393296"/>
          </a:xfrm>
          <a:prstGeom prst="roundRect">
            <a:avLst>
              <a:gd name="adj" fmla="val 50000"/>
            </a:avLst>
          </a:prstGeom>
          <a:solidFill>
            <a:schemeClr val="bg1">
              <a:lumMod val="50000"/>
            </a:schemeClr>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defTabSz="994368">
              <a:defRPr/>
            </a:pPr>
            <a:r>
              <a:rPr lang="en-GB" sz="1399" b="1">
                <a:solidFill>
                  <a:schemeClr val="bg1"/>
                </a:solidFill>
                <a:latin typeface="EYInterstate Light" panose="02000506000000020004" pitchFamily="2" charset="0"/>
                <a:cs typeface="Arial"/>
              </a:rPr>
              <a:t>Deliverables</a:t>
            </a:r>
          </a:p>
        </p:txBody>
      </p:sp>
      <p:sp>
        <p:nvSpPr>
          <p:cNvPr id="92" name="Rectangle: Rounded Corners 91">
            <a:extLst>
              <a:ext uri="{FF2B5EF4-FFF2-40B4-BE49-F238E27FC236}">
                <a16:creationId xmlns:a16="http://schemas.microsoft.com/office/drawing/2014/main" id="{9FE1A3A6-9F0B-A308-9589-CB1631BE4B4E}"/>
              </a:ext>
            </a:extLst>
          </p:cNvPr>
          <p:cNvSpPr/>
          <p:nvPr/>
        </p:nvSpPr>
        <p:spPr>
          <a:xfrm>
            <a:off x="9593935" y="1507496"/>
            <a:ext cx="2251473" cy="451816"/>
          </a:xfrm>
          <a:prstGeom prst="roundRect">
            <a:avLst>
              <a:gd name="adj" fmla="val 50000"/>
            </a:avLst>
          </a:prstGeom>
          <a:solidFill>
            <a:srgbClr val="C0BFC3"/>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a:spcBef>
                <a:spcPct val="20000"/>
              </a:spcBef>
              <a:spcAft>
                <a:spcPts val="200"/>
              </a:spcAft>
              <a:defRPr/>
            </a:pPr>
            <a:r>
              <a:rPr lang="en-GB" sz="1049" kern="0">
                <a:cs typeface="Arial"/>
              </a:rPr>
              <a:t>Validated Documentation Set</a:t>
            </a:r>
          </a:p>
        </p:txBody>
      </p:sp>
      <p:sp>
        <p:nvSpPr>
          <p:cNvPr id="93" name="Rectangle: Rounded Corners 92">
            <a:extLst>
              <a:ext uri="{FF2B5EF4-FFF2-40B4-BE49-F238E27FC236}">
                <a16:creationId xmlns:a16="http://schemas.microsoft.com/office/drawing/2014/main" id="{0C9076F5-7205-77A0-EA95-75060C345E4A}"/>
              </a:ext>
            </a:extLst>
          </p:cNvPr>
          <p:cNvSpPr/>
          <p:nvPr/>
        </p:nvSpPr>
        <p:spPr>
          <a:xfrm>
            <a:off x="9604623" y="2033319"/>
            <a:ext cx="2241235" cy="451816"/>
          </a:xfrm>
          <a:prstGeom prst="roundRect">
            <a:avLst>
              <a:gd name="adj" fmla="val 50000"/>
            </a:avLst>
          </a:prstGeom>
          <a:solidFill>
            <a:srgbClr val="C0BFC3"/>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a:spcBef>
                <a:spcPct val="20000"/>
              </a:spcBef>
              <a:spcAft>
                <a:spcPts val="200"/>
              </a:spcAft>
              <a:defRPr/>
            </a:pPr>
            <a:r>
              <a:rPr lang="en-GB" sz="1049" kern="0">
                <a:cs typeface="Arial"/>
              </a:rPr>
              <a:t>Knowledge Transfer &amp; Access Logs</a:t>
            </a:r>
          </a:p>
        </p:txBody>
      </p:sp>
      <p:sp>
        <p:nvSpPr>
          <p:cNvPr id="94" name="Rectangle: Rounded Corners 93">
            <a:extLst>
              <a:ext uri="{FF2B5EF4-FFF2-40B4-BE49-F238E27FC236}">
                <a16:creationId xmlns:a16="http://schemas.microsoft.com/office/drawing/2014/main" id="{4F11FC39-1636-7C2B-3AB3-4B99AF8F6153}"/>
              </a:ext>
            </a:extLst>
          </p:cNvPr>
          <p:cNvSpPr/>
          <p:nvPr/>
        </p:nvSpPr>
        <p:spPr>
          <a:xfrm>
            <a:off x="9593934" y="2578581"/>
            <a:ext cx="2251474" cy="451816"/>
          </a:xfrm>
          <a:prstGeom prst="roundRect">
            <a:avLst>
              <a:gd name="adj" fmla="val 50000"/>
            </a:avLst>
          </a:prstGeom>
          <a:solidFill>
            <a:srgbClr val="C0BFC3"/>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a:spcBef>
                <a:spcPct val="20000"/>
              </a:spcBef>
              <a:spcAft>
                <a:spcPts val="200"/>
              </a:spcAft>
              <a:defRPr/>
            </a:pPr>
            <a:r>
              <a:rPr lang="en-GB" sz="1049" kern="0">
                <a:cs typeface="Arial"/>
              </a:rPr>
              <a:t>Technology Landscape Overview</a:t>
            </a:r>
          </a:p>
        </p:txBody>
      </p:sp>
      <p:sp>
        <p:nvSpPr>
          <p:cNvPr id="95" name="Rectangle: Rounded Corners 94">
            <a:extLst>
              <a:ext uri="{FF2B5EF4-FFF2-40B4-BE49-F238E27FC236}">
                <a16:creationId xmlns:a16="http://schemas.microsoft.com/office/drawing/2014/main" id="{D7CD3F8C-07F0-5E62-F691-CC93D847CD67}"/>
              </a:ext>
            </a:extLst>
          </p:cNvPr>
          <p:cNvSpPr/>
          <p:nvPr/>
        </p:nvSpPr>
        <p:spPr>
          <a:xfrm>
            <a:off x="9604623" y="3173013"/>
            <a:ext cx="2241236" cy="451816"/>
          </a:xfrm>
          <a:prstGeom prst="roundRect">
            <a:avLst>
              <a:gd name="adj" fmla="val 50000"/>
            </a:avLst>
          </a:prstGeom>
          <a:solidFill>
            <a:srgbClr val="C0BFC3"/>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a:spcBef>
                <a:spcPct val="20000"/>
              </a:spcBef>
              <a:spcAft>
                <a:spcPts val="200"/>
              </a:spcAft>
              <a:defRPr/>
            </a:pPr>
            <a:r>
              <a:rPr lang="en-GB" sz="1049" kern="0">
                <a:solidFill>
                  <a:srgbClr val="000000"/>
                </a:solidFill>
                <a:cs typeface="Arial"/>
              </a:rPr>
              <a:t>Transition Readiness Assessment</a:t>
            </a:r>
          </a:p>
        </p:txBody>
      </p:sp>
      <p:cxnSp>
        <p:nvCxnSpPr>
          <p:cNvPr id="96" name="Connector: Elbow 95">
            <a:extLst>
              <a:ext uri="{FF2B5EF4-FFF2-40B4-BE49-F238E27FC236}">
                <a16:creationId xmlns:a16="http://schemas.microsoft.com/office/drawing/2014/main" id="{382243A9-F6A5-A23F-E55D-ED4F5E92A94D}"/>
              </a:ext>
            </a:extLst>
          </p:cNvPr>
          <p:cNvCxnSpPr>
            <a:cxnSpLocks/>
            <a:stCxn id="91" idx="2"/>
            <a:endCxn id="92" idx="1"/>
          </p:cNvCxnSpPr>
          <p:nvPr/>
        </p:nvCxnSpPr>
        <p:spPr>
          <a:xfrm rot="16200000" flipH="1">
            <a:off x="9371578" y="1511047"/>
            <a:ext cx="288318" cy="156396"/>
          </a:xfrm>
          <a:prstGeom prst="bentConnector2">
            <a:avLst/>
          </a:prstGeom>
          <a:noFill/>
          <a:ln w="19050" cap="flat" cmpd="sng" algn="ctr">
            <a:solidFill>
              <a:srgbClr val="D3D3D3">
                <a:lumMod val="75000"/>
              </a:srgbClr>
            </a:solidFill>
            <a:prstDash val="solid"/>
            <a:miter lim="800000"/>
          </a:ln>
          <a:effectLst/>
        </p:spPr>
      </p:cxnSp>
      <p:cxnSp>
        <p:nvCxnSpPr>
          <p:cNvPr id="97" name="Connector: Elbow 96">
            <a:extLst>
              <a:ext uri="{FF2B5EF4-FFF2-40B4-BE49-F238E27FC236}">
                <a16:creationId xmlns:a16="http://schemas.microsoft.com/office/drawing/2014/main" id="{A59D76EC-D0D8-4ACF-F8F1-8C42ACBFA7E7}"/>
              </a:ext>
            </a:extLst>
          </p:cNvPr>
          <p:cNvCxnSpPr>
            <a:cxnSpLocks/>
            <a:stCxn id="91" idx="2"/>
            <a:endCxn id="93" idx="1"/>
          </p:cNvCxnSpPr>
          <p:nvPr/>
        </p:nvCxnSpPr>
        <p:spPr>
          <a:xfrm rot="16200000" flipH="1">
            <a:off x="9114012" y="1768614"/>
            <a:ext cx="814141" cy="167084"/>
          </a:xfrm>
          <a:prstGeom prst="bentConnector2">
            <a:avLst/>
          </a:prstGeom>
          <a:noFill/>
          <a:ln w="19050" cap="flat" cmpd="sng" algn="ctr">
            <a:solidFill>
              <a:srgbClr val="D3D3D3">
                <a:lumMod val="75000"/>
              </a:srgbClr>
            </a:solidFill>
            <a:prstDash val="solid"/>
            <a:miter lim="800000"/>
          </a:ln>
          <a:effectLst/>
        </p:spPr>
      </p:cxnSp>
      <p:cxnSp>
        <p:nvCxnSpPr>
          <p:cNvPr id="98" name="Connector: Elbow 97">
            <a:extLst>
              <a:ext uri="{FF2B5EF4-FFF2-40B4-BE49-F238E27FC236}">
                <a16:creationId xmlns:a16="http://schemas.microsoft.com/office/drawing/2014/main" id="{D878488A-EAC7-F3DB-957B-A8752E2684F4}"/>
              </a:ext>
            </a:extLst>
          </p:cNvPr>
          <p:cNvCxnSpPr>
            <a:cxnSpLocks/>
            <a:stCxn id="91" idx="2"/>
            <a:endCxn id="94" idx="1"/>
          </p:cNvCxnSpPr>
          <p:nvPr/>
        </p:nvCxnSpPr>
        <p:spPr>
          <a:xfrm rot="16200000" flipH="1">
            <a:off x="8836035" y="2046590"/>
            <a:ext cx="1359403" cy="156394"/>
          </a:xfrm>
          <a:prstGeom prst="bentConnector2">
            <a:avLst/>
          </a:prstGeom>
          <a:noFill/>
          <a:ln w="19050" cap="flat" cmpd="sng" algn="ctr">
            <a:solidFill>
              <a:srgbClr val="D3D3D3">
                <a:lumMod val="75000"/>
              </a:srgbClr>
            </a:solidFill>
            <a:prstDash val="solid"/>
            <a:miter lim="800000"/>
          </a:ln>
          <a:effectLst/>
        </p:spPr>
      </p:cxnSp>
      <p:cxnSp>
        <p:nvCxnSpPr>
          <p:cNvPr id="99" name="Connector: Elbow 98">
            <a:extLst>
              <a:ext uri="{FF2B5EF4-FFF2-40B4-BE49-F238E27FC236}">
                <a16:creationId xmlns:a16="http://schemas.microsoft.com/office/drawing/2014/main" id="{C5802981-7A36-DADE-BB54-E67DD4847019}"/>
              </a:ext>
            </a:extLst>
          </p:cNvPr>
          <p:cNvCxnSpPr>
            <a:cxnSpLocks/>
            <a:stCxn id="91" idx="2"/>
            <a:endCxn id="95" idx="1"/>
          </p:cNvCxnSpPr>
          <p:nvPr/>
        </p:nvCxnSpPr>
        <p:spPr>
          <a:xfrm rot="16200000" flipH="1">
            <a:off x="8544164" y="2338462"/>
            <a:ext cx="1953834" cy="167083"/>
          </a:xfrm>
          <a:prstGeom prst="bentConnector2">
            <a:avLst/>
          </a:prstGeom>
          <a:noFill/>
          <a:ln w="19050" cap="flat" cmpd="sng" algn="ctr">
            <a:solidFill>
              <a:srgbClr val="D3D3D3">
                <a:lumMod val="75000"/>
              </a:srgbClr>
            </a:solidFill>
            <a:prstDash val="solid"/>
            <a:miter lim="800000"/>
          </a:ln>
          <a:effectLst/>
        </p:spPr>
      </p:cxnSp>
      <p:grpSp>
        <p:nvGrpSpPr>
          <p:cNvPr id="51" name="Group 50">
            <a:extLst>
              <a:ext uri="{FF2B5EF4-FFF2-40B4-BE49-F238E27FC236}">
                <a16:creationId xmlns:a16="http://schemas.microsoft.com/office/drawing/2014/main" id="{F0F8F1D8-1F67-97F5-A449-CF5DAA4EFB05}"/>
              </a:ext>
            </a:extLst>
          </p:cNvPr>
          <p:cNvGrpSpPr/>
          <p:nvPr/>
        </p:nvGrpSpPr>
        <p:grpSpPr>
          <a:xfrm>
            <a:off x="400295" y="1122129"/>
            <a:ext cx="3351665" cy="1843047"/>
            <a:chOff x="332936" y="4170157"/>
            <a:chExt cx="4670633" cy="2458672"/>
          </a:xfrm>
        </p:grpSpPr>
        <p:sp>
          <p:nvSpPr>
            <p:cNvPr id="52" name="TextBox 51">
              <a:extLst>
                <a:ext uri="{FF2B5EF4-FFF2-40B4-BE49-F238E27FC236}">
                  <a16:creationId xmlns:a16="http://schemas.microsoft.com/office/drawing/2014/main" id="{E2D2D669-FD45-9C94-BBE3-B20FAA5AE47D}"/>
                </a:ext>
              </a:extLst>
            </p:cNvPr>
            <p:cNvSpPr txBox="1"/>
            <p:nvPr/>
          </p:nvSpPr>
          <p:spPr>
            <a:xfrm>
              <a:off x="332936" y="4170157"/>
              <a:ext cx="4670633" cy="943846"/>
            </a:xfrm>
            <a:prstGeom prst="rect">
              <a:avLst/>
            </a:prstGeom>
            <a:noFill/>
          </p:spPr>
          <p:txBody>
            <a:bodyPr wrap="square" lIns="0" rIns="0" rtlCol="0" anchor="b">
              <a:spAutoFit/>
            </a:bodyPr>
            <a:lstStyle/>
            <a:p>
              <a:pPr>
                <a:spcAft>
                  <a:spcPts val="300"/>
                </a:spcAft>
                <a:buClr>
                  <a:srgbClr val="000000"/>
                </a:buClr>
                <a:buSzPct val="100000"/>
                <a:defRPr/>
              </a:pPr>
              <a:r>
                <a:rPr lang="en-GB" sz="1999" b="1" kern="0">
                  <a:solidFill>
                    <a:srgbClr val="A6A6A6"/>
                  </a:solidFill>
                </a:rPr>
                <a:t>1. Programme Initiation &amp; Governance Setup</a:t>
              </a:r>
            </a:p>
          </p:txBody>
        </p:sp>
        <p:sp>
          <p:nvSpPr>
            <p:cNvPr id="53" name="TextBox 52">
              <a:extLst>
                <a:ext uri="{FF2B5EF4-FFF2-40B4-BE49-F238E27FC236}">
                  <a16:creationId xmlns:a16="http://schemas.microsoft.com/office/drawing/2014/main" id="{63E4475F-A65C-7A78-2E5D-CE8A41BA74B9}"/>
                </a:ext>
              </a:extLst>
            </p:cNvPr>
            <p:cNvSpPr txBox="1"/>
            <p:nvPr/>
          </p:nvSpPr>
          <p:spPr>
            <a:xfrm>
              <a:off x="332936" y="5111493"/>
              <a:ext cx="4186628" cy="1517336"/>
            </a:xfrm>
            <a:prstGeom prst="rect">
              <a:avLst/>
            </a:prstGeom>
            <a:noFill/>
          </p:spPr>
          <p:txBody>
            <a:bodyPr wrap="square" lIns="0" rIns="0" rtlCol="0" anchor="t">
              <a:spAutoFit/>
            </a:bodyPr>
            <a:lstStyle/>
            <a:p>
              <a:pPr marL="171364" indent="-171364">
                <a:spcBef>
                  <a:spcPts val="200"/>
                </a:spcBef>
                <a:buFont typeface="Arial" panose="020B0604020202020204" pitchFamily="34" charset="0"/>
                <a:buChar char="•"/>
              </a:pPr>
              <a:r>
                <a:rPr lang="en-GB" sz="1049">
                  <a:solidFill>
                    <a:schemeClr val="bg1"/>
                  </a:solidFill>
                </a:rPr>
                <a:t>Appoint Programme Manager &amp; key leads (Security, Compliance, PMO)</a:t>
              </a:r>
            </a:p>
            <a:p>
              <a:pPr marL="171364" indent="-171364">
                <a:spcBef>
                  <a:spcPts val="200"/>
                </a:spcBef>
                <a:buFont typeface="Arial" panose="020B0604020202020204" pitchFamily="34" charset="0"/>
                <a:buChar char="•"/>
              </a:pPr>
              <a:r>
                <a:rPr lang="en-GB" sz="1049">
                  <a:solidFill>
                    <a:schemeClr val="bg1"/>
                  </a:solidFill>
                </a:rPr>
                <a:t>Conduct formal kick-off with NWC stakeholders</a:t>
              </a:r>
            </a:p>
            <a:p>
              <a:pPr marL="171364" indent="-171364">
                <a:spcBef>
                  <a:spcPts val="200"/>
                </a:spcBef>
                <a:buFont typeface="Arial" panose="020B0604020202020204" pitchFamily="34" charset="0"/>
                <a:buChar char="•"/>
              </a:pPr>
              <a:r>
                <a:rPr lang="en-GB" sz="1049">
                  <a:solidFill>
                    <a:schemeClr val="bg1"/>
                  </a:solidFill>
                </a:rPr>
                <a:t>Define governance: steering committees, working groups, escalation </a:t>
              </a:r>
            </a:p>
            <a:p>
              <a:pPr marL="171364" indent="-171364">
                <a:spcBef>
                  <a:spcPts val="200"/>
                </a:spcBef>
                <a:buFont typeface="Arial" panose="020B0604020202020204" pitchFamily="34" charset="0"/>
                <a:buChar char="•"/>
              </a:pPr>
              <a:endParaRPr lang="en-GB" sz="1049">
                <a:solidFill>
                  <a:schemeClr val="bg1"/>
                </a:solidFill>
              </a:endParaRPr>
            </a:p>
          </p:txBody>
        </p:sp>
      </p:grpSp>
      <p:sp>
        <p:nvSpPr>
          <p:cNvPr id="56" name="Rectangle: Rounded Corners 55">
            <a:extLst>
              <a:ext uri="{FF2B5EF4-FFF2-40B4-BE49-F238E27FC236}">
                <a16:creationId xmlns:a16="http://schemas.microsoft.com/office/drawing/2014/main" id="{D210EF16-3ECF-F909-25B4-FCAF5643377F}"/>
              </a:ext>
            </a:extLst>
          </p:cNvPr>
          <p:cNvSpPr/>
          <p:nvPr/>
        </p:nvSpPr>
        <p:spPr>
          <a:xfrm>
            <a:off x="9593934" y="3769963"/>
            <a:ext cx="2241236" cy="451816"/>
          </a:xfrm>
          <a:prstGeom prst="roundRect">
            <a:avLst>
              <a:gd name="adj" fmla="val 50000"/>
            </a:avLst>
          </a:prstGeom>
          <a:solidFill>
            <a:srgbClr val="C0BFC3"/>
          </a:solidFill>
          <a:ln w="12700" cap="flat" cmpd="sng" algn="ctr">
            <a:noFill/>
            <a:prstDash val="solid"/>
            <a:miter lim="800000"/>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marL="0" lvl="3" algn="ctr">
              <a:spcBef>
                <a:spcPct val="20000"/>
              </a:spcBef>
              <a:spcAft>
                <a:spcPts val="200"/>
              </a:spcAft>
              <a:defRPr/>
            </a:pPr>
            <a:r>
              <a:rPr lang="en-GB" sz="1049" kern="0">
                <a:solidFill>
                  <a:srgbClr val="000000"/>
                </a:solidFill>
                <a:cs typeface="Arial"/>
              </a:rPr>
              <a:t>Transition Readiness Assessment</a:t>
            </a:r>
          </a:p>
        </p:txBody>
      </p:sp>
      <p:cxnSp>
        <p:nvCxnSpPr>
          <p:cNvPr id="15" name="Straight Connector 14">
            <a:extLst>
              <a:ext uri="{FF2B5EF4-FFF2-40B4-BE49-F238E27FC236}">
                <a16:creationId xmlns:a16="http://schemas.microsoft.com/office/drawing/2014/main" id="{B4787CB7-5B03-B45F-A99D-3C0160BBDE1E}"/>
              </a:ext>
            </a:extLst>
          </p:cNvPr>
          <p:cNvCxnSpPr>
            <a:cxnSpLocks/>
          </p:cNvCxnSpPr>
          <p:nvPr/>
        </p:nvCxnSpPr>
        <p:spPr>
          <a:xfrm>
            <a:off x="9437539" y="3398921"/>
            <a:ext cx="0" cy="606042"/>
          </a:xfrm>
          <a:prstGeom prst="line">
            <a:avLst/>
          </a:prstGeom>
          <a:ln w="19050">
            <a:solidFill>
              <a:srgbClr val="9E9E9E"/>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F52DDAC-38F1-9D9F-C002-E5C8D63051EC}"/>
              </a:ext>
            </a:extLst>
          </p:cNvPr>
          <p:cNvCxnSpPr>
            <a:cxnSpLocks/>
          </p:cNvCxnSpPr>
          <p:nvPr/>
        </p:nvCxnSpPr>
        <p:spPr>
          <a:xfrm flipH="1" flipV="1">
            <a:off x="9437538" y="3993353"/>
            <a:ext cx="156395" cy="428"/>
          </a:xfrm>
          <a:prstGeom prst="line">
            <a:avLst/>
          </a:prstGeom>
          <a:ln w="19050">
            <a:solidFill>
              <a:srgbClr val="9E9E9E"/>
            </a:solidFill>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745F423B-5014-F21B-9C33-3EC864C21540}"/>
              </a:ext>
            </a:extLst>
          </p:cNvPr>
          <p:cNvGrpSpPr/>
          <p:nvPr/>
        </p:nvGrpSpPr>
        <p:grpSpPr>
          <a:xfrm>
            <a:off x="4846876" y="5070281"/>
            <a:ext cx="6795191" cy="1194830"/>
            <a:chOff x="3244851" y="1906877"/>
            <a:chExt cx="7201476" cy="1120776"/>
          </a:xfrm>
        </p:grpSpPr>
        <p:sp>
          <p:nvSpPr>
            <p:cNvPr id="64" name="Rectangle 63">
              <a:extLst>
                <a:ext uri="{FF2B5EF4-FFF2-40B4-BE49-F238E27FC236}">
                  <a16:creationId xmlns:a16="http://schemas.microsoft.com/office/drawing/2014/main" id="{5C5077BB-C226-822C-265D-C74B279E4B57}"/>
                </a:ext>
              </a:extLst>
            </p:cNvPr>
            <p:cNvSpPr/>
            <p:nvPr/>
          </p:nvSpPr>
          <p:spPr>
            <a:xfrm>
              <a:off x="3764279" y="2131984"/>
              <a:ext cx="6682048" cy="662940"/>
            </a:xfrm>
            <a:prstGeom prst="rect">
              <a:avLst/>
            </a:prstGeom>
            <a:solidFill>
              <a:srgbClr val="FFFF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1349">
                <a:solidFill>
                  <a:prstClr val="white"/>
                </a:solidFill>
                <a:latin typeface="Calibri" panose="020F0502020204030204"/>
              </a:endParaRPr>
            </a:p>
          </p:txBody>
        </p:sp>
        <p:sp>
          <p:nvSpPr>
            <p:cNvPr id="65" name="Freeform: Shape 64">
              <a:extLst>
                <a:ext uri="{FF2B5EF4-FFF2-40B4-BE49-F238E27FC236}">
                  <a16:creationId xmlns:a16="http://schemas.microsoft.com/office/drawing/2014/main" id="{4275B2CD-A2D8-4524-4AEC-75F7F90CDC62}"/>
                </a:ext>
              </a:extLst>
            </p:cNvPr>
            <p:cNvSpPr/>
            <p:nvPr/>
          </p:nvSpPr>
          <p:spPr>
            <a:xfrm>
              <a:off x="3244851" y="1906877"/>
              <a:ext cx="5532438" cy="1120776"/>
            </a:xfrm>
            <a:custGeom>
              <a:avLst/>
              <a:gdLst>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51604 w 5532438"/>
                <a:gd name="connsiteY8" fmla="*/ 731837 h 1120776"/>
                <a:gd name="connsiteX9" fmla="*/ 1146174 w 5532438"/>
                <a:gd name="connsiteY9" fmla="*/ 731837 h 1120776"/>
                <a:gd name="connsiteX10" fmla="*/ 1146174 w 5532438"/>
                <a:gd name="connsiteY10" fmla="*/ 760525 h 1120776"/>
                <a:gd name="connsiteX11" fmla="*/ 785923 w 5532438"/>
                <a:gd name="connsiteY11" fmla="*/ 1120776 h 1120776"/>
                <a:gd name="connsiteX12" fmla="*/ 360251 w 5532438"/>
                <a:gd name="connsiteY12" fmla="*/ 1120776 h 1120776"/>
                <a:gd name="connsiteX13" fmla="*/ 0 w 5532438"/>
                <a:gd name="connsiteY13" fmla="*/ 760525 h 1120776"/>
                <a:gd name="connsiteX14" fmla="*/ 0 w 5532438"/>
                <a:gd name="connsiteY14" fmla="*/ 360251 h 1120776"/>
                <a:gd name="connsiteX15" fmla="*/ 360251 w 5532438"/>
                <a:gd name="connsiteY15" fmla="*/ 0 h 1120776"/>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51604 w 5532438"/>
                <a:gd name="connsiteY8" fmla="*/ 731837 h 1120776"/>
                <a:gd name="connsiteX9" fmla="*/ 1146174 w 5532438"/>
                <a:gd name="connsiteY9" fmla="*/ 760525 h 1120776"/>
                <a:gd name="connsiteX10" fmla="*/ 785923 w 5532438"/>
                <a:gd name="connsiteY10" fmla="*/ 1120776 h 1120776"/>
                <a:gd name="connsiteX11" fmla="*/ 360251 w 5532438"/>
                <a:gd name="connsiteY11" fmla="*/ 1120776 h 1120776"/>
                <a:gd name="connsiteX12" fmla="*/ 0 w 5532438"/>
                <a:gd name="connsiteY12" fmla="*/ 760525 h 1120776"/>
                <a:gd name="connsiteX13" fmla="*/ 0 w 5532438"/>
                <a:gd name="connsiteY13" fmla="*/ 360251 h 1120776"/>
                <a:gd name="connsiteX14" fmla="*/ 360251 w 5532438"/>
                <a:gd name="connsiteY14" fmla="*/ 0 h 1120776"/>
                <a:gd name="connsiteX0" fmla="*/ 360251 w 5532438"/>
                <a:gd name="connsiteY0" fmla="*/ 0 h 1120776"/>
                <a:gd name="connsiteX1" fmla="*/ 384174 w 5532438"/>
                <a:gd name="connsiteY1" fmla="*/ 0 h 1120776"/>
                <a:gd name="connsiteX2" fmla="*/ 785923 w 5532438"/>
                <a:gd name="connsiteY2" fmla="*/ 0 h 1120776"/>
                <a:gd name="connsiteX3" fmla="*/ 5532438 w 5532438"/>
                <a:gd name="connsiteY3" fmla="*/ 0 h 1120776"/>
                <a:gd name="connsiteX4" fmla="*/ 5532438 w 5532438"/>
                <a:gd name="connsiteY4" fmla="*/ 425450 h 1120776"/>
                <a:gd name="connsiteX5" fmla="*/ 1719261 w 5532438"/>
                <a:gd name="connsiteY5" fmla="*/ 425450 h 1120776"/>
                <a:gd name="connsiteX6" fmla="*/ 1506425 w 5532438"/>
                <a:gd name="connsiteY6" fmla="*/ 425450 h 1120776"/>
                <a:gd name="connsiteX7" fmla="*/ 1153493 w 5532438"/>
                <a:gd name="connsiteY7" fmla="*/ 713098 h 1120776"/>
                <a:gd name="connsiteX8" fmla="*/ 1146174 w 5532438"/>
                <a:gd name="connsiteY8" fmla="*/ 760525 h 1120776"/>
                <a:gd name="connsiteX9" fmla="*/ 785923 w 5532438"/>
                <a:gd name="connsiteY9" fmla="*/ 1120776 h 1120776"/>
                <a:gd name="connsiteX10" fmla="*/ 360251 w 5532438"/>
                <a:gd name="connsiteY10" fmla="*/ 1120776 h 1120776"/>
                <a:gd name="connsiteX11" fmla="*/ 0 w 5532438"/>
                <a:gd name="connsiteY11" fmla="*/ 760525 h 1120776"/>
                <a:gd name="connsiteX12" fmla="*/ 0 w 5532438"/>
                <a:gd name="connsiteY12" fmla="*/ 360251 h 1120776"/>
                <a:gd name="connsiteX13" fmla="*/ 360251 w 5532438"/>
                <a:gd name="connsiteY13" fmla="*/ 0 h 112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8" h="1120776">
                  <a:moveTo>
                    <a:pt x="360251" y="0"/>
                  </a:moveTo>
                  <a:lnTo>
                    <a:pt x="384174" y="0"/>
                  </a:lnTo>
                  <a:lnTo>
                    <a:pt x="785923" y="0"/>
                  </a:lnTo>
                  <a:lnTo>
                    <a:pt x="5532438" y="0"/>
                  </a:lnTo>
                  <a:lnTo>
                    <a:pt x="5532438" y="425450"/>
                  </a:lnTo>
                  <a:lnTo>
                    <a:pt x="1719261" y="425450"/>
                  </a:lnTo>
                  <a:lnTo>
                    <a:pt x="1506425" y="425450"/>
                  </a:lnTo>
                  <a:cubicBezTo>
                    <a:pt x="1332334" y="425450"/>
                    <a:pt x="1187085" y="548938"/>
                    <a:pt x="1153493" y="713098"/>
                  </a:cubicBezTo>
                  <a:lnTo>
                    <a:pt x="1146174" y="760525"/>
                  </a:lnTo>
                  <a:cubicBezTo>
                    <a:pt x="1146174" y="959486"/>
                    <a:pt x="984884" y="1120776"/>
                    <a:pt x="785923" y="1120776"/>
                  </a:cubicBezTo>
                  <a:lnTo>
                    <a:pt x="360251" y="1120776"/>
                  </a:lnTo>
                  <a:cubicBezTo>
                    <a:pt x="161290" y="1120776"/>
                    <a:pt x="0" y="959486"/>
                    <a:pt x="0" y="760525"/>
                  </a:cubicBezTo>
                  <a:lnTo>
                    <a:pt x="0" y="360251"/>
                  </a:lnTo>
                  <a:cubicBezTo>
                    <a:pt x="0" y="161290"/>
                    <a:pt x="161290" y="0"/>
                    <a:pt x="360251" y="0"/>
                  </a:cubicBez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1349">
                <a:solidFill>
                  <a:prstClr val="white"/>
                </a:solidFill>
                <a:latin typeface="Calibri" panose="020F0502020204030204"/>
              </a:endParaRPr>
            </a:p>
          </p:txBody>
        </p:sp>
        <p:sp>
          <p:nvSpPr>
            <p:cNvPr id="66" name="Rectangle 65">
              <a:extLst>
                <a:ext uri="{FF2B5EF4-FFF2-40B4-BE49-F238E27FC236}">
                  <a16:creationId xmlns:a16="http://schemas.microsoft.com/office/drawing/2014/main" id="{59B479C5-9662-7B45-A7F7-A8DE75B5D332}"/>
                </a:ext>
              </a:extLst>
            </p:cNvPr>
            <p:cNvSpPr/>
            <p:nvPr/>
          </p:nvSpPr>
          <p:spPr>
            <a:xfrm>
              <a:off x="3629025" y="1906877"/>
              <a:ext cx="6817302" cy="42545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1349">
                <a:solidFill>
                  <a:prstClr val="white"/>
                </a:solidFill>
                <a:latin typeface="Calibri" panose="020F0502020204030204"/>
              </a:endParaRPr>
            </a:p>
          </p:txBody>
        </p:sp>
      </p:grpSp>
      <p:sp>
        <p:nvSpPr>
          <p:cNvPr id="67" name="Freeform: Shape 66">
            <a:extLst>
              <a:ext uri="{FF2B5EF4-FFF2-40B4-BE49-F238E27FC236}">
                <a16:creationId xmlns:a16="http://schemas.microsoft.com/office/drawing/2014/main" id="{3DA83C2C-B453-C910-AEED-06B53139C8EA}"/>
              </a:ext>
            </a:extLst>
          </p:cNvPr>
          <p:cNvSpPr/>
          <p:nvPr/>
        </p:nvSpPr>
        <p:spPr>
          <a:xfrm>
            <a:off x="11453219" y="5070283"/>
            <a:ext cx="392189" cy="944999"/>
          </a:xfrm>
          <a:custGeom>
            <a:avLst/>
            <a:gdLst>
              <a:gd name="connsiteX0" fmla="*/ 192520 w 415637"/>
              <a:gd name="connsiteY0" fmla="*/ 0 h 886429"/>
              <a:gd name="connsiteX1" fmla="*/ 231079 w 415637"/>
              <a:gd name="connsiteY1" fmla="*/ 3887 h 886429"/>
              <a:gd name="connsiteX2" fmla="*/ 415637 w 415637"/>
              <a:gd name="connsiteY2" fmla="*/ 230332 h 886429"/>
              <a:gd name="connsiteX3" fmla="*/ 415637 w 415637"/>
              <a:gd name="connsiteY3" fmla="*/ 656097 h 886429"/>
              <a:gd name="connsiteX4" fmla="*/ 231079 w 415637"/>
              <a:gd name="connsiteY4" fmla="*/ 882542 h 886429"/>
              <a:gd name="connsiteX5" fmla="*/ 192520 w 415637"/>
              <a:gd name="connsiteY5" fmla="*/ 886429 h 886429"/>
              <a:gd name="connsiteX6" fmla="*/ 192520 w 415637"/>
              <a:gd name="connsiteY6" fmla="*/ 650557 h 886429"/>
              <a:gd name="connsiteX7" fmla="*/ 192520 w 415637"/>
              <a:gd name="connsiteY7" fmla="*/ 616489 h 886429"/>
              <a:gd name="connsiteX8" fmla="*/ 37643 w 415637"/>
              <a:gd name="connsiteY8" fmla="*/ 426462 h 886429"/>
              <a:gd name="connsiteX9" fmla="*/ 0 w 415637"/>
              <a:gd name="connsiteY9" fmla="*/ 422667 h 886429"/>
              <a:gd name="connsiteX10" fmla="*/ 0 w 415637"/>
              <a:gd name="connsiteY10" fmla="*/ 223489 h 886429"/>
              <a:gd name="connsiteX11" fmla="*/ 192520 w 415637"/>
              <a:gd name="connsiteY11" fmla="*/ 223489 h 8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5637" h="886429">
                <a:moveTo>
                  <a:pt x="192520" y="0"/>
                </a:moveTo>
                <a:lnTo>
                  <a:pt x="231079" y="3887"/>
                </a:lnTo>
                <a:cubicBezTo>
                  <a:pt x="336406" y="25440"/>
                  <a:pt x="415637" y="118633"/>
                  <a:pt x="415637" y="230332"/>
                </a:cubicBezTo>
                <a:lnTo>
                  <a:pt x="415637" y="656097"/>
                </a:lnTo>
                <a:cubicBezTo>
                  <a:pt x="415637" y="767796"/>
                  <a:pt x="336406" y="860989"/>
                  <a:pt x="231079" y="882542"/>
                </a:cubicBezTo>
                <a:lnTo>
                  <a:pt x="192520" y="886429"/>
                </a:lnTo>
                <a:lnTo>
                  <a:pt x="192520" y="650557"/>
                </a:lnTo>
                <a:lnTo>
                  <a:pt x="192520" y="616489"/>
                </a:lnTo>
                <a:cubicBezTo>
                  <a:pt x="192520" y="522754"/>
                  <a:pt x="126032" y="444549"/>
                  <a:pt x="37643" y="426462"/>
                </a:cubicBezTo>
                <a:lnTo>
                  <a:pt x="0" y="422667"/>
                </a:lnTo>
                <a:lnTo>
                  <a:pt x="0" y="223489"/>
                </a:lnTo>
                <a:lnTo>
                  <a:pt x="192520" y="223489"/>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1349">
              <a:solidFill>
                <a:prstClr val="white"/>
              </a:solidFill>
              <a:latin typeface="Calibri" panose="020F0502020204030204"/>
            </a:endParaRPr>
          </a:p>
        </p:txBody>
      </p:sp>
      <p:sp>
        <p:nvSpPr>
          <p:cNvPr id="69" name="Rectangle 68">
            <a:extLst>
              <a:ext uri="{FF2B5EF4-FFF2-40B4-BE49-F238E27FC236}">
                <a16:creationId xmlns:a16="http://schemas.microsoft.com/office/drawing/2014/main" id="{6E15A2E0-93D5-2C03-8445-A28952C247AF}"/>
              </a:ext>
            </a:extLst>
          </p:cNvPr>
          <p:cNvSpPr/>
          <p:nvPr/>
        </p:nvSpPr>
        <p:spPr>
          <a:xfrm>
            <a:off x="6130602" y="5071055"/>
            <a:ext cx="1682534" cy="399902"/>
          </a:xfrm>
          <a:prstGeom prst="rect">
            <a:avLst/>
          </a:prstGeom>
        </p:spPr>
        <p:txBody>
          <a:bodyPr wrap="none" lIns="0" anchor="ctr">
            <a:spAutoFit/>
          </a:bodyPr>
          <a:lstStyle/>
          <a:p>
            <a:pPr defTabSz="994368">
              <a:defRPr/>
            </a:pPr>
            <a:r>
              <a:rPr lang="en-GB" sz="1999" b="1">
                <a:solidFill>
                  <a:srgbClr val="000000"/>
                </a:solidFill>
                <a:latin typeface="EYInterstate Light" panose="02000506000000020004" pitchFamily="2" charset="0"/>
                <a:cs typeface="Arial"/>
              </a:rPr>
              <a:t>NWC Support</a:t>
            </a:r>
          </a:p>
        </p:txBody>
      </p:sp>
      <p:sp>
        <p:nvSpPr>
          <p:cNvPr id="70" name="Rectangle 69">
            <a:extLst>
              <a:ext uri="{FF2B5EF4-FFF2-40B4-BE49-F238E27FC236}">
                <a16:creationId xmlns:a16="http://schemas.microsoft.com/office/drawing/2014/main" id="{5B0E98A2-E2F8-95DC-2DE3-61D5A251608A}"/>
              </a:ext>
            </a:extLst>
          </p:cNvPr>
          <p:cNvSpPr/>
          <p:nvPr/>
        </p:nvSpPr>
        <p:spPr>
          <a:xfrm>
            <a:off x="6137849" y="5542781"/>
            <a:ext cx="5511464" cy="415282"/>
          </a:xfrm>
          <a:prstGeom prst="rect">
            <a:avLst/>
          </a:prstGeom>
        </p:spPr>
        <p:txBody>
          <a:bodyPr wrap="square" lIns="0">
            <a:spAutoFit/>
          </a:bodyPr>
          <a:lstStyle/>
          <a:p>
            <a:pPr marL="171364" indent="-171364">
              <a:buFont typeface="Arial" panose="020B0604020202020204" pitchFamily="34" charset="0"/>
              <a:buChar char="•"/>
            </a:pPr>
            <a:r>
              <a:rPr lang="en-GB" sz="1049">
                <a:solidFill>
                  <a:prstClr val="black">
                    <a:lumMod val="75000"/>
                    <a:lumOff val="25000"/>
                  </a:prstClr>
                </a:solidFill>
                <a:latin typeface="Calibri" panose="020F0502020204030204"/>
              </a:rPr>
              <a:t>Assign SPOC for coordination</a:t>
            </a:r>
          </a:p>
          <a:p>
            <a:pPr marL="171364" indent="-171364">
              <a:buFont typeface="Arial" panose="020B0604020202020204" pitchFamily="34" charset="0"/>
              <a:buChar char="•"/>
            </a:pPr>
            <a:r>
              <a:rPr lang="en-GB" sz="1049">
                <a:solidFill>
                  <a:prstClr val="black">
                    <a:lumMod val="75000"/>
                    <a:lumOff val="25000"/>
                  </a:prstClr>
                </a:solidFill>
                <a:latin typeface="Calibri" panose="020F0502020204030204"/>
              </a:rPr>
              <a:t>Provide key documentation for setup</a:t>
            </a:r>
            <a:endParaRPr lang="en-US" sz="1049">
              <a:solidFill>
                <a:prstClr val="black">
                  <a:lumMod val="75000"/>
                  <a:lumOff val="25000"/>
                </a:prstClr>
              </a:solidFill>
              <a:latin typeface="Calibri" panose="020F0502020204030204"/>
            </a:endParaRPr>
          </a:p>
        </p:txBody>
      </p:sp>
      <p:pic>
        <p:nvPicPr>
          <p:cNvPr id="72" name="Picture 71" descr="A black background with a black square&#10;&#10;AI-generated content may be incorrect.">
            <a:extLst>
              <a:ext uri="{FF2B5EF4-FFF2-40B4-BE49-F238E27FC236}">
                <a16:creationId xmlns:a16="http://schemas.microsoft.com/office/drawing/2014/main" id="{D1280B4C-A11B-C7EB-39E3-0A1A5139238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1481" y="5277476"/>
            <a:ext cx="726081" cy="733460"/>
          </a:xfrm>
          <a:prstGeom prst="rect">
            <a:avLst/>
          </a:prstGeom>
        </p:spPr>
      </p:pic>
    </p:spTree>
    <p:extLst>
      <p:ext uri="{BB962C8B-B14F-4D97-AF65-F5344CB8AC3E}">
        <p14:creationId xmlns:p14="http://schemas.microsoft.com/office/powerpoint/2010/main" val="25299007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0B1F9-C840-5569-FF3C-8C598A57C07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B7F7EB3-D619-ED11-0365-DB26C40E283B}"/>
              </a:ext>
            </a:extLst>
          </p:cNvPr>
          <p:cNvSpPr>
            <a:spLocks noGrp="1"/>
          </p:cNvSpPr>
          <p:nvPr>
            <p:ph type="title"/>
          </p:nvPr>
        </p:nvSpPr>
        <p:spPr/>
        <p:txBody>
          <a:bodyPr/>
          <a:lstStyle/>
          <a:p>
            <a:r>
              <a:rPr lang="en-GB"/>
              <a:t>Three Lines of Defense from a CISO perspective</a:t>
            </a:r>
          </a:p>
        </p:txBody>
      </p:sp>
      <p:sp>
        <p:nvSpPr>
          <p:cNvPr id="11" name="Arrow: Chevron 10">
            <a:extLst>
              <a:ext uri="{FF2B5EF4-FFF2-40B4-BE49-F238E27FC236}">
                <a16:creationId xmlns:a16="http://schemas.microsoft.com/office/drawing/2014/main" id="{4E061B56-3544-C078-D691-047BCFEA6505}"/>
              </a:ext>
            </a:extLst>
          </p:cNvPr>
          <p:cNvSpPr/>
          <p:nvPr/>
        </p:nvSpPr>
        <p:spPr>
          <a:xfrm>
            <a:off x="3860183" y="3076182"/>
            <a:ext cx="477184" cy="1469571"/>
          </a:xfrm>
          <a:prstGeom prst="chevron">
            <a:avLst/>
          </a:prstGeom>
          <a:solidFill>
            <a:srgbClr val="FFE600"/>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2" name="Group 1">
            <a:extLst>
              <a:ext uri="{FF2B5EF4-FFF2-40B4-BE49-F238E27FC236}">
                <a16:creationId xmlns:a16="http://schemas.microsoft.com/office/drawing/2014/main" id="{BC5A6593-079E-E190-B886-43A8248FE70B}"/>
              </a:ext>
            </a:extLst>
          </p:cNvPr>
          <p:cNvGrpSpPr/>
          <p:nvPr/>
        </p:nvGrpSpPr>
        <p:grpSpPr>
          <a:xfrm>
            <a:off x="666087" y="1519520"/>
            <a:ext cx="2834048" cy="4582895"/>
            <a:chOff x="544419" y="1644650"/>
            <a:chExt cx="2446464" cy="3762218"/>
          </a:xfrm>
        </p:grpSpPr>
        <p:sp>
          <p:nvSpPr>
            <p:cNvPr id="3" name="Trapezoid 2">
              <a:extLst>
                <a:ext uri="{FF2B5EF4-FFF2-40B4-BE49-F238E27FC236}">
                  <a16:creationId xmlns:a16="http://schemas.microsoft.com/office/drawing/2014/main" id="{375FD74C-016A-0AE3-B12A-2DBC96B5FA81}"/>
                </a:ext>
              </a:extLst>
            </p:cNvPr>
            <p:cNvSpPr/>
            <p:nvPr/>
          </p:nvSpPr>
          <p:spPr>
            <a:xfrm>
              <a:off x="544419" y="4421157"/>
              <a:ext cx="2446464" cy="985711"/>
            </a:xfrm>
            <a:prstGeom prst="trapezoid">
              <a:avLst>
                <a:gd name="adj" fmla="val 23193"/>
              </a:avLst>
            </a:prstGeom>
            <a:solidFill>
              <a:srgbClr val="AEAE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 name="Trapezoid 3">
              <a:extLst>
                <a:ext uri="{FF2B5EF4-FFF2-40B4-BE49-F238E27FC236}">
                  <a16:creationId xmlns:a16="http://schemas.microsoft.com/office/drawing/2014/main" id="{2A384E91-13A1-A3D0-B205-1D84E05DAF2D}"/>
                </a:ext>
              </a:extLst>
            </p:cNvPr>
            <p:cNvSpPr/>
            <p:nvPr/>
          </p:nvSpPr>
          <p:spPr>
            <a:xfrm>
              <a:off x="844331" y="1748211"/>
              <a:ext cx="1846640" cy="882149"/>
            </a:xfrm>
            <a:prstGeom prst="trapezoid">
              <a:avLst>
                <a:gd name="adj" fmla="val 5018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Rounded Corners 5">
              <a:extLst>
                <a:ext uri="{FF2B5EF4-FFF2-40B4-BE49-F238E27FC236}">
                  <a16:creationId xmlns:a16="http://schemas.microsoft.com/office/drawing/2014/main" id="{0AD82808-0A68-D5F9-5601-97A6B5198173}"/>
                </a:ext>
              </a:extLst>
            </p:cNvPr>
            <p:cNvSpPr/>
            <p:nvPr/>
          </p:nvSpPr>
          <p:spPr>
            <a:xfrm>
              <a:off x="544419" y="2137505"/>
              <a:ext cx="2446464" cy="2776507"/>
            </a:xfrm>
            <a:prstGeom prst="roundRect">
              <a:avLst>
                <a:gd name="adj" fmla="val 1059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just"/>
              <a:endParaRPr lang="en-US" sz="1200" noProof="1">
                <a:solidFill>
                  <a:schemeClr val="tx1">
                    <a:lumMod val="85000"/>
                    <a:lumOff val="15000"/>
                  </a:schemeClr>
                </a:solidFill>
                <a:latin typeface="EYInterstate Light" panose="02000506000000020004" pitchFamily="2" charset="0"/>
              </a:endParaRPr>
            </a:p>
          </p:txBody>
        </p:sp>
        <p:sp>
          <p:nvSpPr>
            <p:cNvPr id="8" name="Rectangle: Rounded Corners 7">
              <a:extLst>
                <a:ext uri="{FF2B5EF4-FFF2-40B4-BE49-F238E27FC236}">
                  <a16:creationId xmlns:a16="http://schemas.microsoft.com/office/drawing/2014/main" id="{A62B18CB-4E48-7BFA-0A06-1E2392572D35}"/>
                </a:ext>
              </a:extLst>
            </p:cNvPr>
            <p:cNvSpPr/>
            <p:nvPr/>
          </p:nvSpPr>
          <p:spPr>
            <a:xfrm>
              <a:off x="1288899" y="2137506"/>
              <a:ext cx="957505" cy="492856"/>
            </a:xfrm>
            <a:prstGeom prst="roundRect">
              <a:avLst>
                <a:gd name="adj" fmla="val 34739"/>
              </a:avLst>
            </a:prstGeom>
            <a:solidFill>
              <a:schemeClr val="accent1">
                <a:lumMod val="60000"/>
                <a:lumOff val="40000"/>
              </a:schemeClr>
            </a:solidFill>
            <a:ln>
              <a:noFill/>
            </a:ln>
            <a:effectLst>
              <a:outerShdw blurRad="50800" dist="38100" dir="2700000" algn="t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Rounded Corners 12">
              <a:extLst>
                <a:ext uri="{FF2B5EF4-FFF2-40B4-BE49-F238E27FC236}">
                  <a16:creationId xmlns:a16="http://schemas.microsoft.com/office/drawing/2014/main" id="{A0F2A566-EE5D-BE89-E159-80EE6BB560AD}"/>
                </a:ext>
              </a:extLst>
            </p:cNvPr>
            <p:cNvSpPr/>
            <p:nvPr/>
          </p:nvSpPr>
          <p:spPr>
            <a:xfrm>
              <a:off x="1274795" y="1644650"/>
              <a:ext cx="985711" cy="985711"/>
            </a:xfrm>
            <a:prstGeom prst="roundRect">
              <a:avLst/>
            </a:prstGeom>
            <a:solidFill>
              <a:srgbClr val="FFE8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Trapezoid 13">
              <a:extLst>
                <a:ext uri="{FF2B5EF4-FFF2-40B4-BE49-F238E27FC236}">
                  <a16:creationId xmlns:a16="http://schemas.microsoft.com/office/drawing/2014/main" id="{9A005D6F-ECE1-D59C-BB08-00A735865704}"/>
                </a:ext>
              </a:extLst>
            </p:cNvPr>
            <p:cNvSpPr/>
            <p:nvPr/>
          </p:nvSpPr>
          <p:spPr>
            <a:xfrm>
              <a:off x="544419" y="4572245"/>
              <a:ext cx="2446464" cy="834623"/>
            </a:xfrm>
            <a:prstGeom prst="trapezoid">
              <a:avLst>
                <a:gd name="adj" fmla="val 59337"/>
              </a:avLst>
            </a:prstGeom>
            <a:solidFill>
              <a:srgbClr val="00C7D6"/>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400" b="1">
                  <a:solidFill>
                    <a:schemeClr val="bg1"/>
                  </a:solidFill>
                  <a:effectLst>
                    <a:outerShdw blurRad="38100" dist="38100" dir="2700000" algn="tl">
                      <a:srgbClr val="000000">
                        <a:alpha val="43137"/>
                      </a:srgbClr>
                    </a:outerShdw>
                  </a:effectLst>
                  <a:latin typeface="EYInterstate Light" panose="02000506000000020004" pitchFamily="2" charset="0"/>
                </a:rPr>
                <a:t>First Line of </a:t>
              </a:r>
              <a:r>
                <a:rPr lang="en-GB" sz="1400" b="1" err="1">
                  <a:solidFill>
                    <a:schemeClr val="bg1"/>
                  </a:solidFill>
                  <a:effectLst>
                    <a:outerShdw blurRad="38100" dist="38100" dir="2700000" algn="tl">
                      <a:srgbClr val="000000">
                        <a:alpha val="43137"/>
                      </a:srgbClr>
                    </a:outerShdw>
                  </a:effectLst>
                  <a:latin typeface="EYInterstate Light" panose="02000506000000020004" pitchFamily="2" charset="0"/>
                </a:rPr>
                <a:t>Defense</a:t>
              </a:r>
              <a:r>
                <a:rPr lang="en-GB" sz="1400" b="1">
                  <a:solidFill>
                    <a:schemeClr val="bg1"/>
                  </a:solidFill>
                  <a:effectLst>
                    <a:outerShdw blurRad="38100" dist="38100" dir="2700000" algn="tl">
                      <a:srgbClr val="000000">
                        <a:alpha val="43137"/>
                      </a:srgbClr>
                    </a:outerShdw>
                  </a:effectLst>
                  <a:latin typeface="EYInterstate Light" panose="02000506000000020004" pitchFamily="2" charset="0"/>
                </a:rPr>
                <a:t>- Operational Management</a:t>
              </a:r>
            </a:p>
            <a:p>
              <a:pPr algn="ctr"/>
              <a:endParaRPr lang="en-US" sz="1400" b="1" cap="all">
                <a:effectLst>
                  <a:outerShdw blurRad="38100" dist="38100" dir="2700000" algn="tl">
                    <a:srgbClr val="000000">
                      <a:alpha val="43137"/>
                    </a:srgbClr>
                  </a:outerShdw>
                </a:effectLst>
              </a:endParaRPr>
            </a:p>
          </p:txBody>
        </p:sp>
      </p:grpSp>
      <p:grpSp>
        <p:nvGrpSpPr>
          <p:cNvPr id="15" name="Group 14">
            <a:extLst>
              <a:ext uri="{FF2B5EF4-FFF2-40B4-BE49-F238E27FC236}">
                <a16:creationId xmlns:a16="http://schemas.microsoft.com/office/drawing/2014/main" id="{90E6EA15-3623-E503-4320-194AEA12CAF3}"/>
              </a:ext>
            </a:extLst>
          </p:cNvPr>
          <p:cNvGrpSpPr/>
          <p:nvPr/>
        </p:nvGrpSpPr>
        <p:grpSpPr>
          <a:xfrm>
            <a:off x="4633890" y="1519520"/>
            <a:ext cx="2834048" cy="4582895"/>
            <a:chOff x="3429985" y="1644650"/>
            <a:chExt cx="2446464" cy="3762218"/>
          </a:xfrm>
        </p:grpSpPr>
        <p:sp>
          <p:nvSpPr>
            <p:cNvPr id="16" name="Trapezoid 15">
              <a:extLst>
                <a:ext uri="{FF2B5EF4-FFF2-40B4-BE49-F238E27FC236}">
                  <a16:creationId xmlns:a16="http://schemas.microsoft.com/office/drawing/2014/main" id="{E6CBE944-0D7C-20E1-A667-869E2F97F8E5}"/>
                </a:ext>
              </a:extLst>
            </p:cNvPr>
            <p:cNvSpPr/>
            <p:nvPr/>
          </p:nvSpPr>
          <p:spPr>
            <a:xfrm>
              <a:off x="3429985" y="4421157"/>
              <a:ext cx="2446464" cy="985711"/>
            </a:xfrm>
            <a:prstGeom prst="trapezoid">
              <a:avLst>
                <a:gd name="adj" fmla="val 23193"/>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rapezoid 16">
              <a:extLst>
                <a:ext uri="{FF2B5EF4-FFF2-40B4-BE49-F238E27FC236}">
                  <a16:creationId xmlns:a16="http://schemas.microsoft.com/office/drawing/2014/main" id="{034FD7C3-78AD-8371-FAA3-86D1C69598DB}"/>
                </a:ext>
              </a:extLst>
            </p:cNvPr>
            <p:cNvSpPr/>
            <p:nvPr/>
          </p:nvSpPr>
          <p:spPr>
            <a:xfrm>
              <a:off x="3729897" y="1748211"/>
              <a:ext cx="1846640" cy="882149"/>
            </a:xfrm>
            <a:prstGeom prst="trapezoid">
              <a:avLst>
                <a:gd name="adj" fmla="val 5018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Rounded Corners 17">
              <a:extLst>
                <a:ext uri="{FF2B5EF4-FFF2-40B4-BE49-F238E27FC236}">
                  <a16:creationId xmlns:a16="http://schemas.microsoft.com/office/drawing/2014/main" id="{253795A9-C85A-35F0-BB09-6668966883F4}"/>
                </a:ext>
              </a:extLst>
            </p:cNvPr>
            <p:cNvSpPr/>
            <p:nvPr/>
          </p:nvSpPr>
          <p:spPr>
            <a:xfrm>
              <a:off x="3429985" y="2137505"/>
              <a:ext cx="2446464" cy="2776507"/>
            </a:xfrm>
            <a:prstGeom prst="roundRect">
              <a:avLst>
                <a:gd name="adj" fmla="val 1059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prstClr val="black">
                    <a:lumMod val="85000"/>
                    <a:lumOff val="15000"/>
                  </a:prstClr>
                </a:solidFill>
                <a:effectLst/>
                <a:uLnTx/>
                <a:uFillTx/>
                <a:latin typeface="EYInterstate Light" panose="02000506000000020004" pitchFamily="2" charset="0"/>
              </a:endParaRPr>
            </a:p>
          </p:txBody>
        </p:sp>
        <p:sp>
          <p:nvSpPr>
            <p:cNvPr id="19" name="Rectangle: Rounded Corners 18">
              <a:extLst>
                <a:ext uri="{FF2B5EF4-FFF2-40B4-BE49-F238E27FC236}">
                  <a16:creationId xmlns:a16="http://schemas.microsoft.com/office/drawing/2014/main" id="{A46FB9A4-17C3-0166-BEEF-677B6E90CF50}"/>
                </a:ext>
              </a:extLst>
            </p:cNvPr>
            <p:cNvSpPr/>
            <p:nvPr/>
          </p:nvSpPr>
          <p:spPr>
            <a:xfrm>
              <a:off x="4174465" y="2137506"/>
              <a:ext cx="957505" cy="492856"/>
            </a:xfrm>
            <a:prstGeom prst="roundRect">
              <a:avLst>
                <a:gd name="adj" fmla="val 34739"/>
              </a:avLst>
            </a:prstGeom>
            <a:solidFill>
              <a:schemeClr val="accent1">
                <a:lumMod val="60000"/>
                <a:lumOff val="40000"/>
              </a:schemeClr>
            </a:solidFill>
            <a:ln>
              <a:noFill/>
            </a:ln>
            <a:effectLst>
              <a:outerShdw blurRad="50800" dist="38100" dir="2700000" algn="t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Rounded Corners 19">
              <a:extLst>
                <a:ext uri="{FF2B5EF4-FFF2-40B4-BE49-F238E27FC236}">
                  <a16:creationId xmlns:a16="http://schemas.microsoft.com/office/drawing/2014/main" id="{5DD7930D-775A-8385-89AE-E6F75691CF9E}"/>
                </a:ext>
              </a:extLst>
            </p:cNvPr>
            <p:cNvSpPr/>
            <p:nvPr/>
          </p:nvSpPr>
          <p:spPr>
            <a:xfrm>
              <a:off x="4160361" y="1644650"/>
              <a:ext cx="985711" cy="985711"/>
            </a:xfrm>
            <a:prstGeom prst="roundRect">
              <a:avLst/>
            </a:prstGeom>
            <a:solidFill>
              <a:srgbClr val="FFE8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Trapezoid 20">
              <a:extLst>
                <a:ext uri="{FF2B5EF4-FFF2-40B4-BE49-F238E27FC236}">
                  <a16:creationId xmlns:a16="http://schemas.microsoft.com/office/drawing/2014/main" id="{13E4D25C-5A5D-4CC4-0E7E-9F3A59C64246}"/>
                </a:ext>
              </a:extLst>
            </p:cNvPr>
            <p:cNvSpPr/>
            <p:nvPr/>
          </p:nvSpPr>
          <p:spPr>
            <a:xfrm>
              <a:off x="3429985" y="4572245"/>
              <a:ext cx="2446464" cy="834623"/>
            </a:xfrm>
            <a:prstGeom prst="trapezoid">
              <a:avLst>
                <a:gd name="adj" fmla="val 59337"/>
              </a:avLst>
            </a:prstGeom>
            <a:solidFill>
              <a:srgbClr val="00C7D6"/>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r>
                <a:rPr lang="en-GB" sz="1400" b="1" noProof="1">
                  <a:solidFill>
                    <a:schemeClr val="bg1"/>
                  </a:solidFill>
                  <a:effectLst>
                    <a:outerShdw blurRad="38100" dist="38100" dir="2700000" algn="tl">
                      <a:srgbClr val="000000">
                        <a:alpha val="43137"/>
                      </a:srgbClr>
                    </a:outerShdw>
                  </a:effectLst>
                  <a:latin typeface="EYInterstate Light" panose="02000506000000020004" pitchFamily="2" charset="0"/>
                </a:rPr>
                <a:t>Second Line of Defense– Risk Management &amp; Compliance</a:t>
              </a:r>
            </a:p>
          </p:txBody>
        </p:sp>
      </p:grpSp>
      <p:grpSp>
        <p:nvGrpSpPr>
          <p:cNvPr id="32" name="Group 31">
            <a:extLst>
              <a:ext uri="{FF2B5EF4-FFF2-40B4-BE49-F238E27FC236}">
                <a16:creationId xmlns:a16="http://schemas.microsoft.com/office/drawing/2014/main" id="{D97D93F3-FCCC-169F-2CF6-83C96B74178D}"/>
              </a:ext>
            </a:extLst>
          </p:cNvPr>
          <p:cNvGrpSpPr/>
          <p:nvPr/>
        </p:nvGrpSpPr>
        <p:grpSpPr>
          <a:xfrm>
            <a:off x="8538169" y="1519520"/>
            <a:ext cx="2834048" cy="4582895"/>
            <a:chOff x="6315551" y="1644650"/>
            <a:chExt cx="2446464" cy="3762218"/>
          </a:xfrm>
        </p:grpSpPr>
        <p:sp>
          <p:nvSpPr>
            <p:cNvPr id="33" name="Trapezoid 32">
              <a:extLst>
                <a:ext uri="{FF2B5EF4-FFF2-40B4-BE49-F238E27FC236}">
                  <a16:creationId xmlns:a16="http://schemas.microsoft.com/office/drawing/2014/main" id="{57D1A889-37CD-EBF4-6F13-7F728F36B7D6}"/>
                </a:ext>
              </a:extLst>
            </p:cNvPr>
            <p:cNvSpPr/>
            <p:nvPr/>
          </p:nvSpPr>
          <p:spPr>
            <a:xfrm>
              <a:off x="6315551" y="4421157"/>
              <a:ext cx="2446464" cy="985711"/>
            </a:xfrm>
            <a:prstGeom prst="trapezoid">
              <a:avLst>
                <a:gd name="adj" fmla="val 23193"/>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4" name="Trapezoid 33">
              <a:extLst>
                <a:ext uri="{FF2B5EF4-FFF2-40B4-BE49-F238E27FC236}">
                  <a16:creationId xmlns:a16="http://schemas.microsoft.com/office/drawing/2014/main" id="{ED45F963-8037-FD4D-7CEF-23D88FE0F3C8}"/>
                </a:ext>
              </a:extLst>
            </p:cNvPr>
            <p:cNvSpPr/>
            <p:nvPr/>
          </p:nvSpPr>
          <p:spPr>
            <a:xfrm>
              <a:off x="6615463" y="1748211"/>
              <a:ext cx="1846640" cy="882149"/>
            </a:xfrm>
            <a:prstGeom prst="trapezoid">
              <a:avLst>
                <a:gd name="adj" fmla="val 5018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Rectangle: Rounded Corners 34">
              <a:extLst>
                <a:ext uri="{FF2B5EF4-FFF2-40B4-BE49-F238E27FC236}">
                  <a16:creationId xmlns:a16="http://schemas.microsoft.com/office/drawing/2014/main" id="{74F63159-E9D4-D434-9DA4-0A1915CF8B6B}"/>
                </a:ext>
              </a:extLst>
            </p:cNvPr>
            <p:cNvSpPr/>
            <p:nvPr/>
          </p:nvSpPr>
          <p:spPr>
            <a:xfrm>
              <a:off x="6315551" y="2137505"/>
              <a:ext cx="2446464" cy="2776507"/>
            </a:xfrm>
            <a:prstGeom prst="roundRect">
              <a:avLst>
                <a:gd name="adj" fmla="val 1059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EYInterstate Light" panose="02000506000000020004" pitchFamily="2" charset="0"/>
              </a:endParaRPr>
            </a:p>
          </p:txBody>
        </p:sp>
        <p:sp>
          <p:nvSpPr>
            <p:cNvPr id="36" name="Rectangle: Rounded Corners 35">
              <a:extLst>
                <a:ext uri="{FF2B5EF4-FFF2-40B4-BE49-F238E27FC236}">
                  <a16:creationId xmlns:a16="http://schemas.microsoft.com/office/drawing/2014/main" id="{9C1D9E4D-112C-BB7E-DFB7-96F025AA0491}"/>
                </a:ext>
              </a:extLst>
            </p:cNvPr>
            <p:cNvSpPr/>
            <p:nvPr/>
          </p:nvSpPr>
          <p:spPr>
            <a:xfrm>
              <a:off x="7060031" y="2137506"/>
              <a:ext cx="957505" cy="492856"/>
            </a:xfrm>
            <a:prstGeom prst="roundRect">
              <a:avLst>
                <a:gd name="adj" fmla="val 34739"/>
              </a:avLst>
            </a:prstGeom>
            <a:solidFill>
              <a:schemeClr val="accent1">
                <a:lumMod val="60000"/>
                <a:lumOff val="40000"/>
              </a:schemeClr>
            </a:solidFill>
            <a:ln>
              <a:noFill/>
            </a:ln>
            <a:effectLst>
              <a:outerShdw blurRad="50800" dist="38100" dir="2700000" algn="t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Rounded Corners 36">
              <a:extLst>
                <a:ext uri="{FF2B5EF4-FFF2-40B4-BE49-F238E27FC236}">
                  <a16:creationId xmlns:a16="http://schemas.microsoft.com/office/drawing/2014/main" id="{BB067F1D-5E25-3F62-2BC6-C2598747D020}"/>
                </a:ext>
              </a:extLst>
            </p:cNvPr>
            <p:cNvSpPr/>
            <p:nvPr/>
          </p:nvSpPr>
          <p:spPr>
            <a:xfrm>
              <a:off x="7045927" y="1644650"/>
              <a:ext cx="985711" cy="985711"/>
            </a:xfrm>
            <a:prstGeom prst="roundRect">
              <a:avLst/>
            </a:prstGeom>
            <a:solidFill>
              <a:srgbClr val="FFE8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Trapezoid 37">
              <a:extLst>
                <a:ext uri="{FF2B5EF4-FFF2-40B4-BE49-F238E27FC236}">
                  <a16:creationId xmlns:a16="http://schemas.microsoft.com/office/drawing/2014/main" id="{98DC979C-8328-2A58-9E9C-A2A5B0DCF0A5}"/>
                </a:ext>
              </a:extLst>
            </p:cNvPr>
            <p:cNvSpPr/>
            <p:nvPr/>
          </p:nvSpPr>
          <p:spPr>
            <a:xfrm>
              <a:off x="6315551" y="4572245"/>
              <a:ext cx="2446464" cy="834623"/>
            </a:xfrm>
            <a:prstGeom prst="trapezoid">
              <a:avLst>
                <a:gd name="adj" fmla="val 59337"/>
              </a:avLst>
            </a:prstGeom>
            <a:solidFill>
              <a:srgbClr val="00C7D6"/>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400" b="1">
                  <a:solidFill>
                    <a:schemeClr val="bg1"/>
                  </a:solidFill>
                  <a:effectLst>
                    <a:outerShdw blurRad="38100" dist="38100" dir="2700000" algn="tl">
                      <a:srgbClr val="000000">
                        <a:alpha val="43137"/>
                      </a:srgbClr>
                    </a:outerShdw>
                  </a:effectLst>
                  <a:latin typeface="EYInterstate Light" panose="02000506000000020004" pitchFamily="2" charset="0"/>
                </a:rPr>
                <a:t>Third Line of Defense– Internal Audit</a:t>
              </a:r>
            </a:p>
            <a:p>
              <a:pPr algn="ctr"/>
              <a:endParaRPr lang="en-US" sz="1400" b="1" cap="all">
                <a:effectLst>
                  <a:outerShdw blurRad="38100" dist="38100" dir="2700000" algn="tl">
                    <a:srgbClr val="000000">
                      <a:alpha val="43137"/>
                    </a:srgbClr>
                  </a:outerShdw>
                </a:effectLst>
              </a:endParaRPr>
            </a:p>
          </p:txBody>
        </p:sp>
      </p:grpSp>
      <p:pic>
        <p:nvPicPr>
          <p:cNvPr id="39" name="Graphic 38" descr="Books with solid fill">
            <a:extLst>
              <a:ext uri="{FF2B5EF4-FFF2-40B4-BE49-F238E27FC236}">
                <a16:creationId xmlns:a16="http://schemas.microsoft.com/office/drawing/2014/main" id="{6876389F-C83D-2084-D10A-973DBEC0A7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72078" y="1629130"/>
            <a:ext cx="826312" cy="921468"/>
          </a:xfrm>
          <a:prstGeom prst="rect">
            <a:avLst/>
          </a:prstGeom>
        </p:spPr>
      </p:pic>
      <p:pic>
        <p:nvPicPr>
          <p:cNvPr id="41" name="Graphic 40" descr="Bullseye with solid fill">
            <a:extLst>
              <a:ext uri="{FF2B5EF4-FFF2-40B4-BE49-F238E27FC236}">
                <a16:creationId xmlns:a16="http://schemas.microsoft.com/office/drawing/2014/main" id="{89BF1123-F298-E370-FC88-6BF58D41F63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631713" y="1638230"/>
            <a:ext cx="826312" cy="921468"/>
          </a:xfrm>
          <a:prstGeom prst="rect">
            <a:avLst/>
          </a:prstGeom>
        </p:spPr>
      </p:pic>
      <p:sp>
        <p:nvSpPr>
          <p:cNvPr id="42" name="Arrow: Chevron 41">
            <a:extLst>
              <a:ext uri="{FF2B5EF4-FFF2-40B4-BE49-F238E27FC236}">
                <a16:creationId xmlns:a16="http://schemas.microsoft.com/office/drawing/2014/main" id="{6389232B-EC64-9C3C-F67B-25216C073910}"/>
              </a:ext>
            </a:extLst>
          </p:cNvPr>
          <p:cNvSpPr/>
          <p:nvPr/>
        </p:nvSpPr>
        <p:spPr>
          <a:xfrm>
            <a:off x="7764461" y="3076182"/>
            <a:ext cx="477184" cy="1469571"/>
          </a:xfrm>
          <a:prstGeom prst="chevron">
            <a:avLst/>
          </a:prstGeom>
          <a:solidFill>
            <a:srgbClr val="FFE600"/>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44" name="Graphic 43" descr="Lights On with solid fill">
            <a:extLst>
              <a:ext uri="{FF2B5EF4-FFF2-40B4-BE49-F238E27FC236}">
                <a16:creationId xmlns:a16="http://schemas.microsoft.com/office/drawing/2014/main" id="{2D96E072-3A84-51D2-A667-33AD0DBCCA4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535992" y="1638230"/>
            <a:ext cx="826312" cy="912368"/>
          </a:xfrm>
          <a:prstGeom prst="rect">
            <a:avLst/>
          </a:prstGeom>
        </p:spPr>
      </p:pic>
      <p:sp>
        <p:nvSpPr>
          <p:cNvPr id="45" name="TextBox 44">
            <a:extLst>
              <a:ext uri="{FF2B5EF4-FFF2-40B4-BE49-F238E27FC236}">
                <a16:creationId xmlns:a16="http://schemas.microsoft.com/office/drawing/2014/main" id="{586D7A61-E678-99A7-31E7-78E52CDD09F9}"/>
              </a:ext>
            </a:extLst>
          </p:cNvPr>
          <p:cNvSpPr txBox="1"/>
          <p:nvPr/>
        </p:nvSpPr>
        <p:spPr>
          <a:xfrm>
            <a:off x="819783" y="2918415"/>
            <a:ext cx="2539434" cy="1785104"/>
          </a:xfrm>
          <a:prstGeom prst="rect">
            <a:avLst/>
          </a:prstGeom>
          <a:noFill/>
          <a:ln>
            <a:noFill/>
            <a:prstDash val="sysDash"/>
          </a:ln>
        </p:spPr>
        <p:txBody>
          <a:bodyPr wrap="square" lIns="0" rIns="0" rtlCol="0" anchor="t">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Who</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Business units, IT operations, application owners, system administrator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Role</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They are responsible for </a:t>
            </a: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implementing and maintaining security controls</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as part of their daily operation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Examples</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Ensuring secure configuration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Applying patches and update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Managing access control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Following security policies and procedures. </a:t>
            </a:r>
          </a:p>
        </p:txBody>
      </p:sp>
      <p:sp>
        <p:nvSpPr>
          <p:cNvPr id="46" name="TextBox 45">
            <a:extLst>
              <a:ext uri="{FF2B5EF4-FFF2-40B4-BE49-F238E27FC236}">
                <a16:creationId xmlns:a16="http://schemas.microsoft.com/office/drawing/2014/main" id="{EED82AA0-E7D1-7FE1-96C5-7956AD2B7860}"/>
              </a:ext>
            </a:extLst>
          </p:cNvPr>
          <p:cNvSpPr txBox="1"/>
          <p:nvPr/>
        </p:nvSpPr>
        <p:spPr>
          <a:xfrm>
            <a:off x="4762279" y="2838961"/>
            <a:ext cx="2565180" cy="2246769"/>
          </a:xfrm>
          <a:prstGeom prst="rect">
            <a:avLst/>
          </a:prstGeom>
          <a:noFill/>
        </p:spPr>
        <p:txBody>
          <a:bodyPr wrap="square" lIns="0" rIns="0" rtlCol="0" anchor="t">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Who</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Information Security team (under the CISO), Risk Management, Compliance Officer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Role</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They </a:t>
            </a: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define policies, frameworks, and monitor compliance</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with security standard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rPr>
              <a:t>Examples</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Developing cybersecurity policies and standard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Conducting risk assessment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Monitoring and reporting on security posture.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rPr>
              <a:t>Supporting awareness and training programs. </a:t>
            </a:r>
          </a:p>
        </p:txBody>
      </p:sp>
      <p:sp>
        <p:nvSpPr>
          <p:cNvPr id="47" name="TextBox 46">
            <a:extLst>
              <a:ext uri="{FF2B5EF4-FFF2-40B4-BE49-F238E27FC236}">
                <a16:creationId xmlns:a16="http://schemas.microsoft.com/office/drawing/2014/main" id="{86EA57CC-63BC-EEFC-8119-1D19E2042B1A}"/>
              </a:ext>
            </a:extLst>
          </p:cNvPr>
          <p:cNvSpPr txBox="1"/>
          <p:nvPr/>
        </p:nvSpPr>
        <p:spPr>
          <a:xfrm>
            <a:off x="8710862" y="2915904"/>
            <a:ext cx="2520875" cy="2246769"/>
          </a:xfrm>
          <a:prstGeom prst="rect">
            <a:avLst/>
          </a:prstGeom>
          <a:noFill/>
          <a:ln>
            <a:noFill/>
            <a:prstDash val="sysDash"/>
          </a:ln>
        </p:spPr>
        <p:txBody>
          <a:bodyPr wrap="square" lIns="0" rIns="0" rtlCol="0" anchor="t">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Who</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 Internal Audit function (independent from the CISO).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Role</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 They provide </a:t>
            </a: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independent assurance</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 on the effectiveness of governance, risk management, and internal control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Examples</a:t>
            </a: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Auditing security controls and processe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Evaluating the effectiveness of the first and second lines. </a:t>
            </a:r>
          </a:p>
          <a:p>
            <a:pPr marL="457200" marR="0" lvl="1" indent="0" algn="l" defTabSz="914400" rtl="0" eaLnBrk="0" fontAlgn="base" latinLnBrk="0" hangingPunct="0">
              <a:lnSpc>
                <a:spcPct val="100000"/>
              </a:lnSpc>
              <a:spcBef>
                <a:spcPct val="0"/>
              </a:spcBef>
              <a:spcAft>
                <a:spcPct val="0"/>
              </a:spcAft>
              <a:buClrTx/>
              <a:buSzTx/>
              <a:buFontTx/>
              <a:buChar char="•"/>
              <a:tabLst/>
              <a:defRPr/>
            </a:pPr>
            <a:r>
              <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Reporting findings to senior management and the board.</a:t>
            </a:r>
          </a:p>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000" b="0" i="0" u="none" strike="noStrike" kern="1200" cap="none" spc="0" normalizeH="0" baseline="0" noProof="0">
              <a:ln>
                <a:noFill/>
              </a:ln>
              <a:solidFill>
                <a:prstClr val="black"/>
              </a:solidFill>
              <a:effectLst/>
              <a:uLnTx/>
              <a:uFillTx/>
              <a:latin typeface="EYInterstate Light" panose="02000506000000020004" pitchFamily="2" charset="0"/>
            </a:endParaRPr>
          </a:p>
        </p:txBody>
      </p:sp>
    </p:spTree>
    <p:extLst>
      <p:ext uri="{BB962C8B-B14F-4D97-AF65-F5344CB8AC3E}">
        <p14:creationId xmlns:p14="http://schemas.microsoft.com/office/powerpoint/2010/main" val="1442015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B2DB4-F27C-BB25-C856-F62578915AC8}"/>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1CE758B8-E0CF-EF8E-0CB5-70AFFB5B1631}"/>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38" name="Group 37">
            <a:extLst>
              <a:ext uri="{FF2B5EF4-FFF2-40B4-BE49-F238E27FC236}">
                <a16:creationId xmlns:a16="http://schemas.microsoft.com/office/drawing/2014/main" id="{9933F944-AFD5-3C6A-BC32-2E327CD914AC}"/>
              </a:ext>
            </a:extLst>
          </p:cNvPr>
          <p:cNvGrpSpPr/>
          <p:nvPr/>
        </p:nvGrpSpPr>
        <p:grpSpPr>
          <a:xfrm>
            <a:off x="622453" y="1365277"/>
            <a:ext cx="1996211" cy="1090025"/>
            <a:chOff x="8921977" y="1320357"/>
            <a:chExt cx="2926080" cy="1358765"/>
          </a:xfrm>
        </p:grpSpPr>
        <p:sp>
          <p:nvSpPr>
            <p:cNvPr id="39" name="TextBox 38">
              <a:extLst>
                <a:ext uri="{FF2B5EF4-FFF2-40B4-BE49-F238E27FC236}">
                  <a16:creationId xmlns:a16="http://schemas.microsoft.com/office/drawing/2014/main" id="{71DB331B-4CA5-9279-3519-C21A3FB9B1F5}"/>
                </a:ext>
              </a:extLst>
            </p:cNvPr>
            <p:cNvSpPr txBox="1"/>
            <p:nvPr/>
          </p:nvSpPr>
          <p:spPr>
            <a:xfrm>
              <a:off x="8921977" y="1320357"/>
              <a:ext cx="2926080" cy="383458"/>
            </a:xfrm>
            <a:prstGeom prst="rect">
              <a:avLst/>
            </a:prstGeom>
            <a:noFill/>
          </p:spPr>
          <p:txBody>
            <a:bodyPr wrap="square" lIns="0" rIns="0" rtlCol="0" anchor="b">
              <a:spAutoFit/>
            </a:bodyPr>
            <a:lstStyle/>
            <a:p>
              <a:r>
                <a:rPr lang="en-US" sz="1399" b="1" noProof="1">
                  <a:solidFill>
                    <a:schemeClr val="accent1"/>
                  </a:solidFill>
                </a:rPr>
                <a:t>Lorem Ipsum</a:t>
              </a:r>
            </a:p>
          </p:txBody>
        </p:sp>
        <p:sp>
          <p:nvSpPr>
            <p:cNvPr id="40" name="TextBox 39">
              <a:extLst>
                <a:ext uri="{FF2B5EF4-FFF2-40B4-BE49-F238E27FC236}">
                  <a16:creationId xmlns:a16="http://schemas.microsoft.com/office/drawing/2014/main" id="{BFD7A284-1ADE-95AA-3784-A8A067283218}"/>
                </a:ext>
              </a:extLst>
            </p:cNvPr>
            <p:cNvSpPr txBox="1"/>
            <p:nvPr/>
          </p:nvSpPr>
          <p:spPr>
            <a:xfrm>
              <a:off x="8921977" y="1701306"/>
              <a:ext cx="2926080" cy="977816"/>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12" name="Group 11">
            <a:extLst>
              <a:ext uri="{FF2B5EF4-FFF2-40B4-BE49-F238E27FC236}">
                <a16:creationId xmlns:a16="http://schemas.microsoft.com/office/drawing/2014/main" id="{1ADD6F3E-C041-125B-2B39-F2FA5775C171}"/>
              </a:ext>
            </a:extLst>
          </p:cNvPr>
          <p:cNvGrpSpPr/>
          <p:nvPr/>
        </p:nvGrpSpPr>
        <p:grpSpPr>
          <a:xfrm>
            <a:off x="2242918" y="1327467"/>
            <a:ext cx="4602631" cy="4555456"/>
            <a:chOff x="3793486" y="1150217"/>
            <a:chExt cx="4605028" cy="4557829"/>
          </a:xfrm>
        </p:grpSpPr>
        <p:sp>
          <p:nvSpPr>
            <p:cNvPr id="13" name="Forme libre 36">
              <a:extLst>
                <a:ext uri="{FF2B5EF4-FFF2-40B4-BE49-F238E27FC236}">
                  <a16:creationId xmlns:a16="http://schemas.microsoft.com/office/drawing/2014/main" id="{C0C661B1-FB15-896D-FAC0-CE09EB1ADD45}"/>
                </a:ext>
              </a:extLst>
            </p:cNvPr>
            <p:cNvSpPr/>
            <p:nvPr/>
          </p:nvSpPr>
          <p:spPr>
            <a:xfrm>
              <a:off x="3793486" y="2116149"/>
              <a:ext cx="1437254" cy="2325100"/>
            </a:xfrm>
            <a:custGeom>
              <a:avLst/>
              <a:gdLst>
                <a:gd name="connsiteX0" fmla="*/ 1436990 w 1437254"/>
                <a:gd name="connsiteY0" fmla="*/ 1687217 h 2325100"/>
                <a:gd name="connsiteX1" fmla="*/ 1272170 w 1437254"/>
                <a:gd name="connsiteY1" fmla="*/ 1052233 h 2325100"/>
                <a:gd name="connsiteX2" fmla="*/ 1436990 w 1437254"/>
                <a:gd name="connsiteY2" fmla="*/ 416989 h 2325100"/>
                <a:gd name="connsiteX3" fmla="*/ 714316 w 1437254"/>
                <a:gd name="connsiteY3" fmla="*/ 0 h 2325100"/>
                <a:gd name="connsiteX4" fmla="*/ 702958 w 1437254"/>
                <a:gd name="connsiteY4" fmla="*/ 30087 h 2325100"/>
                <a:gd name="connsiteX5" fmla="*/ 635075 w 1437254"/>
                <a:gd name="connsiteY5" fmla="*/ 190282 h 2325100"/>
                <a:gd name="connsiteX6" fmla="*/ 587795 w 1437254"/>
                <a:gd name="connsiteY6" fmla="*/ 277640 h 2325100"/>
                <a:gd name="connsiteX7" fmla="*/ 497197 w 1437254"/>
                <a:gd name="connsiteY7" fmla="*/ 531263 h 2325100"/>
                <a:gd name="connsiteX8" fmla="*/ 485839 w 1437254"/>
                <a:gd name="connsiteY8" fmla="*/ 560822 h 2325100"/>
                <a:gd name="connsiteX9" fmla="*/ 478971 w 1437254"/>
                <a:gd name="connsiteY9" fmla="*/ 576656 h 2325100"/>
                <a:gd name="connsiteX10" fmla="*/ 495348 w 1437254"/>
                <a:gd name="connsiteY10" fmla="*/ 634980 h 2325100"/>
                <a:gd name="connsiteX11" fmla="*/ 520441 w 1437254"/>
                <a:gd name="connsiteY11" fmla="*/ 693572 h 2325100"/>
                <a:gd name="connsiteX12" fmla="*/ 542100 w 1437254"/>
                <a:gd name="connsiteY12" fmla="*/ 880952 h 2325100"/>
                <a:gd name="connsiteX13" fmla="*/ 413730 w 1437254"/>
                <a:gd name="connsiteY13" fmla="*/ 1022675 h 2325100"/>
                <a:gd name="connsiteX14" fmla="*/ 314151 w 1437254"/>
                <a:gd name="connsiteY14" fmla="*/ 1124810 h 2325100"/>
                <a:gd name="connsiteX15" fmla="*/ 237816 w 1437254"/>
                <a:gd name="connsiteY15" fmla="*/ 1234072 h 2325100"/>
                <a:gd name="connsiteX16" fmla="*/ 181819 w 1437254"/>
                <a:gd name="connsiteY16" fmla="*/ 1316149 h 2325100"/>
                <a:gd name="connsiteX17" fmla="*/ 132690 w 1437254"/>
                <a:gd name="connsiteY17" fmla="*/ 1380543 h 2325100"/>
                <a:gd name="connsiteX18" fmla="*/ 3528 w 1437254"/>
                <a:gd name="connsiteY18" fmla="*/ 1656073 h 2325100"/>
                <a:gd name="connsiteX19" fmla="*/ 142991 w 1437254"/>
                <a:gd name="connsiteY19" fmla="*/ 1777738 h 2325100"/>
                <a:gd name="connsiteX20" fmla="*/ 195554 w 1437254"/>
                <a:gd name="connsiteY20" fmla="*/ 1794101 h 2325100"/>
                <a:gd name="connsiteX21" fmla="*/ 293549 w 1437254"/>
                <a:gd name="connsiteY21" fmla="*/ 1918933 h 2325100"/>
                <a:gd name="connsiteX22" fmla="*/ 257098 w 1437254"/>
                <a:gd name="connsiteY22" fmla="*/ 2058546 h 2325100"/>
                <a:gd name="connsiteX23" fmla="*/ 235174 w 1437254"/>
                <a:gd name="connsiteY23" fmla="*/ 2233522 h 2325100"/>
                <a:gd name="connsiteX24" fmla="*/ 295661 w 1437254"/>
                <a:gd name="connsiteY24" fmla="*/ 2288415 h 2325100"/>
                <a:gd name="connsiteX25" fmla="*/ 316528 w 1437254"/>
                <a:gd name="connsiteY25" fmla="*/ 2298973 h 2325100"/>
                <a:gd name="connsiteX26" fmla="*/ 341093 w 1437254"/>
                <a:gd name="connsiteY26" fmla="*/ 2311904 h 2325100"/>
                <a:gd name="connsiteX27" fmla="*/ 331055 w 1437254"/>
                <a:gd name="connsiteY27" fmla="*/ 2325100 h 2325100"/>
                <a:gd name="connsiteX28" fmla="*/ 560325 w 1437254"/>
                <a:gd name="connsiteY28" fmla="*/ 2192878 h 2325100"/>
                <a:gd name="connsiteX29" fmla="*/ 1437254 w 1437254"/>
                <a:gd name="connsiteY29" fmla="*/ 1686953 h 232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37254" h="2325100">
                  <a:moveTo>
                    <a:pt x="1436990" y="1687217"/>
                  </a:moveTo>
                  <a:cubicBezTo>
                    <a:pt x="1329223" y="1493236"/>
                    <a:pt x="1272170" y="1274188"/>
                    <a:pt x="1272170" y="1052233"/>
                  </a:cubicBezTo>
                  <a:cubicBezTo>
                    <a:pt x="1272170" y="830279"/>
                    <a:pt x="1329223" y="611231"/>
                    <a:pt x="1436990" y="416989"/>
                  </a:cubicBezTo>
                  <a:lnTo>
                    <a:pt x="714316" y="0"/>
                  </a:lnTo>
                  <a:cubicBezTo>
                    <a:pt x="710354" y="10029"/>
                    <a:pt x="706656" y="20058"/>
                    <a:pt x="702958" y="30087"/>
                  </a:cubicBezTo>
                  <a:cubicBezTo>
                    <a:pt x="682884" y="83398"/>
                    <a:pt x="662017" y="138292"/>
                    <a:pt x="635075" y="190282"/>
                  </a:cubicBezTo>
                  <a:cubicBezTo>
                    <a:pt x="616850" y="225385"/>
                    <a:pt x="601266" y="253359"/>
                    <a:pt x="587795" y="277640"/>
                  </a:cubicBezTo>
                  <a:cubicBezTo>
                    <a:pt x="542892" y="358397"/>
                    <a:pt x="522290" y="395346"/>
                    <a:pt x="497197" y="531263"/>
                  </a:cubicBezTo>
                  <a:cubicBezTo>
                    <a:pt x="495348" y="541028"/>
                    <a:pt x="490593" y="551057"/>
                    <a:pt x="485839" y="560822"/>
                  </a:cubicBezTo>
                  <a:cubicBezTo>
                    <a:pt x="483198" y="566099"/>
                    <a:pt x="479499" y="573753"/>
                    <a:pt x="478971" y="576656"/>
                  </a:cubicBezTo>
                  <a:cubicBezTo>
                    <a:pt x="479764" y="582197"/>
                    <a:pt x="491386" y="623106"/>
                    <a:pt x="495348" y="634980"/>
                  </a:cubicBezTo>
                  <a:cubicBezTo>
                    <a:pt x="501686" y="654249"/>
                    <a:pt x="510931" y="673250"/>
                    <a:pt x="520441" y="693572"/>
                  </a:cubicBezTo>
                  <a:cubicBezTo>
                    <a:pt x="547118" y="749522"/>
                    <a:pt x="577230" y="812863"/>
                    <a:pt x="542100" y="880952"/>
                  </a:cubicBezTo>
                  <a:cubicBezTo>
                    <a:pt x="523082" y="917901"/>
                    <a:pt x="469726" y="968835"/>
                    <a:pt x="413730" y="1022675"/>
                  </a:cubicBezTo>
                  <a:cubicBezTo>
                    <a:pt x="375430" y="1059360"/>
                    <a:pt x="336074" y="1097098"/>
                    <a:pt x="314151" y="1124810"/>
                  </a:cubicBezTo>
                  <a:cubicBezTo>
                    <a:pt x="286945" y="1159385"/>
                    <a:pt x="262116" y="1197123"/>
                    <a:pt x="237816" y="1234072"/>
                  </a:cubicBezTo>
                  <a:cubicBezTo>
                    <a:pt x="219590" y="1261781"/>
                    <a:pt x="201365" y="1289494"/>
                    <a:pt x="181819" y="1316149"/>
                  </a:cubicBezTo>
                  <a:cubicBezTo>
                    <a:pt x="166763" y="1337000"/>
                    <a:pt x="149859" y="1358375"/>
                    <a:pt x="132690" y="1380543"/>
                  </a:cubicBezTo>
                  <a:cubicBezTo>
                    <a:pt x="62166" y="1471068"/>
                    <a:pt x="-17867" y="1573996"/>
                    <a:pt x="3528" y="1656073"/>
                  </a:cubicBezTo>
                  <a:cubicBezTo>
                    <a:pt x="15942" y="1703315"/>
                    <a:pt x="62694" y="1744221"/>
                    <a:pt x="142991" y="1777738"/>
                  </a:cubicBezTo>
                  <a:cubicBezTo>
                    <a:pt x="160952" y="1785393"/>
                    <a:pt x="178650" y="1789878"/>
                    <a:pt x="195554" y="1794101"/>
                  </a:cubicBezTo>
                  <a:cubicBezTo>
                    <a:pt x="246796" y="1807297"/>
                    <a:pt x="300152" y="1821021"/>
                    <a:pt x="293549" y="1918933"/>
                  </a:cubicBezTo>
                  <a:cubicBezTo>
                    <a:pt x="290115" y="1968285"/>
                    <a:pt x="273474" y="2014206"/>
                    <a:pt x="257098" y="2058546"/>
                  </a:cubicBezTo>
                  <a:cubicBezTo>
                    <a:pt x="233589" y="2122940"/>
                    <a:pt x="212987" y="2178890"/>
                    <a:pt x="235174" y="2233522"/>
                  </a:cubicBezTo>
                  <a:cubicBezTo>
                    <a:pt x="248117" y="2265191"/>
                    <a:pt x="265021" y="2273374"/>
                    <a:pt x="295661" y="2288415"/>
                  </a:cubicBezTo>
                  <a:cubicBezTo>
                    <a:pt x="302265" y="2291582"/>
                    <a:pt x="309132" y="2295013"/>
                    <a:pt x="316528" y="2298973"/>
                  </a:cubicBezTo>
                  <a:lnTo>
                    <a:pt x="341093" y="2311904"/>
                  </a:lnTo>
                  <a:lnTo>
                    <a:pt x="331055" y="2325100"/>
                  </a:lnTo>
                  <a:lnTo>
                    <a:pt x="560325" y="2192878"/>
                  </a:lnTo>
                  <a:lnTo>
                    <a:pt x="1437254" y="1686953"/>
                  </a:lnTo>
                  <a:close/>
                </a:path>
              </a:pathLst>
            </a:custGeom>
            <a:solidFill>
              <a:srgbClr val="FFEC3B"/>
            </a:solidFill>
            <a:ln w="26407" cap="flat">
              <a:noFill/>
              <a:prstDash val="solid"/>
              <a:miter/>
            </a:ln>
          </p:spPr>
          <p:txBody>
            <a:bodyPr rtlCol="0" anchor="ctr"/>
            <a:lstStyle/>
            <a:p>
              <a:endParaRPr lang="fr-FR" sz="1799"/>
            </a:p>
          </p:txBody>
        </p:sp>
        <p:sp>
          <p:nvSpPr>
            <p:cNvPr id="14" name="Forme libre 37">
              <a:extLst>
                <a:ext uri="{FF2B5EF4-FFF2-40B4-BE49-F238E27FC236}">
                  <a16:creationId xmlns:a16="http://schemas.microsoft.com/office/drawing/2014/main" id="{33723E22-36FF-3FAF-1C03-97098C2F3267}"/>
                </a:ext>
              </a:extLst>
            </p:cNvPr>
            <p:cNvSpPr/>
            <p:nvPr/>
          </p:nvSpPr>
          <p:spPr>
            <a:xfrm>
              <a:off x="4050993" y="3843743"/>
              <a:ext cx="2303642" cy="1864303"/>
            </a:xfrm>
            <a:custGeom>
              <a:avLst/>
              <a:gdLst>
                <a:gd name="connsiteX0" fmla="*/ 911 w 2303642"/>
                <a:gd name="connsiteY0" fmla="*/ 730521 h 1864303"/>
                <a:gd name="connsiteX1" fmla="*/ 72228 w 2303642"/>
                <a:gd name="connsiteY1" fmla="*/ 827376 h 1864303"/>
                <a:gd name="connsiteX2" fmla="*/ 150940 w 2303642"/>
                <a:gd name="connsiteY2" fmla="*/ 1013438 h 1864303"/>
                <a:gd name="connsiteX3" fmla="*/ 114753 w 2303642"/>
                <a:gd name="connsiteY3" fmla="*/ 1094723 h 1864303"/>
                <a:gd name="connsiteX4" fmla="*/ 93358 w 2303642"/>
                <a:gd name="connsiteY4" fmla="*/ 1310344 h 1864303"/>
                <a:gd name="connsiteX5" fmla="*/ 750527 w 2303642"/>
                <a:gd name="connsiteY5" fmla="*/ 1471332 h 1864303"/>
                <a:gd name="connsiteX6" fmla="*/ 1113713 w 2303642"/>
                <a:gd name="connsiteY6" fmla="*/ 1449693 h 1864303"/>
                <a:gd name="connsiteX7" fmla="*/ 1343247 w 2303642"/>
                <a:gd name="connsiteY7" fmla="*/ 1738944 h 1864303"/>
                <a:gd name="connsiteX8" fmla="*/ 1370981 w 2303642"/>
                <a:gd name="connsiteY8" fmla="*/ 1838969 h 1864303"/>
                <a:gd name="connsiteX9" fmla="*/ 1380755 w 2303642"/>
                <a:gd name="connsiteY9" fmla="*/ 1864304 h 1864303"/>
                <a:gd name="connsiteX10" fmla="*/ 2303643 w 2303642"/>
                <a:gd name="connsiteY10" fmla="*/ 1864304 h 1864303"/>
                <a:gd name="connsiteX11" fmla="*/ 2303643 w 2303642"/>
                <a:gd name="connsiteY11" fmla="*/ 635512 h 1864303"/>
                <a:gd name="connsiteX12" fmla="*/ 1202727 w 2303642"/>
                <a:gd name="connsiteY12" fmla="*/ 0 h 1864303"/>
                <a:gd name="connsiteX13" fmla="*/ 247878 w 2303642"/>
                <a:gd name="connsiteY13" fmla="*/ 550793 h 1864303"/>
                <a:gd name="connsiteX14" fmla="*/ 6458 w 2303642"/>
                <a:gd name="connsiteY14" fmla="*/ 690141 h 1864303"/>
                <a:gd name="connsiteX15" fmla="*/ 383 w 2303642"/>
                <a:gd name="connsiteY15" fmla="*/ 730257 h 186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03642" h="1864303">
                  <a:moveTo>
                    <a:pt x="911" y="730521"/>
                  </a:moveTo>
                  <a:cubicBezTo>
                    <a:pt x="4345" y="765885"/>
                    <a:pt x="37362" y="795708"/>
                    <a:pt x="72228" y="827376"/>
                  </a:cubicBezTo>
                  <a:cubicBezTo>
                    <a:pt x="121621" y="872244"/>
                    <a:pt x="183429" y="928194"/>
                    <a:pt x="150940" y="1013438"/>
                  </a:cubicBezTo>
                  <a:cubicBezTo>
                    <a:pt x="138790" y="1045371"/>
                    <a:pt x="126112" y="1071499"/>
                    <a:pt x="114753" y="1094723"/>
                  </a:cubicBezTo>
                  <a:cubicBezTo>
                    <a:pt x="81473" y="1163080"/>
                    <a:pt x="61398" y="1203985"/>
                    <a:pt x="93358" y="1310344"/>
                  </a:cubicBezTo>
                  <a:cubicBezTo>
                    <a:pt x="168902" y="1561593"/>
                    <a:pt x="477939" y="1513558"/>
                    <a:pt x="750527" y="1471332"/>
                  </a:cubicBezTo>
                  <a:cubicBezTo>
                    <a:pt x="889991" y="1449693"/>
                    <a:pt x="1021794" y="1429370"/>
                    <a:pt x="1113713" y="1449693"/>
                  </a:cubicBezTo>
                  <a:cubicBezTo>
                    <a:pt x="1281439" y="1487431"/>
                    <a:pt x="1312872" y="1615168"/>
                    <a:pt x="1343247" y="1738944"/>
                  </a:cubicBezTo>
                  <a:cubicBezTo>
                    <a:pt x="1351435" y="1772197"/>
                    <a:pt x="1359888" y="1806772"/>
                    <a:pt x="1370981" y="1838969"/>
                  </a:cubicBezTo>
                  <a:cubicBezTo>
                    <a:pt x="1373887" y="1847413"/>
                    <a:pt x="1377321" y="1855860"/>
                    <a:pt x="1380755" y="1864304"/>
                  </a:cubicBezTo>
                  <a:lnTo>
                    <a:pt x="2303643" y="1864304"/>
                  </a:lnTo>
                  <a:lnTo>
                    <a:pt x="2303643" y="635512"/>
                  </a:lnTo>
                  <a:cubicBezTo>
                    <a:pt x="1854085" y="627329"/>
                    <a:pt x="1436222" y="385845"/>
                    <a:pt x="1202727" y="0"/>
                  </a:cubicBezTo>
                  <a:lnTo>
                    <a:pt x="247878" y="550793"/>
                  </a:lnTo>
                  <a:lnTo>
                    <a:pt x="6458" y="690141"/>
                  </a:lnTo>
                  <a:cubicBezTo>
                    <a:pt x="1175" y="703601"/>
                    <a:pt x="-938" y="716533"/>
                    <a:pt x="383" y="730257"/>
                  </a:cubicBezTo>
                  <a:close/>
                </a:path>
              </a:pathLst>
            </a:custGeom>
            <a:solidFill>
              <a:srgbClr val="E2CC00"/>
            </a:solidFill>
            <a:ln w="26407" cap="flat">
              <a:noFill/>
              <a:prstDash val="solid"/>
              <a:miter/>
            </a:ln>
          </p:spPr>
          <p:txBody>
            <a:bodyPr rtlCol="0" anchor="ctr"/>
            <a:lstStyle/>
            <a:p>
              <a:endParaRPr lang="fr-FR" sz="1799"/>
            </a:p>
          </p:txBody>
        </p:sp>
        <p:sp>
          <p:nvSpPr>
            <p:cNvPr id="15" name="Forme libre 38">
              <a:extLst>
                <a:ext uri="{FF2B5EF4-FFF2-40B4-BE49-F238E27FC236}">
                  <a16:creationId xmlns:a16="http://schemas.microsoft.com/office/drawing/2014/main" id="{87FCC273-033A-8E70-42A4-ECD5280AF540}"/>
                </a:ext>
              </a:extLst>
            </p:cNvPr>
            <p:cNvSpPr/>
            <p:nvPr/>
          </p:nvSpPr>
          <p:spPr>
            <a:xfrm>
              <a:off x="7407479" y="2179490"/>
              <a:ext cx="991035" cy="2079131"/>
            </a:xfrm>
            <a:custGeom>
              <a:avLst/>
              <a:gdLst>
                <a:gd name="connsiteX0" fmla="*/ 283945 w 991035"/>
                <a:gd name="connsiteY0" fmla="*/ 988629 h 2079131"/>
                <a:gd name="connsiteX1" fmla="*/ 107767 w 991035"/>
                <a:gd name="connsiteY1" fmla="*/ 1643931 h 2079131"/>
                <a:gd name="connsiteX2" fmla="*/ 96145 w 991035"/>
                <a:gd name="connsiteY2" fmla="*/ 1663989 h 2079131"/>
                <a:gd name="connsiteX3" fmla="*/ 0 w 991035"/>
                <a:gd name="connsiteY3" fmla="*/ 1609360 h 2079131"/>
                <a:gd name="connsiteX4" fmla="*/ 285530 w 991035"/>
                <a:gd name="connsiteY4" fmla="*/ 2070949 h 2079131"/>
                <a:gd name="connsiteX5" fmla="*/ 828592 w 991035"/>
                <a:gd name="connsiteY5" fmla="*/ 2079132 h 2079131"/>
                <a:gd name="connsiteX6" fmla="*/ 710524 w 991035"/>
                <a:gd name="connsiteY6" fmla="*/ 2012096 h 2079131"/>
                <a:gd name="connsiteX7" fmla="*/ 722410 w 991035"/>
                <a:gd name="connsiteY7" fmla="*/ 1991510 h 2079131"/>
                <a:gd name="connsiteX8" fmla="*/ 991035 w 991035"/>
                <a:gd name="connsiteY8" fmla="*/ 988100 h 2079131"/>
                <a:gd name="connsiteX9" fmla="*/ 731391 w 991035"/>
                <a:gd name="connsiteY9" fmla="*/ 0 h 2079131"/>
                <a:gd name="connsiteX10" fmla="*/ 626001 w 991035"/>
                <a:gd name="connsiteY10" fmla="*/ 60963 h 2079131"/>
                <a:gd name="connsiteX11" fmla="*/ 119653 w 991035"/>
                <a:gd name="connsiteY11" fmla="*/ 353120 h 2079131"/>
                <a:gd name="connsiteX12" fmla="*/ 284473 w 991035"/>
                <a:gd name="connsiteY12" fmla="*/ 988100 h 207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1035" h="2079131">
                  <a:moveTo>
                    <a:pt x="283945" y="988629"/>
                  </a:moveTo>
                  <a:cubicBezTo>
                    <a:pt x="283945" y="1218499"/>
                    <a:pt x="222930" y="1444941"/>
                    <a:pt x="107767" y="1643931"/>
                  </a:cubicBezTo>
                  <a:lnTo>
                    <a:pt x="96145" y="1663989"/>
                  </a:lnTo>
                  <a:lnTo>
                    <a:pt x="0" y="1609360"/>
                  </a:lnTo>
                  <a:lnTo>
                    <a:pt x="285530" y="2070949"/>
                  </a:lnTo>
                  <a:lnTo>
                    <a:pt x="828592" y="2079132"/>
                  </a:lnTo>
                  <a:lnTo>
                    <a:pt x="710524" y="2012096"/>
                  </a:lnTo>
                  <a:lnTo>
                    <a:pt x="722410" y="1991510"/>
                  </a:lnTo>
                  <a:cubicBezTo>
                    <a:pt x="898060" y="1686424"/>
                    <a:pt x="991035" y="1339638"/>
                    <a:pt x="991035" y="988100"/>
                  </a:cubicBezTo>
                  <a:cubicBezTo>
                    <a:pt x="991035" y="636565"/>
                    <a:pt x="901230" y="301126"/>
                    <a:pt x="731391" y="0"/>
                  </a:cubicBezTo>
                  <a:lnTo>
                    <a:pt x="626001" y="60963"/>
                  </a:lnTo>
                  <a:lnTo>
                    <a:pt x="119653" y="353120"/>
                  </a:lnTo>
                  <a:cubicBezTo>
                    <a:pt x="227420" y="547098"/>
                    <a:pt x="284473" y="766149"/>
                    <a:pt x="284473" y="988100"/>
                  </a:cubicBezTo>
                  <a:close/>
                </a:path>
              </a:pathLst>
            </a:custGeom>
            <a:solidFill>
              <a:srgbClr val="000000"/>
            </a:solidFill>
            <a:ln w="26407" cap="flat">
              <a:noFill/>
              <a:prstDash val="solid"/>
              <a:miter/>
            </a:ln>
          </p:spPr>
          <p:txBody>
            <a:bodyPr rtlCol="0" anchor="ctr"/>
            <a:lstStyle/>
            <a:p>
              <a:endParaRPr lang="fr-FR" sz="1799"/>
            </a:p>
          </p:txBody>
        </p:sp>
        <p:sp>
          <p:nvSpPr>
            <p:cNvPr id="16" name="Forme libre 39">
              <a:extLst>
                <a:ext uri="{FF2B5EF4-FFF2-40B4-BE49-F238E27FC236}">
                  <a16:creationId xmlns:a16="http://schemas.microsoft.com/office/drawing/2014/main" id="{EBC6603C-0798-0A5C-B6F2-A0B8EE1F9CAD}"/>
                </a:ext>
              </a:extLst>
            </p:cNvPr>
            <p:cNvSpPr/>
            <p:nvPr/>
          </p:nvSpPr>
          <p:spPr>
            <a:xfrm>
              <a:off x="4525234" y="1150479"/>
              <a:ext cx="1829665" cy="1341750"/>
            </a:xfrm>
            <a:custGeom>
              <a:avLst/>
              <a:gdLst>
                <a:gd name="connsiteX0" fmla="*/ 44903 w 1829665"/>
                <a:gd name="connsiteY0" fmla="*/ 825530 h 1341750"/>
                <a:gd name="connsiteX1" fmla="*/ 0 w 1829665"/>
                <a:gd name="connsiteY1" fmla="*/ 921332 h 1341750"/>
                <a:gd name="connsiteX2" fmla="*/ 728749 w 1829665"/>
                <a:gd name="connsiteY2" fmla="*/ 1341750 h 1341750"/>
                <a:gd name="connsiteX3" fmla="*/ 1829665 w 1829665"/>
                <a:gd name="connsiteY3" fmla="*/ 706240 h 1341750"/>
                <a:gd name="connsiteX4" fmla="*/ 1829665 w 1829665"/>
                <a:gd name="connsiteY4" fmla="*/ 0 h 1341750"/>
                <a:gd name="connsiteX5" fmla="*/ 1268642 w 1829665"/>
                <a:gd name="connsiteY5" fmla="*/ 87094 h 1341750"/>
                <a:gd name="connsiteX6" fmla="*/ 44903 w 1829665"/>
                <a:gd name="connsiteY6" fmla="*/ 825794 h 134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9665" h="1341750">
                  <a:moveTo>
                    <a:pt x="44903" y="825530"/>
                  </a:moveTo>
                  <a:cubicBezTo>
                    <a:pt x="26942" y="857991"/>
                    <a:pt x="11886" y="892300"/>
                    <a:pt x="0" y="921332"/>
                  </a:cubicBezTo>
                  <a:lnTo>
                    <a:pt x="728749" y="1341750"/>
                  </a:lnTo>
                  <a:cubicBezTo>
                    <a:pt x="962245" y="955641"/>
                    <a:pt x="1380107" y="714421"/>
                    <a:pt x="1829665" y="706240"/>
                  </a:cubicBezTo>
                  <a:lnTo>
                    <a:pt x="1829665" y="0"/>
                  </a:lnTo>
                  <a:cubicBezTo>
                    <a:pt x="1640809" y="2376"/>
                    <a:pt x="1451952" y="31670"/>
                    <a:pt x="1268642" y="87094"/>
                  </a:cubicBezTo>
                  <a:cubicBezTo>
                    <a:pt x="824366" y="153599"/>
                    <a:pt x="263607" y="428337"/>
                    <a:pt x="44903" y="825794"/>
                  </a:cubicBezTo>
                  <a:close/>
                </a:path>
              </a:pathLst>
            </a:custGeom>
            <a:solidFill>
              <a:srgbClr val="C0C0C1"/>
            </a:solidFill>
            <a:ln w="26407" cap="flat">
              <a:noFill/>
              <a:prstDash val="solid"/>
              <a:miter/>
            </a:ln>
          </p:spPr>
          <p:txBody>
            <a:bodyPr rtlCol="0" anchor="ctr"/>
            <a:lstStyle/>
            <a:p>
              <a:endParaRPr lang="fr-FR" sz="1799"/>
            </a:p>
          </p:txBody>
        </p:sp>
        <p:sp>
          <p:nvSpPr>
            <p:cNvPr id="17" name="Forme libre 40">
              <a:extLst>
                <a:ext uri="{FF2B5EF4-FFF2-40B4-BE49-F238E27FC236}">
                  <a16:creationId xmlns:a16="http://schemas.microsoft.com/office/drawing/2014/main" id="{6D1839A6-3DCB-C2B5-69EC-E9FC9EC76A9F}"/>
                </a:ext>
              </a:extLst>
            </p:cNvPr>
            <p:cNvSpPr/>
            <p:nvPr/>
          </p:nvSpPr>
          <p:spPr>
            <a:xfrm>
              <a:off x="6402180" y="1150217"/>
              <a:ext cx="1712653" cy="1342012"/>
            </a:xfrm>
            <a:custGeom>
              <a:avLst/>
              <a:gdLst>
                <a:gd name="connsiteX0" fmla="*/ 0 w 1712653"/>
                <a:gd name="connsiteY0" fmla="*/ 0 h 1342012"/>
                <a:gd name="connsiteX1" fmla="*/ 0 w 1712653"/>
                <a:gd name="connsiteY1" fmla="*/ 706238 h 1342012"/>
                <a:gd name="connsiteX2" fmla="*/ 1100651 w 1712653"/>
                <a:gd name="connsiteY2" fmla="*/ 1342013 h 1342012"/>
                <a:gd name="connsiteX3" fmla="*/ 1675938 w 1712653"/>
                <a:gd name="connsiteY3" fmla="*/ 1010272 h 1342012"/>
                <a:gd name="connsiteX4" fmla="*/ 1712653 w 1712653"/>
                <a:gd name="connsiteY4" fmla="*/ 989157 h 1342012"/>
                <a:gd name="connsiteX5" fmla="*/ 0 w 1712653"/>
                <a:gd name="connsiteY5" fmla="*/ 0 h 134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53" h="1342012">
                  <a:moveTo>
                    <a:pt x="0" y="0"/>
                  </a:moveTo>
                  <a:lnTo>
                    <a:pt x="0" y="706238"/>
                  </a:lnTo>
                  <a:cubicBezTo>
                    <a:pt x="449558" y="714419"/>
                    <a:pt x="867420" y="955903"/>
                    <a:pt x="1100651" y="1342013"/>
                  </a:cubicBezTo>
                  <a:lnTo>
                    <a:pt x="1675938" y="1010272"/>
                  </a:lnTo>
                  <a:lnTo>
                    <a:pt x="1712653" y="989157"/>
                  </a:lnTo>
                  <a:cubicBezTo>
                    <a:pt x="1352901" y="385053"/>
                    <a:pt x="700487" y="8444"/>
                    <a:pt x="0" y="0"/>
                  </a:cubicBezTo>
                  <a:close/>
                </a:path>
              </a:pathLst>
            </a:custGeom>
            <a:solidFill>
              <a:srgbClr val="7F7F7F"/>
            </a:solidFill>
            <a:ln w="26407" cap="flat">
              <a:noFill/>
              <a:prstDash val="solid"/>
              <a:miter/>
            </a:ln>
          </p:spPr>
          <p:txBody>
            <a:bodyPr rtlCol="0" anchor="ctr"/>
            <a:lstStyle/>
            <a:p>
              <a:endParaRPr lang="fr-FR" sz="1799"/>
            </a:p>
          </p:txBody>
        </p:sp>
        <p:sp>
          <p:nvSpPr>
            <p:cNvPr id="18" name="ZoneTexte 41">
              <a:extLst>
                <a:ext uri="{FF2B5EF4-FFF2-40B4-BE49-F238E27FC236}">
                  <a16:creationId xmlns:a16="http://schemas.microsoft.com/office/drawing/2014/main" id="{B46160CB-2224-F316-6795-623E039F93C2}"/>
                </a:ext>
              </a:extLst>
            </p:cNvPr>
            <p:cNvSpPr txBox="1"/>
            <p:nvPr/>
          </p:nvSpPr>
          <p:spPr>
            <a:xfrm>
              <a:off x="7736998" y="2492293"/>
              <a:ext cx="431529" cy="369204"/>
            </a:xfrm>
            <a:prstGeom prst="rect">
              <a:avLst/>
            </a:prstGeom>
            <a:noFill/>
          </p:spPr>
          <p:txBody>
            <a:bodyPr wrap="none" rtlCol="0" anchor="ctr">
              <a:spAutoFit/>
            </a:bodyPr>
            <a:lstStyle/>
            <a:p>
              <a:pPr algn="ctr"/>
              <a:r>
                <a:rPr lang="fr-FR" sz="1799" b="1">
                  <a:solidFill>
                    <a:schemeClr val="bg1"/>
                  </a:solidFill>
                </a:rPr>
                <a:t>05</a:t>
              </a:r>
            </a:p>
          </p:txBody>
        </p:sp>
        <p:sp>
          <p:nvSpPr>
            <p:cNvPr id="19" name="ZoneTexte 42">
              <a:extLst>
                <a:ext uri="{FF2B5EF4-FFF2-40B4-BE49-F238E27FC236}">
                  <a16:creationId xmlns:a16="http://schemas.microsoft.com/office/drawing/2014/main" id="{2B7ABC5F-CE6D-BF57-7272-C4902BFDF75B}"/>
                </a:ext>
              </a:extLst>
            </p:cNvPr>
            <p:cNvSpPr txBox="1"/>
            <p:nvPr/>
          </p:nvSpPr>
          <p:spPr>
            <a:xfrm>
              <a:off x="6475756" y="1325645"/>
              <a:ext cx="431529" cy="369204"/>
            </a:xfrm>
            <a:prstGeom prst="rect">
              <a:avLst/>
            </a:prstGeom>
            <a:noFill/>
          </p:spPr>
          <p:txBody>
            <a:bodyPr wrap="none" rtlCol="0" anchor="ctr">
              <a:spAutoFit/>
            </a:bodyPr>
            <a:lstStyle/>
            <a:p>
              <a:pPr algn="ctr"/>
              <a:r>
                <a:rPr lang="fr-FR" sz="1799" b="1"/>
                <a:t>04</a:t>
              </a:r>
            </a:p>
          </p:txBody>
        </p:sp>
        <p:sp>
          <p:nvSpPr>
            <p:cNvPr id="20" name="ZoneTexte 43">
              <a:extLst>
                <a:ext uri="{FF2B5EF4-FFF2-40B4-BE49-F238E27FC236}">
                  <a16:creationId xmlns:a16="http://schemas.microsoft.com/office/drawing/2014/main" id="{DAD1B8D5-8513-60D6-8B99-DA259EF0A34F}"/>
                </a:ext>
              </a:extLst>
            </p:cNvPr>
            <p:cNvSpPr txBox="1"/>
            <p:nvPr/>
          </p:nvSpPr>
          <p:spPr>
            <a:xfrm>
              <a:off x="4762570" y="1861672"/>
              <a:ext cx="431529" cy="369204"/>
            </a:xfrm>
            <a:prstGeom prst="rect">
              <a:avLst/>
            </a:prstGeom>
            <a:noFill/>
          </p:spPr>
          <p:txBody>
            <a:bodyPr wrap="none" rtlCol="0" anchor="ctr">
              <a:spAutoFit/>
            </a:bodyPr>
            <a:lstStyle/>
            <a:p>
              <a:pPr algn="ctr"/>
              <a:r>
                <a:rPr lang="fr-FR" sz="1799" b="1"/>
                <a:t>03</a:t>
              </a:r>
            </a:p>
          </p:txBody>
        </p:sp>
        <p:sp>
          <p:nvSpPr>
            <p:cNvPr id="21" name="ZoneTexte 44">
              <a:extLst>
                <a:ext uri="{FF2B5EF4-FFF2-40B4-BE49-F238E27FC236}">
                  <a16:creationId xmlns:a16="http://schemas.microsoft.com/office/drawing/2014/main" id="{449A57D1-28EB-B9B0-E384-4A3E94F26C17}"/>
                </a:ext>
              </a:extLst>
            </p:cNvPr>
            <p:cNvSpPr txBox="1"/>
            <p:nvPr/>
          </p:nvSpPr>
          <p:spPr>
            <a:xfrm>
              <a:off x="4405218" y="3711493"/>
              <a:ext cx="431529" cy="369204"/>
            </a:xfrm>
            <a:prstGeom prst="rect">
              <a:avLst/>
            </a:prstGeom>
            <a:noFill/>
          </p:spPr>
          <p:txBody>
            <a:bodyPr wrap="none" rtlCol="0" anchor="ctr">
              <a:spAutoFit/>
            </a:bodyPr>
            <a:lstStyle/>
            <a:p>
              <a:pPr algn="ctr"/>
              <a:r>
                <a:rPr lang="fr-FR" sz="1799" b="1"/>
                <a:t>02</a:t>
              </a:r>
            </a:p>
          </p:txBody>
        </p:sp>
        <p:sp>
          <p:nvSpPr>
            <p:cNvPr id="22" name="ZoneTexte 45">
              <a:extLst>
                <a:ext uri="{FF2B5EF4-FFF2-40B4-BE49-F238E27FC236}">
                  <a16:creationId xmlns:a16="http://schemas.microsoft.com/office/drawing/2014/main" id="{522CE421-CEBA-CD76-2A35-34DD41F59203}"/>
                </a:ext>
              </a:extLst>
            </p:cNvPr>
            <p:cNvSpPr txBox="1"/>
            <p:nvPr/>
          </p:nvSpPr>
          <p:spPr>
            <a:xfrm>
              <a:off x="5866156" y="5288045"/>
              <a:ext cx="431529" cy="369204"/>
            </a:xfrm>
            <a:prstGeom prst="rect">
              <a:avLst/>
            </a:prstGeom>
            <a:noFill/>
          </p:spPr>
          <p:txBody>
            <a:bodyPr wrap="none" rtlCol="0" anchor="ctr">
              <a:spAutoFit/>
            </a:bodyPr>
            <a:lstStyle/>
            <a:p>
              <a:pPr algn="ctr"/>
              <a:r>
                <a:rPr lang="fr-FR" sz="1799" b="1"/>
                <a:t>01</a:t>
              </a:r>
            </a:p>
          </p:txBody>
        </p:sp>
        <p:sp>
          <p:nvSpPr>
            <p:cNvPr id="24" name="Freeform: Shape 23">
              <a:extLst>
                <a:ext uri="{FF2B5EF4-FFF2-40B4-BE49-F238E27FC236}">
                  <a16:creationId xmlns:a16="http://schemas.microsoft.com/office/drawing/2014/main" id="{5ED77206-49E2-A2C6-FB96-CF6CC591A962}"/>
                </a:ext>
              </a:extLst>
            </p:cNvPr>
            <p:cNvSpPr/>
            <p:nvPr/>
          </p:nvSpPr>
          <p:spPr>
            <a:xfrm>
              <a:off x="5155563" y="1749094"/>
              <a:ext cx="1199336" cy="743135"/>
            </a:xfrm>
            <a:custGeom>
              <a:avLst/>
              <a:gdLst>
                <a:gd name="connsiteX0" fmla="*/ 1199336 w 1199336"/>
                <a:gd name="connsiteY0" fmla="*/ 0 h 743135"/>
                <a:gd name="connsiteX1" fmla="*/ 1199336 w 1199336"/>
                <a:gd name="connsiteY1" fmla="*/ 107625 h 743135"/>
                <a:gd name="connsiteX2" fmla="*/ 98420 w 1199336"/>
                <a:gd name="connsiteY2" fmla="*/ 743135 h 743135"/>
                <a:gd name="connsiteX3" fmla="*/ 0 w 1199336"/>
                <a:gd name="connsiteY3" fmla="*/ 686356 h 743135"/>
                <a:gd name="connsiteX4" fmla="*/ 34498 w 1199336"/>
                <a:gd name="connsiteY4" fmla="*/ 629571 h 743135"/>
                <a:gd name="connsiteX5" fmla="*/ 1074350 w 1199336"/>
                <a:gd name="connsiteY5" fmla="*/ 6311 h 743135"/>
                <a:gd name="connsiteX6" fmla="*/ 1199336 w 1199336"/>
                <a:gd name="connsiteY6" fmla="*/ 0 h 743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9336" h="743135">
                  <a:moveTo>
                    <a:pt x="1199336" y="0"/>
                  </a:moveTo>
                  <a:lnTo>
                    <a:pt x="1199336" y="107625"/>
                  </a:lnTo>
                  <a:cubicBezTo>
                    <a:pt x="749778" y="115806"/>
                    <a:pt x="331916" y="357026"/>
                    <a:pt x="98420" y="743135"/>
                  </a:cubicBezTo>
                  <a:lnTo>
                    <a:pt x="0" y="686356"/>
                  </a:lnTo>
                  <a:lnTo>
                    <a:pt x="34498" y="629571"/>
                  </a:lnTo>
                  <a:cubicBezTo>
                    <a:pt x="265844" y="287134"/>
                    <a:pt x="641581" y="50261"/>
                    <a:pt x="1074350" y="6311"/>
                  </a:cubicBezTo>
                  <a:lnTo>
                    <a:pt x="1199336" y="0"/>
                  </a:lnTo>
                  <a:close/>
                </a:path>
              </a:pathLst>
            </a:custGeom>
            <a:solidFill>
              <a:srgbClr val="A3A3A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sp>
          <p:nvSpPr>
            <p:cNvPr id="27" name="Freeform: Shape 26">
              <a:extLst>
                <a:ext uri="{FF2B5EF4-FFF2-40B4-BE49-F238E27FC236}">
                  <a16:creationId xmlns:a16="http://schemas.microsoft.com/office/drawing/2014/main" id="{01270B61-8019-113D-AB80-4C026AB8B115}"/>
                </a:ext>
              </a:extLst>
            </p:cNvPr>
            <p:cNvSpPr/>
            <p:nvPr/>
          </p:nvSpPr>
          <p:spPr>
            <a:xfrm>
              <a:off x="6402180" y="1749334"/>
              <a:ext cx="1195758" cy="742896"/>
            </a:xfrm>
            <a:custGeom>
              <a:avLst/>
              <a:gdLst>
                <a:gd name="connsiteX0" fmla="*/ 0 w 1195758"/>
                <a:gd name="connsiteY0" fmla="*/ 0 h 742896"/>
                <a:gd name="connsiteX1" fmla="*/ 120231 w 1195758"/>
                <a:gd name="connsiteY1" fmla="*/ 6071 h 742896"/>
                <a:gd name="connsiteX2" fmla="*/ 1160083 w 1195758"/>
                <a:gd name="connsiteY2" fmla="*/ 629331 h 742896"/>
                <a:gd name="connsiteX3" fmla="*/ 1195758 w 1195758"/>
                <a:gd name="connsiteY3" fmla="*/ 688053 h 742896"/>
                <a:gd name="connsiteX4" fmla="*/ 1100651 w 1195758"/>
                <a:gd name="connsiteY4" fmla="*/ 742896 h 742896"/>
                <a:gd name="connsiteX5" fmla="*/ 0 w 1195758"/>
                <a:gd name="connsiteY5" fmla="*/ 107121 h 742896"/>
                <a:gd name="connsiteX6" fmla="*/ 0 w 1195758"/>
                <a:gd name="connsiteY6" fmla="*/ 0 h 74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5758" h="742896">
                  <a:moveTo>
                    <a:pt x="0" y="0"/>
                  </a:moveTo>
                  <a:lnTo>
                    <a:pt x="120231" y="6071"/>
                  </a:lnTo>
                  <a:cubicBezTo>
                    <a:pt x="553001" y="50021"/>
                    <a:pt x="928737" y="286894"/>
                    <a:pt x="1160083" y="629331"/>
                  </a:cubicBezTo>
                  <a:lnTo>
                    <a:pt x="1195758" y="688053"/>
                  </a:lnTo>
                  <a:lnTo>
                    <a:pt x="1100651" y="742896"/>
                  </a:lnTo>
                  <a:cubicBezTo>
                    <a:pt x="867420" y="356786"/>
                    <a:pt x="449558" y="115302"/>
                    <a:pt x="0" y="107121"/>
                  </a:cubicBezTo>
                  <a:lnTo>
                    <a:pt x="0" y="0"/>
                  </a:lnTo>
                  <a:close/>
                </a:path>
              </a:pathLst>
            </a:custGeom>
            <a:solidFill>
              <a:srgbClr val="6C6C6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sp>
          <p:nvSpPr>
            <p:cNvPr id="28" name="Freeform: Shape 27">
              <a:extLst>
                <a:ext uri="{FF2B5EF4-FFF2-40B4-BE49-F238E27FC236}">
                  <a16:creationId xmlns:a16="http://schemas.microsoft.com/office/drawing/2014/main" id="{F842729A-8795-7DBE-4BA6-33BF13310075}"/>
                </a:ext>
              </a:extLst>
            </p:cNvPr>
            <p:cNvSpPr/>
            <p:nvPr/>
          </p:nvSpPr>
          <p:spPr>
            <a:xfrm>
              <a:off x="4945773" y="2475777"/>
              <a:ext cx="284703" cy="1390134"/>
            </a:xfrm>
            <a:custGeom>
              <a:avLst/>
              <a:gdLst>
                <a:gd name="connsiteX0" fmla="*/ 185291 w 284703"/>
                <a:gd name="connsiteY0" fmla="*/ 0 h 1390134"/>
                <a:gd name="connsiteX1" fmla="*/ 284703 w 284703"/>
                <a:gd name="connsiteY1" fmla="*/ 57361 h 1390134"/>
                <a:gd name="connsiteX2" fmla="*/ 119883 w 284703"/>
                <a:gd name="connsiteY2" fmla="*/ 692605 h 1390134"/>
                <a:gd name="connsiteX3" fmla="*/ 213486 w 284703"/>
                <a:gd name="connsiteY3" fmla="*/ 1177749 h 1390134"/>
                <a:gd name="connsiteX4" fmla="*/ 284662 w 284703"/>
                <a:gd name="connsiteY4" fmla="*/ 1327501 h 1390134"/>
                <a:gd name="connsiteX5" fmla="*/ 176099 w 284703"/>
                <a:gd name="connsiteY5" fmla="*/ 1390134 h 1390134"/>
                <a:gd name="connsiteX6" fmla="*/ 172640 w 284703"/>
                <a:gd name="connsiteY6" fmla="*/ 1384440 h 1390134"/>
                <a:gd name="connsiteX7" fmla="*/ 0 w 284703"/>
                <a:gd name="connsiteY7" fmla="*/ 702632 h 1390134"/>
                <a:gd name="connsiteX8" fmla="*/ 172640 w 284703"/>
                <a:gd name="connsiteY8" fmla="*/ 20824 h 1390134"/>
                <a:gd name="connsiteX9" fmla="*/ 185291 w 284703"/>
                <a:gd name="connsiteY9" fmla="*/ 0 h 139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703" h="1390134">
                  <a:moveTo>
                    <a:pt x="185291" y="0"/>
                  </a:moveTo>
                  <a:lnTo>
                    <a:pt x="284703" y="57361"/>
                  </a:lnTo>
                  <a:cubicBezTo>
                    <a:pt x="176936" y="251603"/>
                    <a:pt x="119883" y="470651"/>
                    <a:pt x="119883" y="692605"/>
                  </a:cubicBezTo>
                  <a:cubicBezTo>
                    <a:pt x="119883" y="859071"/>
                    <a:pt x="151976" y="1023902"/>
                    <a:pt x="213486" y="1177749"/>
                  </a:cubicBezTo>
                  <a:lnTo>
                    <a:pt x="284662" y="1327501"/>
                  </a:lnTo>
                  <a:lnTo>
                    <a:pt x="176099" y="1390134"/>
                  </a:lnTo>
                  <a:lnTo>
                    <a:pt x="172640" y="1384440"/>
                  </a:lnTo>
                  <a:cubicBezTo>
                    <a:pt x="62540" y="1181764"/>
                    <a:pt x="0" y="949502"/>
                    <a:pt x="0" y="702632"/>
                  </a:cubicBezTo>
                  <a:cubicBezTo>
                    <a:pt x="0" y="455763"/>
                    <a:pt x="62540" y="223500"/>
                    <a:pt x="172640" y="20824"/>
                  </a:cubicBezTo>
                  <a:lnTo>
                    <a:pt x="185291" y="0"/>
                  </a:lnTo>
                  <a:close/>
                </a:path>
              </a:pathLst>
            </a:custGeom>
            <a:solidFill>
              <a:srgbClr val="D9C93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sp>
          <p:nvSpPr>
            <p:cNvPr id="32" name="Freeform: Shape 31">
              <a:extLst>
                <a:ext uri="{FF2B5EF4-FFF2-40B4-BE49-F238E27FC236}">
                  <a16:creationId xmlns:a16="http://schemas.microsoft.com/office/drawing/2014/main" id="{A8A3928D-997D-CA0D-9174-562093766B4E}"/>
                </a:ext>
              </a:extLst>
            </p:cNvPr>
            <p:cNvSpPr/>
            <p:nvPr/>
          </p:nvSpPr>
          <p:spPr>
            <a:xfrm>
              <a:off x="7407479" y="2477645"/>
              <a:ext cx="399072" cy="1528088"/>
            </a:xfrm>
            <a:custGeom>
              <a:avLst/>
              <a:gdLst>
                <a:gd name="connsiteX0" fmla="*/ 214916 w 399072"/>
                <a:gd name="connsiteY0" fmla="*/ 0 h 1528088"/>
                <a:gd name="connsiteX1" fmla="*/ 226432 w 399072"/>
                <a:gd name="connsiteY1" fmla="*/ 18956 h 1528088"/>
                <a:gd name="connsiteX2" fmla="*/ 399072 w 399072"/>
                <a:gd name="connsiteY2" fmla="*/ 700764 h 1528088"/>
                <a:gd name="connsiteX3" fmla="*/ 154784 w 399072"/>
                <a:gd name="connsiteY3" fmla="*/ 1500508 h 1528088"/>
                <a:gd name="connsiteX4" fmla="*/ 134160 w 399072"/>
                <a:gd name="connsiteY4" fmla="*/ 1528088 h 1528088"/>
                <a:gd name="connsiteX5" fmla="*/ 0 w 399072"/>
                <a:gd name="connsiteY5" fmla="*/ 1311205 h 1528088"/>
                <a:gd name="connsiteX6" fmla="*/ 96145 w 399072"/>
                <a:gd name="connsiteY6" fmla="*/ 1365834 h 1528088"/>
                <a:gd name="connsiteX7" fmla="*/ 107767 w 399072"/>
                <a:gd name="connsiteY7" fmla="*/ 1345776 h 1528088"/>
                <a:gd name="connsiteX8" fmla="*/ 283945 w 399072"/>
                <a:gd name="connsiteY8" fmla="*/ 690474 h 1528088"/>
                <a:gd name="connsiteX9" fmla="*/ 284473 w 399072"/>
                <a:gd name="connsiteY9" fmla="*/ 689945 h 1528088"/>
                <a:gd name="connsiteX10" fmla="*/ 119653 w 399072"/>
                <a:gd name="connsiteY10" fmla="*/ 54965 h 1528088"/>
                <a:gd name="connsiteX11" fmla="*/ 214916 w 399072"/>
                <a:gd name="connsiteY11" fmla="*/ 0 h 152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072" h="1528088">
                  <a:moveTo>
                    <a:pt x="214916" y="0"/>
                  </a:moveTo>
                  <a:lnTo>
                    <a:pt x="226432" y="18956"/>
                  </a:lnTo>
                  <a:cubicBezTo>
                    <a:pt x="336533" y="221632"/>
                    <a:pt x="399072" y="453895"/>
                    <a:pt x="399072" y="700764"/>
                  </a:cubicBezTo>
                  <a:cubicBezTo>
                    <a:pt x="399072" y="997007"/>
                    <a:pt x="309015" y="1272217"/>
                    <a:pt x="154784" y="1500508"/>
                  </a:cubicBezTo>
                  <a:lnTo>
                    <a:pt x="134160" y="1528088"/>
                  </a:lnTo>
                  <a:lnTo>
                    <a:pt x="0" y="1311205"/>
                  </a:lnTo>
                  <a:lnTo>
                    <a:pt x="96145" y="1365834"/>
                  </a:lnTo>
                  <a:lnTo>
                    <a:pt x="107767" y="1345776"/>
                  </a:lnTo>
                  <a:cubicBezTo>
                    <a:pt x="222930" y="1146786"/>
                    <a:pt x="283945" y="920344"/>
                    <a:pt x="283945" y="690474"/>
                  </a:cubicBezTo>
                  <a:lnTo>
                    <a:pt x="284473" y="689945"/>
                  </a:lnTo>
                  <a:cubicBezTo>
                    <a:pt x="284473" y="467994"/>
                    <a:pt x="227420" y="248943"/>
                    <a:pt x="119653" y="54965"/>
                  </a:cubicBezTo>
                  <a:lnTo>
                    <a:pt x="214916" y="0"/>
                  </a:lnTo>
                  <a:close/>
                </a:path>
              </a:pathLst>
            </a:custGeom>
            <a:solidFill>
              <a:schemeClr val="tx1">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sp>
          <p:nvSpPr>
            <p:cNvPr id="33" name="Freeform: Shape 32">
              <a:extLst>
                <a:ext uri="{FF2B5EF4-FFF2-40B4-BE49-F238E27FC236}">
                  <a16:creationId xmlns:a16="http://schemas.microsoft.com/office/drawing/2014/main" id="{FDE8EE5B-F2BA-E683-E2D4-2B7B97D6FC80}"/>
                </a:ext>
              </a:extLst>
            </p:cNvPr>
            <p:cNvSpPr/>
            <p:nvPr/>
          </p:nvSpPr>
          <p:spPr>
            <a:xfrm>
              <a:off x="5230435" y="3803102"/>
              <a:ext cx="305" cy="264"/>
            </a:xfrm>
            <a:custGeom>
              <a:avLst/>
              <a:gdLst>
                <a:gd name="connsiteX0" fmla="*/ 305 w 305"/>
                <a:gd name="connsiteY0" fmla="*/ 0 h 264"/>
                <a:gd name="connsiteX1" fmla="*/ 41 w 305"/>
                <a:gd name="connsiteY1" fmla="*/ 264 h 264"/>
                <a:gd name="connsiteX2" fmla="*/ 0 w 305"/>
                <a:gd name="connsiteY2" fmla="*/ 176 h 264"/>
                <a:gd name="connsiteX3" fmla="*/ 305 w 305"/>
                <a:gd name="connsiteY3" fmla="*/ 0 h 264"/>
              </a:gdLst>
              <a:ahLst/>
              <a:cxnLst>
                <a:cxn ang="0">
                  <a:pos x="connsiteX0" y="connsiteY0"/>
                </a:cxn>
                <a:cxn ang="0">
                  <a:pos x="connsiteX1" y="connsiteY1"/>
                </a:cxn>
                <a:cxn ang="0">
                  <a:pos x="connsiteX2" y="connsiteY2"/>
                </a:cxn>
                <a:cxn ang="0">
                  <a:pos x="connsiteX3" y="connsiteY3"/>
                </a:cxn>
              </a:cxnLst>
              <a:rect l="l" t="t" r="r" b="b"/>
              <a:pathLst>
                <a:path w="305" h="264">
                  <a:moveTo>
                    <a:pt x="305" y="0"/>
                  </a:moveTo>
                  <a:lnTo>
                    <a:pt x="41" y="264"/>
                  </a:lnTo>
                  <a:lnTo>
                    <a:pt x="0" y="176"/>
                  </a:lnTo>
                  <a:lnTo>
                    <a:pt x="305"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sp>
          <p:nvSpPr>
            <p:cNvPr id="34" name="Freeform: Shape 33">
              <a:extLst>
                <a:ext uri="{FF2B5EF4-FFF2-40B4-BE49-F238E27FC236}">
                  <a16:creationId xmlns:a16="http://schemas.microsoft.com/office/drawing/2014/main" id="{1AF5455B-9BDB-4D02-C9F7-A0A700899D72}"/>
                </a:ext>
              </a:extLst>
            </p:cNvPr>
            <p:cNvSpPr/>
            <p:nvPr/>
          </p:nvSpPr>
          <p:spPr>
            <a:xfrm>
              <a:off x="5146114" y="3843743"/>
              <a:ext cx="1208522" cy="763968"/>
            </a:xfrm>
            <a:custGeom>
              <a:avLst/>
              <a:gdLst>
                <a:gd name="connsiteX0" fmla="*/ 107606 w 1208522"/>
                <a:gd name="connsiteY0" fmla="*/ 0 h 763968"/>
                <a:gd name="connsiteX1" fmla="*/ 1208522 w 1208522"/>
                <a:gd name="connsiteY1" fmla="*/ 635512 h 763968"/>
                <a:gd name="connsiteX2" fmla="*/ 1208522 w 1208522"/>
                <a:gd name="connsiteY2" fmla="*/ 763968 h 763968"/>
                <a:gd name="connsiteX3" fmla="*/ 1083799 w 1208522"/>
                <a:gd name="connsiteY3" fmla="*/ 757670 h 763968"/>
                <a:gd name="connsiteX4" fmla="*/ 43947 w 1208522"/>
                <a:gd name="connsiteY4" fmla="*/ 134410 h 763968"/>
                <a:gd name="connsiteX5" fmla="*/ 0 w 1208522"/>
                <a:gd name="connsiteY5" fmla="*/ 62071 h 763968"/>
                <a:gd name="connsiteX6" fmla="*/ 107606 w 1208522"/>
                <a:gd name="connsiteY6" fmla="*/ 0 h 76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522" h="763968">
                  <a:moveTo>
                    <a:pt x="107606" y="0"/>
                  </a:moveTo>
                  <a:cubicBezTo>
                    <a:pt x="341101" y="385845"/>
                    <a:pt x="758964" y="627329"/>
                    <a:pt x="1208522" y="635512"/>
                  </a:cubicBezTo>
                  <a:lnTo>
                    <a:pt x="1208522" y="763968"/>
                  </a:lnTo>
                  <a:lnTo>
                    <a:pt x="1083799" y="757670"/>
                  </a:lnTo>
                  <a:cubicBezTo>
                    <a:pt x="651030" y="713720"/>
                    <a:pt x="275293" y="476848"/>
                    <a:pt x="43947" y="134410"/>
                  </a:cubicBezTo>
                  <a:lnTo>
                    <a:pt x="0" y="62071"/>
                  </a:lnTo>
                  <a:lnTo>
                    <a:pt x="107606" y="0"/>
                  </a:lnTo>
                  <a:close/>
                </a:path>
              </a:pathLst>
            </a:custGeom>
            <a:solidFill>
              <a:schemeClr val="tx1">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chemeClr val="tx1"/>
                </a:solidFill>
              </a:endParaRPr>
            </a:p>
          </p:txBody>
        </p:sp>
      </p:grpSp>
      <p:pic>
        <p:nvPicPr>
          <p:cNvPr id="35" name="Graphic 13" descr="Bullseye with solid fill">
            <a:extLst>
              <a:ext uri="{FF2B5EF4-FFF2-40B4-BE49-F238E27FC236}">
                <a16:creationId xmlns:a16="http://schemas.microsoft.com/office/drawing/2014/main" id="{B7C8A446-5580-6E89-6B47-DDC1AAC4AF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2478" y="3128486"/>
            <a:ext cx="458330" cy="458330"/>
          </a:xfrm>
          <a:prstGeom prst="rect">
            <a:avLst/>
          </a:prstGeom>
        </p:spPr>
      </p:pic>
      <p:pic>
        <p:nvPicPr>
          <p:cNvPr id="36" name="Graphic 15" descr="Gears with solid fill">
            <a:extLst>
              <a:ext uri="{FF2B5EF4-FFF2-40B4-BE49-F238E27FC236}">
                <a16:creationId xmlns:a16="http://schemas.microsoft.com/office/drawing/2014/main" id="{F307C5A1-7A9D-036A-B03E-598C8B1CED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43623" y="3251520"/>
            <a:ext cx="458330" cy="458330"/>
          </a:xfrm>
          <a:prstGeom prst="rect">
            <a:avLst/>
          </a:prstGeom>
        </p:spPr>
      </p:pic>
      <p:pic>
        <p:nvPicPr>
          <p:cNvPr id="37" name="Graphic 16" descr="Hourglass 30% with solid fill">
            <a:extLst>
              <a:ext uri="{FF2B5EF4-FFF2-40B4-BE49-F238E27FC236}">
                <a16:creationId xmlns:a16="http://schemas.microsoft.com/office/drawing/2014/main" id="{DA2B80C9-12BE-A01F-13F7-3A9CB4821F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38358" y="1625801"/>
            <a:ext cx="458330" cy="458330"/>
          </a:xfrm>
          <a:prstGeom prst="rect">
            <a:avLst/>
          </a:prstGeom>
        </p:spPr>
      </p:pic>
      <p:pic>
        <p:nvPicPr>
          <p:cNvPr id="41" name="Graphic 17" descr="Lightbulb with solid fill">
            <a:extLst>
              <a:ext uri="{FF2B5EF4-FFF2-40B4-BE49-F238E27FC236}">
                <a16:creationId xmlns:a16="http://schemas.microsoft.com/office/drawing/2014/main" id="{C066E4DD-2025-50CC-6EAE-95A2A4DF6F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27082" y="4669865"/>
            <a:ext cx="458330" cy="458330"/>
          </a:xfrm>
          <a:prstGeom prst="rect">
            <a:avLst/>
          </a:prstGeom>
        </p:spPr>
      </p:pic>
      <p:pic>
        <p:nvPicPr>
          <p:cNvPr id="42" name="Graphic 18" descr="Research with solid fill">
            <a:extLst>
              <a:ext uri="{FF2B5EF4-FFF2-40B4-BE49-F238E27FC236}">
                <a16:creationId xmlns:a16="http://schemas.microsoft.com/office/drawing/2014/main" id="{C7692F18-CF17-4422-2D11-7D6C16F3D61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76969" y="1700014"/>
            <a:ext cx="458330" cy="458330"/>
          </a:xfrm>
          <a:prstGeom prst="rect">
            <a:avLst/>
          </a:prstGeom>
        </p:spPr>
      </p:pic>
      <p:pic>
        <p:nvPicPr>
          <p:cNvPr id="43" name="Graphic 31" descr="Lights On with solid fill">
            <a:extLst>
              <a:ext uri="{FF2B5EF4-FFF2-40B4-BE49-F238E27FC236}">
                <a16:creationId xmlns:a16="http://schemas.microsoft.com/office/drawing/2014/main" id="{AF551515-A9B8-E2E3-5735-83041BB9D08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036481" y="2586783"/>
            <a:ext cx="1462511" cy="1462511"/>
          </a:xfrm>
          <a:prstGeom prst="rect">
            <a:avLst/>
          </a:prstGeom>
        </p:spPr>
      </p:pic>
      <p:grpSp>
        <p:nvGrpSpPr>
          <p:cNvPr id="45" name="Group 44">
            <a:extLst>
              <a:ext uri="{FF2B5EF4-FFF2-40B4-BE49-F238E27FC236}">
                <a16:creationId xmlns:a16="http://schemas.microsoft.com/office/drawing/2014/main" id="{1B0EF635-F521-C4ED-D9DD-1AD238588652}"/>
              </a:ext>
            </a:extLst>
          </p:cNvPr>
          <p:cNvGrpSpPr/>
          <p:nvPr/>
        </p:nvGrpSpPr>
        <p:grpSpPr>
          <a:xfrm>
            <a:off x="8367499" y="1959232"/>
            <a:ext cx="3008263" cy="2693611"/>
            <a:chOff x="3984003" y="1989337"/>
            <a:chExt cx="4059114" cy="3634547"/>
          </a:xfrm>
        </p:grpSpPr>
        <p:sp>
          <p:nvSpPr>
            <p:cNvPr id="46" name="Freeform 7">
              <a:extLst>
                <a:ext uri="{FF2B5EF4-FFF2-40B4-BE49-F238E27FC236}">
                  <a16:creationId xmlns:a16="http://schemas.microsoft.com/office/drawing/2014/main" id="{38890A4C-38AC-FB60-B33F-0C7B7BE96A09}"/>
                </a:ext>
              </a:extLst>
            </p:cNvPr>
            <p:cNvSpPr>
              <a:spLocks/>
            </p:cNvSpPr>
            <p:nvPr/>
          </p:nvSpPr>
          <p:spPr bwMode="auto">
            <a:xfrm>
              <a:off x="6073065" y="3694036"/>
              <a:ext cx="1970052" cy="1929848"/>
            </a:xfrm>
            <a:custGeom>
              <a:avLst/>
              <a:gdLst>
                <a:gd name="T0" fmla="*/ 4339 w 4897"/>
                <a:gd name="T1" fmla="*/ 176 h 4802"/>
                <a:gd name="T2" fmla="*/ 3865 w 4897"/>
                <a:gd name="T3" fmla="*/ 304 h 4802"/>
                <a:gd name="T4" fmla="*/ 3490 w 4897"/>
                <a:gd name="T5" fmla="*/ 263 h 4802"/>
                <a:gd name="T6" fmla="*/ 3297 w 4897"/>
                <a:gd name="T7" fmla="*/ 592 h 4802"/>
                <a:gd name="T8" fmla="*/ 2980 w 4897"/>
                <a:gd name="T9" fmla="*/ 885 h 4802"/>
                <a:gd name="T10" fmla="*/ 2448 w 4897"/>
                <a:gd name="T11" fmla="*/ 1009 h 4802"/>
                <a:gd name="T12" fmla="*/ 1914 w 4897"/>
                <a:gd name="T13" fmla="*/ 919 h 4802"/>
                <a:gd name="T14" fmla="*/ 1787 w 4897"/>
                <a:gd name="T15" fmla="*/ 1002 h 4802"/>
                <a:gd name="T16" fmla="*/ 1284 w 4897"/>
                <a:gd name="T17" fmla="*/ 1164 h 4802"/>
                <a:gd name="T18" fmla="*/ 784 w 4897"/>
                <a:gd name="T19" fmla="*/ 1146 h 4802"/>
                <a:gd name="T20" fmla="*/ 292 w 4897"/>
                <a:gd name="T21" fmla="*/ 943 h 4802"/>
                <a:gd name="T22" fmla="*/ 23 w 4897"/>
                <a:gd name="T23" fmla="*/ 2788 h 4802"/>
                <a:gd name="T24" fmla="*/ 321 w 4897"/>
                <a:gd name="T25" fmla="*/ 3197 h 4802"/>
                <a:gd name="T26" fmla="*/ 652 w 4897"/>
                <a:gd name="T27" fmla="*/ 3346 h 4802"/>
                <a:gd name="T28" fmla="*/ 1122 w 4897"/>
                <a:gd name="T29" fmla="*/ 3337 h 4802"/>
                <a:gd name="T30" fmla="*/ 1165 w 4897"/>
                <a:gd name="T31" fmla="*/ 2986 h 4802"/>
                <a:gd name="T32" fmla="*/ 1479 w 4897"/>
                <a:gd name="T33" fmla="*/ 2768 h 4802"/>
                <a:gd name="T34" fmla="*/ 1313 w 4897"/>
                <a:gd name="T35" fmla="*/ 3280 h 4802"/>
                <a:gd name="T36" fmla="*/ 1433 w 4897"/>
                <a:gd name="T37" fmla="*/ 3663 h 4802"/>
                <a:gd name="T38" fmla="*/ 1511 w 4897"/>
                <a:gd name="T39" fmla="*/ 4013 h 4802"/>
                <a:gd name="T40" fmla="*/ 1178 w 4897"/>
                <a:gd name="T41" fmla="*/ 3585 h 4802"/>
                <a:gd name="T42" fmla="*/ 766 w 4897"/>
                <a:gd name="T43" fmla="*/ 3556 h 4802"/>
                <a:gd name="T44" fmla="*/ 280 w 4897"/>
                <a:gd name="T45" fmla="*/ 3402 h 4802"/>
                <a:gd name="T46" fmla="*/ 25 w 4897"/>
                <a:gd name="T47" fmla="*/ 3171 h 4802"/>
                <a:gd name="T48" fmla="*/ 39 w 4897"/>
                <a:gd name="T49" fmla="*/ 3747 h 4802"/>
                <a:gd name="T50" fmla="*/ 316 w 4897"/>
                <a:gd name="T51" fmla="*/ 4378 h 4802"/>
                <a:gd name="T52" fmla="*/ 785 w 4897"/>
                <a:gd name="T53" fmla="*/ 4715 h 4802"/>
                <a:gd name="T54" fmla="*/ 1353 w 4897"/>
                <a:gd name="T55" fmla="*/ 4802 h 4802"/>
                <a:gd name="T56" fmla="*/ 1929 w 4897"/>
                <a:gd name="T57" fmla="*/ 4681 h 4802"/>
                <a:gd name="T58" fmla="*/ 2422 w 4897"/>
                <a:gd name="T59" fmla="*/ 4399 h 4802"/>
                <a:gd name="T60" fmla="*/ 2719 w 4897"/>
                <a:gd name="T61" fmla="*/ 4041 h 4802"/>
                <a:gd name="T62" fmla="*/ 2868 w 4897"/>
                <a:gd name="T63" fmla="*/ 3722 h 4802"/>
                <a:gd name="T64" fmla="*/ 2897 w 4897"/>
                <a:gd name="T65" fmla="*/ 3361 h 4802"/>
                <a:gd name="T66" fmla="*/ 2663 w 4897"/>
                <a:gd name="T67" fmla="*/ 2818 h 4802"/>
                <a:gd name="T68" fmla="*/ 2338 w 4897"/>
                <a:gd name="T69" fmla="*/ 2657 h 4802"/>
                <a:gd name="T70" fmla="*/ 1930 w 4897"/>
                <a:gd name="T71" fmla="*/ 2915 h 4802"/>
                <a:gd name="T72" fmla="*/ 1938 w 4897"/>
                <a:gd name="T73" fmla="*/ 2704 h 4802"/>
                <a:gd name="T74" fmla="*/ 2360 w 4897"/>
                <a:gd name="T75" fmla="*/ 2302 h 4802"/>
                <a:gd name="T76" fmla="*/ 2451 w 4897"/>
                <a:gd name="T77" fmla="*/ 1729 h 4802"/>
                <a:gd name="T78" fmla="*/ 2643 w 4897"/>
                <a:gd name="T79" fmla="*/ 1949 h 4802"/>
                <a:gd name="T80" fmla="*/ 2590 w 4897"/>
                <a:gd name="T81" fmla="*/ 2457 h 4802"/>
                <a:gd name="T82" fmla="*/ 3025 w 4897"/>
                <a:gd name="T83" fmla="*/ 3074 h 4802"/>
                <a:gd name="T84" fmla="*/ 3091 w 4897"/>
                <a:gd name="T85" fmla="*/ 3543 h 4802"/>
                <a:gd name="T86" fmla="*/ 3025 w 4897"/>
                <a:gd name="T87" fmla="*/ 4029 h 4802"/>
                <a:gd name="T88" fmla="*/ 3720 w 4897"/>
                <a:gd name="T89" fmla="*/ 3606 h 4802"/>
                <a:gd name="T90" fmla="*/ 3978 w 4897"/>
                <a:gd name="T91" fmla="*/ 3188 h 4802"/>
                <a:gd name="T92" fmla="*/ 4052 w 4897"/>
                <a:gd name="T93" fmla="*/ 2885 h 4802"/>
                <a:gd name="T94" fmla="*/ 4001 w 4897"/>
                <a:gd name="T95" fmla="*/ 2291 h 4802"/>
                <a:gd name="T96" fmla="*/ 3759 w 4897"/>
                <a:gd name="T97" fmla="*/ 1921 h 4802"/>
                <a:gd name="T98" fmla="*/ 3137 w 4897"/>
                <a:gd name="T99" fmla="*/ 1595 h 4802"/>
                <a:gd name="T100" fmla="*/ 3518 w 4897"/>
                <a:gd name="T101" fmla="*/ 1531 h 4802"/>
                <a:gd name="T102" fmla="*/ 4079 w 4897"/>
                <a:gd name="T103" fmla="*/ 2013 h 4802"/>
                <a:gd name="T104" fmla="*/ 4245 w 4897"/>
                <a:gd name="T105" fmla="*/ 2477 h 4802"/>
                <a:gd name="T106" fmla="*/ 4503 w 4897"/>
                <a:gd name="T107" fmla="*/ 2188 h 4802"/>
                <a:gd name="T108" fmla="*/ 4571 w 4897"/>
                <a:gd name="T109" fmla="*/ 1775 h 4802"/>
                <a:gd name="T110" fmla="*/ 4658 w 4897"/>
                <a:gd name="T111" fmla="*/ 1470 h 4802"/>
                <a:gd name="T112" fmla="*/ 4892 w 4897"/>
                <a:gd name="T113" fmla="*/ 915 h 4802"/>
                <a:gd name="T114" fmla="*/ 4812 w 4897"/>
                <a:gd name="T115" fmla="*/ 360 h 4802"/>
                <a:gd name="T116" fmla="*/ 4560 w 4897"/>
                <a:gd name="T117" fmla="*/ 0 h 4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97" h="4802">
                  <a:moveTo>
                    <a:pt x="4560" y="0"/>
                  </a:moveTo>
                  <a:lnTo>
                    <a:pt x="4532" y="28"/>
                  </a:lnTo>
                  <a:lnTo>
                    <a:pt x="4474" y="81"/>
                  </a:lnTo>
                  <a:lnTo>
                    <a:pt x="4411" y="131"/>
                  </a:lnTo>
                  <a:lnTo>
                    <a:pt x="4339" y="176"/>
                  </a:lnTo>
                  <a:lnTo>
                    <a:pt x="4303" y="197"/>
                  </a:lnTo>
                  <a:lnTo>
                    <a:pt x="4240" y="228"/>
                  </a:lnTo>
                  <a:lnTo>
                    <a:pt x="4114" y="271"/>
                  </a:lnTo>
                  <a:lnTo>
                    <a:pt x="3988" y="295"/>
                  </a:lnTo>
                  <a:lnTo>
                    <a:pt x="3865" y="304"/>
                  </a:lnTo>
                  <a:lnTo>
                    <a:pt x="3807" y="303"/>
                  </a:lnTo>
                  <a:lnTo>
                    <a:pt x="3757" y="302"/>
                  </a:lnTo>
                  <a:lnTo>
                    <a:pt x="3664" y="295"/>
                  </a:lnTo>
                  <a:lnTo>
                    <a:pt x="3575" y="282"/>
                  </a:lnTo>
                  <a:lnTo>
                    <a:pt x="3490" y="263"/>
                  </a:lnTo>
                  <a:lnTo>
                    <a:pt x="3450" y="251"/>
                  </a:lnTo>
                  <a:lnTo>
                    <a:pt x="3433" y="306"/>
                  </a:lnTo>
                  <a:lnTo>
                    <a:pt x="3394" y="409"/>
                  </a:lnTo>
                  <a:lnTo>
                    <a:pt x="3349" y="504"/>
                  </a:lnTo>
                  <a:lnTo>
                    <a:pt x="3297" y="592"/>
                  </a:lnTo>
                  <a:lnTo>
                    <a:pt x="3239" y="671"/>
                  </a:lnTo>
                  <a:lnTo>
                    <a:pt x="3173" y="742"/>
                  </a:lnTo>
                  <a:lnTo>
                    <a:pt x="3100" y="806"/>
                  </a:lnTo>
                  <a:lnTo>
                    <a:pt x="3023" y="860"/>
                  </a:lnTo>
                  <a:lnTo>
                    <a:pt x="2980" y="885"/>
                  </a:lnTo>
                  <a:lnTo>
                    <a:pt x="2915" y="919"/>
                  </a:lnTo>
                  <a:lnTo>
                    <a:pt x="2780" y="967"/>
                  </a:lnTo>
                  <a:lnTo>
                    <a:pt x="2645" y="997"/>
                  </a:lnTo>
                  <a:lnTo>
                    <a:pt x="2513" y="1009"/>
                  </a:lnTo>
                  <a:lnTo>
                    <a:pt x="2448" y="1009"/>
                  </a:lnTo>
                  <a:lnTo>
                    <a:pt x="2395" y="1009"/>
                  </a:lnTo>
                  <a:lnTo>
                    <a:pt x="2294" y="1003"/>
                  </a:lnTo>
                  <a:lnTo>
                    <a:pt x="2157" y="984"/>
                  </a:lnTo>
                  <a:lnTo>
                    <a:pt x="1953" y="933"/>
                  </a:lnTo>
                  <a:lnTo>
                    <a:pt x="1914" y="919"/>
                  </a:lnTo>
                  <a:lnTo>
                    <a:pt x="1918" y="910"/>
                  </a:lnTo>
                  <a:lnTo>
                    <a:pt x="1916" y="912"/>
                  </a:lnTo>
                  <a:lnTo>
                    <a:pt x="1913" y="914"/>
                  </a:lnTo>
                  <a:lnTo>
                    <a:pt x="1873" y="946"/>
                  </a:lnTo>
                  <a:lnTo>
                    <a:pt x="1787" y="1002"/>
                  </a:lnTo>
                  <a:lnTo>
                    <a:pt x="1698" y="1050"/>
                  </a:lnTo>
                  <a:lnTo>
                    <a:pt x="1602" y="1091"/>
                  </a:lnTo>
                  <a:lnTo>
                    <a:pt x="1501" y="1122"/>
                  </a:lnTo>
                  <a:lnTo>
                    <a:pt x="1396" y="1147"/>
                  </a:lnTo>
                  <a:lnTo>
                    <a:pt x="1284" y="1164"/>
                  </a:lnTo>
                  <a:lnTo>
                    <a:pt x="1168" y="1171"/>
                  </a:lnTo>
                  <a:lnTo>
                    <a:pt x="1107" y="1171"/>
                  </a:lnTo>
                  <a:lnTo>
                    <a:pt x="1030" y="1170"/>
                  </a:lnTo>
                  <a:lnTo>
                    <a:pt x="868" y="1159"/>
                  </a:lnTo>
                  <a:lnTo>
                    <a:pt x="784" y="1146"/>
                  </a:lnTo>
                  <a:lnTo>
                    <a:pt x="724" y="1135"/>
                  </a:lnTo>
                  <a:lnTo>
                    <a:pt x="607" y="1103"/>
                  </a:lnTo>
                  <a:lnTo>
                    <a:pt x="495" y="1059"/>
                  </a:lnTo>
                  <a:lnTo>
                    <a:pt x="390" y="1006"/>
                  </a:lnTo>
                  <a:lnTo>
                    <a:pt x="292" y="943"/>
                  </a:lnTo>
                  <a:lnTo>
                    <a:pt x="200" y="876"/>
                  </a:lnTo>
                  <a:lnTo>
                    <a:pt x="74" y="768"/>
                  </a:lnTo>
                  <a:lnTo>
                    <a:pt x="0" y="696"/>
                  </a:lnTo>
                  <a:lnTo>
                    <a:pt x="0" y="2727"/>
                  </a:lnTo>
                  <a:lnTo>
                    <a:pt x="23" y="2788"/>
                  </a:lnTo>
                  <a:lnTo>
                    <a:pt x="85" y="2917"/>
                  </a:lnTo>
                  <a:lnTo>
                    <a:pt x="149" y="3017"/>
                  </a:lnTo>
                  <a:lnTo>
                    <a:pt x="200" y="3081"/>
                  </a:lnTo>
                  <a:lnTo>
                    <a:pt x="257" y="3142"/>
                  </a:lnTo>
                  <a:lnTo>
                    <a:pt x="321" y="3197"/>
                  </a:lnTo>
                  <a:lnTo>
                    <a:pt x="358" y="3223"/>
                  </a:lnTo>
                  <a:lnTo>
                    <a:pt x="395" y="3248"/>
                  </a:lnTo>
                  <a:lnTo>
                    <a:pt x="476" y="3291"/>
                  </a:lnTo>
                  <a:lnTo>
                    <a:pt x="561" y="3323"/>
                  </a:lnTo>
                  <a:lnTo>
                    <a:pt x="652" y="3346"/>
                  </a:lnTo>
                  <a:lnTo>
                    <a:pt x="748" y="3361"/>
                  </a:lnTo>
                  <a:lnTo>
                    <a:pt x="848" y="3366"/>
                  </a:lnTo>
                  <a:lnTo>
                    <a:pt x="954" y="3362"/>
                  </a:lnTo>
                  <a:lnTo>
                    <a:pt x="1065" y="3348"/>
                  </a:lnTo>
                  <a:lnTo>
                    <a:pt x="1122" y="3337"/>
                  </a:lnTo>
                  <a:lnTo>
                    <a:pt x="1120" y="3302"/>
                  </a:lnTo>
                  <a:lnTo>
                    <a:pt x="1121" y="3228"/>
                  </a:lnTo>
                  <a:lnTo>
                    <a:pt x="1129" y="3151"/>
                  </a:lnTo>
                  <a:lnTo>
                    <a:pt x="1143" y="3070"/>
                  </a:lnTo>
                  <a:lnTo>
                    <a:pt x="1165" y="2986"/>
                  </a:lnTo>
                  <a:lnTo>
                    <a:pt x="1196" y="2899"/>
                  </a:lnTo>
                  <a:lnTo>
                    <a:pt x="1236" y="2809"/>
                  </a:lnTo>
                  <a:lnTo>
                    <a:pt x="1287" y="2715"/>
                  </a:lnTo>
                  <a:lnTo>
                    <a:pt x="1316" y="2667"/>
                  </a:lnTo>
                  <a:lnTo>
                    <a:pt x="1479" y="2768"/>
                  </a:lnTo>
                  <a:lnTo>
                    <a:pt x="1440" y="2833"/>
                  </a:lnTo>
                  <a:lnTo>
                    <a:pt x="1380" y="2956"/>
                  </a:lnTo>
                  <a:lnTo>
                    <a:pt x="1340" y="3072"/>
                  </a:lnTo>
                  <a:lnTo>
                    <a:pt x="1319" y="3179"/>
                  </a:lnTo>
                  <a:lnTo>
                    <a:pt x="1313" y="3280"/>
                  </a:lnTo>
                  <a:lnTo>
                    <a:pt x="1319" y="3372"/>
                  </a:lnTo>
                  <a:lnTo>
                    <a:pt x="1338" y="3457"/>
                  </a:lnTo>
                  <a:lnTo>
                    <a:pt x="1363" y="3533"/>
                  </a:lnTo>
                  <a:lnTo>
                    <a:pt x="1397" y="3602"/>
                  </a:lnTo>
                  <a:lnTo>
                    <a:pt x="1433" y="3663"/>
                  </a:lnTo>
                  <a:lnTo>
                    <a:pt x="1493" y="3739"/>
                  </a:lnTo>
                  <a:lnTo>
                    <a:pt x="1599" y="3840"/>
                  </a:lnTo>
                  <a:lnTo>
                    <a:pt x="1625" y="3857"/>
                  </a:lnTo>
                  <a:lnTo>
                    <a:pt x="1522" y="4018"/>
                  </a:lnTo>
                  <a:lnTo>
                    <a:pt x="1511" y="4013"/>
                  </a:lnTo>
                  <a:lnTo>
                    <a:pt x="1432" y="3948"/>
                  </a:lnTo>
                  <a:lnTo>
                    <a:pt x="1347" y="3858"/>
                  </a:lnTo>
                  <a:lnTo>
                    <a:pt x="1286" y="3781"/>
                  </a:lnTo>
                  <a:lnTo>
                    <a:pt x="1227" y="3690"/>
                  </a:lnTo>
                  <a:lnTo>
                    <a:pt x="1178" y="3585"/>
                  </a:lnTo>
                  <a:lnTo>
                    <a:pt x="1159" y="3527"/>
                  </a:lnTo>
                  <a:lnTo>
                    <a:pt x="1078" y="3541"/>
                  </a:lnTo>
                  <a:lnTo>
                    <a:pt x="925" y="3556"/>
                  </a:lnTo>
                  <a:lnTo>
                    <a:pt x="851" y="3558"/>
                  </a:lnTo>
                  <a:lnTo>
                    <a:pt x="766" y="3556"/>
                  </a:lnTo>
                  <a:lnTo>
                    <a:pt x="604" y="3533"/>
                  </a:lnTo>
                  <a:lnTo>
                    <a:pt x="490" y="3502"/>
                  </a:lnTo>
                  <a:lnTo>
                    <a:pt x="417" y="3475"/>
                  </a:lnTo>
                  <a:lnTo>
                    <a:pt x="347" y="3441"/>
                  </a:lnTo>
                  <a:lnTo>
                    <a:pt x="280" y="3402"/>
                  </a:lnTo>
                  <a:lnTo>
                    <a:pt x="247" y="3380"/>
                  </a:lnTo>
                  <a:lnTo>
                    <a:pt x="210" y="3354"/>
                  </a:lnTo>
                  <a:lnTo>
                    <a:pt x="141" y="3296"/>
                  </a:lnTo>
                  <a:lnTo>
                    <a:pt x="80" y="3235"/>
                  </a:lnTo>
                  <a:lnTo>
                    <a:pt x="25" y="3171"/>
                  </a:lnTo>
                  <a:lnTo>
                    <a:pt x="0" y="3138"/>
                  </a:lnTo>
                  <a:lnTo>
                    <a:pt x="0" y="3306"/>
                  </a:lnTo>
                  <a:lnTo>
                    <a:pt x="1" y="3402"/>
                  </a:lnTo>
                  <a:lnTo>
                    <a:pt x="14" y="3581"/>
                  </a:lnTo>
                  <a:lnTo>
                    <a:pt x="39" y="3747"/>
                  </a:lnTo>
                  <a:lnTo>
                    <a:pt x="75" y="3899"/>
                  </a:lnTo>
                  <a:lnTo>
                    <a:pt x="120" y="4037"/>
                  </a:lnTo>
                  <a:lnTo>
                    <a:pt x="177" y="4163"/>
                  </a:lnTo>
                  <a:lnTo>
                    <a:pt x="242" y="4277"/>
                  </a:lnTo>
                  <a:lnTo>
                    <a:pt x="316" y="4378"/>
                  </a:lnTo>
                  <a:lnTo>
                    <a:pt x="398" y="4468"/>
                  </a:lnTo>
                  <a:lnTo>
                    <a:pt x="486" y="4547"/>
                  </a:lnTo>
                  <a:lnTo>
                    <a:pt x="581" y="4613"/>
                  </a:lnTo>
                  <a:lnTo>
                    <a:pt x="680" y="4670"/>
                  </a:lnTo>
                  <a:lnTo>
                    <a:pt x="785" y="4715"/>
                  </a:lnTo>
                  <a:lnTo>
                    <a:pt x="893" y="4751"/>
                  </a:lnTo>
                  <a:lnTo>
                    <a:pt x="1006" y="4777"/>
                  </a:lnTo>
                  <a:lnTo>
                    <a:pt x="1120" y="4794"/>
                  </a:lnTo>
                  <a:lnTo>
                    <a:pt x="1235" y="4802"/>
                  </a:lnTo>
                  <a:lnTo>
                    <a:pt x="1353" y="4802"/>
                  </a:lnTo>
                  <a:lnTo>
                    <a:pt x="1470" y="4793"/>
                  </a:lnTo>
                  <a:lnTo>
                    <a:pt x="1588" y="4776"/>
                  </a:lnTo>
                  <a:lnTo>
                    <a:pt x="1703" y="4751"/>
                  </a:lnTo>
                  <a:lnTo>
                    <a:pt x="1817" y="4720"/>
                  </a:lnTo>
                  <a:lnTo>
                    <a:pt x="1929" y="4681"/>
                  </a:lnTo>
                  <a:lnTo>
                    <a:pt x="2037" y="4636"/>
                  </a:lnTo>
                  <a:lnTo>
                    <a:pt x="2141" y="4586"/>
                  </a:lnTo>
                  <a:lnTo>
                    <a:pt x="2241" y="4528"/>
                  </a:lnTo>
                  <a:lnTo>
                    <a:pt x="2334" y="4466"/>
                  </a:lnTo>
                  <a:lnTo>
                    <a:pt x="2422" y="4399"/>
                  </a:lnTo>
                  <a:lnTo>
                    <a:pt x="2503" y="4326"/>
                  </a:lnTo>
                  <a:lnTo>
                    <a:pt x="2575" y="4250"/>
                  </a:lnTo>
                  <a:lnTo>
                    <a:pt x="2640" y="4169"/>
                  </a:lnTo>
                  <a:lnTo>
                    <a:pt x="2696" y="4085"/>
                  </a:lnTo>
                  <a:lnTo>
                    <a:pt x="2719" y="4041"/>
                  </a:lnTo>
                  <a:lnTo>
                    <a:pt x="2726" y="4042"/>
                  </a:lnTo>
                  <a:lnTo>
                    <a:pt x="2733" y="4044"/>
                  </a:lnTo>
                  <a:lnTo>
                    <a:pt x="2767" y="3982"/>
                  </a:lnTo>
                  <a:lnTo>
                    <a:pt x="2831" y="3840"/>
                  </a:lnTo>
                  <a:lnTo>
                    <a:pt x="2868" y="3722"/>
                  </a:lnTo>
                  <a:lnTo>
                    <a:pt x="2886" y="3639"/>
                  </a:lnTo>
                  <a:lnTo>
                    <a:pt x="2898" y="3552"/>
                  </a:lnTo>
                  <a:lnTo>
                    <a:pt x="2902" y="3463"/>
                  </a:lnTo>
                  <a:lnTo>
                    <a:pt x="2901" y="3418"/>
                  </a:lnTo>
                  <a:lnTo>
                    <a:pt x="2897" y="3361"/>
                  </a:lnTo>
                  <a:lnTo>
                    <a:pt x="2877" y="3248"/>
                  </a:lnTo>
                  <a:lnTo>
                    <a:pt x="2844" y="3138"/>
                  </a:lnTo>
                  <a:lnTo>
                    <a:pt x="2797" y="3029"/>
                  </a:lnTo>
                  <a:lnTo>
                    <a:pt x="2737" y="2923"/>
                  </a:lnTo>
                  <a:lnTo>
                    <a:pt x="2663" y="2818"/>
                  </a:lnTo>
                  <a:lnTo>
                    <a:pt x="2577" y="2714"/>
                  </a:lnTo>
                  <a:lnTo>
                    <a:pt x="2477" y="2613"/>
                  </a:lnTo>
                  <a:lnTo>
                    <a:pt x="2421" y="2564"/>
                  </a:lnTo>
                  <a:lnTo>
                    <a:pt x="2395" y="2596"/>
                  </a:lnTo>
                  <a:lnTo>
                    <a:pt x="2338" y="2657"/>
                  </a:lnTo>
                  <a:lnTo>
                    <a:pt x="2273" y="2716"/>
                  </a:lnTo>
                  <a:lnTo>
                    <a:pt x="2201" y="2772"/>
                  </a:lnTo>
                  <a:lnTo>
                    <a:pt x="2120" y="2824"/>
                  </a:lnTo>
                  <a:lnTo>
                    <a:pt x="2030" y="2872"/>
                  </a:lnTo>
                  <a:lnTo>
                    <a:pt x="1930" y="2915"/>
                  </a:lnTo>
                  <a:lnTo>
                    <a:pt x="1820" y="2951"/>
                  </a:lnTo>
                  <a:lnTo>
                    <a:pt x="1760" y="2967"/>
                  </a:lnTo>
                  <a:lnTo>
                    <a:pt x="1713" y="2781"/>
                  </a:lnTo>
                  <a:lnTo>
                    <a:pt x="1795" y="2758"/>
                  </a:lnTo>
                  <a:lnTo>
                    <a:pt x="1938" y="2704"/>
                  </a:lnTo>
                  <a:lnTo>
                    <a:pt x="2058" y="2637"/>
                  </a:lnTo>
                  <a:lnTo>
                    <a:pt x="2159" y="2561"/>
                  </a:lnTo>
                  <a:lnTo>
                    <a:pt x="2242" y="2479"/>
                  </a:lnTo>
                  <a:lnTo>
                    <a:pt x="2310" y="2391"/>
                  </a:lnTo>
                  <a:lnTo>
                    <a:pt x="2360" y="2302"/>
                  </a:lnTo>
                  <a:lnTo>
                    <a:pt x="2399" y="2210"/>
                  </a:lnTo>
                  <a:lnTo>
                    <a:pt x="2426" y="2120"/>
                  </a:lnTo>
                  <a:lnTo>
                    <a:pt x="2444" y="2033"/>
                  </a:lnTo>
                  <a:lnTo>
                    <a:pt x="2457" y="1913"/>
                  </a:lnTo>
                  <a:lnTo>
                    <a:pt x="2451" y="1729"/>
                  </a:lnTo>
                  <a:lnTo>
                    <a:pt x="2443" y="1691"/>
                  </a:lnTo>
                  <a:lnTo>
                    <a:pt x="2632" y="1654"/>
                  </a:lnTo>
                  <a:lnTo>
                    <a:pt x="2635" y="1668"/>
                  </a:lnTo>
                  <a:lnTo>
                    <a:pt x="2647" y="1795"/>
                  </a:lnTo>
                  <a:lnTo>
                    <a:pt x="2643" y="1949"/>
                  </a:lnTo>
                  <a:lnTo>
                    <a:pt x="2630" y="2068"/>
                  </a:lnTo>
                  <a:lnTo>
                    <a:pt x="2601" y="2198"/>
                  </a:lnTo>
                  <a:lnTo>
                    <a:pt x="2556" y="2332"/>
                  </a:lnTo>
                  <a:lnTo>
                    <a:pt x="2523" y="2399"/>
                  </a:lnTo>
                  <a:lnTo>
                    <a:pt x="2590" y="2457"/>
                  </a:lnTo>
                  <a:lnTo>
                    <a:pt x="2709" y="2574"/>
                  </a:lnTo>
                  <a:lnTo>
                    <a:pt x="2811" y="2694"/>
                  </a:lnTo>
                  <a:lnTo>
                    <a:pt x="2899" y="2819"/>
                  </a:lnTo>
                  <a:lnTo>
                    <a:pt x="2971" y="2945"/>
                  </a:lnTo>
                  <a:lnTo>
                    <a:pt x="3025" y="3074"/>
                  </a:lnTo>
                  <a:lnTo>
                    <a:pt x="3065" y="3206"/>
                  </a:lnTo>
                  <a:lnTo>
                    <a:pt x="3087" y="3341"/>
                  </a:lnTo>
                  <a:lnTo>
                    <a:pt x="3092" y="3410"/>
                  </a:lnTo>
                  <a:lnTo>
                    <a:pt x="3094" y="3455"/>
                  </a:lnTo>
                  <a:lnTo>
                    <a:pt x="3091" y="3543"/>
                  </a:lnTo>
                  <a:lnTo>
                    <a:pt x="3077" y="3672"/>
                  </a:lnTo>
                  <a:lnTo>
                    <a:pt x="3038" y="3831"/>
                  </a:lnTo>
                  <a:lnTo>
                    <a:pt x="2984" y="3976"/>
                  </a:lnTo>
                  <a:lnTo>
                    <a:pt x="2953" y="4042"/>
                  </a:lnTo>
                  <a:lnTo>
                    <a:pt x="3025" y="4029"/>
                  </a:lnTo>
                  <a:lnTo>
                    <a:pt x="3177" y="3984"/>
                  </a:lnTo>
                  <a:lnTo>
                    <a:pt x="3330" y="3915"/>
                  </a:lnTo>
                  <a:lnTo>
                    <a:pt x="3479" y="3822"/>
                  </a:lnTo>
                  <a:lnTo>
                    <a:pt x="3621" y="3707"/>
                  </a:lnTo>
                  <a:lnTo>
                    <a:pt x="3720" y="3606"/>
                  </a:lnTo>
                  <a:lnTo>
                    <a:pt x="3781" y="3533"/>
                  </a:lnTo>
                  <a:lnTo>
                    <a:pt x="3838" y="3454"/>
                  </a:lnTo>
                  <a:lnTo>
                    <a:pt x="3890" y="3370"/>
                  </a:lnTo>
                  <a:lnTo>
                    <a:pt x="3936" y="3282"/>
                  </a:lnTo>
                  <a:lnTo>
                    <a:pt x="3978" y="3188"/>
                  </a:lnTo>
                  <a:lnTo>
                    <a:pt x="3996" y="3139"/>
                  </a:lnTo>
                  <a:lnTo>
                    <a:pt x="3993" y="3139"/>
                  </a:lnTo>
                  <a:lnTo>
                    <a:pt x="4001" y="3121"/>
                  </a:lnTo>
                  <a:lnTo>
                    <a:pt x="4031" y="3002"/>
                  </a:lnTo>
                  <a:lnTo>
                    <a:pt x="4052" y="2885"/>
                  </a:lnTo>
                  <a:lnTo>
                    <a:pt x="4065" y="2745"/>
                  </a:lnTo>
                  <a:lnTo>
                    <a:pt x="4063" y="2587"/>
                  </a:lnTo>
                  <a:lnTo>
                    <a:pt x="4046" y="2462"/>
                  </a:lnTo>
                  <a:lnTo>
                    <a:pt x="4028" y="2377"/>
                  </a:lnTo>
                  <a:lnTo>
                    <a:pt x="4001" y="2291"/>
                  </a:lnTo>
                  <a:lnTo>
                    <a:pt x="3966" y="2206"/>
                  </a:lnTo>
                  <a:lnTo>
                    <a:pt x="3944" y="2164"/>
                  </a:lnTo>
                  <a:lnTo>
                    <a:pt x="3914" y="2111"/>
                  </a:lnTo>
                  <a:lnTo>
                    <a:pt x="3843" y="2011"/>
                  </a:lnTo>
                  <a:lnTo>
                    <a:pt x="3759" y="1921"/>
                  </a:lnTo>
                  <a:lnTo>
                    <a:pt x="3660" y="1839"/>
                  </a:lnTo>
                  <a:lnTo>
                    <a:pt x="3549" y="1765"/>
                  </a:lnTo>
                  <a:lnTo>
                    <a:pt x="3424" y="1699"/>
                  </a:lnTo>
                  <a:lnTo>
                    <a:pt x="3287" y="1643"/>
                  </a:lnTo>
                  <a:lnTo>
                    <a:pt x="3137" y="1595"/>
                  </a:lnTo>
                  <a:lnTo>
                    <a:pt x="3056" y="1575"/>
                  </a:lnTo>
                  <a:lnTo>
                    <a:pt x="3102" y="1388"/>
                  </a:lnTo>
                  <a:lnTo>
                    <a:pt x="3192" y="1411"/>
                  </a:lnTo>
                  <a:lnTo>
                    <a:pt x="3362" y="1466"/>
                  </a:lnTo>
                  <a:lnTo>
                    <a:pt x="3518" y="1531"/>
                  </a:lnTo>
                  <a:lnTo>
                    <a:pt x="3659" y="1607"/>
                  </a:lnTo>
                  <a:lnTo>
                    <a:pt x="3786" y="1693"/>
                  </a:lnTo>
                  <a:lnTo>
                    <a:pt x="3899" y="1788"/>
                  </a:lnTo>
                  <a:lnTo>
                    <a:pt x="3996" y="1896"/>
                  </a:lnTo>
                  <a:lnTo>
                    <a:pt x="4079" y="2013"/>
                  </a:lnTo>
                  <a:lnTo>
                    <a:pt x="4114" y="2075"/>
                  </a:lnTo>
                  <a:lnTo>
                    <a:pt x="4144" y="2133"/>
                  </a:lnTo>
                  <a:lnTo>
                    <a:pt x="4190" y="2249"/>
                  </a:lnTo>
                  <a:lnTo>
                    <a:pt x="4223" y="2364"/>
                  </a:lnTo>
                  <a:lnTo>
                    <a:pt x="4245" y="2477"/>
                  </a:lnTo>
                  <a:lnTo>
                    <a:pt x="4251" y="2532"/>
                  </a:lnTo>
                  <a:lnTo>
                    <a:pt x="4289" y="2494"/>
                  </a:lnTo>
                  <a:lnTo>
                    <a:pt x="4365" y="2403"/>
                  </a:lnTo>
                  <a:lnTo>
                    <a:pt x="4439" y="2300"/>
                  </a:lnTo>
                  <a:lnTo>
                    <a:pt x="4503" y="2188"/>
                  </a:lnTo>
                  <a:lnTo>
                    <a:pt x="4552" y="2066"/>
                  </a:lnTo>
                  <a:lnTo>
                    <a:pt x="4573" y="1971"/>
                  </a:lnTo>
                  <a:lnTo>
                    <a:pt x="4580" y="1908"/>
                  </a:lnTo>
                  <a:lnTo>
                    <a:pt x="4580" y="1842"/>
                  </a:lnTo>
                  <a:lnTo>
                    <a:pt x="4571" y="1775"/>
                  </a:lnTo>
                  <a:lnTo>
                    <a:pt x="4555" y="1709"/>
                  </a:lnTo>
                  <a:lnTo>
                    <a:pt x="4529" y="1643"/>
                  </a:lnTo>
                  <a:lnTo>
                    <a:pt x="4510" y="1610"/>
                  </a:lnTo>
                  <a:lnTo>
                    <a:pt x="4565" y="1566"/>
                  </a:lnTo>
                  <a:lnTo>
                    <a:pt x="4658" y="1470"/>
                  </a:lnTo>
                  <a:lnTo>
                    <a:pt x="4735" y="1366"/>
                  </a:lnTo>
                  <a:lnTo>
                    <a:pt x="4796" y="1258"/>
                  </a:lnTo>
                  <a:lnTo>
                    <a:pt x="4841" y="1146"/>
                  </a:lnTo>
                  <a:lnTo>
                    <a:pt x="4872" y="1030"/>
                  </a:lnTo>
                  <a:lnTo>
                    <a:pt x="4892" y="915"/>
                  </a:lnTo>
                  <a:lnTo>
                    <a:pt x="4897" y="798"/>
                  </a:lnTo>
                  <a:lnTo>
                    <a:pt x="4892" y="683"/>
                  </a:lnTo>
                  <a:lnTo>
                    <a:pt x="4875" y="571"/>
                  </a:lnTo>
                  <a:lnTo>
                    <a:pt x="4849" y="463"/>
                  </a:lnTo>
                  <a:lnTo>
                    <a:pt x="4812" y="360"/>
                  </a:lnTo>
                  <a:lnTo>
                    <a:pt x="4768" y="264"/>
                  </a:lnTo>
                  <a:lnTo>
                    <a:pt x="4717" y="176"/>
                  </a:lnTo>
                  <a:lnTo>
                    <a:pt x="4658" y="97"/>
                  </a:lnTo>
                  <a:lnTo>
                    <a:pt x="4593" y="28"/>
                  </a:lnTo>
                  <a:lnTo>
                    <a:pt x="4560" y="0"/>
                  </a:lnTo>
                  <a:close/>
                </a:path>
              </a:pathLst>
            </a:custGeom>
            <a:solidFill>
              <a:srgbClr val="C0C0C1"/>
            </a:solidFill>
            <a:ln>
              <a:noFill/>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
          <p:nvSpPr>
            <p:cNvPr id="47" name="Freeform: Shape 46">
              <a:extLst>
                <a:ext uri="{FF2B5EF4-FFF2-40B4-BE49-F238E27FC236}">
                  <a16:creationId xmlns:a16="http://schemas.microsoft.com/office/drawing/2014/main" id="{DDBC446F-0B84-932F-BCFF-B5AB77A2EB9D}"/>
                </a:ext>
              </a:extLst>
            </p:cNvPr>
            <p:cNvSpPr>
              <a:spLocks/>
            </p:cNvSpPr>
            <p:nvPr/>
          </p:nvSpPr>
          <p:spPr bwMode="auto">
            <a:xfrm>
              <a:off x="6073064" y="1989337"/>
              <a:ext cx="1849436" cy="2098711"/>
            </a:xfrm>
            <a:custGeom>
              <a:avLst/>
              <a:gdLst>
                <a:gd name="connsiteX0" fmla="*/ 874060 w 1849436"/>
                <a:gd name="connsiteY0" fmla="*/ 254097 h 2098711"/>
                <a:gd name="connsiteX1" fmla="*/ 918285 w 1849436"/>
                <a:gd name="connsiteY1" fmla="*/ 256911 h 2098711"/>
                <a:gd name="connsiteX2" fmla="*/ 961305 w 1849436"/>
                <a:gd name="connsiteY2" fmla="*/ 264550 h 2098711"/>
                <a:gd name="connsiteX3" fmla="*/ 1003520 w 1849436"/>
                <a:gd name="connsiteY3" fmla="*/ 276612 h 2098711"/>
                <a:gd name="connsiteX4" fmla="*/ 1043725 w 1849436"/>
                <a:gd name="connsiteY4" fmla="*/ 293096 h 2098711"/>
                <a:gd name="connsiteX5" fmla="*/ 1081920 w 1849436"/>
                <a:gd name="connsiteY5" fmla="*/ 313601 h 2098711"/>
                <a:gd name="connsiteX6" fmla="*/ 1117703 w 1849436"/>
                <a:gd name="connsiteY6" fmla="*/ 337322 h 2098711"/>
                <a:gd name="connsiteX7" fmla="*/ 1151073 w 1849436"/>
                <a:gd name="connsiteY7" fmla="*/ 364259 h 2098711"/>
                <a:gd name="connsiteX8" fmla="*/ 1181227 w 1849436"/>
                <a:gd name="connsiteY8" fmla="*/ 393207 h 2098711"/>
                <a:gd name="connsiteX9" fmla="*/ 1208566 w 1849436"/>
                <a:gd name="connsiteY9" fmla="*/ 424165 h 2098711"/>
                <a:gd name="connsiteX10" fmla="*/ 1233092 w 1849436"/>
                <a:gd name="connsiteY10" fmla="*/ 456329 h 2098711"/>
                <a:gd name="connsiteX11" fmla="*/ 1253194 w 1849436"/>
                <a:gd name="connsiteY11" fmla="*/ 490102 h 2098711"/>
                <a:gd name="connsiteX12" fmla="*/ 1269276 w 1849436"/>
                <a:gd name="connsiteY12" fmla="*/ 523874 h 2098711"/>
                <a:gd name="connsiteX13" fmla="*/ 1281740 w 1849436"/>
                <a:gd name="connsiteY13" fmla="*/ 558048 h 2098711"/>
                <a:gd name="connsiteX14" fmla="*/ 1289781 w 1849436"/>
                <a:gd name="connsiteY14" fmla="*/ 591419 h 2098711"/>
                <a:gd name="connsiteX15" fmla="*/ 1291389 w 1849436"/>
                <a:gd name="connsiteY15" fmla="*/ 607501 h 2098711"/>
                <a:gd name="connsiteX16" fmla="*/ 1290183 w 1849436"/>
                <a:gd name="connsiteY16" fmla="*/ 607501 h 2098711"/>
                <a:gd name="connsiteX17" fmla="*/ 1289781 w 1849436"/>
                <a:gd name="connsiteY17" fmla="*/ 607903 h 2098711"/>
                <a:gd name="connsiteX18" fmla="*/ 1291389 w 1849436"/>
                <a:gd name="connsiteY18" fmla="*/ 607501 h 2098711"/>
                <a:gd name="connsiteX19" fmla="*/ 1303451 w 1849436"/>
                <a:gd name="connsiteY19" fmla="*/ 666200 h 2098711"/>
                <a:gd name="connsiteX20" fmla="*/ 1315110 w 1849436"/>
                <a:gd name="connsiteY20" fmla="*/ 741384 h 2098711"/>
                <a:gd name="connsiteX21" fmla="*/ 1319533 w 1849436"/>
                <a:gd name="connsiteY21" fmla="*/ 786012 h 2098711"/>
                <a:gd name="connsiteX22" fmla="*/ 1319935 w 1849436"/>
                <a:gd name="connsiteY22" fmla="*/ 827423 h 2098711"/>
                <a:gd name="connsiteX23" fmla="*/ 1315914 w 1849436"/>
                <a:gd name="connsiteY23" fmla="*/ 865216 h 2098711"/>
                <a:gd name="connsiteX24" fmla="*/ 1307471 w 1849436"/>
                <a:gd name="connsiteY24" fmla="*/ 900999 h 2098711"/>
                <a:gd name="connsiteX25" fmla="*/ 1293399 w 1849436"/>
                <a:gd name="connsiteY25" fmla="*/ 934771 h 2098711"/>
                <a:gd name="connsiteX26" fmla="*/ 1284152 w 1849436"/>
                <a:gd name="connsiteY26" fmla="*/ 951255 h 2098711"/>
                <a:gd name="connsiteX27" fmla="*/ 1275307 w 1849436"/>
                <a:gd name="connsiteY27" fmla="*/ 964925 h 2098711"/>
                <a:gd name="connsiteX28" fmla="*/ 1256008 w 1849436"/>
                <a:gd name="connsiteY28" fmla="*/ 989852 h 2098711"/>
                <a:gd name="connsiteX29" fmla="*/ 1233896 w 1849436"/>
                <a:gd name="connsiteY29" fmla="*/ 1012367 h 2098711"/>
                <a:gd name="connsiteX30" fmla="*/ 1210979 w 1849436"/>
                <a:gd name="connsiteY30" fmla="*/ 1032470 h 2098711"/>
                <a:gd name="connsiteX31" fmla="*/ 1173990 w 1849436"/>
                <a:gd name="connsiteY31" fmla="*/ 1058201 h 2098711"/>
                <a:gd name="connsiteX32" fmla="*/ 1123332 w 1849436"/>
                <a:gd name="connsiteY32" fmla="*/ 1083932 h 2098711"/>
                <a:gd name="connsiteX33" fmla="*/ 1075487 w 1849436"/>
                <a:gd name="connsiteY33" fmla="*/ 1102427 h 2098711"/>
                <a:gd name="connsiteX34" fmla="*/ 1033272 w 1849436"/>
                <a:gd name="connsiteY34" fmla="*/ 1114488 h 2098711"/>
                <a:gd name="connsiteX35" fmla="*/ 987840 w 1849436"/>
                <a:gd name="connsiteY35" fmla="*/ 1123333 h 2098711"/>
                <a:gd name="connsiteX36" fmla="*/ 980603 w 1849436"/>
                <a:gd name="connsiteY36" fmla="*/ 1124539 h 2098711"/>
                <a:gd name="connsiteX37" fmla="*/ 987840 w 1849436"/>
                <a:gd name="connsiteY37" fmla="*/ 1200929 h 2098711"/>
                <a:gd name="connsiteX38" fmla="*/ 999098 w 1849436"/>
                <a:gd name="connsiteY38" fmla="*/ 1200125 h 2098711"/>
                <a:gd name="connsiteX39" fmla="*/ 1053777 w 1849436"/>
                <a:gd name="connsiteY39" fmla="*/ 1188868 h 2098711"/>
                <a:gd name="connsiteX40" fmla="*/ 1103631 w 1849436"/>
                <a:gd name="connsiteY40" fmla="*/ 1174796 h 2098711"/>
                <a:gd name="connsiteX41" fmla="*/ 1159918 w 1849436"/>
                <a:gd name="connsiteY41" fmla="*/ 1152683 h 2098711"/>
                <a:gd name="connsiteX42" fmla="*/ 1204144 w 1849436"/>
                <a:gd name="connsiteY42" fmla="*/ 1129766 h 2098711"/>
                <a:gd name="connsiteX43" fmla="*/ 1233494 w 1849436"/>
                <a:gd name="connsiteY43" fmla="*/ 1111272 h 2098711"/>
                <a:gd name="connsiteX44" fmla="*/ 1262441 w 1849436"/>
                <a:gd name="connsiteY44" fmla="*/ 1090365 h 2098711"/>
                <a:gd name="connsiteX45" fmla="*/ 1289781 w 1849436"/>
                <a:gd name="connsiteY45" fmla="*/ 1066644 h 2098711"/>
                <a:gd name="connsiteX46" fmla="*/ 1315914 w 1849436"/>
                <a:gd name="connsiteY46" fmla="*/ 1038902 h 2098711"/>
                <a:gd name="connsiteX47" fmla="*/ 1339233 w 1849436"/>
                <a:gd name="connsiteY47" fmla="*/ 1008346 h 2098711"/>
                <a:gd name="connsiteX48" fmla="*/ 1349686 w 1849436"/>
                <a:gd name="connsiteY48" fmla="*/ 991460 h 2098711"/>
                <a:gd name="connsiteX49" fmla="*/ 1360542 w 1849436"/>
                <a:gd name="connsiteY49" fmla="*/ 972162 h 2098711"/>
                <a:gd name="connsiteX50" fmla="*/ 1378634 w 1849436"/>
                <a:gd name="connsiteY50" fmla="*/ 931957 h 2098711"/>
                <a:gd name="connsiteX51" fmla="*/ 1391902 w 1849436"/>
                <a:gd name="connsiteY51" fmla="*/ 889741 h 2098711"/>
                <a:gd name="connsiteX52" fmla="*/ 1399541 w 1849436"/>
                <a:gd name="connsiteY52" fmla="*/ 845113 h 2098711"/>
                <a:gd name="connsiteX53" fmla="*/ 1402757 w 1849436"/>
                <a:gd name="connsiteY53" fmla="*/ 798073 h 2098711"/>
                <a:gd name="connsiteX54" fmla="*/ 1401149 w 1849436"/>
                <a:gd name="connsiteY54" fmla="*/ 748621 h 2098711"/>
                <a:gd name="connsiteX55" fmla="*/ 1394314 w 1849436"/>
                <a:gd name="connsiteY55" fmla="*/ 697158 h 2098711"/>
                <a:gd name="connsiteX56" fmla="*/ 1383057 w 1849436"/>
                <a:gd name="connsiteY56" fmla="*/ 643283 h 2098711"/>
                <a:gd name="connsiteX57" fmla="*/ 1375016 w 1849436"/>
                <a:gd name="connsiteY57" fmla="*/ 615944 h 2098711"/>
                <a:gd name="connsiteX58" fmla="*/ 1395118 w 1849436"/>
                <a:gd name="connsiteY58" fmla="*/ 621171 h 2098711"/>
                <a:gd name="connsiteX59" fmla="*/ 1434117 w 1849436"/>
                <a:gd name="connsiteY59" fmla="*/ 635242 h 2098711"/>
                <a:gd name="connsiteX60" fmla="*/ 1471508 w 1849436"/>
                <a:gd name="connsiteY60" fmla="*/ 653737 h 2098711"/>
                <a:gd name="connsiteX61" fmla="*/ 1507693 w 1849436"/>
                <a:gd name="connsiteY61" fmla="*/ 676654 h 2098711"/>
                <a:gd name="connsiteX62" fmla="*/ 1541465 w 1849436"/>
                <a:gd name="connsiteY62" fmla="*/ 703993 h 2098711"/>
                <a:gd name="connsiteX63" fmla="*/ 1573227 w 1849436"/>
                <a:gd name="connsiteY63" fmla="*/ 734147 h 2098711"/>
                <a:gd name="connsiteX64" fmla="*/ 1601773 w 1849436"/>
                <a:gd name="connsiteY64" fmla="*/ 767919 h 2098711"/>
                <a:gd name="connsiteX65" fmla="*/ 1627906 w 1849436"/>
                <a:gd name="connsiteY65" fmla="*/ 804506 h 2098711"/>
                <a:gd name="connsiteX66" fmla="*/ 1650823 w 1849436"/>
                <a:gd name="connsiteY66" fmla="*/ 843505 h 2098711"/>
                <a:gd name="connsiteX67" fmla="*/ 1670121 w 1849436"/>
                <a:gd name="connsiteY67" fmla="*/ 884514 h 2098711"/>
                <a:gd name="connsiteX68" fmla="*/ 1685801 w 1849436"/>
                <a:gd name="connsiteY68" fmla="*/ 927936 h 2098711"/>
                <a:gd name="connsiteX69" fmla="*/ 1697059 w 1849436"/>
                <a:gd name="connsiteY69" fmla="*/ 972564 h 2098711"/>
                <a:gd name="connsiteX70" fmla="*/ 1704698 w 1849436"/>
                <a:gd name="connsiteY70" fmla="*/ 1019202 h 2098711"/>
                <a:gd name="connsiteX71" fmla="*/ 1706708 w 1849436"/>
                <a:gd name="connsiteY71" fmla="*/ 1065840 h 2098711"/>
                <a:gd name="connsiteX72" fmla="*/ 1703894 w 1849436"/>
                <a:gd name="connsiteY72" fmla="*/ 1113282 h 2098711"/>
                <a:gd name="connsiteX73" fmla="*/ 1696255 w 1849436"/>
                <a:gd name="connsiteY73" fmla="*/ 1161528 h 2098711"/>
                <a:gd name="connsiteX74" fmla="*/ 1689822 w 1849436"/>
                <a:gd name="connsiteY74" fmla="*/ 1184847 h 2098711"/>
                <a:gd name="connsiteX75" fmla="*/ 1701481 w 1849436"/>
                <a:gd name="connsiteY75" fmla="*/ 1188466 h 2098711"/>
                <a:gd name="connsiteX76" fmla="*/ 1722790 w 1849436"/>
                <a:gd name="connsiteY76" fmla="*/ 1196909 h 2098711"/>
                <a:gd name="connsiteX77" fmla="*/ 1742088 w 1849436"/>
                <a:gd name="connsiteY77" fmla="*/ 1207362 h 2098711"/>
                <a:gd name="connsiteX78" fmla="*/ 1759377 w 1849436"/>
                <a:gd name="connsiteY78" fmla="*/ 1219826 h 2098711"/>
                <a:gd name="connsiteX79" fmla="*/ 1782294 w 1849436"/>
                <a:gd name="connsiteY79" fmla="*/ 1241537 h 2098711"/>
                <a:gd name="connsiteX80" fmla="*/ 1807221 w 1849436"/>
                <a:gd name="connsiteY80" fmla="*/ 1276515 h 2098711"/>
                <a:gd name="connsiteX81" fmla="*/ 1825313 w 1849436"/>
                <a:gd name="connsiteY81" fmla="*/ 1316720 h 2098711"/>
                <a:gd name="connsiteX82" fmla="*/ 1838581 w 1849436"/>
                <a:gd name="connsiteY82" fmla="*/ 1359740 h 2098711"/>
                <a:gd name="connsiteX83" fmla="*/ 1846220 w 1849436"/>
                <a:gd name="connsiteY83" fmla="*/ 1405172 h 2098711"/>
                <a:gd name="connsiteX84" fmla="*/ 1849436 w 1849436"/>
                <a:gd name="connsiteY84" fmla="*/ 1451810 h 2098711"/>
                <a:gd name="connsiteX85" fmla="*/ 1849034 w 1849436"/>
                <a:gd name="connsiteY85" fmla="*/ 1474727 h 2098711"/>
                <a:gd name="connsiteX86" fmla="*/ 1847426 w 1849436"/>
                <a:gd name="connsiteY86" fmla="*/ 1492819 h 2098711"/>
                <a:gd name="connsiteX87" fmla="*/ 1840993 w 1849436"/>
                <a:gd name="connsiteY87" fmla="*/ 1528602 h 2098711"/>
                <a:gd name="connsiteX88" fmla="*/ 1836168 w 1849436"/>
                <a:gd name="connsiteY88" fmla="*/ 1545890 h 2098711"/>
                <a:gd name="connsiteX89" fmla="*/ 1832148 w 1849436"/>
                <a:gd name="connsiteY89" fmla="*/ 1559962 h 2098711"/>
                <a:gd name="connsiteX90" fmla="*/ 1821695 w 1849436"/>
                <a:gd name="connsiteY90" fmla="*/ 1586095 h 2098711"/>
                <a:gd name="connsiteX91" fmla="*/ 1808829 w 1849436"/>
                <a:gd name="connsiteY91" fmla="*/ 1611022 h 2098711"/>
                <a:gd name="connsiteX92" fmla="*/ 1793551 w 1849436"/>
                <a:gd name="connsiteY92" fmla="*/ 1633537 h 2098711"/>
                <a:gd name="connsiteX93" fmla="*/ 1775861 w 1849436"/>
                <a:gd name="connsiteY93" fmla="*/ 1654846 h 2098711"/>
                <a:gd name="connsiteX94" fmla="*/ 1755758 w 1849436"/>
                <a:gd name="connsiteY94" fmla="*/ 1674144 h 2098711"/>
                <a:gd name="connsiteX95" fmla="*/ 1732841 w 1849436"/>
                <a:gd name="connsiteY95" fmla="*/ 1692237 h 2098711"/>
                <a:gd name="connsiteX96" fmla="*/ 1707110 w 1849436"/>
                <a:gd name="connsiteY96" fmla="*/ 1708721 h 2098711"/>
                <a:gd name="connsiteX97" fmla="*/ 1693440 w 1849436"/>
                <a:gd name="connsiteY97" fmla="*/ 1716360 h 2098711"/>
                <a:gd name="connsiteX98" fmla="*/ 1680173 w 1849436"/>
                <a:gd name="connsiteY98" fmla="*/ 1723195 h 2098711"/>
                <a:gd name="connsiteX99" fmla="*/ 1652833 w 1849436"/>
                <a:gd name="connsiteY99" fmla="*/ 1734050 h 2098711"/>
                <a:gd name="connsiteX100" fmla="*/ 1625494 w 1849436"/>
                <a:gd name="connsiteY100" fmla="*/ 1742091 h 2098711"/>
                <a:gd name="connsiteX101" fmla="*/ 1598154 w 1849436"/>
                <a:gd name="connsiteY101" fmla="*/ 1746514 h 2098711"/>
                <a:gd name="connsiteX102" fmla="*/ 1557547 w 1849436"/>
                <a:gd name="connsiteY102" fmla="*/ 1750132 h 2098711"/>
                <a:gd name="connsiteX103" fmla="*/ 1506084 w 1849436"/>
                <a:gd name="connsiteY103" fmla="*/ 1748524 h 2098711"/>
                <a:gd name="connsiteX104" fmla="*/ 1459446 w 1849436"/>
                <a:gd name="connsiteY104" fmla="*/ 1742091 h 2098711"/>
                <a:gd name="connsiteX105" fmla="*/ 1421654 w 1849436"/>
                <a:gd name="connsiteY105" fmla="*/ 1732442 h 2098711"/>
                <a:gd name="connsiteX106" fmla="*/ 1381851 w 1849436"/>
                <a:gd name="connsiteY106" fmla="*/ 1719978 h 2098711"/>
                <a:gd name="connsiteX107" fmla="*/ 1376222 w 1849436"/>
                <a:gd name="connsiteY107" fmla="*/ 1717566 h 2098711"/>
                <a:gd name="connsiteX108" fmla="*/ 1347676 w 1849436"/>
                <a:gd name="connsiteY108" fmla="*/ 1704700 h 2098711"/>
                <a:gd name="connsiteX109" fmla="*/ 1331996 w 1849436"/>
                <a:gd name="connsiteY109" fmla="*/ 1695453 h 2098711"/>
                <a:gd name="connsiteX110" fmla="*/ 1303451 w 1849436"/>
                <a:gd name="connsiteY110" fmla="*/ 1672536 h 2098711"/>
                <a:gd name="connsiteX111" fmla="*/ 1290585 w 1849436"/>
                <a:gd name="connsiteY111" fmla="*/ 1659671 h 2098711"/>
                <a:gd name="connsiteX112" fmla="*/ 1274503 w 1849436"/>
                <a:gd name="connsiteY112" fmla="*/ 1641176 h 2098711"/>
                <a:gd name="connsiteX113" fmla="*/ 1249978 w 1849436"/>
                <a:gd name="connsiteY113" fmla="*/ 1601775 h 2098711"/>
                <a:gd name="connsiteX114" fmla="*/ 1233092 w 1849436"/>
                <a:gd name="connsiteY114" fmla="*/ 1561168 h 2098711"/>
                <a:gd name="connsiteX115" fmla="*/ 1221834 w 1849436"/>
                <a:gd name="connsiteY115" fmla="*/ 1521365 h 2098711"/>
                <a:gd name="connsiteX116" fmla="*/ 1213793 w 1849436"/>
                <a:gd name="connsiteY116" fmla="*/ 1468294 h 2098711"/>
                <a:gd name="connsiteX117" fmla="*/ 1212185 w 1849436"/>
                <a:gd name="connsiteY117" fmla="*/ 1422460 h 2098711"/>
                <a:gd name="connsiteX118" fmla="*/ 1212587 w 1849436"/>
                <a:gd name="connsiteY118" fmla="*/ 1417233 h 2098711"/>
                <a:gd name="connsiteX119" fmla="*/ 1135795 w 1849436"/>
                <a:gd name="connsiteY119" fmla="*/ 1410800 h 2098711"/>
                <a:gd name="connsiteX120" fmla="*/ 1134991 w 1849436"/>
                <a:gd name="connsiteY120" fmla="*/ 1418841 h 2098711"/>
                <a:gd name="connsiteX121" fmla="*/ 1135393 w 1849436"/>
                <a:gd name="connsiteY121" fmla="*/ 1459047 h 2098711"/>
                <a:gd name="connsiteX122" fmla="*/ 1139012 w 1849436"/>
                <a:gd name="connsiteY122" fmla="*/ 1496437 h 2098711"/>
                <a:gd name="connsiteX123" fmla="*/ 1147053 w 1849436"/>
                <a:gd name="connsiteY123" fmla="*/ 1540663 h 2098711"/>
                <a:gd name="connsiteX124" fmla="*/ 1160320 w 1849436"/>
                <a:gd name="connsiteY124" fmla="*/ 1589311 h 2098711"/>
                <a:gd name="connsiteX125" fmla="*/ 1182433 w 1849436"/>
                <a:gd name="connsiteY125" fmla="*/ 1639166 h 2098711"/>
                <a:gd name="connsiteX126" fmla="*/ 1204948 w 1849436"/>
                <a:gd name="connsiteY126" fmla="*/ 1676155 h 2098711"/>
                <a:gd name="connsiteX127" fmla="*/ 1223040 w 1849436"/>
                <a:gd name="connsiteY127" fmla="*/ 1699876 h 2098711"/>
                <a:gd name="connsiteX128" fmla="*/ 1233494 w 1849436"/>
                <a:gd name="connsiteY128" fmla="*/ 1711535 h 2098711"/>
                <a:gd name="connsiteX129" fmla="*/ 1251586 w 1849436"/>
                <a:gd name="connsiteY129" fmla="*/ 1730432 h 2098711"/>
                <a:gd name="connsiteX130" fmla="*/ 1292997 w 1849436"/>
                <a:gd name="connsiteY130" fmla="*/ 1762596 h 2098711"/>
                <a:gd name="connsiteX131" fmla="*/ 1315110 w 1849436"/>
                <a:gd name="connsiteY131" fmla="*/ 1775864 h 2098711"/>
                <a:gd name="connsiteX132" fmla="*/ 1309883 w 1849436"/>
                <a:gd name="connsiteY132" fmla="*/ 1795162 h 2098711"/>
                <a:gd name="connsiteX133" fmla="*/ 1297420 w 1849436"/>
                <a:gd name="connsiteY133" fmla="*/ 1830945 h 2098711"/>
                <a:gd name="connsiteX134" fmla="*/ 1282544 w 1849436"/>
                <a:gd name="connsiteY134" fmla="*/ 1863913 h 2098711"/>
                <a:gd name="connsiteX135" fmla="*/ 1265256 w 1849436"/>
                <a:gd name="connsiteY135" fmla="*/ 1894067 h 2098711"/>
                <a:gd name="connsiteX136" fmla="*/ 1245957 w 1849436"/>
                <a:gd name="connsiteY136" fmla="*/ 1921808 h 2098711"/>
                <a:gd name="connsiteX137" fmla="*/ 1224648 w 1849436"/>
                <a:gd name="connsiteY137" fmla="*/ 1945529 h 2098711"/>
                <a:gd name="connsiteX138" fmla="*/ 1201329 w 1849436"/>
                <a:gd name="connsiteY138" fmla="*/ 1966838 h 2098711"/>
                <a:gd name="connsiteX139" fmla="*/ 1175196 w 1849436"/>
                <a:gd name="connsiteY139" fmla="*/ 1985735 h 2098711"/>
                <a:gd name="connsiteX140" fmla="*/ 1161124 w 1849436"/>
                <a:gd name="connsiteY140" fmla="*/ 1993776 h 2098711"/>
                <a:gd name="connsiteX141" fmla="*/ 1139012 w 1849436"/>
                <a:gd name="connsiteY141" fmla="*/ 2005033 h 2098711"/>
                <a:gd name="connsiteX142" fmla="*/ 1092374 w 1849436"/>
                <a:gd name="connsiteY142" fmla="*/ 2021115 h 2098711"/>
                <a:gd name="connsiteX143" fmla="*/ 1044932 w 1849436"/>
                <a:gd name="connsiteY143" fmla="*/ 2030764 h 2098711"/>
                <a:gd name="connsiteX144" fmla="*/ 997892 w 1849436"/>
                <a:gd name="connsiteY144" fmla="*/ 2034383 h 2098711"/>
                <a:gd name="connsiteX145" fmla="*/ 953264 w 1849436"/>
                <a:gd name="connsiteY145" fmla="*/ 2033177 h 2098711"/>
                <a:gd name="connsiteX146" fmla="*/ 911451 w 1849436"/>
                <a:gd name="connsiteY146" fmla="*/ 2029156 h 2098711"/>
                <a:gd name="connsiteX147" fmla="*/ 856772 w 1849436"/>
                <a:gd name="connsiteY147" fmla="*/ 2019507 h 2098711"/>
                <a:gd name="connsiteX148" fmla="*/ 829432 w 1849436"/>
                <a:gd name="connsiteY148" fmla="*/ 2013074 h 2098711"/>
                <a:gd name="connsiteX149" fmla="*/ 848328 w 1849436"/>
                <a:gd name="connsiteY149" fmla="*/ 1988951 h 2098711"/>
                <a:gd name="connsiteX150" fmla="*/ 879286 w 1849436"/>
                <a:gd name="connsiteY150" fmla="*/ 1939901 h 2098711"/>
                <a:gd name="connsiteX151" fmla="*/ 903007 w 1849436"/>
                <a:gd name="connsiteY151" fmla="*/ 1891654 h 2098711"/>
                <a:gd name="connsiteX152" fmla="*/ 919894 w 1849436"/>
                <a:gd name="connsiteY152" fmla="*/ 1845419 h 2098711"/>
                <a:gd name="connsiteX153" fmla="*/ 936378 w 1849436"/>
                <a:gd name="connsiteY153" fmla="*/ 1785111 h 2098711"/>
                <a:gd name="connsiteX154" fmla="*/ 944419 w 1849436"/>
                <a:gd name="connsiteY154" fmla="*/ 1732844 h 2098711"/>
                <a:gd name="connsiteX155" fmla="*/ 944821 w 1849436"/>
                <a:gd name="connsiteY155" fmla="*/ 1725607 h 2098711"/>
                <a:gd name="connsiteX156" fmla="*/ 867627 w 1849436"/>
                <a:gd name="connsiteY156" fmla="*/ 1721587 h 2098711"/>
                <a:gd name="connsiteX157" fmla="*/ 867225 w 1849436"/>
                <a:gd name="connsiteY157" fmla="*/ 1728019 h 2098711"/>
                <a:gd name="connsiteX158" fmla="*/ 860792 w 1849436"/>
                <a:gd name="connsiteY158" fmla="*/ 1767420 h 2098711"/>
                <a:gd name="connsiteX159" fmla="*/ 851545 w 1849436"/>
                <a:gd name="connsiteY159" fmla="*/ 1805615 h 2098711"/>
                <a:gd name="connsiteX160" fmla="*/ 836267 w 1849436"/>
                <a:gd name="connsiteY160" fmla="*/ 1849841 h 2098711"/>
                <a:gd name="connsiteX161" fmla="*/ 814556 w 1849436"/>
                <a:gd name="connsiteY161" fmla="*/ 1897685 h 2098711"/>
                <a:gd name="connsiteX162" fmla="*/ 784402 w 1849436"/>
                <a:gd name="connsiteY162" fmla="*/ 1946334 h 2098711"/>
                <a:gd name="connsiteX163" fmla="*/ 754651 w 1849436"/>
                <a:gd name="connsiteY163" fmla="*/ 1980910 h 2098711"/>
                <a:gd name="connsiteX164" fmla="*/ 732136 w 1849436"/>
                <a:gd name="connsiteY164" fmla="*/ 2003023 h 2098711"/>
                <a:gd name="connsiteX165" fmla="*/ 719672 w 1849436"/>
                <a:gd name="connsiteY165" fmla="*/ 2013476 h 2098711"/>
                <a:gd name="connsiteX166" fmla="*/ 701982 w 1849436"/>
                <a:gd name="connsiteY166" fmla="*/ 2027548 h 2098711"/>
                <a:gd name="connsiteX167" fmla="*/ 662983 w 1849436"/>
                <a:gd name="connsiteY167" fmla="*/ 2051269 h 2098711"/>
                <a:gd name="connsiteX168" fmla="*/ 620767 w 1849436"/>
                <a:gd name="connsiteY168" fmla="*/ 2070166 h 2098711"/>
                <a:gd name="connsiteX169" fmla="*/ 574934 w 1849436"/>
                <a:gd name="connsiteY169" fmla="*/ 2084639 h 2098711"/>
                <a:gd name="connsiteX170" fmla="*/ 525883 w 1849436"/>
                <a:gd name="connsiteY170" fmla="*/ 2094289 h 2098711"/>
                <a:gd name="connsiteX171" fmla="*/ 473215 w 1849436"/>
                <a:gd name="connsiteY171" fmla="*/ 2098711 h 2098711"/>
                <a:gd name="connsiteX172" fmla="*/ 417329 w 1849436"/>
                <a:gd name="connsiteY172" fmla="*/ 2098711 h 2098711"/>
                <a:gd name="connsiteX173" fmla="*/ 357826 w 1849436"/>
                <a:gd name="connsiteY173" fmla="*/ 2094289 h 2098711"/>
                <a:gd name="connsiteX174" fmla="*/ 327270 w 1849436"/>
                <a:gd name="connsiteY174" fmla="*/ 2089866 h 2098711"/>
                <a:gd name="connsiteX175" fmla="*/ 300333 w 1849436"/>
                <a:gd name="connsiteY175" fmla="*/ 2085443 h 2098711"/>
                <a:gd name="connsiteX176" fmla="*/ 248066 w 1849436"/>
                <a:gd name="connsiteY176" fmla="*/ 2068557 h 2098711"/>
                <a:gd name="connsiteX177" fmla="*/ 199418 w 1849436"/>
                <a:gd name="connsiteY177" fmla="*/ 2045238 h 2098711"/>
                <a:gd name="connsiteX178" fmla="*/ 153584 w 1849436"/>
                <a:gd name="connsiteY178" fmla="*/ 2016693 h 2098711"/>
                <a:gd name="connsiteX179" fmla="*/ 112173 w 1849436"/>
                <a:gd name="connsiteY179" fmla="*/ 1984126 h 2098711"/>
                <a:gd name="connsiteX180" fmla="*/ 74380 w 1849436"/>
                <a:gd name="connsiteY180" fmla="*/ 1950354 h 2098711"/>
                <a:gd name="connsiteX181" fmla="*/ 25329 w 1849436"/>
                <a:gd name="connsiteY181" fmla="*/ 1898891 h 2098711"/>
                <a:gd name="connsiteX182" fmla="*/ 0 w 1849436"/>
                <a:gd name="connsiteY182" fmla="*/ 1867933 h 2098711"/>
                <a:gd name="connsiteX183" fmla="*/ 0 w 1849436"/>
                <a:gd name="connsiteY183" fmla="*/ 786012 h 2098711"/>
                <a:gd name="connsiteX184" fmla="*/ 32968 w 1849436"/>
                <a:gd name="connsiteY184" fmla="*/ 780383 h 2098711"/>
                <a:gd name="connsiteX185" fmla="*/ 95286 w 1849436"/>
                <a:gd name="connsiteY185" fmla="*/ 772744 h 2098711"/>
                <a:gd name="connsiteX186" fmla="*/ 154388 w 1849436"/>
                <a:gd name="connsiteY186" fmla="*/ 770734 h 2098711"/>
                <a:gd name="connsiteX187" fmla="*/ 209067 w 1849436"/>
                <a:gd name="connsiteY187" fmla="*/ 773548 h 2098711"/>
                <a:gd name="connsiteX188" fmla="*/ 260127 w 1849436"/>
                <a:gd name="connsiteY188" fmla="*/ 781991 h 2098711"/>
                <a:gd name="connsiteX189" fmla="*/ 306765 w 1849436"/>
                <a:gd name="connsiteY189" fmla="*/ 796063 h 2098711"/>
                <a:gd name="connsiteX190" fmla="*/ 350187 w 1849436"/>
                <a:gd name="connsiteY190" fmla="*/ 815362 h 2098711"/>
                <a:gd name="connsiteX191" fmla="*/ 389186 w 1849436"/>
                <a:gd name="connsiteY191" fmla="*/ 839887 h 2098711"/>
                <a:gd name="connsiteX192" fmla="*/ 406876 w 1849436"/>
                <a:gd name="connsiteY192" fmla="*/ 853959 h 2098711"/>
                <a:gd name="connsiteX193" fmla="*/ 418938 w 1849436"/>
                <a:gd name="connsiteY193" fmla="*/ 864814 h 2098711"/>
                <a:gd name="connsiteX194" fmla="*/ 440648 w 1849436"/>
                <a:gd name="connsiteY194" fmla="*/ 887329 h 2098711"/>
                <a:gd name="connsiteX195" fmla="*/ 459947 w 1849436"/>
                <a:gd name="connsiteY195" fmla="*/ 911854 h 2098711"/>
                <a:gd name="connsiteX196" fmla="*/ 477235 w 1849436"/>
                <a:gd name="connsiteY196" fmla="*/ 937183 h 2098711"/>
                <a:gd name="connsiteX197" fmla="*/ 498544 w 1849436"/>
                <a:gd name="connsiteY197" fmla="*/ 976986 h 2098711"/>
                <a:gd name="connsiteX198" fmla="*/ 519853 w 1849436"/>
                <a:gd name="connsiteY198" fmla="*/ 1031263 h 2098711"/>
                <a:gd name="connsiteX199" fmla="*/ 535131 w 1849436"/>
                <a:gd name="connsiteY199" fmla="*/ 1084736 h 2098711"/>
                <a:gd name="connsiteX200" fmla="*/ 543976 w 1849436"/>
                <a:gd name="connsiteY200" fmla="*/ 1134993 h 2098711"/>
                <a:gd name="connsiteX201" fmla="*/ 550811 w 1849436"/>
                <a:gd name="connsiteY201" fmla="*/ 1198919 h 2098711"/>
                <a:gd name="connsiteX202" fmla="*/ 551213 w 1849436"/>
                <a:gd name="connsiteY202" fmla="*/ 1227465 h 2098711"/>
                <a:gd name="connsiteX203" fmla="*/ 528296 w 1849436"/>
                <a:gd name="connsiteY203" fmla="*/ 1234702 h 2098711"/>
                <a:gd name="connsiteX204" fmla="*/ 486884 w 1849436"/>
                <a:gd name="connsiteY204" fmla="*/ 1253598 h 2098711"/>
                <a:gd name="connsiteX205" fmla="*/ 450298 w 1849436"/>
                <a:gd name="connsiteY205" fmla="*/ 1274907 h 2098711"/>
                <a:gd name="connsiteX206" fmla="*/ 419340 w 1849436"/>
                <a:gd name="connsiteY206" fmla="*/ 1297824 h 2098711"/>
                <a:gd name="connsiteX207" fmla="*/ 383557 w 1849436"/>
                <a:gd name="connsiteY207" fmla="*/ 1330390 h 2098711"/>
                <a:gd name="connsiteX208" fmla="*/ 357022 w 1849436"/>
                <a:gd name="connsiteY208" fmla="*/ 1359740 h 2098711"/>
                <a:gd name="connsiteX209" fmla="*/ 354207 w 1849436"/>
                <a:gd name="connsiteY209" fmla="*/ 1363760 h 2098711"/>
                <a:gd name="connsiteX210" fmla="*/ 417329 w 1849436"/>
                <a:gd name="connsiteY210" fmla="*/ 1407986 h 2098711"/>
                <a:gd name="connsiteX211" fmla="*/ 424566 w 1849436"/>
                <a:gd name="connsiteY211" fmla="*/ 1397935 h 2098711"/>
                <a:gd name="connsiteX212" fmla="*/ 466782 w 1849436"/>
                <a:gd name="connsiteY212" fmla="*/ 1356925 h 2098711"/>
                <a:gd name="connsiteX213" fmla="*/ 498544 w 1849436"/>
                <a:gd name="connsiteY213" fmla="*/ 1334411 h 2098711"/>
                <a:gd name="connsiteX214" fmla="*/ 523873 w 1849436"/>
                <a:gd name="connsiteY214" fmla="*/ 1320339 h 2098711"/>
                <a:gd name="connsiteX215" fmla="*/ 552017 w 1849436"/>
                <a:gd name="connsiteY215" fmla="*/ 1307875 h 2098711"/>
                <a:gd name="connsiteX216" fmla="*/ 582975 w 1849436"/>
                <a:gd name="connsiteY216" fmla="*/ 1298628 h 2098711"/>
                <a:gd name="connsiteX217" fmla="*/ 617551 w 1849436"/>
                <a:gd name="connsiteY217" fmla="*/ 1292597 h 2098711"/>
                <a:gd name="connsiteX218" fmla="*/ 654540 w 1849436"/>
                <a:gd name="connsiteY218" fmla="*/ 1291793 h 2098711"/>
                <a:gd name="connsiteX219" fmla="*/ 694745 w 1849436"/>
                <a:gd name="connsiteY219" fmla="*/ 1295814 h 2098711"/>
                <a:gd name="connsiteX220" fmla="*/ 737764 w 1849436"/>
                <a:gd name="connsiteY220" fmla="*/ 1306267 h 2098711"/>
                <a:gd name="connsiteX221" fmla="*/ 783196 w 1849436"/>
                <a:gd name="connsiteY221" fmla="*/ 1323957 h 2098711"/>
                <a:gd name="connsiteX222" fmla="*/ 831844 w 1849436"/>
                <a:gd name="connsiteY222" fmla="*/ 1350091 h 2098711"/>
                <a:gd name="connsiteX223" fmla="*/ 857174 w 1849436"/>
                <a:gd name="connsiteY223" fmla="*/ 1366575 h 2098711"/>
                <a:gd name="connsiteX224" fmla="*/ 900997 w 1849436"/>
                <a:gd name="connsiteY224" fmla="*/ 1303051 h 2098711"/>
                <a:gd name="connsiteX225" fmla="*/ 881297 w 1849436"/>
                <a:gd name="connsiteY225" fmla="*/ 1290185 h 2098711"/>
                <a:gd name="connsiteX226" fmla="*/ 843504 w 1849436"/>
                <a:gd name="connsiteY226" fmla="*/ 1267670 h 2098711"/>
                <a:gd name="connsiteX227" fmla="*/ 807319 w 1849436"/>
                <a:gd name="connsiteY227" fmla="*/ 1249980 h 2098711"/>
                <a:gd name="connsiteX228" fmla="*/ 771537 w 1849436"/>
                <a:gd name="connsiteY228" fmla="*/ 1235908 h 2098711"/>
                <a:gd name="connsiteX229" fmla="*/ 737362 w 1849436"/>
                <a:gd name="connsiteY229" fmla="*/ 1225454 h 2098711"/>
                <a:gd name="connsiteX230" fmla="*/ 704394 w 1849436"/>
                <a:gd name="connsiteY230" fmla="*/ 1218620 h 2098711"/>
                <a:gd name="connsiteX231" fmla="*/ 673436 w 1849436"/>
                <a:gd name="connsiteY231" fmla="*/ 1215001 h 2098711"/>
                <a:gd name="connsiteX232" fmla="*/ 642880 w 1849436"/>
                <a:gd name="connsiteY232" fmla="*/ 1214197 h 2098711"/>
                <a:gd name="connsiteX233" fmla="*/ 628406 w 1849436"/>
                <a:gd name="connsiteY233" fmla="*/ 1214599 h 2098711"/>
                <a:gd name="connsiteX234" fmla="*/ 627200 w 1849436"/>
                <a:gd name="connsiteY234" fmla="*/ 1190476 h 2098711"/>
                <a:gd name="connsiteX235" fmla="*/ 621572 w 1849436"/>
                <a:gd name="connsiteY235" fmla="*/ 1127354 h 2098711"/>
                <a:gd name="connsiteX236" fmla="*/ 607500 w 1849436"/>
                <a:gd name="connsiteY236" fmla="*/ 1052974 h 2098711"/>
                <a:gd name="connsiteX237" fmla="*/ 589005 w 1849436"/>
                <a:gd name="connsiteY237" fmla="*/ 993069 h 2098711"/>
                <a:gd name="connsiteX238" fmla="*/ 572521 w 1849436"/>
                <a:gd name="connsiteY238" fmla="*/ 952461 h 2098711"/>
                <a:gd name="connsiteX239" fmla="*/ 562872 w 1849436"/>
                <a:gd name="connsiteY239" fmla="*/ 931957 h 2098711"/>
                <a:gd name="connsiteX240" fmla="*/ 592624 w 1849436"/>
                <a:gd name="connsiteY240" fmla="*/ 914266 h 2098711"/>
                <a:gd name="connsiteX241" fmla="*/ 645695 w 1849436"/>
                <a:gd name="connsiteY241" fmla="*/ 875669 h 2098711"/>
                <a:gd name="connsiteX242" fmla="*/ 682683 w 1849436"/>
                <a:gd name="connsiteY242" fmla="*/ 843907 h 2098711"/>
                <a:gd name="connsiteX243" fmla="*/ 720074 w 1849436"/>
                <a:gd name="connsiteY243" fmla="*/ 806516 h 2098711"/>
                <a:gd name="connsiteX244" fmla="*/ 755455 w 1849436"/>
                <a:gd name="connsiteY244" fmla="*/ 763095 h 2098711"/>
                <a:gd name="connsiteX245" fmla="*/ 788021 w 1849436"/>
                <a:gd name="connsiteY245" fmla="*/ 714447 h 2098711"/>
                <a:gd name="connsiteX246" fmla="*/ 814958 w 1849436"/>
                <a:gd name="connsiteY246" fmla="*/ 659365 h 2098711"/>
                <a:gd name="connsiteX247" fmla="*/ 825814 w 1849436"/>
                <a:gd name="connsiteY247" fmla="*/ 629212 h 2098711"/>
                <a:gd name="connsiteX248" fmla="*/ 832648 w 1849436"/>
                <a:gd name="connsiteY248" fmla="*/ 607903 h 2098711"/>
                <a:gd name="connsiteX249" fmla="*/ 843102 w 1849436"/>
                <a:gd name="connsiteY249" fmla="*/ 564883 h 2098711"/>
                <a:gd name="connsiteX250" fmla="*/ 848731 w 1849436"/>
                <a:gd name="connsiteY250" fmla="*/ 520255 h 2098711"/>
                <a:gd name="connsiteX251" fmla="*/ 850339 w 1849436"/>
                <a:gd name="connsiteY251" fmla="*/ 475628 h 2098711"/>
                <a:gd name="connsiteX252" fmla="*/ 847926 w 1849436"/>
                <a:gd name="connsiteY252" fmla="*/ 429392 h 2098711"/>
                <a:gd name="connsiteX253" fmla="*/ 841092 w 1849436"/>
                <a:gd name="connsiteY253" fmla="*/ 382352 h 2098711"/>
                <a:gd name="connsiteX254" fmla="*/ 830236 w 1849436"/>
                <a:gd name="connsiteY254" fmla="*/ 334910 h 2098711"/>
                <a:gd name="connsiteX255" fmla="*/ 814556 w 1849436"/>
                <a:gd name="connsiteY255" fmla="*/ 286261 h 2098711"/>
                <a:gd name="connsiteX256" fmla="*/ 804907 w 1849436"/>
                <a:gd name="connsiteY256" fmla="*/ 262138 h 2098711"/>
                <a:gd name="connsiteX257" fmla="*/ 828628 w 1849436"/>
                <a:gd name="connsiteY257" fmla="*/ 257716 h 2098711"/>
                <a:gd name="connsiteX258" fmla="*/ 337672 w 1849436"/>
                <a:gd name="connsiteY258" fmla="*/ 0 h 2098711"/>
                <a:gd name="connsiteX259" fmla="*/ 354174 w 1849436"/>
                <a:gd name="connsiteY259" fmla="*/ 805 h 2098711"/>
                <a:gd name="connsiteX260" fmla="*/ 386371 w 1849436"/>
                <a:gd name="connsiteY260" fmla="*/ 3218 h 2098711"/>
                <a:gd name="connsiteX261" fmla="*/ 433058 w 1849436"/>
                <a:gd name="connsiteY261" fmla="*/ 11665 h 2098711"/>
                <a:gd name="connsiteX262" fmla="*/ 489806 w 1849436"/>
                <a:gd name="connsiteY262" fmla="*/ 30972 h 2098711"/>
                <a:gd name="connsiteX263" fmla="*/ 540920 w 1849436"/>
                <a:gd name="connsiteY263" fmla="*/ 57118 h 2098711"/>
                <a:gd name="connsiteX264" fmla="*/ 586801 w 1849436"/>
                <a:gd name="connsiteY264" fmla="*/ 88090 h 2098711"/>
                <a:gd name="connsiteX265" fmla="*/ 627048 w 1849436"/>
                <a:gd name="connsiteY265" fmla="*/ 123890 h 2098711"/>
                <a:gd name="connsiteX266" fmla="*/ 660856 w 1849436"/>
                <a:gd name="connsiteY266" fmla="*/ 160896 h 2098711"/>
                <a:gd name="connsiteX267" fmla="*/ 689431 w 1849436"/>
                <a:gd name="connsiteY267" fmla="*/ 197901 h 2098711"/>
                <a:gd name="connsiteX268" fmla="*/ 701103 w 1849436"/>
                <a:gd name="connsiteY268" fmla="*/ 216002 h 2098711"/>
                <a:gd name="connsiteX269" fmla="*/ 714787 w 1849436"/>
                <a:gd name="connsiteY269" fmla="*/ 242550 h 2098711"/>
                <a:gd name="connsiteX270" fmla="*/ 736520 w 1849436"/>
                <a:gd name="connsiteY270" fmla="*/ 294841 h 2098711"/>
                <a:gd name="connsiteX271" fmla="*/ 753826 w 1849436"/>
                <a:gd name="connsiteY271" fmla="*/ 345925 h 2098711"/>
                <a:gd name="connsiteX272" fmla="*/ 765900 w 1849436"/>
                <a:gd name="connsiteY272" fmla="*/ 395401 h 2098711"/>
                <a:gd name="connsiteX273" fmla="*/ 772340 w 1849436"/>
                <a:gd name="connsiteY273" fmla="*/ 443669 h 2098711"/>
                <a:gd name="connsiteX274" fmla="*/ 773547 w 1849436"/>
                <a:gd name="connsiteY274" fmla="*/ 491133 h 2098711"/>
                <a:gd name="connsiteX275" fmla="*/ 769925 w 1849436"/>
                <a:gd name="connsiteY275" fmla="*/ 536989 h 2098711"/>
                <a:gd name="connsiteX276" fmla="*/ 760668 w 1849436"/>
                <a:gd name="connsiteY276" fmla="*/ 581637 h 2098711"/>
                <a:gd name="connsiteX277" fmla="*/ 753826 w 1849436"/>
                <a:gd name="connsiteY277" fmla="*/ 603358 h 2098711"/>
                <a:gd name="connsiteX278" fmla="*/ 744569 w 1849436"/>
                <a:gd name="connsiteY278" fmla="*/ 629101 h 2098711"/>
                <a:gd name="connsiteX279" fmla="*/ 720824 w 1849436"/>
                <a:gd name="connsiteY279" fmla="*/ 676565 h 2098711"/>
                <a:gd name="connsiteX280" fmla="*/ 692248 w 1849436"/>
                <a:gd name="connsiteY280" fmla="*/ 718800 h 2098711"/>
                <a:gd name="connsiteX281" fmla="*/ 660856 w 1849436"/>
                <a:gd name="connsiteY281" fmla="*/ 756209 h 2098711"/>
                <a:gd name="connsiteX282" fmla="*/ 627853 w 1849436"/>
                <a:gd name="connsiteY282" fmla="*/ 788790 h 2098711"/>
                <a:gd name="connsiteX283" fmla="*/ 595253 w 1849436"/>
                <a:gd name="connsiteY283" fmla="*/ 816544 h 2098711"/>
                <a:gd name="connsiteX284" fmla="*/ 548164 w 1849436"/>
                <a:gd name="connsiteY284" fmla="*/ 849930 h 2098711"/>
                <a:gd name="connsiteX285" fmla="*/ 522809 w 1849436"/>
                <a:gd name="connsiteY285" fmla="*/ 865215 h 2098711"/>
                <a:gd name="connsiteX286" fmla="*/ 508722 w 1849436"/>
                <a:gd name="connsiteY286" fmla="*/ 846310 h 2098711"/>
                <a:gd name="connsiteX287" fmla="*/ 476122 w 1849436"/>
                <a:gd name="connsiteY287" fmla="*/ 811315 h 2098711"/>
                <a:gd name="connsiteX288" fmla="*/ 458011 w 1849436"/>
                <a:gd name="connsiteY288" fmla="*/ 794823 h 2098711"/>
                <a:gd name="connsiteX289" fmla="*/ 437082 w 1849436"/>
                <a:gd name="connsiteY289" fmla="*/ 777929 h 2098711"/>
                <a:gd name="connsiteX290" fmla="*/ 391603 w 1849436"/>
                <a:gd name="connsiteY290" fmla="*/ 748968 h 2098711"/>
                <a:gd name="connsiteX291" fmla="*/ 342100 w 1849436"/>
                <a:gd name="connsiteY291" fmla="*/ 726041 h 2098711"/>
                <a:gd name="connsiteX292" fmla="*/ 288974 w 1849436"/>
                <a:gd name="connsiteY292" fmla="*/ 708744 h 2098711"/>
                <a:gd name="connsiteX293" fmla="*/ 231420 w 1849436"/>
                <a:gd name="connsiteY293" fmla="*/ 697884 h 2098711"/>
                <a:gd name="connsiteX294" fmla="*/ 170647 w 1849436"/>
                <a:gd name="connsiteY294" fmla="*/ 693057 h 2098711"/>
                <a:gd name="connsiteX295" fmla="*/ 105447 w 1849436"/>
                <a:gd name="connsiteY295" fmla="*/ 694264 h 2098711"/>
                <a:gd name="connsiteX296" fmla="*/ 35820 w 1849436"/>
                <a:gd name="connsiteY296" fmla="*/ 700700 h 2098711"/>
                <a:gd name="connsiteX297" fmla="*/ 0 w 1849436"/>
                <a:gd name="connsiteY297" fmla="*/ 707135 h 2098711"/>
                <a:gd name="connsiteX298" fmla="*/ 0 w 1849436"/>
                <a:gd name="connsiteY298" fmla="*/ 425166 h 2098711"/>
                <a:gd name="connsiteX299" fmla="*/ 403 w 1849436"/>
                <a:gd name="connsiteY299" fmla="*/ 402641 h 2098711"/>
                <a:gd name="connsiteX300" fmla="*/ 3220 w 1849436"/>
                <a:gd name="connsiteY300" fmla="*/ 359199 h 2098711"/>
                <a:gd name="connsiteX301" fmla="*/ 7647 w 1849436"/>
                <a:gd name="connsiteY301" fmla="*/ 316964 h 2098711"/>
                <a:gd name="connsiteX302" fmla="*/ 15697 w 1849436"/>
                <a:gd name="connsiteY302" fmla="*/ 277142 h 2098711"/>
                <a:gd name="connsiteX303" fmla="*/ 26161 w 1849436"/>
                <a:gd name="connsiteY303" fmla="*/ 238930 h 2098711"/>
                <a:gd name="connsiteX304" fmla="*/ 39442 w 1849436"/>
                <a:gd name="connsiteY304" fmla="*/ 202326 h 2098711"/>
                <a:gd name="connsiteX305" fmla="*/ 55139 w 1849436"/>
                <a:gd name="connsiteY305" fmla="*/ 168538 h 2098711"/>
                <a:gd name="connsiteX306" fmla="*/ 73652 w 1849436"/>
                <a:gd name="connsiteY306" fmla="*/ 137163 h 2098711"/>
                <a:gd name="connsiteX307" fmla="*/ 94581 w 1849436"/>
                <a:gd name="connsiteY307" fmla="*/ 109007 h 2098711"/>
                <a:gd name="connsiteX308" fmla="*/ 117924 w 1849436"/>
                <a:gd name="connsiteY308" fmla="*/ 83263 h 2098711"/>
                <a:gd name="connsiteX309" fmla="*/ 144487 w 1849436"/>
                <a:gd name="connsiteY309" fmla="*/ 60738 h 2098711"/>
                <a:gd name="connsiteX310" fmla="*/ 173867 w 1849436"/>
                <a:gd name="connsiteY310" fmla="*/ 41431 h 2098711"/>
                <a:gd name="connsiteX311" fmla="*/ 204857 w 1849436"/>
                <a:gd name="connsiteY311" fmla="*/ 25743 h 2098711"/>
                <a:gd name="connsiteX312" fmla="*/ 239470 w 1849436"/>
                <a:gd name="connsiteY312" fmla="*/ 13274 h 2098711"/>
                <a:gd name="connsiteX313" fmla="*/ 276497 w 1849436"/>
                <a:gd name="connsiteY313" fmla="*/ 4827 h 2098711"/>
                <a:gd name="connsiteX314" fmla="*/ 316744 w 1849436"/>
                <a:gd name="connsiteY314" fmla="*/ 805 h 2098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849436" h="2098711">
                  <a:moveTo>
                    <a:pt x="874060" y="254097"/>
                  </a:moveTo>
                  <a:lnTo>
                    <a:pt x="918285" y="256911"/>
                  </a:lnTo>
                  <a:lnTo>
                    <a:pt x="961305" y="264550"/>
                  </a:lnTo>
                  <a:lnTo>
                    <a:pt x="1003520" y="276612"/>
                  </a:lnTo>
                  <a:lnTo>
                    <a:pt x="1043725" y="293096"/>
                  </a:lnTo>
                  <a:lnTo>
                    <a:pt x="1081920" y="313601"/>
                  </a:lnTo>
                  <a:lnTo>
                    <a:pt x="1117703" y="337322"/>
                  </a:lnTo>
                  <a:lnTo>
                    <a:pt x="1151073" y="364259"/>
                  </a:lnTo>
                  <a:lnTo>
                    <a:pt x="1181227" y="393207"/>
                  </a:lnTo>
                  <a:lnTo>
                    <a:pt x="1208566" y="424165"/>
                  </a:lnTo>
                  <a:lnTo>
                    <a:pt x="1233092" y="456329"/>
                  </a:lnTo>
                  <a:lnTo>
                    <a:pt x="1253194" y="490102"/>
                  </a:lnTo>
                  <a:lnTo>
                    <a:pt x="1269276" y="523874"/>
                  </a:lnTo>
                  <a:lnTo>
                    <a:pt x="1281740" y="558048"/>
                  </a:lnTo>
                  <a:lnTo>
                    <a:pt x="1289781" y="591419"/>
                  </a:lnTo>
                  <a:lnTo>
                    <a:pt x="1291389" y="607501"/>
                  </a:lnTo>
                  <a:lnTo>
                    <a:pt x="1290183" y="607501"/>
                  </a:lnTo>
                  <a:lnTo>
                    <a:pt x="1289781" y="607903"/>
                  </a:lnTo>
                  <a:lnTo>
                    <a:pt x="1291389" y="607501"/>
                  </a:lnTo>
                  <a:lnTo>
                    <a:pt x="1303451" y="666200"/>
                  </a:lnTo>
                  <a:lnTo>
                    <a:pt x="1315110" y="741384"/>
                  </a:lnTo>
                  <a:lnTo>
                    <a:pt x="1319533" y="786012"/>
                  </a:lnTo>
                  <a:lnTo>
                    <a:pt x="1319935" y="827423"/>
                  </a:lnTo>
                  <a:lnTo>
                    <a:pt x="1315914" y="865216"/>
                  </a:lnTo>
                  <a:lnTo>
                    <a:pt x="1307471" y="900999"/>
                  </a:lnTo>
                  <a:lnTo>
                    <a:pt x="1293399" y="934771"/>
                  </a:lnTo>
                  <a:lnTo>
                    <a:pt x="1284152" y="951255"/>
                  </a:lnTo>
                  <a:lnTo>
                    <a:pt x="1275307" y="964925"/>
                  </a:lnTo>
                  <a:lnTo>
                    <a:pt x="1256008" y="989852"/>
                  </a:lnTo>
                  <a:lnTo>
                    <a:pt x="1233896" y="1012367"/>
                  </a:lnTo>
                  <a:lnTo>
                    <a:pt x="1210979" y="1032470"/>
                  </a:lnTo>
                  <a:lnTo>
                    <a:pt x="1173990" y="1058201"/>
                  </a:lnTo>
                  <a:lnTo>
                    <a:pt x="1123332" y="1083932"/>
                  </a:lnTo>
                  <a:lnTo>
                    <a:pt x="1075487" y="1102427"/>
                  </a:lnTo>
                  <a:lnTo>
                    <a:pt x="1033272" y="1114488"/>
                  </a:lnTo>
                  <a:lnTo>
                    <a:pt x="987840" y="1123333"/>
                  </a:lnTo>
                  <a:lnTo>
                    <a:pt x="980603" y="1124539"/>
                  </a:lnTo>
                  <a:lnTo>
                    <a:pt x="987840" y="1200929"/>
                  </a:lnTo>
                  <a:lnTo>
                    <a:pt x="999098" y="1200125"/>
                  </a:lnTo>
                  <a:lnTo>
                    <a:pt x="1053777" y="1188868"/>
                  </a:lnTo>
                  <a:lnTo>
                    <a:pt x="1103631" y="1174796"/>
                  </a:lnTo>
                  <a:lnTo>
                    <a:pt x="1159918" y="1152683"/>
                  </a:lnTo>
                  <a:lnTo>
                    <a:pt x="1204144" y="1129766"/>
                  </a:lnTo>
                  <a:lnTo>
                    <a:pt x="1233494" y="1111272"/>
                  </a:lnTo>
                  <a:lnTo>
                    <a:pt x="1262441" y="1090365"/>
                  </a:lnTo>
                  <a:lnTo>
                    <a:pt x="1289781" y="1066644"/>
                  </a:lnTo>
                  <a:lnTo>
                    <a:pt x="1315914" y="1038902"/>
                  </a:lnTo>
                  <a:lnTo>
                    <a:pt x="1339233" y="1008346"/>
                  </a:lnTo>
                  <a:lnTo>
                    <a:pt x="1349686" y="991460"/>
                  </a:lnTo>
                  <a:lnTo>
                    <a:pt x="1360542" y="972162"/>
                  </a:lnTo>
                  <a:lnTo>
                    <a:pt x="1378634" y="931957"/>
                  </a:lnTo>
                  <a:lnTo>
                    <a:pt x="1391902" y="889741"/>
                  </a:lnTo>
                  <a:lnTo>
                    <a:pt x="1399541" y="845113"/>
                  </a:lnTo>
                  <a:lnTo>
                    <a:pt x="1402757" y="798073"/>
                  </a:lnTo>
                  <a:lnTo>
                    <a:pt x="1401149" y="748621"/>
                  </a:lnTo>
                  <a:lnTo>
                    <a:pt x="1394314" y="697158"/>
                  </a:lnTo>
                  <a:lnTo>
                    <a:pt x="1383057" y="643283"/>
                  </a:lnTo>
                  <a:lnTo>
                    <a:pt x="1375016" y="615944"/>
                  </a:lnTo>
                  <a:lnTo>
                    <a:pt x="1395118" y="621171"/>
                  </a:lnTo>
                  <a:lnTo>
                    <a:pt x="1434117" y="635242"/>
                  </a:lnTo>
                  <a:lnTo>
                    <a:pt x="1471508" y="653737"/>
                  </a:lnTo>
                  <a:lnTo>
                    <a:pt x="1507693" y="676654"/>
                  </a:lnTo>
                  <a:lnTo>
                    <a:pt x="1541465" y="703993"/>
                  </a:lnTo>
                  <a:lnTo>
                    <a:pt x="1573227" y="734147"/>
                  </a:lnTo>
                  <a:lnTo>
                    <a:pt x="1601773" y="767919"/>
                  </a:lnTo>
                  <a:lnTo>
                    <a:pt x="1627906" y="804506"/>
                  </a:lnTo>
                  <a:lnTo>
                    <a:pt x="1650823" y="843505"/>
                  </a:lnTo>
                  <a:lnTo>
                    <a:pt x="1670121" y="884514"/>
                  </a:lnTo>
                  <a:lnTo>
                    <a:pt x="1685801" y="927936"/>
                  </a:lnTo>
                  <a:lnTo>
                    <a:pt x="1697059" y="972564"/>
                  </a:lnTo>
                  <a:lnTo>
                    <a:pt x="1704698" y="1019202"/>
                  </a:lnTo>
                  <a:lnTo>
                    <a:pt x="1706708" y="1065840"/>
                  </a:lnTo>
                  <a:lnTo>
                    <a:pt x="1703894" y="1113282"/>
                  </a:lnTo>
                  <a:lnTo>
                    <a:pt x="1696255" y="1161528"/>
                  </a:lnTo>
                  <a:lnTo>
                    <a:pt x="1689822" y="1184847"/>
                  </a:lnTo>
                  <a:lnTo>
                    <a:pt x="1701481" y="1188466"/>
                  </a:lnTo>
                  <a:lnTo>
                    <a:pt x="1722790" y="1196909"/>
                  </a:lnTo>
                  <a:lnTo>
                    <a:pt x="1742088" y="1207362"/>
                  </a:lnTo>
                  <a:lnTo>
                    <a:pt x="1759377" y="1219826"/>
                  </a:lnTo>
                  <a:lnTo>
                    <a:pt x="1782294" y="1241537"/>
                  </a:lnTo>
                  <a:lnTo>
                    <a:pt x="1807221" y="1276515"/>
                  </a:lnTo>
                  <a:lnTo>
                    <a:pt x="1825313" y="1316720"/>
                  </a:lnTo>
                  <a:lnTo>
                    <a:pt x="1838581" y="1359740"/>
                  </a:lnTo>
                  <a:lnTo>
                    <a:pt x="1846220" y="1405172"/>
                  </a:lnTo>
                  <a:lnTo>
                    <a:pt x="1849436" y="1451810"/>
                  </a:lnTo>
                  <a:lnTo>
                    <a:pt x="1849034" y="1474727"/>
                  </a:lnTo>
                  <a:lnTo>
                    <a:pt x="1847426" y="1492819"/>
                  </a:lnTo>
                  <a:lnTo>
                    <a:pt x="1840993" y="1528602"/>
                  </a:lnTo>
                  <a:lnTo>
                    <a:pt x="1836168" y="1545890"/>
                  </a:lnTo>
                  <a:lnTo>
                    <a:pt x="1832148" y="1559962"/>
                  </a:lnTo>
                  <a:lnTo>
                    <a:pt x="1821695" y="1586095"/>
                  </a:lnTo>
                  <a:lnTo>
                    <a:pt x="1808829" y="1611022"/>
                  </a:lnTo>
                  <a:lnTo>
                    <a:pt x="1793551" y="1633537"/>
                  </a:lnTo>
                  <a:lnTo>
                    <a:pt x="1775861" y="1654846"/>
                  </a:lnTo>
                  <a:lnTo>
                    <a:pt x="1755758" y="1674144"/>
                  </a:lnTo>
                  <a:lnTo>
                    <a:pt x="1732841" y="1692237"/>
                  </a:lnTo>
                  <a:lnTo>
                    <a:pt x="1707110" y="1708721"/>
                  </a:lnTo>
                  <a:lnTo>
                    <a:pt x="1693440" y="1716360"/>
                  </a:lnTo>
                  <a:lnTo>
                    <a:pt x="1680173" y="1723195"/>
                  </a:lnTo>
                  <a:lnTo>
                    <a:pt x="1652833" y="1734050"/>
                  </a:lnTo>
                  <a:lnTo>
                    <a:pt x="1625494" y="1742091"/>
                  </a:lnTo>
                  <a:lnTo>
                    <a:pt x="1598154" y="1746514"/>
                  </a:lnTo>
                  <a:lnTo>
                    <a:pt x="1557547" y="1750132"/>
                  </a:lnTo>
                  <a:lnTo>
                    <a:pt x="1506084" y="1748524"/>
                  </a:lnTo>
                  <a:lnTo>
                    <a:pt x="1459446" y="1742091"/>
                  </a:lnTo>
                  <a:lnTo>
                    <a:pt x="1421654" y="1732442"/>
                  </a:lnTo>
                  <a:lnTo>
                    <a:pt x="1381851" y="1719978"/>
                  </a:lnTo>
                  <a:lnTo>
                    <a:pt x="1376222" y="1717566"/>
                  </a:lnTo>
                  <a:lnTo>
                    <a:pt x="1347676" y="1704700"/>
                  </a:lnTo>
                  <a:lnTo>
                    <a:pt x="1331996" y="1695453"/>
                  </a:lnTo>
                  <a:lnTo>
                    <a:pt x="1303451" y="1672536"/>
                  </a:lnTo>
                  <a:lnTo>
                    <a:pt x="1290585" y="1659671"/>
                  </a:lnTo>
                  <a:lnTo>
                    <a:pt x="1274503" y="1641176"/>
                  </a:lnTo>
                  <a:lnTo>
                    <a:pt x="1249978" y="1601775"/>
                  </a:lnTo>
                  <a:lnTo>
                    <a:pt x="1233092" y="1561168"/>
                  </a:lnTo>
                  <a:lnTo>
                    <a:pt x="1221834" y="1521365"/>
                  </a:lnTo>
                  <a:lnTo>
                    <a:pt x="1213793" y="1468294"/>
                  </a:lnTo>
                  <a:lnTo>
                    <a:pt x="1212185" y="1422460"/>
                  </a:lnTo>
                  <a:lnTo>
                    <a:pt x="1212587" y="1417233"/>
                  </a:lnTo>
                  <a:lnTo>
                    <a:pt x="1135795" y="1410800"/>
                  </a:lnTo>
                  <a:lnTo>
                    <a:pt x="1134991" y="1418841"/>
                  </a:lnTo>
                  <a:lnTo>
                    <a:pt x="1135393" y="1459047"/>
                  </a:lnTo>
                  <a:lnTo>
                    <a:pt x="1139012" y="1496437"/>
                  </a:lnTo>
                  <a:lnTo>
                    <a:pt x="1147053" y="1540663"/>
                  </a:lnTo>
                  <a:lnTo>
                    <a:pt x="1160320" y="1589311"/>
                  </a:lnTo>
                  <a:lnTo>
                    <a:pt x="1182433" y="1639166"/>
                  </a:lnTo>
                  <a:lnTo>
                    <a:pt x="1204948" y="1676155"/>
                  </a:lnTo>
                  <a:lnTo>
                    <a:pt x="1223040" y="1699876"/>
                  </a:lnTo>
                  <a:lnTo>
                    <a:pt x="1233494" y="1711535"/>
                  </a:lnTo>
                  <a:lnTo>
                    <a:pt x="1251586" y="1730432"/>
                  </a:lnTo>
                  <a:lnTo>
                    <a:pt x="1292997" y="1762596"/>
                  </a:lnTo>
                  <a:lnTo>
                    <a:pt x="1315110" y="1775864"/>
                  </a:lnTo>
                  <a:lnTo>
                    <a:pt x="1309883" y="1795162"/>
                  </a:lnTo>
                  <a:lnTo>
                    <a:pt x="1297420" y="1830945"/>
                  </a:lnTo>
                  <a:lnTo>
                    <a:pt x="1282544" y="1863913"/>
                  </a:lnTo>
                  <a:lnTo>
                    <a:pt x="1265256" y="1894067"/>
                  </a:lnTo>
                  <a:lnTo>
                    <a:pt x="1245957" y="1921808"/>
                  </a:lnTo>
                  <a:lnTo>
                    <a:pt x="1224648" y="1945529"/>
                  </a:lnTo>
                  <a:lnTo>
                    <a:pt x="1201329" y="1966838"/>
                  </a:lnTo>
                  <a:lnTo>
                    <a:pt x="1175196" y="1985735"/>
                  </a:lnTo>
                  <a:lnTo>
                    <a:pt x="1161124" y="1993776"/>
                  </a:lnTo>
                  <a:lnTo>
                    <a:pt x="1139012" y="2005033"/>
                  </a:lnTo>
                  <a:lnTo>
                    <a:pt x="1092374" y="2021115"/>
                  </a:lnTo>
                  <a:lnTo>
                    <a:pt x="1044932" y="2030764"/>
                  </a:lnTo>
                  <a:lnTo>
                    <a:pt x="997892" y="2034383"/>
                  </a:lnTo>
                  <a:lnTo>
                    <a:pt x="953264" y="2033177"/>
                  </a:lnTo>
                  <a:lnTo>
                    <a:pt x="911451" y="2029156"/>
                  </a:lnTo>
                  <a:lnTo>
                    <a:pt x="856772" y="2019507"/>
                  </a:lnTo>
                  <a:lnTo>
                    <a:pt x="829432" y="2013074"/>
                  </a:lnTo>
                  <a:lnTo>
                    <a:pt x="848328" y="1988951"/>
                  </a:lnTo>
                  <a:lnTo>
                    <a:pt x="879286" y="1939901"/>
                  </a:lnTo>
                  <a:lnTo>
                    <a:pt x="903007" y="1891654"/>
                  </a:lnTo>
                  <a:lnTo>
                    <a:pt x="919894" y="1845419"/>
                  </a:lnTo>
                  <a:lnTo>
                    <a:pt x="936378" y="1785111"/>
                  </a:lnTo>
                  <a:lnTo>
                    <a:pt x="944419" y="1732844"/>
                  </a:lnTo>
                  <a:lnTo>
                    <a:pt x="944821" y="1725607"/>
                  </a:lnTo>
                  <a:lnTo>
                    <a:pt x="867627" y="1721587"/>
                  </a:lnTo>
                  <a:lnTo>
                    <a:pt x="867225" y="1728019"/>
                  </a:lnTo>
                  <a:lnTo>
                    <a:pt x="860792" y="1767420"/>
                  </a:lnTo>
                  <a:lnTo>
                    <a:pt x="851545" y="1805615"/>
                  </a:lnTo>
                  <a:lnTo>
                    <a:pt x="836267" y="1849841"/>
                  </a:lnTo>
                  <a:lnTo>
                    <a:pt x="814556" y="1897685"/>
                  </a:lnTo>
                  <a:lnTo>
                    <a:pt x="784402" y="1946334"/>
                  </a:lnTo>
                  <a:lnTo>
                    <a:pt x="754651" y="1980910"/>
                  </a:lnTo>
                  <a:lnTo>
                    <a:pt x="732136" y="2003023"/>
                  </a:lnTo>
                  <a:lnTo>
                    <a:pt x="719672" y="2013476"/>
                  </a:lnTo>
                  <a:lnTo>
                    <a:pt x="701982" y="2027548"/>
                  </a:lnTo>
                  <a:lnTo>
                    <a:pt x="662983" y="2051269"/>
                  </a:lnTo>
                  <a:lnTo>
                    <a:pt x="620767" y="2070166"/>
                  </a:lnTo>
                  <a:lnTo>
                    <a:pt x="574934" y="2084639"/>
                  </a:lnTo>
                  <a:lnTo>
                    <a:pt x="525883" y="2094289"/>
                  </a:lnTo>
                  <a:lnTo>
                    <a:pt x="473215" y="2098711"/>
                  </a:lnTo>
                  <a:lnTo>
                    <a:pt x="417329" y="2098711"/>
                  </a:lnTo>
                  <a:lnTo>
                    <a:pt x="357826" y="2094289"/>
                  </a:lnTo>
                  <a:lnTo>
                    <a:pt x="327270" y="2089866"/>
                  </a:lnTo>
                  <a:lnTo>
                    <a:pt x="300333" y="2085443"/>
                  </a:lnTo>
                  <a:lnTo>
                    <a:pt x="248066" y="2068557"/>
                  </a:lnTo>
                  <a:lnTo>
                    <a:pt x="199418" y="2045238"/>
                  </a:lnTo>
                  <a:lnTo>
                    <a:pt x="153584" y="2016693"/>
                  </a:lnTo>
                  <a:lnTo>
                    <a:pt x="112173" y="1984126"/>
                  </a:lnTo>
                  <a:lnTo>
                    <a:pt x="74380" y="1950354"/>
                  </a:lnTo>
                  <a:lnTo>
                    <a:pt x="25329" y="1898891"/>
                  </a:lnTo>
                  <a:lnTo>
                    <a:pt x="0" y="1867933"/>
                  </a:lnTo>
                  <a:lnTo>
                    <a:pt x="0" y="786012"/>
                  </a:lnTo>
                  <a:lnTo>
                    <a:pt x="32968" y="780383"/>
                  </a:lnTo>
                  <a:lnTo>
                    <a:pt x="95286" y="772744"/>
                  </a:lnTo>
                  <a:lnTo>
                    <a:pt x="154388" y="770734"/>
                  </a:lnTo>
                  <a:lnTo>
                    <a:pt x="209067" y="773548"/>
                  </a:lnTo>
                  <a:lnTo>
                    <a:pt x="260127" y="781991"/>
                  </a:lnTo>
                  <a:lnTo>
                    <a:pt x="306765" y="796063"/>
                  </a:lnTo>
                  <a:lnTo>
                    <a:pt x="350187" y="815362"/>
                  </a:lnTo>
                  <a:lnTo>
                    <a:pt x="389186" y="839887"/>
                  </a:lnTo>
                  <a:lnTo>
                    <a:pt x="406876" y="853959"/>
                  </a:lnTo>
                  <a:lnTo>
                    <a:pt x="418938" y="864814"/>
                  </a:lnTo>
                  <a:lnTo>
                    <a:pt x="440648" y="887329"/>
                  </a:lnTo>
                  <a:lnTo>
                    <a:pt x="459947" y="911854"/>
                  </a:lnTo>
                  <a:lnTo>
                    <a:pt x="477235" y="937183"/>
                  </a:lnTo>
                  <a:lnTo>
                    <a:pt x="498544" y="976986"/>
                  </a:lnTo>
                  <a:lnTo>
                    <a:pt x="519853" y="1031263"/>
                  </a:lnTo>
                  <a:lnTo>
                    <a:pt x="535131" y="1084736"/>
                  </a:lnTo>
                  <a:lnTo>
                    <a:pt x="543976" y="1134993"/>
                  </a:lnTo>
                  <a:lnTo>
                    <a:pt x="550811" y="1198919"/>
                  </a:lnTo>
                  <a:lnTo>
                    <a:pt x="551213" y="1227465"/>
                  </a:lnTo>
                  <a:lnTo>
                    <a:pt x="528296" y="1234702"/>
                  </a:lnTo>
                  <a:lnTo>
                    <a:pt x="486884" y="1253598"/>
                  </a:lnTo>
                  <a:lnTo>
                    <a:pt x="450298" y="1274907"/>
                  </a:lnTo>
                  <a:lnTo>
                    <a:pt x="419340" y="1297824"/>
                  </a:lnTo>
                  <a:lnTo>
                    <a:pt x="383557" y="1330390"/>
                  </a:lnTo>
                  <a:lnTo>
                    <a:pt x="357022" y="1359740"/>
                  </a:lnTo>
                  <a:lnTo>
                    <a:pt x="354207" y="1363760"/>
                  </a:lnTo>
                  <a:lnTo>
                    <a:pt x="417329" y="1407986"/>
                  </a:lnTo>
                  <a:lnTo>
                    <a:pt x="424566" y="1397935"/>
                  </a:lnTo>
                  <a:lnTo>
                    <a:pt x="466782" y="1356925"/>
                  </a:lnTo>
                  <a:lnTo>
                    <a:pt x="498544" y="1334411"/>
                  </a:lnTo>
                  <a:lnTo>
                    <a:pt x="523873" y="1320339"/>
                  </a:lnTo>
                  <a:lnTo>
                    <a:pt x="552017" y="1307875"/>
                  </a:lnTo>
                  <a:lnTo>
                    <a:pt x="582975" y="1298628"/>
                  </a:lnTo>
                  <a:lnTo>
                    <a:pt x="617551" y="1292597"/>
                  </a:lnTo>
                  <a:lnTo>
                    <a:pt x="654540" y="1291793"/>
                  </a:lnTo>
                  <a:lnTo>
                    <a:pt x="694745" y="1295814"/>
                  </a:lnTo>
                  <a:lnTo>
                    <a:pt x="737764" y="1306267"/>
                  </a:lnTo>
                  <a:lnTo>
                    <a:pt x="783196" y="1323957"/>
                  </a:lnTo>
                  <a:lnTo>
                    <a:pt x="831844" y="1350091"/>
                  </a:lnTo>
                  <a:lnTo>
                    <a:pt x="857174" y="1366575"/>
                  </a:lnTo>
                  <a:lnTo>
                    <a:pt x="900997" y="1303051"/>
                  </a:lnTo>
                  <a:lnTo>
                    <a:pt x="881297" y="1290185"/>
                  </a:lnTo>
                  <a:lnTo>
                    <a:pt x="843504" y="1267670"/>
                  </a:lnTo>
                  <a:lnTo>
                    <a:pt x="807319" y="1249980"/>
                  </a:lnTo>
                  <a:lnTo>
                    <a:pt x="771537" y="1235908"/>
                  </a:lnTo>
                  <a:lnTo>
                    <a:pt x="737362" y="1225454"/>
                  </a:lnTo>
                  <a:lnTo>
                    <a:pt x="704394" y="1218620"/>
                  </a:lnTo>
                  <a:lnTo>
                    <a:pt x="673436" y="1215001"/>
                  </a:lnTo>
                  <a:lnTo>
                    <a:pt x="642880" y="1214197"/>
                  </a:lnTo>
                  <a:lnTo>
                    <a:pt x="628406" y="1214599"/>
                  </a:lnTo>
                  <a:lnTo>
                    <a:pt x="627200" y="1190476"/>
                  </a:lnTo>
                  <a:lnTo>
                    <a:pt x="621572" y="1127354"/>
                  </a:lnTo>
                  <a:lnTo>
                    <a:pt x="607500" y="1052974"/>
                  </a:lnTo>
                  <a:lnTo>
                    <a:pt x="589005" y="993069"/>
                  </a:lnTo>
                  <a:lnTo>
                    <a:pt x="572521" y="952461"/>
                  </a:lnTo>
                  <a:lnTo>
                    <a:pt x="562872" y="931957"/>
                  </a:lnTo>
                  <a:lnTo>
                    <a:pt x="592624" y="914266"/>
                  </a:lnTo>
                  <a:lnTo>
                    <a:pt x="645695" y="875669"/>
                  </a:lnTo>
                  <a:lnTo>
                    <a:pt x="682683" y="843907"/>
                  </a:lnTo>
                  <a:lnTo>
                    <a:pt x="720074" y="806516"/>
                  </a:lnTo>
                  <a:lnTo>
                    <a:pt x="755455" y="763095"/>
                  </a:lnTo>
                  <a:lnTo>
                    <a:pt x="788021" y="714447"/>
                  </a:lnTo>
                  <a:lnTo>
                    <a:pt x="814958" y="659365"/>
                  </a:lnTo>
                  <a:lnTo>
                    <a:pt x="825814" y="629212"/>
                  </a:lnTo>
                  <a:lnTo>
                    <a:pt x="832648" y="607903"/>
                  </a:lnTo>
                  <a:lnTo>
                    <a:pt x="843102" y="564883"/>
                  </a:lnTo>
                  <a:lnTo>
                    <a:pt x="848731" y="520255"/>
                  </a:lnTo>
                  <a:lnTo>
                    <a:pt x="850339" y="475628"/>
                  </a:lnTo>
                  <a:lnTo>
                    <a:pt x="847926" y="429392"/>
                  </a:lnTo>
                  <a:lnTo>
                    <a:pt x="841092" y="382352"/>
                  </a:lnTo>
                  <a:lnTo>
                    <a:pt x="830236" y="334910"/>
                  </a:lnTo>
                  <a:lnTo>
                    <a:pt x="814556" y="286261"/>
                  </a:lnTo>
                  <a:lnTo>
                    <a:pt x="804907" y="262138"/>
                  </a:lnTo>
                  <a:lnTo>
                    <a:pt x="828628" y="257716"/>
                  </a:lnTo>
                  <a:close/>
                  <a:moveTo>
                    <a:pt x="337672" y="0"/>
                  </a:moveTo>
                  <a:lnTo>
                    <a:pt x="354174" y="805"/>
                  </a:lnTo>
                  <a:lnTo>
                    <a:pt x="386371" y="3218"/>
                  </a:lnTo>
                  <a:lnTo>
                    <a:pt x="433058" y="11665"/>
                  </a:lnTo>
                  <a:lnTo>
                    <a:pt x="489806" y="30972"/>
                  </a:lnTo>
                  <a:lnTo>
                    <a:pt x="540920" y="57118"/>
                  </a:lnTo>
                  <a:lnTo>
                    <a:pt x="586801" y="88090"/>
                  </a:lnTo>
                  <a:lnTo>
                    <a:pt x="627048" y="123890"/>
                  </a:lnTo>
                  <a:lnTo>
                    <a:pt x="660856" y="160896"/>
                  </a:lnTo>
                  <a:lnTo>
                    <a:pt x="689431" y="197901"/>
                  </a:lnTo>
                  <a:lnTo>
                    <a:pt x="701103" y="216002"/>
                  </a:lnTo>
                  <a:lnTo>
                    <a:pt x="714787" y="242550"/>
                  </a:lnTo>
                  <a:lnTo>
                    <a:pt x="736520" y="294841"/>
                  </a:lnTo>
                  <a:lnTo>
                    <a:pt x="753826" y="345925"/>
                  </a:lnTo>
                  <a:lnTo>
                    <a:pt x="765900" y="395401"/>
                  </a:lnTo>
                  <a:lnTo>
                    <a:pt x="772340" y="443669"/>
                  </a:lnTo>
                  <a:lnTo>
                    <a:pt x="773547" y="491133"/>
                  </a:lnTo>
                  <a:lnTo>
                    <a:pt x="769925" y="536989"/>
                  </a:lnTo>
                  <a:lnTo>
                    <a:pt x="760668" y="581637"/>
                  </a:lnTo>
                  <a:lnTo>
                    <a:pt x="753826" y="603358"/>
                  </a:lnTo>
                  <a:lnTo>
                    <a:pt x="744569" y="629101"/>
                  </a:lnTo>
                  <a:lnTo>
                    <a:pt x="720824" y="676565"/>
                  </a:lnTo>
                  <a:lnTo>
                    <a:pt x="692248" y="718800"/>
                  </a:lnTo>
                  <a:lnTo>
                    <a:pt x="660856" y="756209"/>
                  </a:lnTo>
                  <a:lnTo>
                    <a:pt x="627853" y="788790"/>
                  </a:lnTo>
                  <a:lnTo>
                    <a:pt x="595253" y="816544"/>
                  </a:lnTo>
                  <a:lnTo>
                    <a:pt x="548164" y="849930"/>
                  </a:lnTo>
                  <a:lnTo>
                    <a:pt x="522809" y="865215"/>
                  </a:lnTo>
                  <a:lnTo>
                    <a:pt x="508722" y="846310"/>
                  </a:lnTo>
                  <a:lnTo>
                    <a:pt x="476122" y="811315"/>
                  </a:lnTo>
                  <a:lnTo>
                    <a:pt x="458011" y="794823"/>
                  </a:lnTo>
                  <a:lnTo>
                    <a:pt x="437082" y="777929"/>
                  </a:lnTo>
                  <a:lnTo>
                    <a:pt x="391603" y="748968"/>
                  </a:lnTo>
                  <a:lnTo>
                    <a:pt x="342100" y="726041"/>
                  </a:lnTo>
                  <a:lnTo>
                    <a:pt x="288974" y="708744"/>
                  </a:lnTo>
                  <a:lnTo>
                    <a:pt x="231420" y="697884"/>
                  </a:lnTo>
                  <a:lnTo>
                    <a:pt x="170647" y="693057"/>
                  </a:lnTo>
                  <a:lnTo>
                    <a:pt x="105447" y="694264"/>
                  </a:lnTo>
                  <a:lnTo>
                    <a:pt x="35820" y="700700"/>
                  </a:lnTo>
                  <a:lnTo>
                    <a:pt x="0" y="707135"/>
                  </a:lnTo>
                  <a:lnTo>
                    <a:pt x="0" y="425166"/>
                  </a:lnTo>
                  <a:lnTo>
                    <a:pt x="403" y="402641"/>
                  </a:lnTo>
                  <a:lnTo>
                    <a:pt x="3220" y="359199"/>
                  </a:lnTo>
                  <a:lnTo>
                    <a:pt x="7647" y="316964"/>
                  </a:lnTo>
                  <a:lnTo>
                    <a:pt x="15697" y="277142"/>
                  </a:lnTo>
                  <a:lnTo>
                    <a:pt x="26161" y="238930"/>
                  </a:lnTo>
                  <a:lnTo>
                    <a:pt x="39442" y="202326"/>
                  </a:lnTo>
                  <a:lnTo>
                    <a:pt x="55139" y="168538"/>
                  </a:lnTo>
                  <a:lnTo>
                    <a:pt x="73652" y="137163"/>
                  </a:lnTo>
                  <a:lnTo>
                    <a:pt x="94581" y="109007"/>
                  </a:lnTo>
                  <a:lnTo>
                    <a:pt x="117924" y="83263"/>
                  </a:lnTo>
                  <a:lnTo>
                    <a:pt x="144487" y="60738"/>
                  </a:lnTo>
                  <a:lnTo>
                    <a:pt x="173867" y="41431"/>
                  </a:lnTo>
                  <a:lnTo>
                    <a:pt x="204857" y="25743"/>
                  </a:lnTo>
                  <a:lnTo>
                    <a:pt x="239470" y="13274"/>
                  </a:lnTo>
                  <a:lnTo>
                    <a:pt x="276497" y="4827"/>
                  </a:lnTo>
                  <a:lnTo>
                    <a:pt x="316744" y="805"/>
                  </a:lnTo>
                  <a:close/>
                </a:path>
              </a:pathLst>
            </a:custGeom>
            <a:solidFill>
              <a:srgbClr val="FFEC3B"/>
            </a:solidFill>
            <a:ln>
              <a:noFill/>
            </a:ln>
          </p:spPr>
          <p:txBody>
            <a:bodyPr vert="horz" wrap="square" lIns="91392" tIns="45696" rIns="91392" bIns="45696"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
          <p:nvSpPr>
            <p:cNvPr id="48" name="Freeform: Shape 47">
              <a:extLst>
                <a:ext uri="{FF2B5EF4-FFF2-40B4-BE49-F238E27FC236}">
                  <a16:creationId xmlns:a16="http://schemas.microsoft.com/office/drawing/2014/main" id="{050A1646-7335-EB20-E4F8-E1391F850388}"/>
                </a:ext>
              </a:extLst>
            </p:cNvPr>
            <p:cNvSpPr>
              <a:spLocks/>
            </p:cNvSpPr>
            <p:nvPr/>
          </p:nvSpPr>
          <p:spPr bwMode="auto">
            <a:xfrm>
              <a:off x="4104618" y="1989337"/>
              <a:ext cx="1847829" cy="2220934"/>
            </a:xfrm>
            <a:custGeom>
              <a:avLst/>
              <a:gdLst>
                <a:gd name="connsiteX0" fmla="*/ 649716 w 1847829"/>
                <a:gd name="connsiteY0" fmla="*/ 931151 h 2220934"/>
                <a:gd name="connsiteX1" fmla="*/ 675045 w 1847829"/>
                <a:gd name="connsiteY1" fmla="*/ 945217 h 2220934"/>
                <a:gd name="connsiteX2" fmla="*/ 724497 w 1847829"/>
                <a:gd name="connsiteY2" fmla="*/ 969330 h 2220934"/>
                <a:gd name="connsiteX3" fmla="*/ 773145 w 1847829"/>
                <a:gd name="connsiteY3" fmla="*/ 987414 h 2220934"/>
                <a:gd name="connsiteX4" fmla="*/ 821794 w 1847829"/>
                <a:gd name="connsiteY4" fmla="*/ 1001078 h 2220934"/>
                <a:gd name="connsiteX5" fmla="*/ 869236 w 1847829"/>
                <a:gd name="connsiteY5" fmla="*/ 1008714 h 2220934"/>
                <a:gd name="connsiteX6" fmla="*/ 916276 w 1847829"/>
                <a:gd name="connsiteY6" fmla="*/ 1011929 h 2220934"/>
                <a:gd name="connsiteX7" fmla="*/ 962512 w 1847829"/>
                <a:gd name="connsiteY7" fmla="*/ 1009518 h 2220934"/>
                <a:gd name="connsiteX8" fmla="*/ 1007944 w 1847829"/>
                <a:gd name="connsiteY8" fmla="*/ 1001078 h 2220934"/>
                <a:gd name="connsiteX9" fmla="*/ 1030056 w 1847829"/>
                <a:gd name="connsiteY9" fmla="*/ 995452 h 2220934"/>
                <a:gd name="connsiteX10" fmla="*/ 1048953 w 1847829"/>
                <a:gd name="connsiteY10" fmla="*/ 989022 h 2220934"/>
                <a:gd name="connsiteX11" fmla="*/ 1085540 w 1847829"/>
                <a:gd name="connsiteY11" fmla="*/ 974554 h 2220934"/>
                <a:gd name="connsiteX12" fmla="*/ 1102024 w 1847829"/>
                <a:gd name="connsiteY12" fmla="*/ 965713 h 2220934"/>
                <a:gd name="connsiteX13" fmla="*/ 1117704 w 1847829"/>
                <a:gd name="connsiteY13" fmla="*/ 991031 h 2220934"/>
                <a:gd name="connsiteX14" fmla="*/ 1144239 w 1847829"/>
                <a:gd name="connsiteY14" fmla="*/ 1040865 h 2220934"/>
                <a:gd name="connsiteX15" fmla="*/ 1164744 w 1847829"/>
                <a:gd name="connsiteY15" fmla="*/ 1088689 h 2220934"/>
                <a:gd name="connsiteX16" fmla="*/ 1179218 w 1847829"/>
                <a:gd name="connsiteY16" fmla="*/ 1135307 h 2220934"/>
                <a:gd name="connsiteX17" fmla="*/ 1188063 w 1847829"/>
                <a:gd name="connsiteY17" fmla="*/ 1181925 h 2220934"/>
                <a:gd name="connsiteX18" fmla="*/ 1191681 w 1847829"/>
                <a:gd name="connsiteY18" fmla="*/ 1227338 h 2220934"/>
                <a:gd name="connsiteX19" fmla="*/ 1189269 w 1847829"/>
                <a:gd name="connsiteY19" fmla="*/ 1272348 h 2220934"/>
                <a:gd name="connsiteX20" fmla="*/ 1181228 w 1847829"/>
                <a:gd name="connsiteY20" fmla="*/ 1317761 h 2220934"/>
                <a:gd name="connsiteX21" fmla="*/ 1175599 w 1847829"/>
                <a:gd name="connsiteY21" fmla="*/ 1340668 h 2220934"/>
                <a:gd name="connsiteX22" fmla="*/ 1170372 w 1847829"/>
                <a:gd name="connsiteY22" fmla="*/ 1355940 h 2220934"/>
                <a:gd name="connsiteX23" fmla="*/ 1153084 w 1847829"/>
                <a:gd name="connsiteY23" fmla="*/ 1384875 h 2220934"/>
                <a:gd name="connsiteX24" fmla="*/ 1129363 w 1847829"/>
                <a:gd name="connsiteY24" fmla="*/ 1412605 h 2220934"/>
                <a:gd name="connsiteX25" fmla="*/ 1100013 w 1847829"/>
                <a:gd name="connsiteY25" fmla="*/ 1437521 h 2220934"/>
                <a:gd name="connsiteX26" fmla="*/ 1066643 w 1847829"/>
                <a:gd name="connsiteY26" fmla="*/ 1460027 h 2220934"/>
                <a:gd name="connsiteX27" fmla="*/ 1030861 w 1847829"/>
                <a:gd name="connsiteY27" fmla="*/ 1479317 h 2220934"/>
                <a:gd name="connsiteX28" fmla="*/ 993872 w 1847829"/>
                <a:gd name="connsiteY28" fmla="*/ 1494187 h 2220934"/>
                <a:gd name="connsiteX29" fmla="*/ 956883 w 1847829"/>
                <a:gd name="connsiteY29" fmla="*/ 1504636 h 2220934"/>
                <a:gd name="connsiteX30" fmla="*/ 938389 w 1847829"/>
                <a:gd name="connsiteY30" fmla="*/ 1507851 h 2220934"/>
                <a:gd name="connsiteX31" fmla="*/ 888132 w 1847829"/>
                <a:gd name="connsiteY31" fmla="*/ 1516290 h 2220934"/>
                <a:gd name="connsiteX32" fmla="*/ 909843 w 1847829"/>
                <a:gd name="connsiteY32" fmla="*/ 1562507 h 2220934"/>
                <a:gd name="connsiteX33" fmla="*/ 916276 w 1847829"/>
                <a:gd name="connsiteY33" fmla="*/ 1576572 h 2220934"/>
                <a:gd name="connsiteX34" fmla="*/ 925925 w 1847829"/>
                <a:gd name="connsiteY34" fmla="*/ 1604704 h 2220934"/>
                <a:gd name="connsiteX35" fmla="*/ 932760 w 1847829"/>
                <a:gd name="connsiteY35" fmla="*/ 1632434 h 2220934"/>
                <a:gd name="connsiteX36" fmla="*/ 935976 w 1847829"/>
                <a:gd name="connsiteY36" fmla="*/ 1658958 h 2220934"/>
                <a:gd name="connsiteX37" fmla="*/ 935574 w 1847829"/>
                <a:gd name="connsiteY37" fmla="*/ 1684678 h 2220934"/>
                <a:gd name="connsiteX38" fmla="*/ 931554 w 1847829"/>
                <a:gd name="connsiteY38" fmla="*/ 1708791 h 2220934"/>
                <a:gd name="connsiteX39" fmla="*/ 924317 w 1847829"/>
                <a:gd name="connsiteY39" fmla="*/ 1732904 h 2220934"/>
                <a:gd name="connsiteX40" fmla="*/ 913864 w 1847829"/>
                <a:gd name="connsiteY40" fmla="*/ 1755410 h 2220934"/>
                <a:gd name="connsiteX41" fmla="*/ 907431 w 1847829"/>
                <a:gd name="connsiteY41" fmla="*/ 1765858 h 2220934"/>
                <a:gd name="connsiteX42" fmla="*/ 898988 w 1847829"/>
                <a:gd name="connsiteY42" fmla="*/ 1777915 h 2220934"/>
                <a:gd name="connsiteX43" fmla="*/ 878081 w 1847829"/>
                <a:gd name="connsiteY43" fmla="*/ 1800822 h 2220934"/>
                <a:gd name="connsiteX44" fmla="*/ 853154 w 1847829"/>
                <a:gd name="connsiteY44" fmla="*/ 1820514 h 2220934"/>
                <a:gd name="connsiteX45" fmla="*/ 824206 w 1847829"/>
                <a:gd name="connsiteY45" fmla="*/ 1837795 h 2220934"/>
                <a:gd name="connsiteX46" fmla="*/ 793248 w 1847829"/>
                <a:gd name="connsiteY46" fmla="*/ 1852263 h 2220934"/>
                <a:gd name="connsiteX47" fmla="*/ 758270 w 1847829"/>
                <a:gd name="connsiteY47" fmla="*/ 1863516 h 2220934"/>
                <a:gd name="connsiteX48" fmla="*/ 721281 w 1847829"/>
                <a:gd name="connsiteY48" fmla="*/ 1871955 h 2220934"/>
                <a:gd name="connsiteX49" fmla="*/ 682282 w 1847829"/>
                <a:gd name="connsiteY49" fmla="*/ 1877180 h 2220934"/>
                <a:gd name="connsiteX50" fmla="*/ 661777 w 1847829"/>
                <a:gd name="connsiteY50" fmla="*/ 1878385 h 2220934"/>
                <a:gd name="connsiteX51" fmla="*/ 659365 w 1847829"/>
                <a:gd name="connsiteY51" fmla="*/ 1864319 h 2220934"/>
                <a:gd name="connsiteX52" fmla="*/ 651726 w 1847829"/>
                <a:gd name="connsiteY52" fmla="*/ 1834982 h 2220934"/>
                <a:gd name="connsiteX53" fmla="*/ 641675 w 1847829"/>
                <a:gd name="connsiteY53" fmla="*/ 1806047 h 2220934"/>
                <a:gd name="connsiteX54" fmla="*/ 628005 w 1847829"/>
                <a:gd name="connsiteY54" fmla="*/ 1776709 h 2220934"/>
                <a:gd name="connsiteX55" fmla="*/ 619964 w 1847829"/>
                <a:gd name="connsiteY55" fmla="*/ 1762643 h 2220934"/>
                <a:gd name="connsiteX56" fmla="*/ 609510 w 1847829"/>
                <a:gd name="connsiteY56" fmla="*/ 1744961 h 2220934"/>
                <a:gd name="connsiteX57" fmla="*/ 585789 w 1847829"/>
                <a:gd name="connsiteY57" fmla="*/ 1711604 h 2220934"/>
                <a:gd name="connsiteX58" fmla="*/ 558450 w 1847829"/>
                <a:gd name="connsiteY58" fmla="*/ 1681463 h 2220934"/>
                <a:gd name="connsiteX59" fmla="*/ 529502 w 1847829"/>
                <a:gd name="connsiteY59" fmla="*/ 1654135 h 2220934"/>
                <a:gd name="connsiteX60" fmla="*/ 497338 w 1847829"/>
                <a:gd name="connsiteY60" fmla="*/ 1630424 h 2220934"/>
                <a:gd name="connsiteX61" fmla="*/ 463164 w 1847829"/>
                <a:gd name="connsiteY61" fmla="*/ 1609929 h 2220934"/>
                <a:gd name="connsiteX62" fmla="*/ 427381 w 1847829"/>
                <a:gd name="connsiteY62" fmla="*/ 1593853 h 2220934"/>
                <a:gd name="connsiteX63" fmla="*/ 390392 w 1847829"/>
                <a:gd name="connsiteY63" fmla="*/ 1581395 h 2220934"/>
                <a:gd name="connsiteX64" fmla="*/ 371094 w 1847829"/>
                <a:gd name="connsiteY64" fmla="*/ 1577376 h 2220934"/>
                <a:gd name="connsiteX65" fmla="*/ 347775 w 1847829"/>
                <a:gd name="connsiteY65" fmla="*/ 1572554 h 2220934"/>
                <a:gd name="connsiteX66" fmla="*/ 300333 w 1847829"/>
                <a:gd name="connsiteY66" fmla="*/ 1567731 h 2220934"/>
                <a:gd name="connsiteX67" fmla="*/ 253293 w 1847829"/>
                <a:gd name="connsiteY67" fmla="*/ 1567731 h 2220934"/>
                <a:gd name="connsiteX68" fmla="*/ 207459 w 1847829"/>
                <a:gd name="connsiteY68" fmla="*/ 1571348 h 2220934"/>
                <a:gd name="connsiteX69" fmla="*/ 163233 w 1847829"/>
                <a:gd name="connsiteY69" fmla="*/ 1578180 h 2220934"/>
                <a:gd name="connsiteX70" fmla="*/ 120213 w 1847829"/>
                <a:gd name="connsiteY70" fmla="*/ 1588227 h 2220934"/>
                <a:gd name="connsiteX71" fmla="*/ 60308 w 1847829"/>
                <a:gd name="connsiteY71" fmla="*/ 1605910 h 2220934"/>
                <a:gd name="connsiteX72" fmla="*/ 24927 w 1847829"/>
                <a:gd name="connsiteY72" fmla="*/ 1618770 h 2220934"/>
                <a:gd name="connsiteX73" fmla="*/ 16484 w 1847829"/>
                <a:gd name="connsiteY73" fmla="*/ 1594255 h 2220934"/>
                <a:gd name="connsiteX74" fmla="*/ 5227 w 1847829"/>
                <a:gd name="connsiteY74" fmla="*/ 1537590 h 2220934"/>
                <a:gd name="connsiteX75" fmla="*/ 0 w 1847829"/>
                <a:gd name="connsiteY75" fmla="*/ 1474495 h 2220934"/>
                <a:gd name="connsiteX76" fmla="*/ 2010 w 1847829"/>
                <a:gd name="connsiteY76" fmla="*/ 1409390 h 2220934"/>
                <a:gd name="connsiteX77" fmla="*/ 10453 w 1847829"/>
                <a:gd name="connsiteY77" fmla="*/ 1361566 h 2220934"/>
                <a:gd name="connsiteX78" fmla="*/ 18092 w 1847829"/>
                <a:gd name="connsiteY78" fmla="*/ 1330621 h 2220934"/>
                <a:gd name="connsiteX79" fmla="*/ 29350 w 1847829"/>
                <a:gd name="connsiteY79" fmla="*/ 1301686 h 2220934"/>
                <a:gd name="connsiteX80" fmla="*/ 43421 w 1847829"/>
                <a:gd name="connsiteY80" fmla="*/ 1274358 h 2220934"/>
                <a:gd name="connsiteX81" fmla="*/ 59906 w 1847829"/>
                <a:gd name="connsiteY81" fmla="*/ 1249441 h 2220934"/>
                <a:gd name="connsiteX82" fmla="*/ 80410 w 1847829"/>
                <a:gd name="connsiteY82" fmla="*/ 1227739 h 2220934"/>
                <a:gd name="connsiteX83" fmla="*/ 103729 w 1847829"/>
                <a:gd name="connsiteY83" fmla="*/ 1208851 h 2220934"/>
                <a:gd name="connsiteX84" fmla="*/ 130265 w 1847829"/>
                <a:gd name="connsiteY84" fmla="*/ 1194383 h 2220934"/>
                <a:gd name="connsiteX85" fmla="*/ 145543 w 1847829"/>
                <a:gd name="connsiteY85" fmla="*/ 1188757 h 2220934"/>
                <a:gd name="connsiteX86" fmla="*/ 164841 w 1847829"/>
                <a:gd name="connsiteY86" fmla="*/ 1190766 h 2220934"/>
                <a:gd name="connsiteX87" fmla="*/ 203438 w 1847829"/>
                <a:gd name="connsiteY87" fmla="*/ 1193981 h 2220934"/>
                <a:gd name="connsiteX88" fmla="*/ 222335 w 1847829"/>
                <a:gd name="connsiteY88" fmla="*/ 1193981 h 2220934"/>
                <a:gd name="connsiteX89" fmla="*/ 255705 w 1847829"/>
                <a:gd name="connsiteY89" fmla="*/ 1193178 h 2220934"/>
                <a:gd name="connsiteX90" fmla="*/ 323250 w 1847829"/>
                <a:gd name="connsiteY90" fmla="*/ 1184336 h 2220934"/>
                <a:gd name="connsiteX91" fmla="*/ 357022 w 1847829"/>
                <a:gd name="connsiteY91" fmla="*/ 1176701 h 2220934"/>
                <a:gd name="connsiteX92" fmla="*/ 385970 w 1847829"/>
                <a:gd name="connsiteY92" fmla="*/ 1167859 h 2220934"/>
                <a:gd name="connsiteX93" fmla="*/ 439845 w 1847829"/>
                <a:gd name="connsiteY93" fmla="*/ 1144148 h 2220934"/>
                <a:gd name="connsiteX94" fmla="*/ 487689 w 1847829"/>
                <a:gd name="connsiteY94" fmla="*/ 1114811 h 2220934"/>
                <a:gd name="connsiteX95" fmla="*/ 529904 w 1847829"/>
                <a:gd name="connsiteY95" fmla="*/ 1081455 h 2220934"/>
                <a:gd name="connsiteX96" fmla="*/ 566491 w 1847829"/>
                <a:gd name="connsiteY96" fmla="*/ 1045285 h 2220934"/>
                <a:gd name="connsiteX97" fmla="*/ 597047 w 1847829"/>
                <a:gd name="connsiteY97" fmla="*/ 1009518 h 2220934"/>
                <a:gd name="connsiteX98" fmla="*/ 633634 w 1847829"/>
                <a:gd name="connsiteY98" fmla="*/ 958881 h 2220934"/>
                <a:gd name="connsiteX99" fmla="*/ 1510910 w 1847829"/>
                <a:gd name="connsiteY99" fmla="*/ 0 h 2220934"/>
                <a:gd name="connsiteX100" fmla="*/ 1531817 w 1847829"/>
                <a:gd name="connsiteY100" fmla="*/ 804 h 2220934"/>
                <a:gd name="connsiteX101" fmla="*/ 1571620 w 1847829"/>
                <a:gd name="connsiteY101" fmla="*/ 4824 h 2220934"/>
                <a:gd name="connsiteX102" fmla="*/ 1608608 w 1847829"/>
                <a:gd name="connsiteY102" fmla="*/ 13265 h 2220934"/>
                <a:gd name="connsiteX103" fmla="*/ 1642783 w 1847829"/>
                <a:gd name="connsiteY103" fmla="*/ 25727 h 2220934"/>
                <a:gd name="connsiteX104" fmla="*/ 1674545 w 1847829"/>
                <a:gd name="connsiteY104" fmla="*/ 41404 h 2220934"/>
                <a:gd name="connsiteX105" fmla="*/ 1703895 w 1847829"/>
                <a:gd name="connsiteY105" fmla="*/ 60699 h 2220934"/>
                <a:gd name="connsiteX106" fmla="*/ 1730028 w 1847829"/>
                <a:gd name="connsiteY106" fmla="*/ 83210 h 2220934"/>
                <a:gd name="connsiteX107" fmla="*/ 1753347 w 1847829"/>
                <a:gd name="connsiteY107" fmla="*/ 108936 h 2220934"/>
                <a:gd name="connsiteX108" fmla="*/ 1774656 w 1847829"/>
                <a:gd name="connsiteY108" fmla="*/ 137075 h 2220934"/>
                <a:gd name="connsiteX109" fmla="*/ 1793150 w 1847829"/>
                <a:gd name="connsiteY109" fmla="*/ 168429 h 2220934"/>
                <a:gd name="connsiteX110" fmla="*/ 1808428 w 1847829"/>
                <a:gd name="connsiteY110" fmla="*/ 202196 h 2220934"/>
                <a:gd name="connsiteX111" fmla="*/ 1821696 w 1847829"/>
                <a:gd name="connsiteY111" fmla="*/ 238776 h 2220934"/>
                <a:gd name="connsiteX112" fmla="*/ 1832149 w 1847829"/>
                <a:gd name="connsiteY112" fmla="*/ 276964 h 2220934"/>
                <a:gd name="connsiteX113" fmla="*/ 1839788 w 1847829"/>
                <a:gd name="connsiteY113" fmla="*/ 316760 h 2220934"/>
                <a:gd name="connsiteX114" fmla="*/ 1845015 w 1847829"/>
                <a:gd name="connsiteY114" fmla="*/ 358967 h 2220934"/>
                <a:gd name="connsiteX115" fmla="*/ 1847829 w 1847829"/>
                <a:gd name="connsiteY115" fmla="*/ 402381 h 2220934"/>
                <a:gd name="connsiteX116" fmla="*/ 1847829 w 1847829"/>
                <a:gd name="connsiteY116" fmla="*/ 424892 h 2220934"/>
                <a:gd name="connsiteX117" fmla="*/ 1847829 w 1847829"/>
                <a:gd name="connsiteY117" fmla="*/ 1993012 h 2220934"/>
                <a:gd name="connsiteX118" fmla="*/ 1821696 w 1847829"/>
                <a:gd name="connsiteY118" fmla="*/ 1980551 h 2220934"/>
                <a:gd name="connsiteX119" fmla="*/ 1767821 w 1847829"/>
                <a:gd name="connsiteY119" fmla="*/ 1960050 h 2220934"/>
                <a:gd name="connsiteX120" fmla="*/ 1714348 w 1847829"/>
                <a:gd name="connsiteY120" fmla="*/ 1945579 h 2220934"/>
                <a:gd name="connsiteX121" fmla="*/ 1660071 w 1847829"/>
                <a:gd name="connsiteY121" fmla="*/ 1936735 h 2220934"/>
                <a:gd name="connsiteX122" fmla="*/ 1606598 w 1847829"/>
                <a:gd name="connsiteY122" fmla="*/ 1934323 h 2220934"/>
                <a:gd name="connsiteX123" fmla="*/ 1552723 w 1847829"/>
                <a:gd name="connsiteY123" fmla="*/ 1937137 h 2220934"/>
                <a:gd name="connsiteX124" fmla="*/ 1500055 w 1847829"/>
                <a:gd name="connsiteY124" fmla="*/ 1945981 h 2220934"/>
                <a:gd name="connsiteX125" fmla="*/ 1448592 w 1847829"/>
                <a:gd name="connsiteY125" fmla="*/ 1961256 h 2220934"/>
                <a:gd name="connsiteX126" fmla="*/ 1422861 w 1847829"/>
                <a:gd name="connsiteY126" fmla="*/ 1971707 h 2220934"/>
                <a:gd name="connsiteX127" fmla="*/ 1401954 w 1847829"/>
                <a:gd name="connsiteY127" fmla="*/ 1980953 h 2220934"/>
                <a:gd name="connsiteX128" fmla="*/ 1361347 w 1847829"/>
                <a:gd name="connsiteY128" fmla="*/ 2003062 h 2220934"/>
                <a:gd name="connsiteX129" fmla="*/ 1323956 w 1847829"/>
                <a:gd name="connsiteY129" fmla="*/ 2028386 h 2220934"/>
                <a:gd name="connsiteX130" fmla="*/ 1289782 w 1847829"/>
                <a:gd name="connsiteY130" fmla="*/ 2057731 h 2220934"/>
                <a:gd name="connsiteX131" fmla="*/ 1258422 w 1847829"/>
                <a:gd name="connsiteY131" fmla="*/ 2089487 h 2220934"/>
                <a:gd name="connsiteX132" fmla="*/ 1230278 w 1847829"/>
                <a:gd name="connsiteY132" fmla="*/ 2123655 h 2220934"/>
                <a:gd name="connsiteX133" fmla="*/ 1205753 w 1847829"/>
                <a:gd name="connsiteY133" fmla="*/ 2161441 h 2220934"/>
                <a:gd name="connsiteX134" fmla="*/ 1185248 w 1847829"/>
                <a:gd name="connsiteY134" fmla="*/ 2200433 h 2220934"/>
                <a:gd name="connsiteX135" fmla="*/ 1176403 w 1847829"/>
                <a:gd name="connsiteY135" fmla="*/ 2220934 h 2220934"/>
                <a:gd name="connsiteX136" fmla="*/ 1169166 w 1847829"/>
                <a:gd name="connsiteY136" fmla="*/ 2201639 h 2220934"/>
                <a:gd name="connsiteX137" fmla="*/ 1151878 w 1847829"/>
                <a:gd name="connsiteY137" fmla="*/ 2165059 h 2220934"/>
                <a:gd name="connsiteX138" fmla="*/ 1132579 w 1847829"/>
                <a:gd name="connsiteY138" fmla="*/ 2132097 h 2220934"/>
                <a:gd name="connsiteX139" fmla="*/ 1112477 w 1847829"/>
                <a:gd name="connsiteY139" fmla="*/ 2102350 h 2220934"/>
                <a:gd name="connsiteX140" fmla="*/ 1091168 w 1847829"/>
                <a:gd name="connsiteY140" fmla="*/ 2075418 h 2220934"/>
                <a:gd name="connsiteX141" fmla="*/ 1068251 w 1847829"/>
                <a:gd name="connsiteY141" fmla="*/ 2051299 h 2220934"/>
                <a:gd name="connsiteX142" fmla="*/ 1044128 w 1847829"/>
                <a:gd name="connsiteY142" fmla="*/ 2029994 h 2220934"/>
                <a:gd name="connsiteX143" fmla="*/ 1019201 w 1847829"/>
                <a:gd name="connsiteY143" fmla="*/ 2011503 h 2220934"/>
                <a:gd name="connsiteX144" fmla="*/ 980202 w 1847829"/>
                <a:gd name="connsiteY144" fmla="*/ 1986982 h 2220934"/>
                <a:gd name="connsiteX145" fmla="*/ 926729 w 1847829"/>
                <a:gd name="connsiteY145" fmla="*/ 1962864 h 2220934"/>
                <a:gd name="connsiteX146" fmla="*/ 872050 w 1847829"/>
                <a:gd name="connsiteY146" fmla="*/ 1945981 h 2220934"/>
                <a:gd name="connsiteX147" fmla="*/ 818175 w 1847829"/>
                <a:gd name="connsiteY147" fmla="*/ 1936333 h 2220934"/>
                <a:gd name="connsiteX148" fmla="*/ 791238 w 1847829"/>
                <a:gd name="connsiteY148" fmla="*/ 1933519 h 2220934"/>
                <a:gd name="connsiteX149" fmla="*/ 820185 w 1847829"/>
                <a:gd name="connsiteY149" fmla="*/ 1924274 h 2220934"/>
                <a:gd name="connsiteX150" fmla="*/ 872050 w 1847829"/>
                <a:gd name="connsiteY150" fmla="*/ 1899351 h 2220934"/>
                <a:gd name="connsiteX151" fmla="*/ 917482 w 1847829"/>
                <a:gd name="connsiteY151" fmla="*/ 1867595 h 2220934"/>
                <a:gd name="connsiteX152" fmla="*/ 946027 w 1847829"/>
                <a:gd name="connsiteY152" fmla="*/ 1839456 h 2220934"/>
                <a:gd name="connsiteX153" fmla="*/ 962914 w 1847829"/>
                <a:gd name="connsiteY153" fmla="*/ 1818955 h 2220934"/>
                <a:gd name="connsiteX154" fmla="*/ 970151 w 1847829"/>
                <a:gd name="connsiteY154" fmla="*/ 1808102 h 2220934"/>
                <a:gd name="connsiteX155" fmla="*/ 982614 w 1847829"/>
                <a:gd name="connsiteY155" fmla="*/ 1788405 h 2220934"/>
                <a:gd name="connsiteX156" fmla="*/ 1000304 w 1847829"/>
                <a:gd name="connsiteY156" fmla="*/ 1746599 h 2220934"/>
                <a:gd name="connsiteX157" fmla="*/ 1010356 w 1847829"/>
                <a:gd name="connsiteY157" fmla="*/ 1701979 h 2220934"/>
                <a:gd name="connsiteX158" fmla="*/ 1011964 w 1847829"/>
                <a:gd name="connsiteY158" fmla="*/ 1655350 h 2220934"/>
                <a:gd name="connsiteX159" fmla="*/ 1009150 w 1847829"/>
                <a:gd name="connsiteY159" fmla="*/ 1631633 h 2220934"/>
                <a:gd name="connsiteX160" fmla="*/ 1032871 w 1847829"/>
                <a:gd name="connsiteY160" fmla="*/ 1646506 h 2220934"/>
                <a:gd name="connsiteX161" fmla="*/ 1078705 w 1847829"/>
                <a:gd name="connsiteY161" fmla="*/ 1673037 h 2220934"/>
                <a:gd name="connsiteX162" fmla="*/ 1123332 w 1847829"/>
                <a:gd name="connsiteY162" fmla="*/ 1695950 h 2220934"/>
                <a:gd name="connsiteX163" fmla="*/ 1167558 w 1847829"/>
                <a:gd name="connsiteY163" fmla="*/ 1714843 h 2220934"/>
                <a:gd name="connsiteX164" fmla="*/ 1210577 w 1847829"/>
                <a:gd name="connsiteY164" fmla="*/ 1730520 h 2220934"/>
                <a:gd name="connsiteX165" fmla="*/ 1251989 w 1847829"/>
                <a:gd name="connsiteY165" fmla="*/ 1741775 h 2220934"/>
                <a:gd name="connsiteX166" fmla="*/ 1292194 w 1847829"/>
                <a:gd name="connsiteY166" fmla="*/ 1749413 h 2220934"/>
                <a:gd name="connsiteX167" fmla="*/ 1331997 w 1847829"/>
                <a:gd name="connsiteY167" fmla="*/ 1753433 h 2220934"/>
                <a:gd name="connsiteX168" fmla="*/ 1350893 w 1847829"/>
                <a:gd name="connsiteY168" fmla="*/ 1753433 h 2220934"/>
                <a:gd name="connsiteX169" fmla="*/ 1379841 w 1847829"/>
                <a:gd name="connsiteY169" fmla="*/ 1753031 h 2220934"/>
                <a:gd name="connsiteX170" fmla="*/ 1435324 w 1847829"/>
                <a:gd name="connsiteY170" fmla="*/ 1744187 h 2220934"/>
                <a:gd name="connsiteX171" fmla="*/ 1462664 w 1847829"/>
                <a:gd name="connsiteY171" fmla="*/ 1735746 h 2220934"/>
                <a:gd name="connsiteX172" fmla="*/ 1478746 w 1847829"/>
                <a:gd name="connsiteY172" fmla="*/ 1729314 h 2220934"/>
                <a:gd name="connsiteX173" fmla="*/ 1508900 w 1847829"/>
                <a:gd name="connsiteY173" fmla="*/ 1715245 h 2220934"/>
                <a:gd name="connsiteX174" fmla="*/ 1536641 w 1847829"/>
                <a:gd name="connsiteY174" fmla="*/ 1699165 h 2220934"/>
                <a:gd name="connsiteX175" fmla="*/ 1561568 w 1847829"/>
                <a:gd name="connsiteY175" fmla="*/ 1681076 h 2220934"/>
                <a:gd name="connsiteX176" fmla="*/ 1594939 w 1847829"/>
                <a:gd name="connsiteY176" fmla="*/ 1651330 h 2220934"/>
                <a:gd name="connsiteX177" fmla="*/ 1630721 w 1847829"/>
                <a:gd name="connsiteY177" fmla="*/ 1609122 h 2220934"/>
                <a:gd name="connsiteX178" fmla="*/ 1658463 w 1847829"/>
                <a:gd name="connsiteY178" fmla="*/ 1567316 h 2220934"/>
                <a:gd name="connsiteX179" fmla="*/ 1677761 w 1847829"/>
                <a:gd name="connsiteY179" fmla="*/ 1530334 h 2220934"/>
                <a:gd name="connsiteX180" fmla="*/ 1695050 w 1847829"/>
                <a:gd name="connsiteY180" fmla="*/ 1488528 h 2220934"/>
                <a:gd name="connsiteX181" fmla="*/ 1697462 w 1847829"/>
                <a:gd name="connsiteY181" fmla="*/ 1479685 h 2220934"/>
                <a:gd name="connsiteX182" fmla="*/ 1623484 w 1847829"/>
                <a:gd name="connsiteY182" fmla="*/ 1457978 h 2220934"/>
                <a:gd name="connsiteX183" fmla="*/ 1621876 w 1847829"/>
                <a:gd name="connsiteY183" fmla="*/ 1463606 h 2220934"/>
                <a:gd name="connsiteX184" fmla="*/ 1608608 w 1847829"/>
                <a:gd name="connsiteY184" fmla="*/ 1496568 h 2220934"/>
                <a:gd name="connsiteX185" fmla="*/ 1592526 w 1847829"/>
                <a:gd name="connsiteY185" fmla="*/ 1526716 h 2220934"/>
                <a:gd name="connsiteX186" fmla="*/ 1570414 w 1847829"/>
                <a:gd name="connsiteY186" fmla="*/ 1560483 h 2220934"/>
                <a:gd name="connsiteX187" fmla="*/ 1541868 w 1847829"/>
                <a:gd name="connsiteY187" fmla="*/ 1595053 h 2220934"/>
                <a:gd name="connsiteX188" fmla="*/ 1505683 w 1847829"/>
                <a:gd name="connsiteY188" fmla="*/ 1626809 h 2220934"/>
                <a:gd name="connsiteX189" fmla="*/ 1473519 w 1847829"/>
                <a:gd name="connsiteY189" fmla="*/ 1647310 h 2220934"/>
                <a:gd name="connsiteX190" fmla="*/ 1449396 w 1847829"/>
                <a:gd name="connsiteY190" fmla="*/ 1658164 h 2220934"/>
                <a:gd name="connsiteX191" fmla="*/ 1436932 w 1847829"/>
                <a:gd name="connsiteY191" fmla="*/ 1662585 h 2220934"/>
                <a:gd name="connsiteX192" fmla="*/ 1416830 w 1847829"/>
                <a:gd name="connsiteY192" fmla="*/ 1669017 h 2220934"/>
                <a:gd name="connsiteX193" fmla="*/ 1374212 w 1847829"/>
                <a:gd name="connsiteY193" fmla="*/ 1675851 h 2220934"/>
                <a:gd name="connsiteX194" fmla="*/ 1329183 w 1847829"/>
                <a:gd name="connsiteY194" fmla="*/ 1676253 h 2220934"/>
                <a:gd name="connsiteX195" fmla="*/ 1281741 w 1847829"/>
                <a:gd name="connsiteY195" fmla="*/ 1669419 h 2220934"/>
                <a:gd name="connsiteX196" fmla="*/ 1231886 w 1847829"/>
                <a:gd name="connsiteY196" fmla="*/ 1656556 h 2220934"/>
                <a:gd name="connsiteX197" fmla="*/ 1179619 w 1847829"/>
                <a:gd name="connsiteY197" fmla="*/ 1636859 h 2220934"/>
                <a:gd name="connsiteX198" fmla="*/ 1124940 w 1847829"/>
                <a:gd name="connsiteY198" fmla="*/ 1610730 h 2220934"/>
                <a:gd name="connsiteX199" fmla="*/ 1068251 w 1847829"/>
                <a:gd name="connsiteY199" fmla="*/ 1577768 h 2220934"/>
                <a:gd name="connsiteX200" fmla="*/ 1038901 w 1847829"/>
                <a:gd name="connsiteY200" fmla="*/ 1558473 h 2220934"/>
                <a:gd name="connsiteX201" fmla="*/ 1056592 w 1847829"/>
                <a:gd name="connsiteY201" fmla="*/ 1551237 h 2220934"/>
                <a:gd name="connsiteX202" fmla="*/ 1091168 w 1847829"/>
                <a:gd name="connsiteY202" fmla="*/ 1533952 h 2220934"/>
                <a:gd name="connsiteX203" fmla="*/ 1124538 w 1847829"/>
                <a:gd name="connsiteY203" fmla="*/ 1513853 h 2220934"/>
                <a:gd name="connsiteX204" fmla="*/ 1155094 w 1847829"/>
                <a:gd name="connsiteY204" fmla="*/ 1490940 h 2220934"/>
                <a:gd name="connsiteX205" fmla="*/ 1183238 w 1847829"/>
                <a:gd name="connsiteY205" fmla="*/ 1465616 h 2220934"/>
                <a:gd name="connsiteX206" fmla="*/ 1207763 w 1847829"/>
                <a:gd name="connsiteY206" fmla="*/ 1438281 h 2220934"/>
                <a:gd name="connsiteX207" fmla="*/ 1228268 w 1847829"/>
                <a:gd name="connsiteY207" fmla="*/ 1408937 h 2220934"/>
                <a:gd name="connsiteX208" fmla="*/ 1243144 w 1847829"/>
                <a:gd name="connsiteY208" fmla="*/ 1377582 h 2220934"/>
                <a:gd name="connsiteX209" fmla="*/ 1248370 w 1847829"/>
                <a:gd name="connsiteY209" fmla="*/ 1361503 h 2220934"/>
                <a:gd name="connsiteX210" fmla="*/ 1257215 w 1847829"/>
                <a:gd name="connsiteY210" fmla="*/ 1327737 h 2220934"/>
                <a:gd name="connsiteX211" fmla="*/ 1266061 w 1847829"/>
                <a:gd name="connsiteY211" fmla="*/ 1263018 h 2220934"/>
                <a:gd name="connsiteX212" fmla="*/ 1266061 w 1847829"/>
                <a:gd name="connsiteY212" fmla="*/ 1201113 h 2220934"/>
                <a:gd name="connsiteX213" fmla="*/ 1258824 w 1847829"/>
                <a:gd name="connsiteY213" fmla="*/ 1142425 h 2220934"/>
                <a:gd name="connsiteX214" fmla="*/ 1244752 w 1847829"/>
                <a:gd name="connsiteY214" fmla="*/ 1086951 h 2220934"/>
                <a:gd name="connsiteX215" fmla="*/ 1225453 w 1847829"/>
                <a:gd name="connsiteY215" fmla="*/ 1035498 h 2220934"/>
                <a:gd name="connsiteX216" fmla="*/ 1202938 w 1847829"/>
                <a:gd name="connsiteY216" fmla="*/ 988065 h 2220934"/>
                <a:gd name="connsiteX217" fmla="*/ 1179217 w 1847829"/>
                <a:gd name="connsiteY217" fmla="*/ 944249 h 2220934"/>
                <a:gd name="connsiteX218" fmla="*/ 1166754 w 1847829"/>
                <a:gd name="connsiteY218" fmla="*/ 923748 h 2220934"/>
                <a:gd name="connsiteX219" fmla="*/ 1181630 w 1847829"/>
                <a:gd name="connsiteY219" fmla="*/ 912492 h 2220934"/>
                <a:gd name="connsiteX220" fmla="*/ 1209371 w 1847829"/>
                <a:gd name="connsiteY220" fmla="*/ 887972 h 2220934"/>
                <a:gd name="connsiteX221" fmla="*/ 1246762 w 1847829"/>
                <a:gd name="connsiteY221" fmla="*/ 849784 h 2220934"/>
                <a:gd name="connsiteX222" fmla="*/ 1288173 w 1847829"/>
                <a:gd name="connsiteY222" fmla="*/ 799938 h 2220934"/>
                <a:gd name="connsiteX223" fmla="*/ 1319131 w 1847829"/>
                <a:gd name="connsiteY223" fmla="*/ 753711 h 2220934"/>
                <a:gd name="connsiteX224" fmla="*/ 1330791 w 1847829"/>
                <a:gd name="connsiteY224" fmla="*/ 734416 h 2220934"/>
                <a:gd name="connsiteX225" fmla="*/ 1348883 w 1847829"/>
                <a:gd name="connsiteY225" fmla="*/ 751299 h 2220934"/>
                <a:gd name="connsiteX226" fmla="*/ 1389490 w 1847829"/>
                <a:gd name="connsiteY226" fmla="*/ 780643 h 2220934"/>
                <a:gd name="connsiteX227" fmla="*/ 1411603 w 1847829"/>
                <a:gd name="connsiteY227" fmla="*/ 792301 h 2220934"/>
                <a:gd name="connsiteX228" fmla="*/ 1428891 w 1847829"/>
                <a:gd name="connsiteY228" fmla="*/ 799938 h 2220934"/>
                <a:gd name="connsiteX229" fmla="*/ 1463468 w 1847829"/>
                <a:gd name="connsiteY229" fmla="*/ 810792 h 2220934"/>
                <a:gd name="connsiteX230" fmla="*/ 1497642 w 1847829"/>
                <a:gd name="connsiteY230" fmla="*/ 818027 h 2220934"/>
                <a:gd name="connsiteX231" fmla="*/ 1531013 w 1847829"/>
                <a:gd name="connsiteY231" fmla="*/ 821243 h 2220934"/>
                <a:gd name="connsiteX232" fmla="*/ 1547095 w 1847829"/>
                <a:gd name="connsiteY232" fmla="*/ 821243 h 2220934"/>
                <a:gd name="connsiteX233" fmla="*/ 1563579 w 1847829"/>
                <a:gd name="connsiteY233" fmla="*/ 821243 h 2220934"/>
                <a:gd name="connsiteX234" fmla="*/ 1596145 w 1847829"/>
                <a:gd name="connsiteY234" fmla="*/ 818027 h 2220934"/>
                <a:gd name="connsiteX235" fmla="*/ 1638762 w 1847829"/>
                <a:gd name="connsiteY235" fmla="*/ 810792 h 2220934"/>
                <a:gd name="connsiteX236" fmla="*/ 1701884 w 1847829"/>
                <a:gd name="connsiteY236" fmla="*/ 791095 h 2220934"/>
                <a:gd name="connsiteX237" fmla="*/ 1713142 w 1847829"/>
                <a:gd name="connsiteY237" fmla="*/ 785467 h 2220934"/>
                <a:gd name="connsiteX238" fmla="*/ 1679772 w 1847829"/>
                <a:gd name="connsiteY238" fmla="*/ 715925 h 2220934"/>
                <a:gd name="connsiteX239" fmla="*/ 1675751 w 1847829"/>
                <a:gd name="connsiteY239" fmla="*/ 718337 h 2220934"/>
                <a:gd name="connsiteX240" fmla="*/ 1635144 w 1847829"/>
                <a:gd name="connsiteY240" fmla="*/ 732406 h 2220934"/>
                <a:gd name="connsiteX241" fmla="*/ 1585692 w 1847829"/>
                <a:gd name="connsiteY241" fmla="*/ 741651 h 2220934"/>
                <a:gd name="connsiteX242" fmla="*/ 1547497 w 1847829"/>
                <a:gd name="connsiteY242" fmla="*/ 744063 h 2220934"/>
                <a:gd name="connsiteX243" fmla="*/ 1506889 w 1847829"/>
                <a:gd name="connsiteY243" fmla="*/ 741651 h 2220934"/>
                <a:gd name="connsiteX244" fmla="*/ 1465076 w 1847829"/>
                <a:gd name="connsiteY244" fmla="*/ 731200 h 2220934"/>
                <a:gd name="connsiteX245" fmla="*/ 1444169 w 1847829"/>
                <a:gd name="connsiteY245" fmla="*/ 722356 h 2220934"/>
                <a:gd name="connsiteX246" fmla="*/ 1430098 w 1847829"/>
                <a:gd name="connsiteY246" fmla="*/ 715121 h 2220934"/>
                <a:gd name="connsiteX247" fmla="*/ 1404366 w 1847829"/>
                <a:gd name="connsiteY247" fmla="*/ 696630 h 2220934"/>
                <a:gd name="connsiteX248" fmla="*/ 1380243 w 1847829"/>
                <a:gd name="connsiteY248" fmla="*/ 674923 h 2220934"/>
                <a:gd name="connsiteX249" fmla="*/ 1357728 w 1847829"/>
                <a:gd name="connsiteY249" fmla="*/ 648392 h 2220934"/>
                <a:gd name="connsiteX250" fmla="*/ 1338028 w 1847829"/>
                <a:gd name="connsiteY250" fmla="*/ 618244 h 2220934"/>
                <a:gd name="connsiteX251" fmla="*/ 1320740 w 1847829"/>
                <a:gd name="connsiteY251" fmla="*/ 583272 h 2220934"/>
                <a:gd name="connsiteX252" fmla="*/ 1305060 w 1847829"/>
                <a:gd name="connsiteY252" fmla="*/ 544682 h 2220934"/>
                <a:gd name="connsiteX253" fmla="*/ 1292194 w 1847829"/>
                <a:gd name="connsiteY253" fmla="*/ 501268 h 2220934"/>
                <a:gd name="connsiteX254" fmla="*/ 1286565 w 1847829"/>
                <a:gd name="connsiteY254" fmla="*/ 478355 h 2220934"/>
                <a:gd name="connsiteX255" fmla="*/ 1211382 w 1847829"/>
                <a:gd name="connsiteY255" fmla="*/ 496042 h 2220934"/>
                <a:gd name="connsiteX256" fmla="*/ 1217010 w 1847829"/>
                <a:gd name="connsiteY256" fmla="*/ 521367 h 2220934"/>
                <a:gd name="connsiteX257" fmla="*/ 1231886 w 1847829"/>
                <a:gd name="connsiteY257" fmla="*/ 567996 h 2220934"/>
                <a:gd name="connsiteX258" fmla="*/ 1248370 w 1847829"/>
                <a:gd name="connsiteY258" fmla="*/ 611008 h 2220934"/>
                <a:gd name="connsiteX259" fmla="*/ 1267669 w 1847829"/>
                <a:gd name="connsiteY259" fmla="*/ 650000 h 2220934"/>
                <a:gd name="connsiteX260" fmla="*/ 1278524 w 1847829"/>
                <a:gd name="connsiteY260" fmla="*/ 668089 h 2220934"/>
                <a:gd name="connsiteX261" fmla="*/ 1268071 w 1847829"/>
                <a:gd name="connsiteY261" fmla="*/ 687786 h 2220934"/>
                <a:gd name="connsiteX262" fmla="*/ 1237917 w 1847829"/>
                <a:gd name="connsiteY262" fmla="*/ 736024 h 2220934"/>
                <a:gd name="connsiteX263" fmla="*/ 1210577 w 1847829"/>
                <a:gd name="connsiteY263" fmla="*/ 773408 h 2220934"/>
                <a:gd name="connsiteX264" fmla="*/ 1176403 w 1847829"/>
                <a:gd name="connsiteY264" fmla="*/ 812400 h 2220934"/>
                <a:gd name="connsiteX265" fmla="*/ 1135796 w 1847829"/>
                <a:gd name="connsiteY265" fmla="*/ 849784 h 2220934"/>
                <a:gd name="connsiteX266" fmla="*/ 1089158 w 1847829"/>
                <a:gd name="connsiteY266" fmla="*/ 883952 h 2220934"/>
                <a:gd name="connsiteX267" fmla="*/ 1049355 w 1847829"/>
                <a:gd name="connsiteY267" fmla="*/ 904855 h 2220934"/>
                <a:gd name="connsiteX268" fmla="*/ 1021211 w 1847829"/>
                <a:gd name="connsiteY268" fmla="*/ 916110 h 2220934"/>
                <a:gd name="connsiteX269" fmla="*/ 1006737 w 1847829"/>
                <a:gd name="connsiteY269" fmla="*/ 920934 h 2220934"/>
                <a:gd name="connsiteX270" fmla="*/ 986233 w 1847829"/>
                <a:gd name="connsiteY270" fmla="*/ 926160 h 2220934"/>
                <a:gd name="connsiteX271" fmla="*/ 945223 w 1847829"/>
                <a:gd name="connsiteY271" fmla="*/ 932993 h 2220934"/>
                <a:gd name="connsiteX272" fmla="*/ 903008 w 1847829"/>
                <a:gd name="connsiteY272" fmla="*/ 933797 h 2220934"/>
                <a:gd name="connsiteX273" fmla="*/ 860390 w 1847829"/>
                <a:gd name="connsiteY273" fmla="*/ 929778 h 2220934"/>
                <a:gd name="connsiteX274" fmla="*/ 815763 w 1847829"/>
                <a:gd name="connsiteY274" fmla="*/ 919728 h 2220934"/>
                <a:gd name="connsiteX275" fmla="*/ 771135 w 1847829"/>
                <a:gd name="connsiteY275" fmla="*/ 904855 h 2220934"/>
                <a:gd name="connsiteX276" fmla="*/ 725301 w 1847829"/>
                <a:gd name="connsiteY276" fmla="*/ 884354 h 2220934"/>
                <a:gd name="connsiteX277" fmla="*/ 678261 w 1847829"/>
                <a:gd name="connsiteY277" fmla="*/ 858627 h 2220934"/>
                <a:gd name="connsiteX278" fmla="*/ 654540 w 1847829"/>
                <a:gd name="connsiteY278" fmla="*/ 843754 h 2220934"/>
                <a:gd name="connsiteX279" fmla="*/ 616345 w 1847829"/>
                <a:gd name="connsiteY279" fmla="*/ 818831 h 2220934"/>
                <a:gd name="connsiteX280" fmla="*/ 598253 w 1847829"/>
                <a:gd name="connsiteY280" fmla="*/ 860235 h 2220934"/>
                <a:gd name="connsiteX281" fmla="*/ 595036 w 1847829"/>
                <a:gd name="connsiteY281" fmla="*/ 867069 h 2220934"/>
                <a:gd name="connsiteX282" fmla="*/ 572522 w 1847829"/>
                <a:gd name="connsiteY282" fmla="*/ 907267 h 2220934"/>
                <a:gd name="connsiteX283" fmla="*/ 547594 w 1847829"/>
                <a:gd name="connsiteY283" fmla="*/ 944249 h 2220934"/>
                <a:gd name="connsiteX284" fmla="*/ 515028 w 1847829"/>
                <a:gd name="connsiteY284" fmla="*/ 984849 h 2220934"/>
                <a:gd name="connsiteX285" fmla="*/ 474019 w 1847829"/>
                <a:gd name="connsiteY285" fmla="*/ 1025449 h 2220934"/>
                <a:gd name="connsiteX286" fmla="*/ 438236 w 1847829"/>
                <a:gd name="connsiteY286" fmla="*/ 1053587 h 2220934"/>
                <a:gd name="connsiteX287" fmla="*/ 411701 w 1847829"/>
                <a:gd name="connsiteY287" fmla="*/ 1070470 h 2220934"/>
                <a:gd name="connsiteX288" fmla="*/ 382753 w 1847829"/>
                <a:gd name="connsiteY288" fmla="*/ 1084942 h 2220934"/>
                <a:gd name="connsiteX289" fmla="*/ 352197 w 1847829"/>
                <a:gd name="connsiteY289" fmla="*/ 1097001 h 2220934"/>
                <a:gd name="connsiteX290" fmla="*/ 336115 w 1847829"/>
                <a:gd name="connsiteY290" fmla="*/ 1101423 h 2220934"/>
                <a:gd name="connsiteX291" fmla="*/ 311992 w 1847829"/>
                <a:gd name="connsiteY291" fmla="*/ 1107452 h 2220934"/>
                <a:gd name="connsiteX292" fmla="*/ 263344 w 1847829"/>
                <a:gd name="connsiteY292" fmla="*/ 1114286 h 2220934"/>
                <a:gd name="connsiteX293" fmla="*/ 215098 w 1847829"/>
                <a:gd name="connsiteY293" fmla="*/ 1115492 h 2220934"/>
                <a:gd name="connsiteX294" fmla="*/ 167656 w 1847829"/>
                <a:gd name="connsiteY294" fmla="*/ 1112678 h 2220934"/>
                <a:gd name="connsiteX295" fmla="*/ 143533 w 1847829"/>
                <a:gd name="connsiteY295" fmla="*/ 1109462 h 2220934"/>
                <a:gd name="connsiteX296" fmla="*/ 141522 w 1847829"/>
                <a:gd name="connsiteY296" fmla="*/ 1083736 h 2220934"/>
                <a:gd name="connsiteX297" fmla="*/ 141924 w 1847829"/>
                <a:gd name="connsiteY297" fmla="*/ 1034292 h 2220934"/>
                <a:gd name="connsiteX298" fmla="*/ 148357 w 1847829"/>
                <a:gd name="connsiteY298" fmla="*/ 984849 h 2220934"/>
                <a:gd name="connsiteX299" fmla="*/ 159213 w 1847829"/>
                <a:gd name="connsiteY299" fmla="*/ 937415 h 2220934"/>
                <a:gd name="connsiteX300" fmla="*/ 174490 w 1847829"/>
                <a:gd name="connsiteY300" fmla="*/ 891188 h 2220934"/>
                <a:gd name="connsiteX301" fmla="*/ 194593 w 1847829"/>
                <a:gd name="connsiteY301" fmla="*/ 847372 h 2220934"/>
                <a:gd name="connsiteX302" fmla="*/ 218314 w 1847829"/>
                <a:gd name="connsiteY302" fmla="*/ 805566 h 2220934"/>
                <a:gd name="connsiteX303" fmla="*/ 245654 w 1847829"/>
                <a:gd name="connsiteY303" fmla="*/ 766574 h 2220934"/>
                <a:gd name="connsiteX304" fmla="*/ 276210 w 1847829"/>
                <a:gd name="connsiteY304" fmla="*/ 731200 h 2220934"/>
                <a:gd name="connsiteX305" fmla="*/ 309982 w 1847829"/>
                <a:gd name="connsiteY305" fmla="*/ 699444 h 2220934"/>
                <a:gd name="connsiteX306" fmla="*/ 345764 w 1847829"/>
                <a:gd name="connsiteY306" fmla="*/ 671305 h 2220934"/>
                <a:gd name="connsiteX307" fmla="*/ 383959 w 1847829"/>
                <a:gd name="connsiteY307" fmla="*/ 647990 h 2220934"/>
                <a:gd name="connsiteX308" fmla="*/ 424165 w 1847829"/>
                <a:gd name="connsiteY308" fmla="*/ 629097 h 2220934"/>
                <a:gd name="connsiteX309" fmla="*/ 465576 w 1847829"/>
                <a:gd name="connsiteY309" fmla="*/ 615430 h 2220934"/>
                <a:gd name="connsiteX310" fmla="*/ 508997 w 1847829"/>
                <a:gd name="connsiteY310" fmla="*/ 607792 h 2220934"/>
                <a:gd name="connsiteX311" fmla="*/ 552821 w 1847829"/>
                <a:gd name="connsiteY311" fmla="*/ 605783 h 2220934"/>
                <a:gd name="connsiteX312" fmla="*/ 574532 w 1847829"/>
                <a:gd name="connsiteY312" fmla="*/ 606988 h 2220934"/>
                <a:gd name="connsiteX313" fmla="*/ 575336 w 1847829"/>
                <a:gd name="connsiteY313" fmla="*/ 590105 h 2220934"/>
                <a:gd name="connsiteX314" fmla="*/ 581367 w 1847829"/>
                <a:gd name="connsiteY314" fmla="*/ 553927 h 2220934"/>
                <a:gd name="connsiteX315" fmla="*/ 593026 w 1847829"/>
                <a:gd name="connsiteY315" fmla="*/ 516945 h 2220934"/>
                <a:gd name="connsiteX316" fmla="*/ 609912 w 1847829"/>
                <a:gd name="connsiteY316" fmla="*/ 479963 h 2220934"/>
                <a:gd name="connsiteX317" fmla="*/ 632025 w 1847829"/>
                <a:gd name="connsiteY317" fmla="*/ 444187 h 2220934"/>
                <a:gd name="connsiteX318" fmla="*/ 658561 w 1847829"/>
                <a:gd name="connsiteY318" fmla="*/ 409215 h 2220934"/>
                <a:gd name="connsiteX319" fmla="*/ 689117 w 1847829"/>
                <a:gd name="connsiteY319" fmla="*/ 375851 h 2220934"/>
                <a:gd name="connsiteX320" fmla="*/ 723693 w 1847829"/>
                <a:gd name="connsiteY320" fmla="*/ 345702 h 2220934"/>
                <a:gd name="connsiteX321" fmla="*/ 761888 w 1847829"/>
                <a:gd name="connsiteY321" fmla="*/ 317966 h 2220934"/>
                <a:gd name="connsiteX322" fmla="*/ 802495 w 1847829"/>
                <a:gd name="connsiteY322" fmla="*/ 295053 h 2220934"/>
                <a:gd name="connsiteX323" fmla="*/ 846319 w 1847829"/>
                <a:gd name="connsiteY323" fmla="*/ 275758 h 2220934"/>
                <a:gd name="connsiteX324" fmla="*/ 891348 w 1847829"/>
                <a:gd name="connsiteY324" fmla="*/ 262090 h 2220934"/>
                <a:gd name="connsiteX325" fmla="*/ 939595 w 1847829"/>
                <a:gd name="connsiteY325" fmla="*/ 254453 h 2220934"/>
                <a:gd name="connsiteX326" fmla="*/ 988243 w 1847829"/>
                <a:gd name="connsiteY326" fmla="*/ 253247 h 2220934"/>
                <a:gd name="connsiteX327" fmla="*/ 1038499 w 1847829"/>
                <a:gd name="connsiteY327" fmla="*/ 259277 h 2220934"/>
                <a:gd name="connsiteX328" fmla="*/ 1089158 w 1847829"/>
                <a:gd name="connsiteY328" fmla="*/ 273346 h 2220934"/>
                <a:gd name="connsiteX329" fmla="*/ 1114889 w 1847829"/>
                <a:gd name="connsiteY329" fmla="*/ 282993 h 2220934"/>
                <a:gd name="connsiteX330" fmla="*/ 1121322 w 1847829"/>
                <a:gd name="connsiteY330" fmla="*/ 265306 h 2220934"/>
                <a:gd name="connsiteX331" fmla="*/ 1143033 w 1847829"/>
                <a:gd name="connsiteY331" fmla="*/ 223098 h 2220934"/>
                <a:gd name="connsiteX332" fmla="*/ 1174393 w 1847829"/>
                <a:gd name="connsiteY332" fmla="*/ 176871 h 2220934"/>
                <a:gd name="connsiteX333" fmla="*/ 1215000 w 1847829"/>
                <a:gd name="connsiteY333" fmla="*/ 129839 h 2220934"/>
                <a:gd name="connsiteX334" fmla="*/ 1251989 w 1847829"/>
                <a:gd name="connsiteY334" fmla="*/ 96073 h 2220934"/>
                <a:gd name="connsiteX335" fmla="*/ 1279730 w 1847829"/>
                <a:gd name="connsiteY335" fmla="*/ 75170 h 2220934"/>
                <a:gd name="connsiteX336" fmla="*/ 1309482 w 1847829"/>
                <a:gd name="connsiteY336" fmla="*/ 55875 h 2220934"/>
                <a:gd name="connsiteX337" fmla="*/ 1341244 w 1847829"/>
                <a:gd name="connsiteY337" fmla="*/ 39394 h 2220934"/>
                <a:gd name="connsiteX338" fmla="*/ 1375017 w 1847829"/>
                <a:gd name="connsiteY338" fmla="*/ 24521 h 2220934"/>
                <a:gd name="connsiteX339" fmla="*/ 1411201 w 1847829"/>
                <a:gd name="connsiteY339" fmla="*/ 13265 h 2220934"/>
                <a:gd name="connsiteX340" fmla="*/ 1449396 w 1847829"/>
                <a:gd name="connsiteY340" fmla="*/ 4824 h 2220934"/>
                <a:gd name="connsiteX341" fmla="*/ 1489601 w 1847829"/>
                <a:gd name="connsiteY341" fmla="*/ 804 h 222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847829" h="2220934">
                  <a:moveTo>
                    <a:pt x="649716" y="931151"/>
                  </a:moveTo>
                  <a:lnTo>
                    <a:pt x="675045" y="945217"/>
                  </a:lnTo>
                  <a:lnTo>
                    <a:pt x="724497" y="969330"/>
                  </a:lnTo>
                  <a:lnTo>
                    <a:pt x="773145" y="987414"/>
                  </a:lnTo>
                  <a:lnTo>
                    <a:pt x="821794" y="1001078"/>
                  </a:lnTo>
                  <a:lnTo>
                    <a:pt x="869236" y="1008714"/>
                  </a:lnTo>
                  <a:lnTo>
                    <a:pt x="916276" y="1011929"/>
                  </a:lnTo>
                  <a:lnTo>
                    <a:pt x="962512" y="1009518"/>
                  </a:lnTo>
                  <a:lnTo>
                    <a:pt x="1007944" y="1001078"/>
                  </a:lnTo>
                  <a:lnTo>
                    <a:pt x="1030056" y="995452"/>
                  </a:lnTo>
                  <a:lnTo>
                    <a:pt x="1048953" y="989022"/>
                  </a:lnTo>
                  <a:lnTo>
                    <a:pt x="1085540" y="974554"/>
                  </a:lnTo>
                  <a:lnTo>
                    <a:pt x="1102024" y="965713"/>
                  </a:lnTo>
                  <a:lnTo>
                    <a:pt x="1117704" y="991031"/>
                  </a:lnTo>
                  <a:lnTo>
                    <a:pt x="1144239" y="1040865"/>
                  </a:lnTo>
                  <a:lnTo>
                    <a:pt x="1164744" y="1088689"/>
                  </a:lnTo>
                  <a:lnTo>
                    <a:pt x="1179218" y="1135307"/>
                  </a:lnTo>
                  <a:lnTo>
                    <a:pt x="1188063" y="1181925"/>
                  </a:lnTo>
                  <a:lnTo>
                    <a:pt x="1191681" y="1227338"/>
                  </a:lnTo>
                  <a:lnTo>
                    <a:pt x="1189269" y="1272348"/>
                  </a:lnTo>
                  <a:lnTo>
                    <a:pt x="1181228" y="1317761"/>
                  </a:lnTo>
                  <a:lnTo>
                    <a:pt x="1175599" y="1340668"/>
                  </a:lnTo>
                  <a:lnTo>
                    <a:pt x="1170372" y="1355940"/>
                  </a:lnTo>
                  <a:lnTo>
                    <a:pt x="1153084" y="1384875"/>
                  </a:lnTo>
                  <a:lnTo>
                    <a:pt x="1129363" y="1412605"/>
                  </a:lnTo>
                  <a:lnTo>
                    <a:pt x="1100013" y="1437521"/>
                  </a:lnTo>
                  <a:lnTo>
                    <a:pt x="1066643" y="1460027"/>
                  </a:lnTo>
                  <a:lnTo>
                    <a:pt x="1030861" y="1479317"/>
                  </a:lnTo>
                  <a:lnTo>
                    <a:pt x="993872" y="1494187"/>
                  </a:lnTo>
                  <a:lnTo>
                    <a:pt x="956883" y="1504636"/>
                  </a:lnTo>
                  <a:lnTo>
                    <a:pt x="938389" y="1507851"/>
                  </a:lnTo>
                  <a:lnTo>
                    <a:pt x="888132" y="1516290"/>
                  </a:lnTo>
                  <a:lnTo>
                    <a:pt x="909843" y="1562507"/>
                  </a:lnTo>
                  <a:lnTo>
                    <a:pt x="916276" y="1576572"/>
                  </a:lnTo>
                  <a:lnTo>
                    <a:pt x="925925" y="1604704"/>
                  </a:lnTo>
                  <a:lnTo>
                    <a:pt x="932760" y="1632434"/>
                  </a:lnTo>
                  <a:lnTo>
                    <a:pt x="935976" y="1658958"/>
                  </a:lnTo>
                  <a:lnTo>
                    <a:pt x="935574" y="1684678"/>
                  </a:lnTo>
                  <a:lnTo>
                    <a:pt x="931554" y="1708791"/>
                  </a:lnTo>
                  <a:lnTo>
                    <a:pt x="924317" y="1732904"/>
                  </a:lnTo>
                  <a:lnTo>
                    <a:pt x="913864" y="1755410"/>
                  </a:lnTo>
                  <a:lnTo>
                    <a:pt x="907431" y="1765858"/>
                  </a:lnTo>
                  <a:lnTo>
                    <a:pt x="898988" y="1777915"/>
                  </a:lnTo>
                  <a:lnTo>
                    <a:pt x="878081" y="1800822"/>
                  </a:lnTo>
                  <a:lnTo>
                    <a:pt x="853154" y="1820514"/>
                  </a:lnTo>
                  <a:lnTo>
                    <a:pt x="824206" y="1837795"/>
                  </a:lnTo>
                  <a:lnTo>
                    <a:pt x="793248" y="1852263"/>
                  </a:lnTo>
                  <a:lnTo>
                    <a:pt x="758270" y="1863516"/>
                  </a:lnTo>
                  <a:lnTo>
                    <a:pt x="721281" y="1871955"/>
                  </a:lnTo>
                  <a:lnTo>
                    <a:pt x="682282" y="1877180"/>
                  </a:lnTo>
                  <a:lnTo>
                    <a:pt x="661777" y="1878385"/>
                  </a:lnTo>
                  <a:lnTo>
                    <a:pt x="659365" y="1864319"/>
                  </a:lnTo>
                  <a:lnTo>
                    <a:pt x="651726" y="1834982"/>
                  </a:lnTo>
                  <a:lnTo>
                    <a:pt x="641675" y="1806047"/>
                  </a:lnTo>
                  <a:lnTo>
                    <a:pt x="628005" y="1776709"/>
                  </a:lnTo>
                  <a:lnTo>
                    <a:pt x="619964" y="1762643"/>
                  </a:lnTo>
                  <a:lnTo>
                    <a:pt x="609510" y="1744961"/>
                  </a:lnTo>
                  <a:lnTo>
                    <a:pt x="585789" y="1711604"/>
                  </a:lnTo>
                  <a:lnTo>
                    <a:pt x="558450" y="1681463"/>
                  </a:lnTo>
                  <a:lnTo>
                    <a:pt x="529502" y="1654135"/>
                  </a:lnTo>
                  <a:lnTo>
                    <a:pt x="497338" y="1630424"/>
                  </a:lnTo>
                  <a:lnTo>
                    <a:pt x="463164" y="1609929"/>
                  </a:lnTo>
                  <a:lnTo>
                    <a:pt x="427381" y="1593853"/>
                  </a:lnTo>
                  <a:lnTo>
                    <a:pt x="390392" y="1581395"/>
                  </a:lnTo>
                  <a:lnTo>
                    <a:pt x="371094" y="1577376"/>
                  </a:lnTo>
                  <a:lnTo>
                    <a:pt x="347775" y="1572554"/>
                  </a:lnTo>
                  <a:lnTo>
                    <a:pt x="300333" y="1567731"/>
                  </a:lnTo>
                  <a:lnTo>
                    <a:pt x="253293" y="1567731"/>
                  </a:lnTo>
                  <a:lnTo>
                    <a:pt x="207459" y="1571348"/>
                  </a:lnTo>
                  <a:lnTo>
                    <a:pt x="163233" y="1578180"/>
                  </a:lnTo>
                  <a:lnTo>
                    <a:pt x="120213" y="1588227"/>
                  </a:lnTo>
                  <a:lnTo>
                    <a:pt x="60308" y="1605910"/>
                  </a:lnTo>
                  <a:lnTo>
                    <a:pt x="24927" y="1618770"/>
                  </a:lnTo>
                  <a:lnTo>
                    <a:pt x="16484" y="1594255"/>
                  </a:lnTo>
                  <a:lnTo>
                    <a:pt x="5227" y="1537590"/>
                  </a:lnTo>
                  <a:lnTo>
                    <a:pt x="0" y="1474495"/>
                  </a:lnTo>
                  <a:lnTo>
                    <a:pt x="2010" y="1409390"/>
                  </a:lnTo>
                  <a:lnTo>
                    <a:pt x="10453" y="1361566"/>
                  </a:lnTo>
                  <a:lnTo>
                    <a:pt x="18092" y="1330621"/>
                  </a:lnTo>
                  <a:lnTo>
                    <a:pt x="29350" y="1301686"/>
                  </a:lnTo>
                  <a:lnTo>
                    <a:pt x="43421" y="1274358"/>
                  </a:lnTo>
                  <a:lnTo>
                    <a:pt x="59906" y="1249441"/>
                  </a:lnTo>
                  <a:lnTo>
                    <a:pt x="80410" y="1227739"/>
                  </a:lnTo>
                  <a:lnTo>
                    <a:pt x="103729" y="1208851"/>
                  </a:lnTo>
                  <a:lnTo>
                    <a:pt x="130265" y="1194383"/>
                  </a:lnTo>
                  <a:lnTo>
                    <a:pt x="145543" y="1188757"/>
                  </a:lnTo>
                  <a:lnTo>
                    <a:pt x="164841" y="1190766"/>
                  </a:lnTo>
                  <a:lnTo>
                    <a:pt x="203438" y="1193981"/>
                  </a:lnTo>
                  <a:lnTo>
                    <a:pt x="222335" y="1193981"/>
                  </a:lnTo>
                  <a:lnTo>
                    <a:pt x="255705" y="1193178"/>
                  </a:lnTo>
                  <a:lnTo>
                    <a:pt x="323250" y="1184336"/>
                  </a:lnTo>
                  <a:lnTo>
                    <a:pt x="357022" y="1176701"/>
                  </a:lnTo>
                  <a:lnTo>
                    <a:pt x="385970" y="1167859"/>
                  </a:lnTo>
                  <a:lnTo>
                    <a:pt x="439845" y="1144148"/>
                  </a:lnTo>
                  <a:lnTo>
                    <a:pt x="487689" y="1114811"/>
                  </a:lnTo>
                  <a:lnTo>
                    <a:pt x="529904" y="1081455"/>
                  </a:lnTo>
                  <a:lnTo>
                    <a:pt x="566491" y="1045285"/>
                  </a:lnTo>
                  <a:lnTo>
                    <a:pt x="597047" y="1009518"/>
                  </a:lnTo>
                  <a:lnTo>
                    <a:pt x="633634" y="958881"/>
                  </a:lnTo>
                  <a:close/>
                  <a:moveTo>
                    <a:pt x="1510910" y="0"/>
                  </a:moveTo>
                  <a:lnTo>
                    <a:pt x="1531817" y="804"/>
                  </a:lnTo>
                  <a:lnTo>
                    <a:pt x="1571620" y="4824"/>
                  </a:lnTo>
                  <a:lnTo>
                    <a:pt x="1608608" y="13265"/>
                  </a:lnTo>
                  <a:lnTo>
                    <a:pt x="1642783" y="25727"/>
                  </a:lnTo>
                  <a:lnTo>
                    <a:pt x="1674545" y="41404"/>
                  </a:lnTo>
                  <a:lnTo>
                    <a:pt x="1703895" y="60699"/>
                  </a:lnTo>
                  <a:lnTo>
                    <a:pt x="1730028" y="83210"/>
                  </a:lnTo>
                  <a:lnTo>
                    <a:pt x="1753347" y="108936"/>
                  </a:lnTo>
                  <a:lnTo>
                    <a:pt x="1774656" y="137075"/>
                  </a:lnTo>
                  <a:lnTo>
                    <a:pt x="1793150" y="168429"/>
                  </a:lnTo>
                  <a:lnTo>
                    <a:pt x="1808428" y="202196"/>
                  </a:lnTo>
                  <a:lnTo>
                    <a:pt x="1821696" y="238776"/>
                  </a:lnTo>
                  <a:lnTo>
                    <a:pt x="1832149" y="276964"/>
                  </a:lnTo>
                  <a:lnTo>
                    <a:pt x="1839788" y="316760"/>
                  </a:lnTo>
                  <a:lnTo>
                    <a:pt x="1845015" y="358967"/>
                  </a:lnTo>
                  <a:lnTo>
                    <a:pt x="1847829" y="402381"/>
                  </a:lnTo>
                  <a:lnTo>
                    <a:pt x="1847829" y="424892"/>
                  </a:lnTo>
                  <a:lnTo>
                    <a:pt x="1847829" y="1993012"/>
                  </a:lnTo>
                  <a:lnTo>
                    <a:pt x="1821696" y="1980551"/>
                  </a:lnTo>
                  <a:lnTo>
                    <a:pt x="1767821" y="1960050"/>
                  </a:lnTo>
                  <a:lnTo>
                    <a:pt x="1714348" y="1945579"/>
                  </a:lnTo>
                  <a:lnTo>
                    <a:pt x="1660071" y="1936735"/>
                  </a:lnTo>
                  <a:lnTo>
                    <a:pt x="1606598" y="1934323"/>
                  </a:lnTo>
                  <a:lnTo>
                    <a:pt x="1552723" y="1937137"/>
                  </a:lnTo>
                  <a:lnTo>
                    <a:pt x="1500055" y="1945981"/>
                  </a:lnTo>
                  <a:lnTo>
                    <a:pt x="1448592" y="1961256"/>
                  </a:lnTo>
                  <a:lnTo>
                    <a:pt x="1422861" y="1971707"/>
                  </a:lnTo>
                  <a:lnTo>
                    <a:pt x="1401954" y="1980953"/>
                  </a:lnTo>
                  <a:lnTo>
                    <a:pt x="1361347" y="2003062"/>
                  </a:lnTo>
                  <a:lnTo>
                    <a:pt x="1323956" y="2028386"/>
                  </a:lnTo>
                  <a:lnTo>
                    <a:pt x="1289782" y="2057731"/>
                  </a:lnTo>
                  <a:lnTo>
                    <a:pt x="1258422" y="2089487"/>
                  </a:lnTo>
                  <a:lnTo>
                    <a:pt x="1230278" y="2123655"/>
                  </a:lnTo>
                  <a:lnTo>
                    <a:pt x="1205753" y="2161441"/>
                  </a:lnTo>
                  <a:lnTo>
                    <a:pt x="1185248" y="2200433"/>
                  </a:lnTo>
                  <a:lnTo>
                    <a:pt x="1176403" y="2220934"/>
                  </a:lnTo>
                  <a:lnTo>
                    <a:pt x="1169166" y="2201639"/>
                  </a:lnTo>
                  <a:lnTo>
                    <a:pt x="1151878" y="2165059"/>
                  </a:lnTo>
                  <a:lnTo>
                    <a:pt x="1132579" y="2132097"/>
                  </a:lnTo>
                  <a:lnTo>
                    <a:pt x="1112477" y="2102350"/>
                  </a:lnTo>
                  <a:lnTo>
                    <a:pt x="1091168" y="2075418"/>
                  </a:lnTo>
                  <a:lnTo>
                    <a:pt x="1068251" y="2051299"/>
                  </a:lnTo>
                  <a:lnTo>
                    <a:pt x="1044128" y="2029994"/>
                  </a:lnTo>
                  <a:lnTo>
                    <a:pt x="1019201" y="2011503"/>
                  </a:lnTo>
                  <a:lnTo>
                    <a:pt x="980202" y="1986982"/>
                  </a:lnTo>
                  <a:lnTo>
                    <a:pt x="926729" y="1962864"/>
                  </a:lnTo>
                  <a:lnTo>
                    <a:pt x="872050" y="1945981"/>
                  </a:lnTo>
                  <a:lnTo>
                    <a:pt x="818175" y="1936333"/>
                  </a:lnTo>
                  <a:lnTo>
                    <a:pt x="791238" y="1933519"/>
                  </a:lnTo>
                  <a:lnTo>
                    <a:pt x="820185" y="1924274"/>
                  </a:lnTo>
                  <a:lnTo>
                    <a:pt x="872050" y="1899351"/>
                  </a:lnTo>
                  <a:lnTo>
                    <a:pt x="917482" y="1867595"/>
                  </a:lnTo>
                  <a:lnTo>
                    <a:pt x="946027" y="1839456"/>
                  </a:lnTo>
                  <a:lnTo>
                    <a:pt x="962914" y="1818955"/>
                  </a:lnTo>
                  <a:lnTo>
                    <a:pt x="970151" y="1808102"/>
                  </a:lnTo>
                  <a:lnTo>
                    <a:pt x="982614" y="1788405"/>
                  </a:lnTo>
                  <a:lnTo>
                    <a:pt x="1000304" y="1746599"/>
                  </a:lnTo>
                  <a:lnTo>
                    <a:pt x="1010356" y="1701979"/>
                  </a:lnTo>
                  <a:lnTo>
                    <a:pt x="1011964" y="1655350"/>
                  </a:lnTo>
                  <a:lnTo>
                    <a:pt x="1009150" y="1631633"/>
                  </a:lnTo>
                  <a:lnTo>
                    <a:pt x="1032871" y="1646506"/>
                  </a:lnTo>
                  <a:lnTo>
                    <a:pt x="1078705" y="1673037"/>
                  </a:lnTo>
                  <a:lnTo>
                    <a:pt x="1123332" y="1695950"/>
                  </a:lnTo>
                  <a:lnTo>
                    <a:pt x="1167558" y="1714843"/>
                  </a:lnTo>
                  <a:lnTo>
                    <a:pt x="1210577" y="1730520"/>
                  </a:lnTo>
                  <a:lnTo>
                    <a:pt x="1251989" y="1741775"/>
                  </a:lnTo>
                  <a:lnTo>
                    <a:pt x="1292194" y="1749413"/>
                  </a:lnTo>
                  <a:lnTo>
                    <a:pt x="1331997" y="1753433"/>
                  </a:lnTo>
                  <a:lnTo>
                    <a:pt x="1350893" y="1753433"/>
                  </a:lnTo>
                  <a:lnTo>
                    <a:pt x="1379841" y="1753031"/>
                  </a:lnTo>
                  <a:lnTo>
                    <a:pt x="1435324" y="1744187"/>
                  </a:lnTo>
                  <a:lnTo>
                    <a:pt x="1462664" y="1735746"/>
                  </a:lnTo>
                  <a:lnTo>
                    <a:pt x="1478746" y="1729314"/>
                  </a:lnTo>
                  <a:lnTo>
                    <a:pt x="1508900" y="1715245"/>
                  </a:lnTo>
                  <a:lnTo>
                    <a:pt x="1536641" y="1699165"/>
                  </a:lnTo>
                  <a:lnTo>
                    <a:pt x="1561568" y="1681076"/>
                  </a:lnTo>
                  <a:lnTo>
                    <a:pt x="1594939" y="1651330"/>
                  </a:lnTo>
                  <a:lnTo>
                    <a:pt x="1630721" y="1609122"/>
                  </a:lnTo>
                  <a:lnTo>
                    <a:pt x="1658463" y="1567316"/>
                  </a:lnTo>
                  <a:lnTo>
                    <a:pt x="1677761" y="1530334"/>
                  </a:lnTo>
                  <a:lnTo>
                    <a:pt x="1695050" y="1488528"/>
                  </a:lnTo>
                  <a:lnTo>
                    <a:pt x="1697462" y="1479685"/>
                  </a:lnTo>
                  <a:lnTo>
                    <a:pt x="1623484" y="1457978"/>
                  </a:lnTo>
                  <a:lnTo>
                    <a:pt x="1621876" y="1463606"/>
                  </a:lnTo>
                  <a:lnTo>
                    <a:pt x="1608608" y="1496568"/>
                  </a:lnTo>
                  <a:lnTo>
                    <a:pt x="1592526" y="1526716"/>
                  </a:lnTo>
                  <a:lnTo>
                    <a:pt x="1570414" y="1560483"/>
                  </a:lnTo>
                  <a:lnTo>
                    <a:pt x="1541868" y="1595053"/>
                  </a:lnTo>
                  <a:lnTo>
                    <a:pt x="1505683" y="1626809"/>
                  </a:lnTo>
                  <a:lnTo>
                    <a:pt x="1473519" y="1647310"/>
                  </a:lnTo>
                  <a:lnTo>
                    <a:pt x="1449396" y="1658164"/>
                  </a:lnTo>
                  <a:lnTo>
                    <a:pt x="1436932" y="1662585"/>
                  </a:lnTo>
                  <a:lnTo>
                    <a:pt x="1416830" y="1669017"/>
                  </a:lnTo>
                  <a:lnTo>
                    <a:pt x="1374212" y="1675851"/>
                  </a:lnTo>
                  <a:lnTo>
                    <a:pt x="1329183" y="1676253"/>
                  </a:lnTo>
                  <a:lnTo>
                    <a:pt x="1281741" y="1669419"/>
                  </a:lnTo>
                  <a:lnTo>
                    <a:pt x="1231886" y="1656556"/>
                  </a:lnTo>
                  <a:lnTo>
                    <a:pt x="1179619" y="1636859"/>
                  </a:lnTo>
                  <a:lnTo>
                    <a:pt x="1124940" y="1610730"/>
                  </a:lnTo>
                  <a:lnTo>
                    <a:pt x="1068251" y="1577768"/>
                  </a:lnTo>
                  <a:lnTo>
                    <a:pt x="1038901" y="1558473"/>
                  </a:lnTo>
                  <a:lnTo>
                    <a:pt x="1056592" y="1551237"/>
                  </a:lnTo>
                  <a:lnTo>
                    <a:pt x="1091168" y="1533952"/>
                  </a:lnTo>
                  <a:lnTo>
                    <a:pt x="1124538" y="1513853"/>
                  </a:lnTo>
                  <a:lnTo>
                    <a:pt x="1155094" y="1490940"/>
                  </a:lnTo>
                  <a:lnTo>
                    <a:pt x="1183238" y="1465616"/>
                  </a:lnTo>
                  <a:lnTo>
                    <a:pt x="1207763" y="1438281"/>
                  </a:lnTo>
                  <a:lnTo>
                    <a:pt x="1228268" y="1408937"/>
                  </a:lnTo>
                  <a:lnTo>
                    <a:pt x="1243144" y="1377582"/>
                  </a:lnTo>
                  <a:lnTo>
                    <a:pt x="1248370" y="1361503"/>
                  </a:lnTo>
                  <a:lnTo>
                    <a:pt x="1257215" y="1327737"/>
                  </a:lnTo>
                  <a:lnTo>
                    <a:pt x="1266061" y="1263018"/>
                  </a:lnTo>
                  <a:lnTo>
                    <a:pt x="1266061" y="1201113"/>
                  </a:lnTo>
                  <a:lnTo>
                    <a:pt x="1258824" y="1142425"/>
                  </a:lnTo>
                  <a:lnTo>
                    <a:pt x="1244752" y="1086951"/>
                  </a:lnTo>
                  <a:lnTo>
                    <a:pt x="1225453" y="1035498"/>
                  </a:lnTo>
                  <a:lnTo>
                    <a:pt x="1202938" y="988065"/>
                  </a:lnTo>
                  <a:lnTo>
                    <a:pt x="1179217" y="944249"/>
                  </a:lnTo>
                  <a:lnTo>
                    <a:pt x="1166754" y="923748"/>
                  </a:lnTo>
                  <a:lnTo>
                    <a:pt x="1181630" y="912492"/>
                  </a:lnTo>
                  <a:lnTo>
                    <a:pt x="1209371" y="887972"/>
                  </a:lnTo>
                  <a:lnTo>
                    <a:pt x="1246762" y="849784"/>
                  </a:lnTo>
                  <a:lnTo>
                    <a:pt x="1288173" y="799938"/>
                  </a:lnTo>
                  <a:lnTo>
                    <a:pt x="1319131" y="753711"/>
                  </a:lnTo>
                  <a:lnTo>
                    <a:pt x="1330791" y="734416"/>
                  </a:lnTo>
                  <a:lnTo>
                    <a:pt x="1348883" y="751299"/>
                  </a:lnTo>
                  <a:lnTo>
                    <a:pt x="1389490" y="780643"/>
                  </a:lnTo>
                  <a:lnTo>
                    <a:pt x="1411603" y="792301"/>
                  </a:lnTo>
                  <a:lnTo>
                    <a:pt x="1428891" y="799938"/>
                  </a:lnTo>
                  <a:lnTo>
                    <a:pt x="1463468" y="810792"/>
                  </a:lnTo>
                  <a:lnTo>
                    <a:pt x="1497642" y="818027"/>
                  </a:lnTo>
                  <a:lnTo>
                    <a:pt x="1531013" y="821243"/>
                  </a:lnTo>
                  <a:lnTo>
                    <a:pt x="1547095" y="821243"/>
                  </a:lnTo>
                  <a:lnTo>
                    <a:pt x="1563579" y="821243"/>
                  </a:lnTo>
                  <a:lnTo>
                    <a:pt x="1596145" y="818027"/>
                  </a:lnTo>
                  <a:lnTo>
                    <a:pt x="1638762" y="810792"/>
                  </a:lnTo>
                  <a:lnTo>
                    <a:pt x="1701884" y="791095"/>
                  </a:lnTo>
                  <a:lnTo>
                    <a:pt x="1713142" y="785467"/>
                  </a:lnTo>
                  <a:lnTo>
                    <a:pt x="1679772" y="715925"/>
                  </a:lnTo>
                  <a:lnTo>
                    <a:pt x="1675751" y="718337"/>
                  </a:lnTo>
                  <a:lnTo>
                    <a:pt x="1635144" y="732406"/>
                  </a:lnTo>
                  <a:lnTo>
                    <a:pt x="1585692" y="741651"/>
                  </a:lnTo>
                  <a:lnTo>
                    <a:pt x="1547497" y="744063"/>
                  </a:lnTo>
                  <a:lnTo>
                    <a:pt x="1506889" y="741651"/>
                  </a:lnTo>
                  <a:lnTo>
                    <a:pt x="1465076" y="731200"/>
                  </a:lnTo>
                  <a:lnTo>
                    <a:pt x="1444169" y="722356"/>
                  </a:lnTo>
                  <a:lnTo>
                    <a:pt x="1430098" y="715121"/>
                  </a:lnTo>
                  <a:lnTo>
                    <a:pt x="1404366" y="696630"/>
                  </a:lnTo>
                  <a:lnTo>
                    <a:pt x="1380243" y="674923"/>
                  </a:lnTo>
                  <a:lnTo>
                    <a:pt x="1357728" y="648392"/>
                  </a:lnTo>
                  <a:lnTo>
                    <a:pt x="1338028" y="618244"/>
                  </a:lnTo>
                  <a:lnTo>
                    <a:pt x="1320740" y="583272"/>
                  </a:lnTo>
                  <a:lnTo>
                    <a:pt x="1305060" y="544682"/>
                  </a:lnTo>
                  <a:lnTo>
                    <a:pt x="1292194" y="501268"/>
                  </a:lnTo>
                  <a:lnTo>
                    <a:pt x="1286565" y="478355"/>
                  </a:lnTo>
                  <a:lnTo>
                    <a:pt x="1211382" y="496042"/>
                  </a:lnTo>
                  <a:lnTo>
                    <a:pt x="1217010" y="521367"/>
                  </a:lnTo>
                  <a:lnTo>
                    <a:pt x="1231886" y="567996"/>
                  </a:lnTo>
                  <a:lnTo>
                    <a:pt x="1248370" y="611008"/>
                  </a:lnTo>
                  <a:lnTo>
                    <a:pt x="1267669" y="650000"/>
                  </a:lnTo>
                  <a:lnTo>
                    <a:pt x="1278524" y="668089"/>
                  </a:lnTo>
                  <a:lnTo>
                    <a:pt x="1268071" y="687786"/>
                  </a:lnTo>
                  <a:lnTo>
                    <a:pt x="1237917" y="736024"/>
                  </a:lnTo>
                  <a:lnTo>
                    <a:pt x="1210577" y="773408"/>
                  </a:lnTo>
                  <a:lnTo>
                    <a:pt x="1176403" y="812400"/>
                  </a:lnTo>
                  <a:lnTo>
                    <a:pt x="1135796" y="849784"/>
                  </a:lnTo>
                  <a:lnTo>
                    <a:pt x="1089158" y="883952"/>
                  </a:lnTo>
                  <a:lnTo>
                    <a:pt x="1049355" y="904855"/>
                  </a:lnTo>
                  <a:lnTo>
                    <a:pt x="1021211" y="916110"/>
                  </a:lnTo>
                  <a:lnTo>
                    <a:pt x="1006737" y="920934"/>
                  </a:lnTo>
                  <a:lnTo>
                    <a:pt x="986233" y="926160"/>
                  </a:lnTo>
                  <a:lnTo>
                    <a:pt x="945223" y="932993"/>
                  </a:lnTo>
                  <a:lnTo>
                    <a:pt x="903008" y="933797"/>
                  </a:lnTo>
                  <a:lnTo>
                    <a:pt x="860390" y="929778"/>
                  </a:lnTo>
                  <a:lnTo>
                    <a:pt x="815763" y="919728"/>
                  </a:lnTo>
                  <a:lnTo>
                    <a:pt x="771135" y="904855"/>
                  </a:lnTo>
                  <a:lnTo>
                    <a:pt x="725301" y="884354"/>
                  </a:lnTo>
                  <a:lnTo>
                    <a:pt x="678261" y="858627"/>
                  </a:lnTo>
                  <a:lnTo>
                    <a:pt x="654540" y="843754"/>
                  </a:lnTo>
                  <a:lnTo>
                    <a:pt x="616345" y="818831"/>
                  </a:lnTo>
                  <a:lnTo>
                    <a:pt x="598253" y="860235"/>
                  </a:lnTo>
                  <a:lnTo>
                    <a:pt x="595036" y="867069"/>
                  </a:lnTo>
                  <a:lnTo>
                    <a:pt x="572522" y="907267"/>
                  </a:lnTo>
                  <a:lnTo>
                    <a:pt x="547594" y="944249"/>
                  </a:lnTo>
                  <a:lnTo>
                    <a:pt x="515028" y="984849"/>
                  </a:lnTo>
                  <a:lnTo>
                    <a:pt x="474019" y="1025449"/>
                  </a:lnTo>
                  <a:lnTo>
                    <a:pt x="438236" y="1053587"/>
                  </a:lnTo>
                  <a:lnTo>
                    <a:pt x="411701" y="1070470"/>
                  </a:lnTo>
                  <a:lnTo>
                    <a:pt x="382753" y="1084942"/>
                  </a:lnTo>
                  <a:lnTo>
                    <a:pt x="352197" y="1097001"/>
                  </a:lnTo>
                  <a:lnTo>
                    <a:pt x="336115" y="1101423"/>
                  </a:lnTo>
                  <a:lnTo>
                    <a:pt x="311992" y="1107452"/>
                  </a:lnTo>
                  <a:lnTo>
                    <a:pt x="263344" y="1114286"/>
                  </a:lnTo>
                  <a:lnTo>
                    <a:pt x="215098" y="1115492"/>
                  </a:lnTo>
                  <a:lnTo>
                    <a:pt x="167656" y="1112678"/>
                  </a:lnTo>
                  <a:lnTo>
                    <a:pt x="143533" y="1109462"/>
                  </a:lnTo>
                  <a:lnTo>
                    <a:pt x="141522" y="1083736"/>
                  </a:lnTo>
                  <a:lnTo>
                    <a:pt x="141924" y="1034292"/>
                  </a:lnTo>
                  <a:lnTo>
                    <a:pt x="148357" y="984849"/>
                  </a:lnTo>
                  <a:lnTo>
                    <a:pt x="159213" y="937415"/>
                  </a:lnTo>
                  <a:lnTo>
                    <a:pt x="174490" y="891188"/>
                  </a:lnTo>
                  <a:lnTo>
                    <a:pt x="194593" y="847372"/>
                  </a:lnTo>
                  <a:lnTo>
                    <a:pt x="218314" y="805566"/>
                  </a:lnTo>
                  <a:lnTo>
                    <a:pt x="245654" y="766574"/>
                  </a:lnTo>
                  <a:lnTo>
                    <a:pt x="276210" y="731200"/>
                  </a:lnTo>
                  <a:lnTo>
                    <a:pt x="309982" y="699444"/>
                  </a:lnTo>
                  <a:lnTo>
                    <a:pt x="345764" y="671305"/>
                  </a:lnTo>
                  <a:lnTo>
                    <a:pt x="383959" y="647990"/>
                  </a:lnTo>
                  <a:lnTo>
                    <a:pt x="424165" y="629097"/>
                  </a:lnTo>
                  <a:lnTo>
                    <a:pt x="465576" y="615430"/>
                  </a:lnTo>
                  <a:lnTo>
                    <a:pt x="508997" y="607792"/>
                  </a:lnTo>
                  <a:lnTo>
                    <a:pt x="552821" y="605783"/>
                  </a:lnTo>
                  <a:lnTo>
                    <a:pt x="574532" y="606988"/>
                  </a:lnTo>
                  <a:lnTo>
                    <a:pt x="575336" y="590105"/>
                  </a:lnTo>
                  <a:lnTo>
                    <a:pt x="581367" y="553927"/>
                  </a:lnTo>
                  <a:lnTo>
                    <a:pt x="593026" y="516945"/>
                  </a:lnTo>
                  <a:lnTo>
                    <a:pt x="609912" y="479963"/>
                  </a:lnTo>
                  <a:lnTo>
                    <a:pt x="632025" y="444187"/>
                  </a:lnTo>
                  <a:lnTo>
                    <a:pt x="658561" y="409215"/>
                  </a:lnTo>
                  <a:lnTo>
                    <a:pt x="689117" y="375851"/>
                  </a:lnTo>
                  <a:lnTo>
                    <a:pt x="723693" y="345702"/>
                  </a:lnTo>
                  <a:lnTo>
                    <a:pt x="761888" y="317966"/>
                  </a:lnTo>
                  <a:lnTo>
                    <a:pt x="802495" y="295053"/>
                  </a:lnTo>
                  <a:lnTo>
                    <a:pt x="846319" y="275758"/>
                  </a:lnTo>
                  <a:lnTo>
                    <a:pt x="891348" y="262090"/>
                  </a:lnTo>
                  <a:lnTo>
                    <a:pt x="939595" y="254453"/>
                  </a:lnTo>
                  <a:lnTo>
                    <a:pt x="988243" y="253247"/>
                  </a:lnTo>
                  <a:lnTo>
                    <a:pt x="1038499" y="259277"/>
                  </a:lnTo>
                  <a:lnTo>
                    <a:pt x="1089158" y="273346"/>
                  </a:lnTo>
                  <a:lnTo>
                    <a:pt x="1114889" y="282993"/>
                  </a:lnTo>
                  <a:lnTo>
                    <a:pt x="1121322" y="265306"/>
                  </a:lnTo>
                  <a:lnTo>
                    <a:pt x="1143033" y="223098"/>
                  </a:lnTo>
                  <a:lnTo>
                    <a:pt x="1174393" y="176871"/>
                  </a:lnTo>
                  <a:lnTo>
                    <a:pt x="1215000" y="129839"/>
                  </a:lnTo>
                  <a:lnTo>
                    <a:pt x="1251989" y="96073"/>
                  </a:lnTo>
                  <a:lnTo>
                    <a:pt x="1279730" y="75170"/>
                  </a:lnTo>
                  <a:lnTo>
                    <a:pt x="1309482" y="55875"/>
                  </a:lnTo>
                  <a:lnTo>
                    <a:pt x="1341244" y="39394"/>
                  </a:lnTo>
                  <a:lnTo>
                    <a:pt x="1375017" y="24521"/>
                  </a:lnTo>
                  <a:lnTo>
                    <a:pt x="1411201" y="13265"/>
                  </a:lnTo>
                  <a:lnTo>
                    <a:pt x="1449396" y="4824"/>
                  </a:lnTo>
                  <a:lnTo>
                    <a:pt x="1489601" y="804"/>
                  </a:lnTo>
                  <a:close/>
                </a:path>
              </a:pathLst>
            </a:custGeom>
            <a:solidFill>
              <a:srgbClr val="FFEC3B"/>
            </a:solidFill>
            <a:ln>
              <a:noFill/>
            </a:ln>
          </p:spPr>
          <p:txBody>
            <a:bodyPr vert="horz" wrap="square" lIns="91392" tIns="45696" rIns="91392" bIns="45696"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
          <p:nvSpPr>
            <p:cNvPr id="49" name="Freeform 12">
              <a:extLst>
                <a:ext uri="{FF2B5EF4-FFF2-40B4-BE49-F238E27FC236}">
                  <a16:creationId xmlns:a16="http://schemas.microsoft.com/office/drawing/2014/main" id="{585D6961-FEBD-B839-B9DF-4E73B2A0BE86}"/>
                </a:ext>
              </a:extLst>
            </p:cNvPr>
            <p:cNvSpPr>
              <a:spLocks/>
            </p:cNvSpPr>
            <p:nvPr/>
          </p:nvSpPr>
          <p:spPr bwMode="auto">
            <a:xfrm>
              <a:off x="3984003" y="3634532"/>
              <a:ext cx="1968444" cy="1989352"/>
            </a:xfrm>
            <a:custGeom>
              <a:avLst/>
              <a:gdLst>
                <a:gd name="T0" fmla="*/ 3572 w 4897"/>
                <a:gd name="T1" fmla="*/ 1236 h 4951"/>
                <a:gd name="T2" fmla="*/ 3350 w 4897"/>
                <a:gd name="T3" fmla="*/ 1713 h 4951"/>
                <a:gd name="T4" fmla="*/ 2969 w 4897"/>
                <a:gd name="T5" fmla="*/ 1735 h 4951"/>
                <a:gd name="T6" fmla="*/ 2511 w 4897"/>
                <a:gd name="T7" fmla="*/ 1812 h 4951"/>
                <a:gd name="T8" fmla="*/ 2179 w 4897"/>
                <a:gd name="T9" fmla="*/ 2127 h 4951"/>
                <a:gd name="T10" fmla="*/ 2087 w 4897"/>
                <a:gd name="T11" fmla="*/ 2477 h 4951"/>
                <a:gd name="T12" fmla="*/ 2161 w 4897"/>
                <a:gd name="T13" fmla="*/ 2859 h 4951"/>
                <a:gd name="T14" fmla="*/ 2727 w 4897"/>
                <a:gd name="T15" fmla="*/ 2920 h 4951"/>
                <a:gd name="T16" fmla="*/ 3109 w 4897"/>
                <a:gd name="T17" fmla="*/ 3243 h 4951"/>
                <a:gd name="T18" fmla="*/ 3334 w 4897"/>
                <a:gd name="T19" fmla="*/ 3117 h 4951"/>
                <a:gd name="T20" fmla="*/ 3728 w 4897"/>
                <a:gd name="T21" fmla="*/ 3075 h 4951"/>
                <a:gd name="T22" fmla="*/ 4158 w 4897"/>
                <a:gd name="T23" fmla="*/ 3453 h 4951"/>
                <a:gd name="T24" fmla="*/ 3599 w 4897"/>
                <a:gd name="T25" fmla="*/ 3261 h 4951"/>
                <a:gd name="T26" fmla="*/ 3186 w 4897"/>
                <a:gd name="T27" fmla="*/ 3428 h 4951"/>
                <a:gd name="T28" fmla="*/ 2960 w 4897"/>
                <a:gd name="T29" fmla="*/ 3910 h 4951"/>
                <a:gd name="T30" fmla="*/ 2798 w 4897"/>
                <a:gd name="T31" fmla="*/ 4188 h 4951"/>
                <a:gd name="T32" fmla="*/ 2829 w 4897"/>
                <a:gd name="T33" fmla="*/ 3626 h 4951"/>
                <a:gd name="T34" fmla="*/ 2842 w 4897"/>
                <a:gd name="T35" fmla="*/ 3235 h 4951"/>
                <a:gd name="T36" fmla="*/ 2352 w 4897"/>
                <a:gd name="T37" fmla="*/ 3025 h 4951"/>
                <a:gd name="T38" fmla="*/ 1952 w 4897"/>
                <a:gd name="T39" fmla="*/ 3170 h 4951"/>
                <a:gd name="T40" fmla="*/ 1684 w 4897"/>
                <a:gd name="T41" fmla="*/ 3629 h 4951"/>
                <a:gd name="T42" fmla="*/ 1553 w 4897"/>
                <a:gd name="T43" fmla="*/ 3390 h 4951"/>
                <a:gd name="T44" fmla="*/ 1930 w 4897"/>
                <a:gd name="T45" fmla="*/ 2955 h 4951"/>
                <a:gd name="T46" fmla="*/ 1899 w 4897"/>
                <a:gd name="T47" fmla="*/ 2567 h 4951"/>
                <a:gd name="T48" fmla="*/ 1973 w 4897"/>
                <a:gd name="T49" fmla="*/ 2118 h 4951"/>
                <a:gd name="T50" fmla="*/ 2218 w 4897"/>
                <a:gd name="T51" fmla="*/ 1777 h 4951"/>
                <a:gd name="T52" fmla="*/ 2485 w 4897"/>
                <a:gd name="T53" fmla="*/ 1615 h 4951"/>
                <a:gd name="T54" fmla="*/ 2920 w 4897"/>
                <a:gd name="T55" fmla="*/ 1541 h 4951"/>
                <a:gd name="T56" fmla="*/ 2929 w 4897"/>
                <a:gd name="T57" fmla="*/ 1280 h 4951"/>
                <a:gd name="T58" fmla="*/ 2548 w 4897"/>
                <a:gd name="T59" fmla="*/ 978 h 4951"/>
                <a:gd name="T60" fmla="*/ 1921 w 4897"/>
                <a:gd name="T61" fmla="*/ 921 h 4951"/>
                <a:gd name="T62" fmla="*/ 1759 w 4897"/>
                <a:gd name="T63" fmla="*/ 739 h 4951"/>
                <a:gd name="T64" fmla="*/ 1652 w 4897"/>
                <a:gd name="T65" fmla="*/ 354 h 4951"/>
                <a:gd name="T66" fmla="*/ 1363 w 4897"/>
                <a:gd name="T67" fmla="*/ 85 h 4951"/>
                <a:gd name="T68" fmla="*/ 1001 w 4897"/>
                <a:gd name="T69" fmla="*/ 0 h 4951"/>
                <a:gd name="T70" fmla="*/ 400 w 4897"/>
                <a:gd name="T71" fmla="*/ 128 h 4951"/>
                <a:gd name="T72" fmla="*/ 119 w 4897"/>
                <a:gd name="T73" fmla="*/ 433 h 4951"/>
                <a:gd name="T74" fmla="*/ 0 w 4897"/>
                <a:gd name="T75" fmla="*/ 961 h 4951"/>
                <a:gd name="T76" fmla="*/ 166 w 4897"/>
                <a:gd name="T77" fmla="*/ 1520 h 4951"/>
                <a:gd name="T78" fmla="*/ 332 w 4897"/>
                <a:gd name="T79" fmla="*/ 1896 h 4951"/>
                <a:gd name="T80" fmla="*/ 394 w 4897"/>
                <a:gd name="T81" fmla="*/ 2334 h 4951"/>
                <a:gd name="T82" fmla="*/ 796 w 4897"/>
                <a:gd name="T83" fmla="*/ 2816 h 4951"/>
                <a:gd name="T84" fmla="*/ 936 w 4897"/>
                <a:gd name="T85" fmla="*/ 3380 h 4951"/>
                <a:gd name="T86" fmla="*/ 1370 w 4897"/>
                <a:gd name="T87" fmla="*/ 3935 h 4951"/>
                <a:gd name="T88" fmla="*/ 1923 w 4897"/>
                <a:gd name="T89" fmla="*/ 4189 h 4951"/>
                <a:gd name="T90" fmla="*/ 2256 w 4897"/>
                <a:gd name="T91" fmla="*/ 4318 h 4951"/>
                <a:gd name="T92" fmla="*/ 2657 w 4897"/>
                <a:gd name="T93" fmla="*/ 4677 h 4951"/>
                <a:gd name="T94" fmla="*/ 3194 w 4897"/>
                <a:gd name="T95" fmla="*/ 4900 h 4951"/>
                <a:gd name="T96" fmla="*/ 3778 w 4897"/>
                <a:gd name="T97" fmla="*/ 4943 h 4951"/>
                <a:gd name="T98" fmla="*/ 4317 w 4897"/>
                <a:gd name="T99" fmla="*/ 4762 h 4951"/>
                <a:gd name="T100" fmla="*/ 4720 w 4897"/>
                <a:gd name="T101" fmla="*/ 4312 h 4951"/>
                <a:gd name="T102" fmla="*/ 4897 w 4897"/>
                <a:gd name="T103" fmla="*/ 3551 h 4951"/>
                <a:gd name="T104" fmla="*/ 4588 w 4897"/>
                <a:gd name="T105" fmla="*/ 954 h 4951"/>
                <a:gd name="T106" fmla="*/ 3974 w 4897"/>
                <a:gd name="T107" fmla="*/ 968 h 4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7" h="4951">
                  <a:moveTo>
                    <a:pt x="3916" y="991"/>
                  </a:moveTo>
                  <a:lnTo>
                    <a:pt x="3858" y="1017"/>
                  </a:lnTo>
                  <a:lnTo>
                    <a:pt x="3754" y="1078"/>
                  </a:lnTo>
                  <a:lnTo>
                    <a:pt x="3658" y="1152"/>
                  </a:lnTo>
                  <a:lnTo>
                    <a:pt x="3572" y="1236"/>
                  </a:lnTo>
                  <a:lnTo>
                    <a:pt x="3499" y="1330"/>
                  </a:lnTo>
                  <a:lnTo>
                    <a:pt x="3439" y="1432"/>
                  </a:lnTo>
                  <a:lnTo>
                    <a:pt x="3392" y="1540"/>
                  </a:lnTo>
                  <a:lnTo>
                    <a:pt x="3361" y="1655"/>
                  </a:lnTo>
                  <a:lnTo>
                    <a:pt x="3350" y="1713"/>
                  </a:lnTo>
                  <a:lnTo>
                    <a:pt x="3335" y="1834"/>
                  </a:lnTo>
                  <a:lnTo>
                    <a:pt x="3221" y="1790"/>
                  </a:lnTo>
                  <a:lnTo>
                    <a:pt x="3173" y="1772"/>
                  </a:lnTo>
                  <a:lnTo>
                    <a:pt x="3072" y="1747"/>
                  </a:lnTo>
                  <a:lnTo>
                    <a:pt x="2969" y="1735"/>
                  </a:lnTo>
                  <a:lnTo>
                    <a:pt x="2867" y="1733"/>
                  </a:lnTo>
                  <a:lnTo>
                    <a:pt x="2768" y="1740"/>
                  </a:lnTo>
                  <a:lnTo>
                    <a:pt x="2674" y="1757"/>
                  </a:lnTo>
                  <a:lnTo>
                    <a:pt x="2587" y="1781"/>
                  </a:lnTo>
                  <a:lnTo>
                    <a:pt x="2511" y="1812"/>
                  </a:lnTo>
                  <a:lnTo>
                    <a:pt x="2476" y="1829"/>
                  </a:lnTo>
                  <a:lnTo>
                    <a:pt x="2421" y="1861"/>
                  </a:lnTo>
                  <a:lnTo>
                    <a:pt x="2320" y="1941"/>
                  </a:lnTo>
                  <a:lnTo>
                    <a:pt x="2233" y="2040"/>
                  </a:lnTo>
                  <a:lnTo>
                    <a:pt x="2179" y="2127"/>
                  </a:lnTo>
                  <a:lnTo>
                    <a:pt x="2149" y="2189"/>
                  </a:lnTo>
                  <a:lnTo>
                    <a:pt x="2124" y="2256"/>
                  </a:lnTo>
                  <a:lnTo>
                    <a:pt x="2105" y="2326"/>
                  </a:lnTo>
                  <a:lnTo>
                    <a:pt x="2093" y="2399"/>
                  </a:lnTo>
                  <a:lnTo>
                    <a:pt x="2087" y="2477"/>
                  </a:lnTo>
                  <a:lnTo>
                    <a:pt x="2089" y="2557"/>
                  </a:lnTo>
                  <a:lnTo>
                    <a:pt x="2098" y="2640"/>
                  </a:lnTo>
                  <a:lnTo>
                    <a:pt x="2116" y="2726"/>
                  </a:lnTo>
                  <a:lnTo>
                    <a:pt x="2144" y="2814"/>
                  </a:lnTo>
                  <a:lnTo>
                    <a:pt x="2161" y="2859"/>
                  </a:lnTo>
                  <a:lnTo>
                    <a:pt x="2225" y="2845"/>
                  </a:lnTo>
                  <a:lnTo>
                    <a:pt x="2355" y="2833"/>
                  </a:lnTo>
                  <a:lnTo>
                    <a:pt x="2482" y="2842"/>
                  </a:lnTo>
                  <a:lnTo>
                    <a:pt x="2606" y="2871"/>
                  </a:lnTo>
                  <a:lnTo>
                    <a:pt x="2727" y="2920"/>
                  </a:lnTo>
                  <a:lnTo>
                    <a:pt x="2842" y="2989"/>
                  </a:lnTo>
                  <a:lnTo>
                    <a:pt x="2954" y="3077"/>
                  </a:lnTo>
                  <a:lnTo>
                    <a:pt x="3059" y="3183"/>
                  </a:lnTo>
                  <a:lnTo>
                    <a:pt x="3108" y="3244"/>
                  </a:lnTo>
                  <a:lnTo>
                    <a:pt x="3109" y="3243"/>
                  </a:lnTo>
                  <a:lnTo>
                    <a:pt x="3111" y="3241"/>
                  </a:lnTo>
                  <a:lnTo>
                    <a:pt x="3142" y="3218"/>
                  </a:lnTo>
                  <a:lnTo>
                    <a:pt x="3204" y="3178"/>
                  </a:lnTo>
                  <a:lnTo>
                    <a:pt x="3267" y="3144"/>
                  </a:lnTo>
                  <a:lnTo>
                    <a:pt x="3334" y="3117"/>
                  </a:lnTo>
                  <a:lnTo>
                    <a:pt x="3402" y="3095"/>
                  </a:lnTo>
                  <a:lnTo>
                    <a:pt x="3472" y="3079"/>
                  </a:lnTo>
                  <a:lnTo>
                    <a:pt x="3544" y="3072"/>
                  </a:lnTo>
                  <a:lnTo>
                    <a:pt x="3616" y="3068"/>
                  </a:lnTo>
                  <a:lnTo>
                    <a:pt x="3728" y="3075"/>
                  </a:lnTo>
                  <a:lnTo>
                    <a:pt x="3879" y="3107"/>
                  </a:lnTo>
                  <a:lnTo>
                    <a:pt x="4033" y="3162"/>
                  </a:lnTo>
                  <a:lnTo>
                    <a:pt x="4189" y="3244"/>
                  </a:lnTo>
                  <a:lnTo>
                    <a:pt x="4267" y="3295"/>
                  </a:lnTo>
                  <a:lnTo>
                    <a:pt x="4158" y="3453"/>
                  </a:lnTo>
                  <a:lnTo>
                    <a:pt x="4094" y="3411"/>
                  </a:lnTo>
                  <a:lnTo>
                    <a:pt x="3967" y="3344"/>
                  </a:lnTo>
                  <a:lnTo>
                    <a:pt x="3842" y="3297"/>
                  </a:lnTo>
                  <a:lnTo>
                    <a:pt x="3719" y="3269"/>
                  </a:lnTo>
                  <a:lnTo>
                    <a:pt x="3599" y="3261"/>
                  </a:lnTo>
                  <a:lnTo>
                    <a:pt x="3485" y="3274"/>
                  </a:lnTo>
                  <a:lnTo>
                    <a:pt x="3378" y="3306"/>
                  </a:lnTo>
                  <a:lnTo>
                    <a:pt x="3277" y="3358"/>
                  </a:lnTo>
                  <a:lnTo>
                    <a:pt x="3229" y="3393"/>
                  </a:lnTo>
                  <a:lnTo>
                    <a:pt x="3186" y="3428"/>
                  </a:lnTo>
                  <a:lnTo>
                    <a:pt x="3112" y="3508"/>
                  </a:lnTo>
                  <a:lnTo>
                    <a:pt x="3052" y="3599"/>
                  </a:lnTo>
                  <a:lnTo>
                    <a:pt x="3006" y="3698"/>
                  </a:lnTo>
                  <a:lnTo>
                    <a:pt x="2975" y="3803"/>
                  </a:lnTo>
                  <a:lnTo>
                    <a:pt x="2960" y="3910"/>
                  </a:lnTo>
                  <a:lnTo>
                    <a:pt x="2962" y="4019"/>
                  </a:lnTo>
                  <a:lnTo>
                    <a:pt x="2981" y="4125"/>
                  </a:lnTo>
                  <a:lnTo>
                    <a:pt x="2998" y="4177"/>
                  </a:lnTo>
                  <a:lnTo>
                    <a:pt x="2816" y="4242"/>
                  </a:lnTo>
                  <a:lnTo>
                    <a:pt x="2798" y="4188"/>
                  </a:lnTo>
                  <a:lnTo>
                    <a:pt x="2775" y="4076"/>
                  </a:lnTo>
                  <a:lnTo>
                    <a:pt x="2767" y="3962"/>
                  </a:lnTo>
                  <a:lnTo>
                    <a:pt x="2774" y="3848"/>
                  </a:lnTo>
                  <a:lnTo>
                    <a:pt x="2794" y="3736"/>
                  </a:lnTo>
                  <a:lnTo>
                    <a:pt x="2829" y="3626"/>
                  </a:lnTo>
                  <a:lnTo>
                    <a:pt x="2876" y="3523"/>
                  </a:lnTo>
                  <a:lnTo>
                    <a:pt x="2936" y="3425"/>
                  </a:lnTo>
                  <a:lnTo>
                    <a:pt x="2971" y="3380"/>
                  </a:lnTo>
                  <a:lnTo>
                    <a:pt x="2930" y="3327"/>
                  </a:lnTo>
                  <a:lnTo>
                    <a:pt x="2842" y="3235"/>
                  </a:lnTo>
                  <a:lnTo>
                    <a:pt x="2750" y="3160"/>
                  </a:lnTo>
                  <a:lnTo>
                    <a:pt x="2656" y="3101"/>
                  </a:lnTo>
                  <a:lnTo>
                    <a:pt x="2556" y="3059"/>
                  </a:lnTo>
                  <a:lnTo>
                    <a:pt x="2455" y="3033"/>
                  </a:lnTo>
                  <a:lnTo>
                    <a:pt x="2352" y="3025"/>
                  </a:lnTo>
                  <a:lnTo>
                    <a:pt x="2247" y="3035"/>
                  </a:lnTo>
                  <a:lnTo>
                    <a:pt x="2196" y="3048"/>
                  </a:lnTo>
                  <a:lnTo>
                    <a:pt x="2142" y="3064"/>
                  </a:lnTo>
                  <a:lnTo>
                    <a:pt x="2043" y="3109"/>
                  </a:lnTo>
                  <a:lnTo>
                    <a:pt x="1952" y="3170"/>
                  </a:lnTo>
                  <a:lnTo>
                    <a:pt x="1872" y="3244"/>
                  </a:lnTo>
                  <a:lnTo>
                    <a:pt x="1803" y="3328"/>
                  </a:lnTo>
                  <a:lnTo>
                    <a:pt x="1748" y="3422"/>
                  </a:lnTo>
                  <a:lnTo>
                    <a:pt x="1708" y="3523"/>
                  </a:lnTo>
                  <a:lnTo>
                    <a:pt x="1684" y="3629"/>
                  </a:lnTo>
                  <a:lnTo>
                    <a:pt x="1680" y="3683"/>
                  </a:lnTo>
                  <a:lnTo>
                    <a:pt x="1488" y="3673"/>
                  </a:lnTo>
                  <a:lnTo>
                    <a:pt x="1493" y="3615"/>
                  </a:lnTo>
                  <a:lnTo>
                    <a:pt x="1515" y="3501"/>
                  </a:lnTo>
                  <a:lnTo>
                    <a:pt x="1553" y="3390"/>
                  </a:lnTo>
                  <a:lnTo>
                    <a:pt x="1605" y="3285"/>
                  </a:lnTo>
                  <a:lnTo>
                    <a:pt x="1669" y="3188"/>
                  </a:lnTo>
                  <a:lnTo>
                    <a:pt x="1746" y="3100"/>
                  </a:lnTo>
                  <a:lnTo>
                    <a:pt x="1833" y="3022"/>
                  </a:lnTo>
                  <a:lnTo>
                    <a:pt x="1930" y="2955"/>
                  </a:lnTo>
                  <a:lnTo>
                    <a:pt x="1982" y="2928"/>
                  </a:lnTo>
                  <a:lnTo>
                    <a:pt x="1961" y="2875"/>
                  </a:lnTo>
                  <a:lnTo>
                    <a:pt x="1930" y="2770"/>
                  </a:lnTo>
                  <a:lnTo>
                    <a:pt x="1909" y="2667"/>
                  </a:lnTo>
                  <a:lnTo>
                    <a:pt x="1899" y="2567"/>
                  </a:lnTo>
                  <a:lnTo>
                    <a:pt x="1897" y="2470"/>
                  </a:lnTo>
                  <a:lnTo>
                    <a:pt x="1904" y="2377"/>
                  </a:lnTo>
                  <a:lnTo>
                    <a:pt x="1919" y="2286"/>
                  </a:lnTo>
                  <a:lnTo>
                    <a:pt x="1943" y="2199"/>
                  </a:lnTo>
                  <a:lnTo>
                    <a:pt x="1973" y="2118"/>
                  </a:lnTo>
                  <a:lnTo>
                    <a:pt x="2010" y="2039"/>
                  </a:lnTo>
                  <a:lnTo>
                    <a:pt x="2053" y="1966"/>
                  </a:lnTo>
                  <a:lnTo>
                    <a:pt x="2102" y="1897"/>
                  </a:lnTo>
                  <a:lnTo>
                    <a:pt x="2158" y="1834"/>
                  </a:lnTo>
                  <a:lnTo>
                    <a:pt x="2218" y="1777"/>
                  </a:lnTo>
                  <a:lnTo>
                    <a:pt x="2281" y="1725"/>
                  </a:lnTo>
                  <a:lnTo>
                    <a:pt x="2348" y="1680"/>
                  </a:lnTo>
                  <a:lnTo>
                    <a:pt x="2385" y="1660"/>
                  </a:lnTo>
                  <a:lnTo>
                    <a:pt x="2416" y="1643"/>
                  </a:lnTo>
                  <a:lnTo>
                    <a:pt x="2485" y="1615"/>
                  </a:lnTo>
                  <a:lnTo>
                    <a:pt x="2561" y="1589"/>
                  </a:lnTo>
                  <a:lnTo>
                    <a:pt x="2644" y="1568"/>
                  </a:lnTo>
                  <a:lnTo>
                    <a:pt x="2732" y="1553"/>
                  </a:lnTo>
                  <a:lnTo>
                    <a:pt x="2824" y="1543"/>
                  </a:lnTo>
                  <a:lnTo>
                    <a:pt x="2920" y="1541"/>
                  </a:lnTo>
                  <a:lnTo>
                    <a:pt x="3017" y="1546"/>
                  </a:lnTo>
                  <a:lnTo>
                    <a:pt x="3065" y="1553"/>
                  </a:lnTo>
                  <a:lnTo>
                    <a:pt x="3043" y="1490"/>
                  </a:lnTo>
                  <a:lnTo>
                    <a:pt x="2990" y="1378"/>
                  </a:lnTo>
                  <a:lnTo>
                    <a:pt x="2929" y="1280"/>
                  </a:lnTo>
                  <a:lnTo>
                    <a:pt x="2863" y="1196"/>
                  </a:lnTo>
                  <a:lnTo>
                    <a:pt x="2790" y="1125"/>
                  </a:lnTo>
                  <a:lnTo>
                    <a:pt x="2713" y="1065"/>
                  </a:lnTo>
                  <a:lnTo>
                    <a:pt x="2632" y="1016"/>
                  </a:lnTo>
                  <a:lnTo>
                    <a:pt x="2548" y="978"/>
                  </a:lnTo>
                  <a:lnTo>
                    <a:pt x="2463" y="949"/>
                  </a:lnTo>
                  <a:lnTo>
                    <a:pt x="2376" y="928"/>
                  </a:lnTo>
                  <a:lnTo>
                    <a:pt x="2245" y="910"/>
                  </a:lnTo>
                  <a:lnTo>
                    <a:pt x="2076" y="907"/>
                  </a:lnTo>
                  <a:lnTo>
                    <a:pt x="1921" y="921"/>
                  </a:lnTo>
                  <a:lnTo>
                    <a:pt x="1851" y="933"/>
                  </a:lnTo>
                  <a:lnTo>
                    <a:pt x="1690" y="961"/>
                  </a:lnTo>
                  <a:lnTo>
                    <a:pt x="1743" y="807"/>
                  </a:lnTo>
                  <a:lnTo>
                    <a:pt x="1750" y="785"/>
                  </a:lnTo>
                  <a:lnTo>
                    <a:pt x="1759" y="739"/>
                  </a:lnTo>
                  <a:lnTo>
                    <a:pt x="1761" y="663"/>
                  </a:lnTo>
                  <a:lnTo>
                    <a:pt x="1743" y="554"/>
                  </a:lnTo>
                  <a:lnTo>
                    <a:pt x="1703" y="444"/>
                  </a:lnTo>
                  <a:lnTo>
                    <a:pt x="1673" y="389"/>
                  </a:lnTo>
                  <a:lnTo>
                    <a:pt x="1652" y="354"/>
                  </a:lnTo>
                  <a:lnTo>
                    <a:pt x="1606" y="287"/>
                  </a:lnTo>
                  <a:lnTo>
                    <a:pt x="1553" y="228"/>
                  </a:lnTo>
                  <a:lnTo>
                    <a:pt x="1493" y="173"/>
                  </a:lnTo>
                  <a:lnTo>
                    <a:pt x="1431" y="125"/>
                  </a:lnTo>
                  <a:lnTo>
                    <a:pt x="1363" y="85"/>
                  </a:lnTo>
                  <a:lnTo>
                    <a:pt x="1292" y="53"/>
                  </a:lnTo>
                  <a:lnTo>
                    <a:pt x="1220" y="30"/>
                  </a:lnTo>
                  <a:lnTo>
                    <a:pt x="1182" y="20"/>
                  </a:lnTo>
                  <a:lnTo>
                    <a:pt x="1121" y="9"/>
                  </a:lnTo>
                  <a:lnTo>
                    <a:pt x="1001" y="0"/>
                  </a:lnTo>
                  <a:lnTo>
                    <a:pt x="880" y="5"/>
                  </a:lnTo>
                  <a:lnTo>
                    <a:pt x="763" y="20"/>
                  </a:lnTo>
                  <a:lnTo>
                    <a:pt x="651" y="44"/>
                  </a:lnTo>
                  <a:lnTo>
                    <a:pt x="544" y="75"/>
                  </a:lnTo>
                  <a:lnTo>
                    <a:pt x="400" y="128"/>
                  </a:lnTo>
                  <a:lnTo>
                    <a:pt x="319" y="164"/>
                  </a:lnTo>
                  <a:lnTo>
                    <a:pt x="286" y="194"/>
                  </a:lnTo>
                  <a:lnTo>
                    <a:pt x="224" y="264"/>
                  </a:lnTo>
                  <a:lnTo>
                    <a:pt x="168" y="343"/>
                  </a:lnTo>
                  <a:lnTo>
                    <a:pt x="119" y="433"/>
                  </a:lnTo>
                  <a:lnTo>
                    <a:pt x="78" y="529"/>
                  </a:lnTo>
                  <a:lnTo>
                    <a:pt x="44" y="631"/>
                  </a:lnTo>
                  <a:lnTo>
                    <a:pt x="19" y="737"/>
                  </a:lnTo>
                  <a:lnTo>
                    <a:pt x="5" y="849"/>
                  </a:lnTo>
                  <a:lnTo>
                    <a:pt x="0" y="961"/>
                  </a:lnTo>
                  <a:lnTo>
                    <a:pt x="8" y="1076"/>
                  </a:lnTo>
                  <a:lnTo>
                    <a:pt x="27" y="1191"/>
                  </a:lnTo>
                  <a:lnTo>
                    <a:pt x="60" y="1304"/>
                  </a:lnTo>
                  <a:lnTo>
                    <a:pt x="105" y="1414"/>
                  </a:lnTo>
                  <a:lnTo>
                    <a:pt x="166" y="1520"/>
                  </a:lnTo>
                  <a:lnTo>
                    <a:pt x="242" y="1620"/>
                  </a:lnTo>
                  <a:lnTo>
                    <a:pt x="333" y="1715"/>
                  </a:lnTo>
                  <a:lnTo>
                    <a:pt x="386" y="1759"/>
                  </a:lnTo>
                  <a:lnTo>
                    <a:pt x="363" y="1805"/>
                  </a:lnTo>
                  <a:lnTo>
                    <a:pt x="332" y="1896"/>
                  </a:lnTo>
                  <a:lnTo>
                    <a:pt x="317" y="1987"/>
                  </a:lnTo>
                  <a:lnTo>
                    <a:pt x="319" y="2077"/>
                  </a:lnTo>
                  <a:lnTo>
                    <a:pt x="333" y="2166"/>
                  </a:lnTo>
                  <a:lnTo>
                    <a:pt x="359" y="2251"/>
                  </a:lnTo>
                  <a:lnTo>
                    <a:pt x="394" y="2334"/>
                  </a:lnTo>
                  <a:lnTo>
                    <a:pt x="437" y="2413"/>
                  </a:lnTo>
                  <a:lnTo>
                    <a:pt x="509" y="2523"/>
                  </a:lnTo>
                  <a:lnTo>
                    <a:pt x="616" y="2650"/>
                  </a:lnTo>
                  <a:lnTo>
                    <a:pt x="717" y="2750"/>
                  </a:lnTo>
                  <a:lnTo>
                    <a:pt x="796" y="2816"/>
                  </a:lnTo>
                  <a:lnTo>
                    <a:pt x="822" y="2834"/>
                  </a:lnTo>
                  <a:lnTo>
                    <a:pt x="824" y="2920"/>
                  </a:lnTo>
                  <a:lnTo>
                    <a:pt x="845" y="3083"/>
                  </a:lnTo>
                  <a:lnTo>
                    <a:pt x="884" y="3236"/>
                  </a:lnTo>
                  <a:lnTo>
                    <a:pt x="936" y="3380"/>
                  </a:lnTo>
                  <a:lnTo>
                    <a:pt x="1003" y="3514"/>
                  </a:lnTo>
                  <a:lnTo>
                    <a:pt x="1081" y="3635"/>
                  </a:lnTo>
                  <a:lnTo>
                    <a:pt x="1169" y="3747"/>
                  </a:lnTo>
                  <a:lnTo>
                    <a:pt x="1266" y="3847"/>
                  </a:lnTo>
                  <a:lnTo>
                    <a:pt x="1370" y="3935"/>
                  </a:lnTo>
                  <a:lnTo>
                    <a:pt x="1477" y="4011"/>
                  </a:lnTo>
                  <a:lnTo>
                    <a:pt x="1589" y="4075"/>
                  </a:lnTo>
                  <a:lnTo>
                    <a:pt x="1700" y="4125"/>
                  </a:lnTo>
                  <a:lnTo>
                    <a:pt x="1813" y="4164"/>
                  </a:lnTo>
                  <a:lnTo>
                    <a:pt x="1923" y="4189"/>
                  </a:lnTo>
                  <a:lnTo>
                    <a:pt x="2030" y="4200"/>
                  </a:lnTo>
                  <a:lnTo>
                    <a:pt x="2131" y="4198"/>
                  </a:lnTo>
                  <a:lnTo>
                    <a:pt x="2177" y="4190"/>
                  </a:lnTo>
                  <a:lnTo>
                    <a:pt x="2202" y="4234"/>
                  </a:lnTo>
                  <a:lnTo>
                    <a:pt x="2256" y="4318"/>
                  </a:lnTo>
                  <a:lnTo>
                    <a:pt x="2321" y="4399"/>
                  </a:lnTo>
                  <a:lnTo>
                    <a:pt x="2395" y="4475"/>
                  </a:lnTo>
                  <a:lnTo>
                    <a:pt x="2476" y="4548"/>
                  </a:lnTo>
                  <a:lnTo>
                    <a:pt x="2562" y="4615"/>
                  </a:lnTo>
                  <a:lnTo>
                    <a:pt x="2657" y="4677"/>
                  </a:lnTo>
                  <a:lnTo>
                    <a:pt x="2757" y="4735"/>
                  </a:lnTo>
                  <a:lnTo>
                    <a:pt x="2860" y="4785"/>
                  </a:lnTo>
                  <a:lnTo>
                    <a:pt x="2968" y="4830"/>
                  </a:lnTo>
                  <a:lnTo>
                    <a:pt x="3080" y="4869"/>
                  </a:lnTo>
                  <a:lnTo>
                    <a:pt x="3194" y="4900"/>
                  </a:lnTo>
                  <a:lnTo>
                    <a:pt x="3310" y="4925"/>
                  </a:lnTo>
                  <a:lnTo>
                    <a:pt x="3427" y="4942"/>
                  </a:lnTo>
                  <a:lnTo>
                    <a:pt x="3545" y="4951"/>
                  </a:lnTo>
                  <a:lnTo>
                    <a:pt x="3661" y="4951"/>
                  </a:lnTo>
                  <a:lnTo>
                    <a:pt x="3778" y="4943"/>
                  </a:lnTo>
                  <a:lnTo>
                    <a:pt x="3892" y="4926"/>
                  </a:lnTo>
                  <a:lnTo>
                    <a:pt x="4004" y="4900"/>
                  </a:lnTo>
                  <a:lnTo>
                    <a:pt x="4113" y="4864"/>
                  </a:lnTo>
                  <a:lnTo>
                    <a:pt x="4218" y="4819"/>
                  </a:lnTo>
                  <a:lnTo>
                    <a:pt x="4317" y="4762"/>
                  </a:lnTo>
                  <a:lnTo>
                    <a:pt x="4411" y="4696"/>
                  </a:lnTo>
                  <a:lnTo>
                    <a:pt x="4500" y="4617"/>
                  </a:lnTo>
                  <a:lnTo>
                    <a:pt x="4580" y="4527"/>
                  </a:lnTo>
                  <a:lnTo>
                    <a:pt x="4654" y="4426"/>
                  </a:lnTo>
                  <a:lnTo>
                    <a:pt x="4720" y="4312"/>
                  </a:lnTo>
                  <a:lnTo>
                    <a:pt x="4776" y="4186"/>
                  </a:lnTo>
                  <a:lnTo>
                    <a:pt x="4823" y="4048"/>
                  </a:lnTo>
                  <a:lnTo>
                    <a:pt x="4859" y="3896"/>
                  </a:lnTo>
                  <a:lnTo>
                    <a:pt x="4884" y="3730"/>
                  </a:lnTo>
                  <a:lnTo>
                    <a:pt x="4897" y="3551"/>
                  </a:lnTo>
                  <a:lnTo>
                    <a:pt x="4897" y="3455"/>
                  </a:lnTo>
                  <a:lnTo>
                    <a:pt x="4897" y="1087"/>
                  </a:lnTo>
                  <a:lnTo>
                    <a:pt x="4837" y="1052"/>
                  </a:lnTo>
                  <a:lnTo>
                    <a:pt x="4713" y="995"/>
                  </a:lnTo>
                  <a:lnTo>
                    <a:pt x="4588" y="954"/>
                  </a:lnTo>
                  <a:lnTo>
                    <a:pt x="4464" y="926"/>
                  </a:lnTo>
                  <a:lnTo>
                    <a:pt x="4338" y="915"/>
                  </a:lnTo>
                  <a:lnTo>
                    <a:pt x="4215" y="917"/>
                  </a:lnTo>
                  <a:lnTo>
                    <a:pt x="4093" y="936"/>
                  </a:lnTo>
                  <a:lnTo>
                    <a:pt x="3974" y="968"/>
                  </a:lnTo>
                  <a:lnTo>
                    <a:pt x="3916" y="991"/>
                  </a:lnTo>
                  <a:close/>
                </a:path>
              </a:pathLst>
            </a:custGeom>
            <a:solidFill>
              <a:srgbClr val="C0C0C1"/>
            </a:solidFill>
            <a:ln>
              <a:noFill/>
            </a:ln>
          </p:spPr>
          <p:txBody>
            <a:bodyPr vert="horz" wrap="square" lIns="91392" tIns="45696" rIns="91392" bIns="4569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grpSp>
      <p:grpSp>
        <p:nvGrpSpPr>
          <p:cNvPr id="53" name="Group 52">
            <a:extLst>
              <a:ext uri="{FF2B5EF4-FFF2-40B4-BE49-F238E27FC236}">
                <a16:creationId xmlns:a16="http://schemas.microsoft.com/office/drawing/2014/main" id="{FEF1E9DA-AA80-8919-A58D-C32E0258B27E}"/>
              </a:ext>
            </a:extLst>
          </p:cNvPr>
          <p:cNvGrpSpPr/>
          <p:nvPr/>
        </p:nvGrpSpPr>
        <p:grpSpPr>
          <a:xfrm>
            <a:off x="416288" y="4931819"/>
            <a:ext cx="1996211" cy="1089531"/>
            <a:chOff x="332936" y="2781654"/>
            <a:chExt cx="2937088" cy="1090098"/>
          </a:xfrm>
        </p:grpSpPr>
        <p:sp>
          <p:nvSpPr>
            <p:cNvPr id="54" name="TextBox 53">
              <a:extLst>
                <a:ext uri="{FF2B5EF4-FFF2-40B4-BE49-F238E27FC236}">
                  <a16:creationId xmlns:a16="http://schemas.microsoft.com/office/drawing/2014/main" id="{38FAD445-2024-31ED-271D-B83576D11F3E}"/>
                </a:ext>
              </a:extLst>
            </p:cNvPr>
            <p:cNvSpPr txBox="1"/>
            <p:nvPr/>
          </p:nvSpPr>
          <p:spPr>
            <a:xfrm>
              <a:off x="332936" y="2781654"/>
              <a:ext cx="2937088" cy="307777"/>
            </a:xfrm>
            <a:prstGeom prst="rect">
              <a:avLst/>
            </a:prstGeom>
            <a:noFill/>
          </p:spPr>
          <p:txBody>
            <a:bodyPr wrap="square" lIns="0" rIns="0" rtlCol="0" anchor="b">
              <a:spAutoFit/>
            </a:bodyPr>
            <a:lstStyle/>
            <a:p>
              <a:pPr algn="r"/>
              <a:r>
                <a:rPr lang="en-US" sz="1399" b="1"/>
                <a:t>Lorem Ipsum</a:t>
              </a:r>
            </a:p>
          </p:txBody>
        </p:sp>
        <p:sp>
          <p:nvSpPr>
            <p:cNvPr id="55" name="TextBox 54">
              <a:extLst>
                <a:ext uri="{FF2B5EF4-FFF2-40B4-BE49-F238E27FC236}">
                  <a16:creationId xmlns:a16="http://schemas.microsoft.com/office/drawing/2014/main" id="{97BD17DC-FD54-5F38-D589-EC23D7A51D00}"/>
                </a:ext>
              </a:extLst>
            </p:cNvPr>
            <p:cNvSpPr txBox="1"/>
            <p:nvPr/>
          </p:nvSpPr>
          <p:spPr>
            <a:xfrm>
              <a:off x="340731" y="3086922"/>
              <a:ext cx="2929293" cy="784830"/>
            </a:xfrm>
            <a:prstGeom prst="rect">
              <a:avLst/>
            </a:prstGeom>
            <a:noFill/>
          </p:spPr>
          <p:txBody>
            <a:bodyPr wrap="square" lIns="0" rIns="0" rtlCol="0" anchor="t">
              <a:spAutoFit/>
            </a:bodyPr>
            <a:lstStyle/>
            <a:p>
              <a:pPr algn="just"/>
              <a:r>
                <a:rPr lang="en-US" sz="900">
                  <a:solidFill>
                    <a:schemeClr val="tx1">
                      <a:lumMod val="65000"/>
                      <a:lumOff val="35000"/>
                    </a:schemeClr>
                  </a:solidFill>
                </a:rPr>
                <a:t>Lorem ipsum dolor sit </a:t>
              </a:r>
              <a:r>
                <a:rPr lang="en-US" sz="900" err="1">
                  <a:solidFill>
                    <a:schemeClr val="tx1">
                      <a:lumMod val="65000"/>
                      <a:lumOff val="35000"/>
                    </a:schemeClr>
                  </a:solidFill>
                </a:rPr>
                <a:t>amet</a:t>
              </a:r>
              <a:r>
                <a:rPr lang="en-US" sz="900">
                  <a:solidFill>
                    <a:schemeClr val="tx1">
                      <a:lumMod val="65000"/>
                      <a:lumOff val="35000"/>
                    </a:schemeClr>
                  </a:solidFill>
                </a:rPr>
                <a:t>, </a:t>
              </a:r>
              <a:r>
                <a:rPr lang="en-US" sz="900" err="1">
                  <a:solidFill>
                    <a:schemeClr val="tx1">
                      <a:lumMod val="65000"/>
                      <a:lumOff val="35000"/>
                    </a:schemeClr>
                  </a:solidFill>
                </a:rPr>
                <a:t>nibh</a:t>
              </a:r>
              <a:r>
                <a:rPr lang="en-US" sz="900">
                  <a:solidFill>
                    <a:schemeClr val="tx1">
                      <a:lumMod val="65000"/>
                      <a:lumOff val="35000"/>
                    </a:schemeClr>
                  </a:solidFill>
                </a:rPr>
                <a:t> est. A magna </a:t>
              </a:r>
              <a:r>
                <a:rPr lang="en-US" sz="900" err="1">
                  <a:solidFill>
                    <a:schemeClr val="tx1">
                      <a:lumMod val="65000"/>
                      <a:lumOff val="35000"/>
                    </a:schemeClr>
                  </a:solidFill>
                </a:rPr>
                <a:t>maecenas</a:t>
              </a:r>
              <a:r>
                <a:rPr lang="en-US" sz="900">
                  <a:solidFill>
                    <a:schemeClr val="tx1">
                      <a:lumMod val="65000"/>
                      <a:lumOff val="35000"/>
                    </a:schemeClr>
                  </a:solidFill>
                </a:rPr>
                <a:t>, </a:t>
              </a:r>
              <a:r>
                <a:rPr lang="en-US" sz="900" err="1">
                  <a:solidFill>
                    <a:schemeClr val="tx1">
                      <a:lumMod val="65000"/>
                      <a:lumOff val="35000"/>
                    </a:schemeClr>
                  </a:solidFill>
                </a:rPr>
                <a:t>quam</a:t>
              </a:r>
              <a:r>
                <a:rPr lang="en-US" sz="900">
                  <a:solidFill>
                    <a:schemeClr val="tx1">
                      <a:lumMod val="65000"/>
                      <a:lumOff val="35000"/>
                    </a:schemeClr>
                  </a:solidFill>
                </a:rPr>
                <a:t> magna nec </a:t>
              </a:r>
              <a:r>
                <a:rPr lang="en-US" sz="900" err="1">
                  <a:solidFill>
                    <a:schemeClr val="tx1">
                      <a:lumMod val="65000"/>
                      <a:lumOff val="35000"/>
                    </a:schemeClr>
                  </a:solidFill>
                </a:rPr>
                <a:t>quis</a:t>
              </a:r>
              <a:r>
                <a:rPr lang="en-US" sz="900">
                  <a:solidFill>
                    <a:schemeClr val="tx1">
                      <a:lumMod val="65000"/>
                      <a:lumOff val="35000"/>
                    </a:schemeClr>
                  </a:solidFill>
                </a:rPr>
                <a:t>, lorem </a:t>
              </a:r>
              <a:r>
                <a:rPr lang="en-US" sz="900" err="1">
                  <a:solidFill>
                    <a:schemeClr val="tx1">
                      <a:lumMod val="65000"/>
                      <a:lumOff val="35000"/>
                    </a:schemeClr>
                  </a:solidFill>
                </a:rPr>
                <a:t>nunc</a:t>
              </a:r>
              <a:r>
                <a:rPr lang="en-US" sz="900">
                  <a:solidFill>
                    <a:schemeClr val="tx1">
                      <a:lumMod val="65000"/>
                      <a:lumOff val="35000"/>
                    </a:schemeClr>
                  </a:solidFill>
                </a:rPr>
                <a:t>. </a:t>
              </a:r>
              <a:r>
                <a:rPr lang="en-US" sz="900" err="1">
                  <a:solidFill>
                    <a:schemeClr val="tx1">
                      <a:lumMod val="65000"/>
                      <a:lumOff val="35000"/>
                    </a:schemeClr>
                  </a:solidFill>
                </a:rPr>
                <a:t>Suspendisse</a:t>
              </a:r>
              <a:r>
                <a:rPr lang="en-US" sz="900">
                  <a:solidFill>
                    <a:schemeClr val="tx1">
                      <a:lumMod val="65000"/>
                      <a:lumOff val="35000"/>
                    </a:schemeClr>
                  </a:solidFill>
                </a:rPr>
                <a:t> </a:t>
              </a:r>
              <a:r>
                <a:rPr lang="en-US" sz="900" err="1">
                  <a:solidFill>
                    <a:schemeClr val="tx1">
                      <a:lumMod val="65000"/>
                      <a:lumOff val="35000"/>
                    </a:schemeClr>
                  </a:solidFill>
                </a:rPr>
                <a:t>viverra</a:t>
              </a:r>
              <a:r>
                <a:rPr lang="en-US" sz="900">
                  <a:solidFill>
                    <a:schemeClr val="tx1">
                      <a:lumMod val="65000"/>
                      <a:lumOff val="35000"/>
                    </a:schemeClr>
                  </a:solidFill>
                </a:rPr>
                <a:t> </a:t>
              </a:r>
              <a:r>
                <a:rPr lang="en-US" sz="900" err="1">
                  <a:solidFill>
                    <a:schemeClr val="tx1">
                      <a:lumMod val="65000"/>
                      <a:lumOff val="35000"/>
                    </a:schemeClr>
                  </a:solidFill>
                </a:rPr>
                <a:t>sodales</a:t>
              </a:r>
              <a:r>
                <a:rPr lang="en-US" sz="900">
                  <a:solidFill>
                    <a:schemeClr val="tx1">
                      <a:lumMod val="65000"/>
                      <a:lumOff val="35000"/>
                    </a:schemeClr>
                  </a:solidFill>
                </a:rPr>
                <a:t> </a:t>
              </a:r>
              <a:r>
                <a:rPr lang="en-US" sz="900" err="1">
                  <a:solidFill>
                    <a:schemeClr val="tx1">
                      <a:lumMod val="65000"/>
                      <a:lumOff val="35000"/>
                    </a:schemeClr>
                  </a:solidFill>
                </a:rPr>
                <a:t>mauris</a:t>
              </a:r>
              <a:r>
                <a:rPr lang="en-US" sz="900">
                  <a:solidFill>
                    <a:schemeClr val="tx1">
                      <a:lumMod val="65000"/>
                      <a:lumOff val="35000"/>
                    </a:schemeClr>
                  </a:solidFill>
                </a:rPr>
                <a:t>, </a:t>
              </a:r>
              <a:r>
                <a:rPr lang="en-US" sz="900" err="1">
                  <a:solidFill>
                    <a:schemeClr val="tx1">
                      <a:lumMod val="65000"/>
                      <a:lumOff val="35000"/>
                    </a:schemeClr>
                  </a:solidFill>
                </a:rPr>
                <a:t>cras</a:t>
              </a:r>
              <a:r>
                <a:rPr lang="en-US" sz="900">
                  <a:solidFill>
                    <a:schemeClr val="tx1">
                      <a:lumMod val="65000"/>
                      <a:lumOff val="35000"/>
                    </a:schemeClr>
                  </a:solidFill>
                </a:rPr>
                <a:t> pharetra </a:t>
              </a:r>
              <a:r>
                <a:rPr lang="en-US" sz="900" err="1">
                  <a:solidFill>
                    <a:schemeClr val="tx1">
                      <a:lumMod val="65000"/>
                      <a:lumOff val="35000"/>
                    </a:schemeClr>
                  </a:solidFill>
                </a:rPr>
                <a:t>proin</a:t>
              </a:r>
              <a:r>
                <a:rPr lang="en-US" sz="900">
                  <a:solidFill>
                    <a:schemeClr val="tx1">
                      <a:lumMod val="65000"/>
                      <a:lumOff val="35000"/>
                    </a:schemeClr>
                  </a:solidFill>
                </a:rPr>
                <a:t> </a:t>
              </a:r>
              <a:r>
                <a:rPr lang="en-US" sz="900" err="1">
                  <a:solidFill>
                    <a:schemeClr val="tx1">
                      <a:lumMod val="65000"/>
                      <a:lumOff val="35000"/>
                    </a:schemeClr>
                  </a:solidFill>
                </a:rPr>
                <a:t>egestas</a:t>
              </a:r>
              <a:r>
                <a:rPr lang="en-US" sz="900">
                  <a:solidFill>
                    <a:schemeClr val="tx1">
                      <a:lumMod val="65000"/>
                      <a:lumOff val="35000"/>
                    </a:schemeClr>
                  </a:solidFill>
                </a:rPr>
                <a:t> </a:t>
              </a:r>
              <a:r>
                <a:rPr lang="en-US" sz="900" err="1">
                  <a:solidFill>
                    <a:schemeClr val="tx1">
                      <a:lumMod val="65000"/>
                      <a:lumOff val="35000"/>
                    </a:schemeClr>
                  </a:solidFill>
                </a:rPr>
                <a:t>arcu</a:t>
              </a:r>
              <a:r>
                <a:rPr lang="en-US" sz="900">
                  <a:solidFill>
                    <a:schemeClr val="tx1">
                      <a:lumMod val="65000"/>
                      <a:lumOff val="35000"/>
                    </a:schemeClr>
                  </a:solidFill>
                </a:rPr>
                <a:t> </a:t>
              </a:r>
              <a:r>
                <a:rPr lang="en-US" sz="900" err="1">
                  <a:solidFill>
                    <a:schemeClr val="tx1">
                      <a:lumMod val="65000"/>
                      <a:lumOff val="35000"/>
                    </a:schemeClr>
                  </a:solidFill>
                </a:rPr>
                <a:t>erat</a:t>
              </a:r>
              <a:r>
                <a:rPr lang="en-US" sz="900">
                  <a:solidFill>
                    <a:schemeClr val="tx1">
                      <a:lumMod val="65000"/>
                      <a:lumOff val="35000"/>
                    </a:schemeClr>
                  </a:solidFill>
                </a:rPr>
                <a:t> dolor, at </a:t>
              </a:r>
              <a:r>
                <a:rPr lang="en-US" sz="900" err="1">
                  <a:solidFill>
                    <a:schemeClr val="tx1">
                      <a:lumMod val="65000"/>
                      <a:lumOff val="35000"/>
                    </a:schemeClr>
                  </a:solidFill>
                </a:rPr>
                <a:t>amet</a:t>
              </a:r>
              <a:r>
                <a:rPr lang="en-US" sz="900">
                  <a:solidFill>
                    <a:schemeClr val="tx1">
                      <a:lumMod val="65000"/>
                      <a:lumOff val="35000"/>
                    </a:schemeClr>
                  </a:solidFill>
                </a:rPr>
                <a:t>. </a:t>
              </a:r>
            </a:p>
          </p:txBody>
        </p:sp>
      </p:grpSp>
    </p:spTree>
    <p:extLst>
      <p:ext uri="{BB962C8B-B14F-4D97-AF65-F5344CB8AC3E}">
        <p14:creationId xmlns:p14="http://schemas.microsoft.com/office/powerpoint/2010/main" val="2199330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3C4F0-0B24-1D3C-305E-0658B4E57C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6F0F21-7794-888F-DF4C-482C4D01CDB8}"/>
              </a:ext>
            </a:extLst>
          </p:cNvPr>
          <p:cNvSpPr>
            <a:spLocks noGrp="1"/>
          </p:cNvSpPr>
          <p:nvPr>
            <p:ph type="title"/>
          </p:nvPr>
        </p:nvSpPr>
        <p:spPr/>
        <p:txBody>
          <a:bodyPr/>
          <a:lstStyle/>
          <a:p>
            <a:r>
              <a:rPr lang="en-GB"/>
              <a:t>CISO as Managed Service – Key Benefits </a:t>
            </a:r>
          </a:p>
        </p:txBody>
      </p:sp>
      <p:sp>
        <p:nvSpPr>
          <p:cNvPr id="4" name="Text Placeholder 2">
            <a:extLst>
              <a:ext uri="{FF2B5EF4-FFF2-40B4-BE49-F238E27FC236}">
                <a16:creationId xmlns:a16="http://schemas.microsoft.com/office/drawing/2014/main" id="{568CF86C-1EAE-1BA5-80C5-0EE691577A01}"/>
              </a:ext>
            </a:extLst>
          </p:cNvPr>
          <p:cNvSpPr txBox="1">
            <a:spLocks/>
          </p:cNvSpPr>
          <p:nvPr/>
        </p:nvSpPr>
        <p:spPr>
          <a:xfrm>
            <a:off x="252207" y="1128143"/>
            <a:ext cx="11658448" cy="462532"/>
          </a:xfrm>
          <a:prstGeom prst="rect">
            <a:avLst/>
          </a:prstGeom>
        </p:spPr>
        <p:txBody>
          <a:bodyPr/>
          <a:lst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lgn="just" defTabSz="913943" fontAlgn="base">
              <a:spcBef>
                <a:spcPct val="0"/>
              </a:spcBef>
              <a:spcAft>
                <a:spcPct val="0"/>
              </a:spcAft>
              <a:buNone/>
            </a:pPr>
            <a:r>
              <a:rPr lang="en-GB" sz="1099" kern="0">
                <a:solidFill>
                  <a:schemeClr val="tx1"/>
                </a:solidFill>
                <a:cs typeface="Calibri" panose="020F0502020204030204" pitchFamily="34" charset="0"/>
              </a:rPr>
              <a:t>CISO as Managed Service – a flexible, strategic advisory solution that provides on-demand access to senior cybersecurity leadership to design, implement, and oversee a comprehensive cybersecurity program tailored to MUA business requirements, and risk profile</a:t>
            </a:r>
          </a:p>
        </p:txBody>
      </p:sp>
      <p:sp>
        <p:nvSpPr>
          <p:cNvPr id="6" name="Shape">
            <a:extLst>
              <a:ext uri="{FF2B5EF4-FFF2-40B4-BE49-F238E27FC236}">
                <a16:creationId xmlns:a16="http://schemas.microsoft.com/office/drawing/2014/main" id="{BF3C95D3-2ADC-B9A6-7711-E5D4ADA6E84B}"/>
              </a:ext>
            </a:extLst>
          </p:cNvPr>
          <p:cNvSpPr/>
          <p:nvPr/>
        </p:nvSpPr>
        <p:spPr>
          <a:xfrm>
            <a:off x="55287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7" name="Shape">
            <a:extLst>
              <a:ext uri="{FF2B5EF4-FFF2-40B4-BE49-F238E27FC236}">
                <a16:creationId xmlns:a16="http://schemas.microsoft.com/office/drawing/2014/main" id="{D1A58C12-BD72-CC50-8236-54EE9195A33D}"/>
              </a:ext>
            </a:extLst>
          </p:cNvPr>
          <p:cNvSpPr/>
          <p:nvPr/>
        </p:nvSpPr>
        <p:spPr>
          <a:xfrm>
            <a:off x="670529" y="1865681"/>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rgbClr val="BFBFBF"/>
          </a:solidFill>
          <a:ln w="12700">
            <a:miter lim="400000"/>
          </a:ln>
        </p:spPr>
        <p:txBody>
          <a:bodyPr lIns="28575" tIns="28575" rIns="28575" bIns="28575" anchor="ctr"/>
          <a:lstStyle/>
          <a:p>
            <a:pPr>
              <a:defRPr sz="3000">
                <a:solidFill>
                  <a:srgbClr val="FFFFFF"/>
                </a:solidFill>
              </a:defRPr>
            </a:pPr>
            <a:endParaRPr sz="2250"/>
          </a:p>
        </p:txBody>
      </p:sp>
      <p:grpSp>
        <p:nvGrpSpPr>
          <p:cNvPr id="14" name="Group 13">
            <a:extLst>
              <a:ext uri="{FF2B5EF4-FFF2-40B4-BE49-F238E27FC236}">
                <a16:creationId xmlns:a16="http://schemas.microsoft.com/office/drawing/2014/main" id="{25B040B7-5F78-845D-DDE5-33165C297CE9}"/>
              </a:ext>
            </a:extLst>
          </p:cNvPr>
          <p:cNvGrpSpPr/>
          <p:nvPr/>
        </p:nvGrpSpPr>
        <p:grpSpPr>
          <a:xfrm>
            <a:off x="780521" y="2245843"/>
            <a:ext cx="1853756" cy="1303983"/>
            <a:chOff x="1322173" y="2481344"/>
            <a:chExt cx="1861657" cy="2477491"/>
          </a:xfrm>
        </p:grpSpPr>
        <p:sp>
          <p:nvSpPr>
            <p:cNvPr id="15" name="TextBox 14">
              <a:extLst>
                <a:ext uri="{FF2B5EF4-FFF2-40B4-BE49-F238E27FC236}">
                  <a16:creationId xmlns:a16="http://schemas.microsoft.com/office/drawing/2014/main" id="{16B4A194-190C-B1D9-F4E5-11881860FAFE}"/>
                </a:ext>
              </a:extLst>
            </p:cNvPr>
            <p:cNvSpPr txBox="1"/>
            <p:nvPr/>
          </p:nvSpPr>
          <p:spPr>
            <a:xfrm>
              <a:off x="1322173" y="2481344"/>
              <a:ext cx="1861657" cy="701709"/>
            </a:xfrm>
            <a:prstGeom prst="rect">
              <a:avLst/>
            </a:prstGeom>
            <a:noFill/>
          </p:spPr>
          <p:txBody>
            <a:bodyPr wrap="square" lIns="0" rIns="0" rtlCol="0" anchor="b">
              <a:spAutoFit/>
            </a:bodyPr>
            <a:lstStyle/>
            <a:p>
              <a:pPr algn="r"/>
              <a:r>
                <a:rPr lang="en-US">
                  <a:latin typeface="EYInterstate" panose="02000503020000020004" pitchFamily="2" charset="0"/>
                </a:rPr>
                <a:t>Flexibility</a:t>
              </a:r>
            </a:p>
          </p:txBody>
        </p:sp>
        <p:sp>
          <p:nvSpPr>
            <p:cNvPr id="16" name="TextBox 15">
              <a:extLst>
                <a:ext uri="{FF2B5EF4-FFF2-40B4-BE49-F238E27FC236}">
                  <a16:creationId xmlns:a16="http://schemas.microsoft.com/office/drawing/2014/main" id="{E803D9ED-5873-B564-E590-5CA4DA0E320F}"/>
                </a:ext>
              </a:extLst>
            </p:cNvPr>
            <p:cNvSpPr txBox="1"/>
            <p:nvPr/>
          </p:nvSpPr>
          <p:spPr>
            <a:xfrm>
              <a:off x="1322173" y="3321515"/>
              <a:ext cx="1861657" cy="1637320"/>
            </a:xfrm>
            <a:prstGeom prst="rect">
              <a:avLst/>
            </a:prstGeom>
            <a:noFill/>
          </p:spPr>
          <p:txBody>
            <a:bodyPr wrap="square" lIns="0" rIns="0" rtlCol="0" anchor="t">
              <a:spAutoFit/>
            </a:bodyPr>
            <a:lstStyle/>
            <a:p>
              <a:r>
                <a:rPr lang="en-GB" sz="1000">
                  <a:latin typeface="EYInterstate" panose="02000503020000020004" pitchFamily="2" charset="0"/>
                </a:rPr>
                <a:t>Adapts to your organisation’s evolving needs, allowing on-demand access to CISO capabilities without long-term staffing commitments</a:t>
              </a:r>
            </a:p>
          </p:txBody>
        </p:sp>
      </p:grpSp>
      <p:sp>
        <p:nvSpPr>
          <p:cNvPr id="27" name="Freeform: Shape 26">
            <a:extLst>
              <a:ext uri="{FF2B5EF4-FFF2-40B4-BE49-F238E27FC236}">
                <a16:creationId xmlns:a16="http://schemas.microsoft.com/office/drawing/2014/main" id="{D6B2249F-17CA-ACCB-8D02-F01DF053952B}"/>
              </a:ext>
            </a:extLst>
          </p:cNvPr>
          <p:cNvSpPr/>
          <p:nvPr/>
        </p:nvSpPr>
        <p:spPr>
          <a:xfrm>
            <a:off x="670530" y="1865683"/>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28" name="Shape">
            <a:extLst>
              <a:ext uri="{FF2B5EF4-FFF2-40B4-BE49-F238E27FC236}">
                <a16:creationId xmlns:a16="http://schemas.microsoft.com/office/drawing/2014/main" id="{4092DC1E-892C-E57A-428A-B2F655F9A569}"/>
              </a:ext>
            </a:extLst>
          </p:cNvPr>
          <p:cNvSpPr/>
          <p:nvPr/>
        </p:nvSpPr>
        <p:spPr>
          <a:xfrm>
            <a:off x="55287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97" name="Shape">
            <a:extLst>
              <a:ext uri="{FF2B5EF4-FFF2-40B4-BE49-F238E27FC236}">
                <a16:creationId xmlns:a16="http://schemas.microsoft.com/office/drawing/2014/main" id="{C9E01507-3828-1EBC-DA34-E8F02EA3B843}"/>
              </a:ext>
            </a:extLst>
          </p:cNvPr>
          <p:cNvSpPr/>
          <p:nvPr/>
        </p:nvSpPr>
        <p:spPr>
          <a:xfrm>
            <a:off x="349821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98" name="Shape">
            <a:extLst>
              <a:ext uri="{FF2B5EF4-FFF2-40B4-BE49-F238E27FC236}">
                <a16:creationId xmlns:a16="http://schemas.microsoft.com/office/drawing/2014/main" id="{888633D1-8F32-BFC9-0303-D3A18F293625}"/>
              </a:ext>
            </a:extLst>
          </p:cNvPr>
          <p:cNvSpPr/>
          <p:nvPr/>
        </p:nvSpPr>
        <p:spPr>
          <a:xfrm>
            <a:off x="3615869" y="1865681"/>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99" name="Freeform: Shape 98">
            <a:extLst>
              <a:ext uri="{FF2B5EF4-FFF2-40B4-BE49-F238E27FC236}">
                <a16:creationId xmlns:a16="http://schemas.microsoft.com/office/drawing/2014/main" id="{EF98CBC3-E186-32C2-DDB8-8683C2E466B7}"/>
              </a:ext>
            </a:extLst>
          </p:cNvPr>
          <p:cNvSpPr/>
          <p:nvPr/>
        </p:nvSpPr>
        <p:spPr>
          <a:xfrm>
            <a:off x="3615870" y="1865683"/>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00" name="Shape">
            <a:extLst>
              <a:ext uri="{FF2B5EF4-FFF2-40B4-BE49-F238E27FC236}">
                <a16:creationId xmlns:a16="http://schemas.microsoft.com/office/drawing/2014/main" id="{A29FF8A4-3042-3CA4-4F37-EAF40D9507E2}"/>
              </a:ext>
            </a:extLst>
          </p:cNvPr>
          <p:cNvSpPr/>
          <p:nvPr/>
        </p:nvSpPr>
        <p:spPr>
          <a:xfrm>
            <a:off x="349821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101" name="Shape">
            <a:extLst>
              <a:ext uri="{FF2B5EF4-FFF2-40B4-BE49-F238E27FC236}">
                <a16:creationId xmlns:a16="http://schemas.microsoft.com/office/drawing/2014/main" id="{ABB2C3F6-99D3-1D7D-917A-AA88020B2FF8}"/>
              </a:ext>
            </a:extLst>
          </p:cNvPr>
          <p:cNvSpPr/>
          <p:nvPr/>
        </p:nvSpPr>
        <p:spPr>
          <a:xfrm>
            <a:off x="644355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102" name="Shape">
            <a:extLst>
              <a:ext uri="{FF2B5EF4-FFF2-40B4-BE49-F238E27FC236}">
                <a16:creationId xmlns:a16="http://schemas.microsoft.com/office/drawing/2014/main" id="{4A8CD8F6-7C59-A573-6AE9-B59FA8AB692D}"/>
              </a:ext>
            </a:extLst>
          </p:cNvPr>
          <p:cNvSpPr/>
          <p:nvPr/>
        </p:nvSpPr>
        <p:spPr>
          <a:xfrm>
            <a:off x="6561209" y="1865681"/>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03" name="Freeform: Shape 102">
            <a:extLst>
              <a:ext uri="{FF2B5EF4-FFF2-40B4-BE49-F238E27FC236}">
                <a16:creationId xmlns:a16="http://schemas.microsoft.com/office/drawing/2014/main" id="{AF272ED7-AE04-A845-1A60-440F4C81D4A7}"/>
              </a:ext>
            </a:extLst>
          </p:cNvPr>
          <p:cNvSpPr/>
          <p:nvPr/>
        </p:nvSpPr>
        <p:spPr>
          <a:xfrm>
            <a:off x="6561210" y="1865683"/>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04" name="Shape">
            <a:extLst>
              <a:ext uri="{FF2B5EF4-FFF2-40B4-BE49-F238E27FC236}">
                <a16:creationId xmlns:a16="http://schemas.microsoft.com/office/drawing/2014/main" id="{C05BEB08-F31F-A398-6C5A-A380D5FFC86E}"/>
              </a:ext>
            </a:extLst>
          </p:cNvPr>
          <p:cNvSpPr/>
          <p:nvPr/>
        </p:nvSpPr>
        <p:spPr>
          <a:xfrm>
            <a:off x="6443555"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105" name="Shape">
            <a:extLst>
              <a:ext uri="{FF2B5EF4-FFF2-40B4-BE49-F238E27FC236}">
                <a16:creationId xmlns:a16="http://schemas.microsoft.com/office/drawing/2014/main" id="{5F121058-5246-97D9-2BCA-9CD6FE93B207}"/>
              </a:ext>
            </a:extLst>
          </p:cNvPr>
          <p:cNvSpPr/>
          <p:nvPr/>
        </p:nvSpPr>
        <p:spPr>
          <a:xfrm>
            <a:off x="9333831"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106" name="Shape">
            <a:extLst>
              <a:ext uri="{FF2B5EF4-FFF2-40B4-BE49-F238E27FC236}">
                <a16:creationId xmlns:a16="http://schemas.microsoft.com/office/drawing/2014/main" id="{0C874E74-10C5-009E-19F9-F285C2F96D88}"/>
              </a:ext>
            </a:extLst>
          </p:cNvPr>
          <p:cNvSpPr/>
          <p:nvPr/>
        </p:nvSpPr>
        <p:spPr>
          <a:xfrm>
            <a:off x="9451485" y="1865681"/>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07" name="Freeform: Shape 106">
            <a:extLst>
              <a:ext uri="{FF2B5EF4-FFF2-40B4-BE49-F238E27FC236}">
                <a16:creationId xmlns:a16="http://schemas.microsoft.com/office/drawing/2014/main" id="{D83C0602-F335-6D16-2DF1-0B2DD5F99EB0}"/>
              </a:ext>
            </a:extLst>
          </p:cNvPr>
          <p:cNvSpPr/>
          <p:nvPr/>
        </p:nvSpPr>
        <p:spPr>
          <a:xfrm>
            <a:off x="9451486" y="1865683"/>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08" name="Shape">
            <a:extLst>
              <a:ext uri="{FF2B5EF4-FFF2-40B4-BE49-F238E27FC236}">
                <a16:creationId xmlns:a16="http://schemas.microsoft.com/office/drawing/2014/main" id="{8C30BF17-6D4A-3202-5512-3140010C213F}"/>
              </a:ext>
            </a:extLst>
          </p:cNvPr>
          <p:cNvSpPr/>
          <p:nvPr/>
        </p:nvSpPr>
        <p:spPr>
          <a:xfrm>
            <a:off x="9333831" y="1748026"/>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109" name="Shape">
            <a:extLst>
              <a:ext uri="{FF2B5EF4-FFF2-40B4-BE49-F238E27FC236}">
                <a16:creationId xmlns:a16="http://schemas.microsoft.com/office/drawing/2014/main" id="{1FF2D9FC-88A3-29BB-4A1E-2CEF7818B0D5}"/>
              </a:ext>
            </a:extLst>
          </p:cNvPr>
          <p:cNvSpPr/>
          <p:nvPr/>
        </p:nvSpPr>
        <p:spPr>
          <a:xfrm>
            <a:off x="1850119"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110" name="Shape">
            <a:extLst>
              <a:ext uri="{FF2B5EF4-FFF2-40B4-BE49-F238E27FC236}">
                <a16:creationId xmlns:a16="http://schemas.microsoft.com/office/drawing/2014/main" id="{F8B5A1E5-164C-D780-6BE3-6127165D8004}"/>
              </a:ext>
            </a:extLst>
          </p:cNvPr>
          <p:cNvSpPr/>
          <p:nvPr/>
        </p:nvSpPr>
        <p:spPr>
          <a:xfrm>
            <a:off x="1967773" y="4325723"/>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11" name="Freeform: Shape 110">
            <a:extLst>
              <a:ext uri="{FF2B5EF4-FFF2-40B4-BE49-F238E27FC236}">
                <a16:creationId xmlns:a16="http://schemas.microsoft.com/office/drawing/2014/main" id="{527E398D-D47E-C640-13CE-8F4C217AFC41}"/>
              </a:ext>
            </a:extLst>
          </p:cNvPr>
          <p:cNvSpPr/>
          <p:nvPr/>
        </p:nvSpPr>
        <p:spPr>
          <a:xfrm>
            <a:off x="1967774" y="4325725"/>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12" name="Shape">
            <a:extLst>
              <a:ext uri="{FF2B5EF4-FFF2-40B4-BE49-F238E27FC236}">
                <a16:creationId xmlns:a16="http://schemas.microsoft.com/office/drawing/2014/main" id="{DCC2B074-6999-EE3F-BD7F-98F835959E4F}"/>
              </a:ext>
            </a:extLst>
          </p:cNvPr>
          <p:cNvSpPr/>
          <p:nvPr/>
        </p:nvSpPr>
        <p:spPr>
          <a:xfrm>
            <a:off x="1850119"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113" name="Shape">
            <a:extLst>
              <a:ext uri="{FF2B5EF4-FFF2-40B4-BE49-F238E27FC236}">
                <a16:creationId xmlns:a16="http://schemas.microsoft.com/office/drawing/2014/main" id="{5C5E0413-5C51-892D-435C-970C698915EA}"/>
              </a:ext>
            </a:extLst>
          </p:cNvPr>
          <p:cNvSpPr/>
          <p:nvPr/>
        </p:nvSpPr>
        <p:spPr>
          <a:xfrm>
            <a:off x="5078383"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114" name="Shape">
            <a:extLst>
              <a:ext uri="{FF2B5EF4-FFF2-40B4-BE49-F238E27FC236}">
                <a16:creationId xmlns:a16="http://schemas.microsoft.com/office/drawing/2014/main" id="{DADE4203-4639-5C1D-0939-179DF882DEF9}"/>
              </a:ext>
            </a:extLst>
          </p:cNvPr>
          <p:cNvSpPr/>
          <p:nvPr/>
        </p:nvSpPr>
        <p:spPr>
          <a:xfrm>
            <a:off x="5196037" y="4325723"/>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15" name="Freeform: Shape 114">
            <a:extLst>
              <a:ext uri="{FF2B5EF4-FFF2-40B4-BE49-F238E27FC236}">
                <a16:creationId xmlns:a16="http://schemas.microsoft.com/office/drawing/2014/main" id="{8C552C42-4D97-1802-BB5A-47019E6AD256}"/>
              </a:ext>
            </a:extLst>
          </p:cNvPr>
          <p:cNvSpPr/>
          <p:nvPr/>
        </p:nvSpPr>
        <p:spPr>
          <a:xfrm>
            <a:off x="5196038" y="4325725"/>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16" name="Shape">
            <a:extLst>
              <a:ext uri="{FF2B5EF4-FFF2-40B4-BE49-F238E27FC236}">
                <a16:creationId xmlns:a16="http://schemas.microsoft.com/office/drawing/2014/main" id="{B3128CC6-7A4F-FC7B-563A-F9EDD9993506}"/>
              </a:ext>
            </a:extLst>
          </p:cNvPr>
          <p:cNvSpPr/>
          <p:nvPr/>
        </p:nvSpPr>
        <p:spPr>
          <a:xfrm>
            <a:off x="5078383"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FFE600"/>
          </a:solidFill>
          <a:ln w="12700">
            <a:miter lim="400000"/>
          </a:ln>
        </p:spPr>
        <p:txBody>
          <a:bodyPr lIns="28575" tIns="28575" rIns="28575" bIns="28575" anchor="ctr"/>
          <a:lstStyle/>
          <a:p>
            <a:pPr>
              <a:defRPr sz="3000">
                <a:solidFill>
                  <a:srgbClr val="FFFFFF"/>
                </a:solidFill>
              </a:defRPr>
            </a:pPr>
            <a:endParaRPr sz="2250"/>
          </a:p>
        </p:txBody>
      </p:sp>
      <p:sp>
        <p:nvSpPr>
          <p:cNvPr id="117" name="Shape">
            <a:extLst>
              <a:ext uri="{FF2B5EF4-FFF2-40B4-BE49-F238E27FC236}">
                <a16:creationId xmlns:a16="http://schemas.microsoft.com/office/drawing/2014/main" id="{65D34A2D-7E02-98FE-233A-835D1D3B7B3A}"/>
              </a:ext>
            </a:extLst>
          </p:cNvPr>
          <p:cNvSpPr/>
          <p:nvPr/>
        </p:nvSpPr>
        <p:spPr>
          <a:xfrm>
            <a:off x="8188993"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sp>
        <p:nvSpPr>
          <p:cNvPr id="118" name="Shape">
            <a:extLst>
              <a:ext uri="{FF2B5EF4-FFF2-40B4-BE49-F238E27FC236}">
                <a16:creationId xmlns:a16="http://schemas.microsoft.com/office/drawing/2014/main" id="{DB84A54E-8DCC-9DC1-9D81-717EC305D9DC}"/>
              </a:ext>
            </a:extLst>
          </p:cNvPr>
          <p:cNvSpPr/>
          <p:nvPr/>
        </p:nvSpPr>
        <p:spPr>
          <a:xfrm>
            <a:off x="8306647" y="4325723"/>
            <a:ext cx="2073740" cy="1949725"/>
          </a:xfrm>
          <a:custGeom>
            <a:avLst/>
            <a:gdLst/>
            <a:ahLst/>
            <a:cxnLst>
              <a:cxn ang="0">
                <a:pos x="wd2" y="hd2"/>
              </a:cxn>
              <a:cxn ang="5400000">
                <a:pos x="wd2" y="hd2"/>
              </a:cxn>
              <a:cxn ang="10800000">
                <a:pos x="wd2" y="hd2"/>
              </a:cxn>
              <a:cxn ang="16200000">
                <a:pos x="wd2" y="hd2"/>
              </a:cxn>
            </a:cxnLst>
            <a:rect l="0" t="0" r="r" b="b"/>
            <a:pathLst>
              <a:path w="21600" h="21600" extrusionOk="0">
                <a:moveTo>
                  <a:pt x="19570" y="0"/>
                </a:moveTo>
                <a:lnTo>
                  <a:pt x="2034" y="0"/>
                </a:lnTo>
                <a:cubicBezTo>
                  <a:pt x="913" y="0"/>
                  <a:pt x="0" y="598"/>
                  <a:pt x="0" y="1338"/>
                </a:cubicBezTo>
                <a:lnTo>
                  <a:pt x="0" y="20262"/>
                </a:lnTo>
                <a:cubicBezTo>
                  <a:pt x="0" y="20999"/>
                  <a:pt x="909" y="21600"/>
                  <a:pt x="2034" y="21600"/>
                </a:cubicBezTo>
                <a:lnTo>
                  <a:pt x="19566" y="21600"/>
                </a:lnTo>
                <a:cubicBezTo>
                  <a:pt x="20687" y="21600"/>
                  <a:pt x="21600" y="21002"/>
                  <a:pt x="21600" y="20262"/>
                </a:cubicBezTo>
                <a:lnTo>
                  <a:pt x="21600" y="1335"/>
                </a:lnTo>
                <a:cubicBezTo>
                  <a:pt x="21600" y="598"/>
                  <a:pt x="20691" y="0"/>
                  <a:pt x="19570" y="0"/>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19" name="Freeform: Shape 118">
            <a:extLst>
              <a:ext uri="{FF2B5EF4-FFF2-40B4-BE49-F238E27FC236}">
                <a16:creationId xmlns:a16="http://schemas.microsoft.com/office/drawing/2014/main" id="{1B5EDB51-F11B-03DC-9F7D-F98B3CD44407}"/>
              </a:ext>
            </a:extLst>
          </p:cNvPr>
          <p:cNvSpPr/>
          <p:nvPr/>
        </p:nvSpPr>
        <p:spPr>
          <a:xfrm>
            <a:off x="8306648" y="4325725"/>
            <a:ext cx="1229327" cy="760321"/>
          </a:xfrm>
          <a:custGeom>
            <a:avLst/>
            <a:gdLst>
              <a:gd name="connsiteX0" fmla="*/ 207883 w 1308687"/>
              <a:gd name="connsiteY0" fmla="*/ 0 h 1308687"/>
              <a:gd name="connsiteX1" fmla="*/ 1308687 w 1308687"/>
              <a:gd name="connsiteY1" fmla="*/ 0 h 1308687"/>
              <a:gd name="connsiteX2" fmla="*/ 0 w 1308687"/>
              <a:gd name="connsiteY2" fmla="*/ 1308687 h 1308687"/>
              <a:gd name="connsiteX3" fmla="*/ 0 w 1308687"/>
              <a:gd name="connsiteY3" fmla="*/ 207881 h 1308687"/>
              <a:gd name="connsiteX4" fmla="*/ 207883 w 1308687"/>
              <a:gd name="connsiteY4" fmla="*/ 0 h 130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687" h="1308687">
                <a:moveTo>
                  <a:pt x="207883" y="0"/>
                </a:moveTo>
                <a:lnTo>
                  <a:pt x="1308687" y="0"/>
                </a:lnTo>
                <a:lnTo>
                  <a:pt x="0" y="1308687"/>
                </a:lnTo>
                <a:lnTo>
                  <a:pt x="0" y="207881"/>
                </a:lnTo>
                <a:cubicBezTo>
                  <a:pt x="0" y="92910"/>
                  <a:pt x="93312" y="0"/>
                  <a:pt x="207883" y="0"/>
                </a:cubicBezTo>
                <a:close/>
              </a:path>
            </a:pathLst>
          </a:custGeom>
          <a:solidFill>
            <a:schemeClr val="tx1">
              <a:alpha val="24000"/>
            </a:schemeClr>
          </a:solidFill>
          <a:ln w="12700">
            <a:miter lim="400000"/>
          </a:ln>
        </p:spPr>
        <p:txBody>
          <a:bodyPr wrap="square" lIns="28575" tIns="28575" rIns="28575" bIns="28575" anchor="ctr">
            <a:noAutofit/>
          </a:bodyPr>
          <a:lstStyle/>
          <a:p>
            <a:pPr>
              <a:defRPr sz="3000">
                <a:solidFill>
                  <a:srgbClr val="FFFFFF"/>
                </a:solidFill>
              </a:defRPr>
            </a:pPr>
            <a:endParaRPr sz="2250"/>
          </a:p>
        </p:txBody>
      </p:sp>
      <p:sp>
        <p:nvSpPr>
          <p:cNvPr id="120" name="Shape">
            <a:extLst>
              <a:ext uri="{FF2B5EF4-FFF2-40B4-BE49-F238E27FC236}">
                <a16:creationId xmlns:a16="http://schemas.microsoft.com/office/drawing/2014/main" id="{63F6583F-5D78-13DE-6EB5-298871C9D859}"/>
              </a:ext>
            </a:extLst>
          </p:cNvPr>
          <p:cNvSpPr/>
          <p:nvPr/>
        </p:nvSpPr>
        <p:spPr>
          <a:xfrm>
            <a:off x="8188993" y="4208068"/>
            <a:ext cx="1464400" cy="905709"/>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293" y="0"/>
                  <a:pt x="0" y="1288"/>
                  <a:pt x="0" y="2880"/>
                </a:cubicBezTo>
                <a:lnTo>
                  <a:pt x="0" y="21600"/>
                </a:lnTo>
                <a:lnTo>
                  <a:pt x="21600" y="0"/>
                </a:lnTo>
                <a:lnTo>
                  <a:pt x="2880" y="0"/>
                </a:lnTo>
                <a:close/>
              </a:path>
            </a:pathLst>
          </a:custGeom>
          <a:solidFill>
            <a:srgbClr val="00A3AE"/>
          </a:solidFill>
          <a:ln w="12700">
            <a:miter lim="400000"/>
          </a:ln>
        </p:spPr>
        <p:txBody>
          <a:bodyPr lIns="28575" tIns="28575" rIns="28575" bIns="28575" anchor="ctr"/>
          <a:lstStyle/>
          <a:p>
            <a:pPr>
              <a:defRPr sz="3000">
                <a:solidFill>
                  <a:srgbClr val="FFFFFF"/>
                </a:solidFill>
              </a:defRPr>
            </a:pPr>
            <a:endParaRPr sz="2250"/>
          </a:p>
        </p:txBody>
      </p:sp>
      <p:grpSp>
        <p:nvGrpSpPr>
          <p:cNvPr id="121" name="Group 120">
            <a:extLst>
              <a:ext uri="{FF2B5EF4-FFF2-40B4-BE49-F238E27FC236}">
                <a16:creationId xmlns:a16="http://schemas.microsoft.com/office/drawing/2014/main" id="{30F9118A-67CD-9B33-BE4A-23B54A612706}"/>
              </a:ext>
            </a:extLst>
          </p:cNvPr>
          <p:cNvGrpSpPr/>
          <p:nvPr/>
        </p:nvGrpSpPr>
        <p:grpSpPr>
          <a:xfrm>
            <a:off x="3721748" y="2252094"/>
            <a:ext cx="1853756" cy="1150095"/>
            <a:chOff x="1322173" y="2481344"/>
            <a:chExt cx="1861657" cy="2185113"/>
          </a:xfrm>
        </p:grpSpPr>
        <p:sp>
          <p:nvSpPr>
            <p:cNvPr id="122" name="TextBox 121">
              <a:extLst>
                <a:ext uri="{FF2B5EF4-FFF2-40B4-BE49-F238E27FC236}">
                  <a16:creationId xmlns:a16="http://schemas.microsoft.com/office/drawing/2014/main" id="{1EDE8BE8-C8CA-1D0A-895C-7032EBD60BE4}"/>
                </a:ext>
              </a:extLst>
            </p:cNvPr>
            <p:cNvSpPr txBox="1"/>
            <p:nvPr/>
          </p:nvSpPr>
          <p:spPr>
            <a:xfrm>
              <a:off x="1322173" y="2481344"/>
              <a:ext cx="1861657" cy="701709"/>
            </a:xfrm>
            <a:prstGeom prst="rect">
              <a:avLst/>
            </a:prstGeom>
            <a:noFill/>
          </p:spPr>
          <p:txBody>
            <a:bodyPr wrap="square" lIns="0" rIns="0" rtlCol="0" anchor="b">
              <a:spAutoFit/>
            </a:bodyPr>
            <a:lstStyle/>
            <a:p>
              <a:pPr algn="r"/>
              <a:r>
                <a:rPr lang="en-US">
                  <a:latin typeface="EYInterstate" panose="02000503020000020004" pitchFamily="2" charset="0"/>
                </a:rPr>
                <a:t>Scalability</a:t>
              </a:r>
            </a:p>
          </p:txBody>
        </p:sp>
        <p:sp>
          <p:nvSpPr>
            <p:cNvPr id="123" name="TextBox 122">
              <a:extLst>
                <a:ext uri="{FF2B5EF4-FFF2-40B4-BE49-F238E27FC236}">
                  <a16:creationId xmlns:a16="http://schemas.microsoft.com/office/drawing/2014/main" id="{8715578C-79E3-9BCD-0035-B8D23E19AFEB}"/>
                </a:ext>
              </a:extLst>
            </p:cNvPr>
            <p:cNvSpPr txBox="1"/>
            <p:nvPr/>
          </p:nvSpPr>
          <p:spPr>
            <a:xfrm>
              <a:off x="1322173" y="3321515"/>
              <a:ext cx="1861657" cy="1344942"/>
            </a:xfrm>
            <a:prstGeom prst="rect">
              <a:avLst/>
            </a:prstGeom>
            <a:noFill/>
          </p:spPr>
          <p:txBody>
            <a:bodyPr wrap="square" lIns="0" rIns="0" rtlCol="0" anchor="t">
              <a:spAutoFit/>
            </a:bodyPr>
            <a:lstStyle/>
            <a:p>
              <a:r>
                <a:rPr lang="en-GB" sz="1000">
                  <a:latin typeface="EYInterstate" panose="02000503020000020004" pitchFamily="2" charset="0"/>
                </a:rPr>
                <a:t>Easily scales up or down in scope and depth as the organization’s risk landscape, size, or maturity evolves</a:t>
              </a:r>
            </a:p>
          </p:txBody>
        </p:sp>
      </p:grpSp>
      <p:grpSp>
        <p:nvGrpSpPr>
          <p:cNvPr id="124" name="Group 123">
            <a:extLst>
              <a:ext uri="{FF2B5EF4-FFF2-40B4-BE49-F238E27FC236}">
                <a16:creationId xmlns:a16="http://schemas.microsoft.com/office/drawing/2014/main" id="{2A326F64-29AB-BFCF-3737-AE7F2E10ABA5}"/>
              </a:ext>
            </a:extLst>
          </p:cNvPr>
          <p:cNvGrpSpPr/>
          <p:nvPr/>
        </p:nvGrpSpPr>
        <p:grpSpPr>
          <a:xfrm>
            <a:off x="6671201" y="2252095"/>
            <a:ext cx="1853756" cy="1303983"/>
            <a:chOff x="1322173" y="2481344"/>
            <a:chExt cx="1861657" cy="2477491"/>
          </a:xfrm>
        </p:grpSpPr>
        <p:sp>
          <p:nvSpPr>
            <p:cNvPr id="125" name="TextBox 124">
              <a:extLst>
                <a:ext uri="{FF2B5EF4-FFF2-40B4-BE49-F238E27FC236}">
                  <a16:creationId xmlns:a16="http://schemas.microsoft.com/office/drawing/2014/main" id="{1A565C09-10BD-4F59-B19E-CAD3B930A8BE}"/>
                </a:ext>
              </a:extLst>
            </p:cNvPr>
            <p:cNvSpPr txBox="1"/>
            <p:nvPr/>
          </p:nvSpPr>
          <p:spPr>
            <a:xfrm>
              <a:off x="1322173" y="2481344"/>
              <a:ext cx="1861657" cy="701709"/>
            </a:xfrm>
            <a:prstGeom prst="rect">
              <a:avLst/>
            </a:prstGeom>
            <a:noFill/>
          </p:spPr>
          <p:txBody>
            <a:bodyPr wrap="square" lIns="0" rIns="0" rtlCol="0" anchor="b">
              <a:spAutoFit/>
            </a:bodyPr>
            <a:lstStyle/>
            <a:p>
              <a:pPr algn="r"/>
              <a:r>
                <a:rPr lang="en-US">
                  <a:latin typeface="EYInterstate" panose="02000503020000020004" pitchFamily="2" charset="0"/>
                </a:rPr>
                <a:t>Objectivity</a:t>
              </a:r>
            </a:p>
          </p:txBody>
        </p:sp>
        <p:sp>
          <p:nvSpPr>
            <p:cNvPr id="126" name="TextBox 125">
              <a:extLst>
                <a:ext uri="{FF2B5EF4-FFF2-40B4-BE49-F238E27FC236}">
                  <a16:creationId xmlns:a16="http://schemas.microsoft.com/office/drawing/2014/main" id="{86059F4B-E354-8DCD-B16A-F524F3B24C15}"/>
                </a:ext>
              </a:extLst>
            </p:cNvPr>
            <p:cNvSpPr txBox="1"/>
            <p:nvPr/>
          </p:nvSpPr>
          <p:spPr>
            <a:xfrm>
              <a:off x="1322173" y="3321515"/>
              <a:ext cx="1861657" cy="1637320"/>
            </a:xfrm>
            <a:prstGeom prst="rect">
              <a:avLst/>
            </a:prstGeom>
            <a:noFill/>
          </p:spPr>
          <p:txBody>
            <a:bodyPr wrap="square" lIns="0" rIns="0" rtlCol="0" anchor="t">
              <a:spAutoFit/>
            </a:bodyPr>
            <a:lstStyle/>
            <a:p>
              <a:r>
                <a:rPr lang="en-GB" sz="1000">
                  <a:solidFill>
                    <a:schemeClr val="tx2"/>
                  </a:solidFill>
                  <a:latin typeface="EYInterstate" panose="02000503020000020004" pitchFamily="2" charset="0"/>
                </a:rPr>
                <a:t>Provides independent, unbiased oversight and recommendations, free from internal operational influence or conflicts of interest</a:t>
              </a:r>
            </a:p>
          </p:txBody>
        </p:sp>
      </p:grpSp>
      <p:grpSp>
        <p:nvGrpSpPr>
          <p:cNvPr id="127" name="Group 126">
            <a:extLst>
              <a:ext uri="{FF2B5EF4-FFF2-40B4-BE49-F238E27FC236}">
                <a16:creationId xmlns:a16="http://schemas.microsoft.com/office/drawing/2014/main" id="{25E459C0-13DD-089B-DE8E-9AAD50910BCB}"/>
              </a:ext>
            </a:extLst>
          </p:cNvPr>
          <p:cNvGrpSpPr/>
          <p:nvPr/>
        </p:nvGrpSpPr>
        <p:grpSpPr>
          <a:xfrm>
            <a:off x="9557723" y="2267968"/>
            <a:ext cx="1853756" cy="1188567"/>
            <a:chOff x="1322173" y="2481344"/>
            <a:chExt cx="1861657" cy="2258207"/>
          </a:xfrm>
        </p:grpSpPr>
        <p:sp>
          <p:nvSpPr>
            <p:cNvPr id="128" name="TextBox 127">
              <a:extLst>
                <a:ext uri="{FF2B5EF4-FFF2-40B4-BE49-F238E27FC236}">
                  <a16:creationId xmlns:a16="http://schemas.microsoft.com/office/drawing/2014/main" id="{4E9E2850-FD11-9115-4B11-1B00B1C74D00}"/>
                </a:ext>
              </a:extLst>
            </p:cNvPr>
            <p:cNvSpPr txBox="1"/>
            <p:nvPr/>
          </p:nvSpPr>
          <p:spPr>
            <a:xfrm>
              <a:off x="1322173" y="2481344"/>
              <a:ext cx="1861657" cy="701709"/>
            </a:xfrm>
            <a:prstGeom prst="rect">
              <a:avLst/>
            </a:prstGeom>
            <a:noFill/>
          </p:spPr>
          <p:txBody>
            <a:bodyPr wrap="square" lIns="0" rIns="0" rtlCol="0" anchor="b">
              <a:spAutoFit/>
            </a:bodyPr>
            <a:lstStyle/>
            <a:p>
              <a:pPr algn="r"/>
              <a:r>
                <a:rPr lang="en-US">
                  <a:latin typeface="EYInterstate" panose="02000503020000020004" pitchFamily="2" charset="0"/>
                </a:rPr>
                <a:t>Cost Savings</a:t>
              </a:r>
              <a:endParaRPr lang="en-GB">
                <a:latin typeface="EYInterstate" panose="02000503020000020004" pitchFamily="2" charset="0"/>
              </a:endParaRPr>
            </a:p>
          </p:txBody>
        </p:sp>
        <p:sp>
          <p:nvSpPr>
            <p:cNvPr id="129" name="TextBox 128">
              <a:extLst>
                <a:ext uri="{FF2B5EF4-FFF2-40B4-BE49-F238E27FC236}">
                  <a16:creationId xmlns:a16="http://schemas.microsoft.com/office/drawing/2014/main" id="{19B2D925-17EE-E3B6-F81F-2F1C60EC0567}"/>
                </a:ext>
              </a:extLst>
            </p:cNvPr>
            <p:cNvSpPr txBox="1"/>
            <p:nvPr/>
          </p:nvSpPr>
          <p:spPr>
            <a:xfrm>
              <a:off x="1322173" y="3321515"/>
              <a:ext cx="1861657" cy="1418036"/>
            </a:xfrm>
            <a:prstGeom prst="rect">
              <a:avLst/>
            </a:prstGeom>
            <a:noFill/>
          </p:spPr>
          <p:txBody>
            <a:bodyPr wrap="square" lIns="0" rIns="0" rtlCol="0" anchor="t">
              <a:spAutoFit/>
            </a:bodyPr>
            <a:lstStyle/>
            <a:p>
              <a:pPr>
                <a:lnSpc>
                  <a:spcPct val="85000"/>
                </a:lnSpc>
                <a:spcAft>
                  <a:spcPts val="600"/>
                </a:spcAft>
                <a:buClr>
                  <a:schemeClr val="accent2"/>
                </a:buClr>
                <a:buSzPct val="70000"/>
              </a:pPr>
              <a:r>
                <a:rPr lang="en-GB" sz="1000">
                  <a:latin typeface="EYInterstate" panose="02000503020000020004" pitchFamily="2" charset="0"/>
                </a:rPr>
                <a:t>Reduces the expense of maintaining a full-time executive function while providing equivalent strategic value and leadership</a:t>
              </a:r>
            </a:p>
          </p:txBody>
        </p:sp>
      </p:grpSp>
      <p:grpSp>
        <p:nvGrpSpPr>
          <p:cNvPr id="130" name="Group 129">
            <a:extLst>
              <a:ext uri="{FF2B5EF4-FFF2-40B4-BE49-F238E27FC236}">
                <a16:creationId xmlns:a16="http://schemas.microsoft.com/office/drawing/2014/main" id="{FF01E925-1BA6-39DB-7A75-3BB3913BC755}"/>
              </a:ext>
            </a:extLst>
          </p:cNvPr>
          <p:cNvGrpSpPr/>
          <p:nvPr/>
        </p:nvGrpSpPr>
        <p:grpSpPr>
          <a:xfrm>
            <a:off x="2077765" y="4550545"/>
            <a:ext cx="2199056" cy="1363557"/>
            <a:chOff x="1322173" y="2148872"/>
            <a:chExt cx="2208429" cy="2590679"/>
          </a:xfrm>
        </p:grpSpPr>
        <p:sp>
          <p:nvSpPr>
            <p:cNvPr id="131" name="TextBox 130">
              <a:extLst>
                <a:ext uri="{FF2B5EF4-FFF2-40B4-BE49-F238E27FC236}">
                  <a16:creationId xmlns:a16="http://schemas.microsoft.com/office/drawing/2014/main" id="{42F21881-1E16-B593-AC9C-91DC328E333B}"/>
                </a:ext>
              </a:extLst>
            </p:cNvPr>
            <p:cNvSpPr txBox="1"/>
            <p:nvPr/>
          </p:nvSpPr>
          <p:spPr>
            <a:xfrm>
              <a:off x="1668945" y="2148872"/>
              <a:ext cx="1861657" cy="1070106"/>
            </a:xfrm>
            <a:prstGeom prst="rect">
              <a:avLst/>
            </a:prstGeom>
            <a:noFill/>
          </p:spPr>
          <p:txBody>
            <a:bodyPr wrap="square" lIns="0" rIns="0" rtlCol="0" anchor="b">
              <a:spAutoFit/>
            </a:bodyPr>
            <a:lstStyle/>
            <a:p>
              <a:pPr algn="ctr">
                <a:lnSpc>
                  <a:spcPct val="85000"/>
                </a:lnSpc>
                <a:spcAft>
                  <a:spcPts val="600"/>
                </a:spcAft>
                <a:buClr>
                  <a:schemeClr val="accent2"/>
                </a:buClr>
                <a:buSzPct val="70000"/>
              </a:pPr>
              <a:r>
                <a:rPr lang="en-US">
                  <a:latin typeface="EYInterstate" panose="02000503020000020004" pitchFamily="2" charset="0"/>
                </a:rPr>
                <a:t>Access to Expertise</a:t>
              </a:r>
            </a:p>
          </p:txBody>
        </p:sp>
        <p:sp>
          <p:nvSpPr>
            <p:cNvPr id="132" name="TextBox 131">
              <a:extLst>
                <a:ext uri="{FF2B5EF4-FFF2-40B4-BE49-F238E27FC236}">
                  <a16:creationId xmlns:a16="http://schemas.microsoft.com/office/drawing/2014/main" id="{2D9BE3E2-9937-A106-FB17-26ACDFC6776D}"/>
                </a:ext>
              </a:extLst>
            </p:cNvPr>
            <p:cNvSpPr txBox="1"/>
            <p:nvPr/>
          </p:nvSpPr>
          <p:spPr>
            <a:xfrm>
              <a:off x="1322173" y="3321515"/>
              <a:ext cx="1861657" cy="1418036"/>
            </a:xfrm>
            <a:prstGeom prst="rect">
              <a:avLst/>
            </a:prstGeom>
            <a:noFill/>
          </p:spPr>
          <p:txBody>
            <a:bodyPr wrap="square" lIns="0" rIns="0" rtlCol="0" anchor="t">
              <a:spAutoFit/>
            </a:bodyPr>
            <a:lstStyle/>
            <a:p>
              <a:pPr>
                <a:lnSpc>
                  <a:spcPct val="85000"/>
                </a:lnSpc>
                <a:spcAft>
                  <a:spcPts val="600"/>
                </a:spcAft>
                <a:buClr>
                  <a:schemeClr val="accent2"/>
                </a:buClr>
                <a:buSzPct val="70000"/>
              </a:pPr>
              <a:r>
                <a:rPr lang="en-GB" sz="1000">
                  <a:latin typeface="EYInterstate" panose="02000503020000020004" pitchFamily="2" charset="0"/>
                </a:rPr>
                <a:t>Offers access to seasoned cybersecurity professionals with broad experience across industries, regulations, and technologies</a:t>
              </a:r>
            </a:p>
          </p:txBody>
        </p:sp>
      </p:grpSp>
      <p:grpSp>
        <p:nvGrpSpPr>
          <p:cNvPr id="133" name="Group 132">
            <a:extLst>
              <a:ext uri="{FF2B5EF4-FFF2-40B4-BE49-F238E27FC236}">
                <a16:creationId xmlns:a16="http://schemas.microsoft.com/office/drawing/2014/main" id="{13672FCE-D72E-7ADD-3A27-5A7DF5E51448}"/>
              </a:ext>
            </a:extLst>
          </p:cNvPr>
          <p:cNvGrpSpPr/>
          <p:nvPr/>
        </p:nvGrpSpPr>
        <p:grpSpPr>
          <a:xfrm>
            <a:off x="5306029" y="4550546"/>
            <a:ext cx="2141162" cy="1236573"/>
            <a:chOff x="1322173" y="2141614"/>
            <a:chExt cx="2150288" cy="2349416"/>
          </a:xfrm>
        </p:grpSpPr>
        <p:sp>
          <p:nvSpPr>
            <p:cNvPr id="134" name="TextBox 133">
              <a:extLst>
                <a:ext uri="{FF2B5EF4-FFF2-40B4-BE49-F238E27FC236}">
                  <a16:creationId xmlns:a16="http://schemas.microsoft.com/office/drawing/2014/main" id="{6BA47BDF-1C8A-D3E0-B099-6FB00CBA1D90}"/>
                </a:ext>
              </a:extLst>
            </p:cNvPr>
            <p:cNvSpPr txBox="1"/>
            <p:nvPr/>
          </p:nvSpPr>
          <p:spPr>
            <a:xfrm>
              <a:off x="1610804" y="2141614"/>
              <a:ext cx="1861657" cy="1070106"/>
            </a:xfrm>
            <a:prstGeom prst="rect">
              <a:avLst/>
            </a:prstGeom>
            <a:noFill/>
          </p:spPr>
          <p:txBody>
            <a:bodyPr wrap="square" lIns="0" rIns="0" rtlCol="0" anchor="b">
              <a:spAutoFit/>
            </a:bodyPr>
            <a:lstStyle/>
            <a:p>
              <a:pPr algn="ctr">
                <a:lnSpc>
                  <a:spcPct val="85000"/>
                </a:lnSpc>
                <a:spcAft>
                  <a:spcPts val="600"/>
                </a:spcAft>
                <a:buClr>
                  <a:schemeClr val="accent2"/>
                </a:buClr>
                <a:buSzPct val="70000"/>
              </a:pPr>
              <a:r>
                <a:rPr lang="en-US">
                  <a:latin typeface="EYInterstate" panose="02000503020000020004" pitchFamily="2" charset="0"/>
                </a:rPr>
                <a:t>Rapid Deployment</a:t>
              </a:r>
            </a:p>
          </p:txBody>
        </p:sp>
        <p:sp>
          <p:nvSpPr>
            <p:cNvPr id="135" name="TextBox 134">
              <a:extLst>
                <a:ext uri="{FF2B5EF4-FFF2-40B4-BE49-F238E27FC236}">
                  <a16:creationId xmlns:a16="http://schemas.microsoft.com/office/drawing/2014/main" id="{34D85E56-7473-242D-4315-B2A5884B89C5}"/>
                </a:ext>
              </a:extLst>
            </p:cNvPr>
            <p:cNvSpPr txBox="1"/>
            <p:nvPr/>
          </p:nvSpPr>
          <p:spPr>
            <a:xfrm>
              <a:off x="1322173" y="3321516"/>
              <a:ext cx="1861657" cy="1169514"/>
            </a:xfrm>
            <a:prstGeom prst="rect">
              <a:avLst/>
            </a:prstGeom>
            <a:noFill/>
          </p:spPr>
          <p:txBody>
            <a:bodyPr wrap="square" lIns="0" rIns="0" rtlCol="0" anchor="t">
              <a:spAutoFit/>
            </a:bodyPr>
            <a:lstStyle/>
            <a:p>
              <a:pPr>
                <a:lnSpc>
                  <a:spcPct val="85000"/>
                </a:lnSpc>
                <a:spcAft>
                  <a:spcPts val="600"/>
                </a:spcAft>
                <a:buClr>
                  <a:schemeClr val="accent2"/>
                </a:buClr>
                <a:buSzPct val="70000"/>
              </a:pPr>
              <a:r>
                <a:rPr lang="en-GB" sz="1000">
                  <a:latin typeface="EYInterstate" panose="02000503020000020004" pitchFamily="2" charset="0"/>
                </a:rPr>
                <a:t>Enables quick onboarding and delivery of CISO capabilities, accelerating governance uplift and compliance readiness</a:t>
              </a:r>
            </a:p>
          </p:txBody>
        </p:sp>
      </p:grpSp>
      <p:grpSp>
        <p:nvGrpSpPr>
          <p:cNvPr id="136" name="Group 135">
            <a:extLst>
              <a:ext uri="{FF2B5EF4-FFF2-40B4-BE49-F238E27FC236}">
                <a16:creationId xmlns:a16="http://schemas.microsoft.com/office/drawing/2014/main" id="{2BC01BBC-C91D-9B8A-8F18-012BDB1D535F}"/>
              </a:ext>
            </a:extLst>
          </p:cNvPr>
          <p:cNvGrpSpPr/>
          <p:nvPr/>
        </p:nvGrpSpPr>
        <p:grpSpPr>
          <a:xfrm>
            <a:off x="8416639" y="4444262"/>
            <a:ext cx="1882978" cy="1538996"/>
            <a:chOff x="1322173" y="1815549"/>
            <a:chExt cx="1891004" cy="2924003"/>
          </a:xfrm>
        </p:grpSpPr>
        <p:sp>
          <p:nvSpPr>
            <p:cNvPr id="137" name="TextBox 136">
              <a:extLst>
                <a:ext uri="{FF2B5EF4-FFF2-40B4-BE49-F238E27FC236}">
                  <a16:creationId xmlns:a16="http://schemas.microsoft.com/office/drawing/2014/main" id="{74DF1EE9-0F80-5C47-0CE2-9ECE1306F07D}"/>
                </a:ext>
              </a:extLst>
            </p:cNvPr>
            <p:cNvSpPr txBox="1"/>
            <p:nvPr/>
          </p:nvSpPr>
          <p:spPr>
            <a:xfrm>
              <a:off x="2147289" y="1815549"/>
              <a:ext cx="1065888" cy="1442890"/>
            </a:xfrm>
            <a:prstGeom prst="rect">
              <a:avLst/>
            </a:prstGeom>
            <a:noFill/>
          </p:spPr>
          <p:txBody>
            <a:bodyPr wrap="square" lIns="0" rIns="0" rtlCol="0" anchor="b">
              <a:spAutoFit/>
            </a:bodyPr>
            <a:lstStyle/>
            <a:p>
              <a:pPr algn="ctr">
                <a:lnSpc>
                  <a:spcPct val="85000"/>
                </a:lnSpc>
                <a:spcAft>
                  <a:spcPts val="600"/>
                </a:spcAft>
                <a:buClr>
                  <a:schemeClr val="accent2"/>
                </a:buClr>
                <a:buSzPct val="70000"/>
              </a:pPr>
              <a:r>
                <a:rPr lang="en-US" sz="1700">
                  <a:latin typeface="EYInterstate" panose="02000503020000020004" pitchFamily="2" charset="0"/>
                </a:rPr>
                <a:t>Readiness &amp; Risk Reduction</a:t>
              </a:r>
            </a:p>
          </p:txBody>
        </p:sp>
        <p:sp>
          <p:nvSpPr>
            <p:cNvPr id="138" name="TextBox 137">
              <a:extLst>
                <a:ext uri="{FF2B5EF4-FFF2-40B4-BE49-F238E27FC236}">
                  <a16:creationId xmlns:a16="http://schemas.microsoft.com/office/drawing/2014/main" id="{492662FB-E5B1-8A37-FD3F-943E2F34E88C}"/>
                </a:ext>
              </a:extLst>
            </p:cNvPr>
            <p:cNvSpPr txBox="1"/>
            <p:nvPr/>
          </p:nvSpPr>
          <p:spPr>
            <a:xfrm>
              <a:off x="1322173" y="3321516"/>
              <a:ext cx="1861657" cy="1418036"/>
            </a:xfrm>
            <a:prstGeom prst="rect">
              <a:avLst/>
            </a:prstGeom>
            <a:noFill/>
          </p:spPr>
          <p:txBody>
            <a:bodyPr wrap="square" lIns="0" rIns="0" rtlCol="0" anchor="t">
              <a:spAutoFit/>
            </a:bodyPr>
            <a:lstStyle/>
            <a:p>
              <a:pPr>
                <a:lnSpc>
                  <a:spcPct val="85000"/>
                </a:lnSpc>
                <a:spcAft>
                  <a:spcPts val="600"/>
                </a:spcAft>
                <a:buClr>
                  <a:schemeClr val="accent2"/>
                </a:buClr>
                <a:buSzPct val="70000"/>
              </a:pPr>
              <a:r>
                <a:rPr lang="en-GB" sz="1000">
                  <a:latin typeface="EYInterstate" panose="02000503020000020004" pitchFamily="2" charset="0"/>
                </a:rPr>
                <a:t>Reduces the expense of maintaining a full-time executive function while providing equivalent strategic value and leadership</a:t>
              </a:r>
            </a:p>
          </p:txBody>
        </p:sp>
      </p:grpSp>
      <p:pic>
        <p:nvPicPr>
          <p:cNvPr id="52" name="Graphic 51" descr="Rocket">
            <a:extLst>
              <a:ext uri="{FF2B5EF4-FFF2-40B4-BE49-F238E27FC236}">
                <a16:creationId xmlns:a16="http://schemas.microsoft.com/office/drawing/2014/main" id="{CC5FAD7A-1169-C59E-1227-C9635B945A1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1407" y="1859432"/>
            <a:ext cx="463810" cy="452387"/>
          </a:xfrm>
          <a:prstGeom prst="rect">
            <a:avLst/>
          </a:prstGeom>
        </p:spPr>
      </p:pic>
      <p:pic>
        <p:nvPicPr>
          <p:cNvPr id="140" name="Picture 139" descr="A black background with a black square&#10;&#10;AI-generated content may be incorrect.">
            <a:extLst>
              <a:ext uri="{FF2B5EF4-FFF2-40B4-BE49-F238E27FC236}">
                <a16:creationId xmlns:a16="http://schemas.microsoft.com/office/drawing/2014/main" id="{88D83764-E404-E813-3941-C24942FD19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874" y="1764286"/>
            <a:ext cx="642678" cy="642678"/>
          </a:xfrm>
          <a:prstGeom prst="rect">
            <a:avLst/>
          </a:prstGeom>
        </p:spPr>
      </p:pic>
      <p:pic>
        <p:nvPicPr>
          <p:cNvPr id="142" name="Picture 141" descr="A black background with a black square&#10;&#10;AI-generated content may be incorrect.">
            <a:extLst>
              <a:ext uri="{FF2B5EF4-FFF2-40B4-BE49-F238E27FC236}">
                <a16:creationId xmlns:a16="http://schemas.microsoft.com/office/drawing/2014/main" id="{743A5679-39F5-BC83-9EAB-4B8E760B0C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61208" y="1853357"/>
            <a:ext cx="464535" cy="464535"/>
          </a:xfrm>
          <a:prstGeom prst="rect">
            <a:avLst/>
          </a:prstGeom>
        </p:spPr>
      </p:pic>
      <p:pic>
        <p:nvPicPr>
          <p:cNvPr id="158" name="Picture 157" descr="A black background with a black square&#10;&#10;AI-generated content may be incorrect.">
            <a:extLst>
              <a:ext uri="{FF2B5EF4-FFF2-40B4-BE49-F238E27FC236}">
                <a16:creationId xmlns:a16="http://schemas.microsoft.com/office/drawing/2014/main" id="{47E52087-CC07-7F88-5B77-35539A8170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477" y="1876280"/>
            <a:ext cx="449424" cy="449424"/>
          </a:xfrm>
          <a:prstGeom prst="rect">
            <a:avLst/>
          </a:prstGeom>
        </p:spPr>
      </p:pic>
      <p:pic>
        <p:nvPicPr>
          <p:cNvPr id="160" name="Picture 159" descr="A black background with a black square&#10;&#10;AI-generated content may be incorrect.">
            <a:extLst>
              <a:ext uri="{FF2B5EF4-FFF2-40B4-BE49-F238E27FC236}">
                <a16:creationId xmlns:a16="http://schemas.microsoft.com/office/drawing/2014/main" id="{D717A3BC-B825-4B32-7BA4-B99F82442F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77638" y="4309398"/>
            <a:ext cx="493456" cy="493456"/>
          </a:xfrm>
          <a:prstGeom prst="rect">
            <a:avLst/>
          </a:prstGeom>
        </p:spPr>
      </p:pic>
      <p:pic>
        <p:nvPicPr>
          <p:cNvPr id="162" name="Picture 161" descr="A black background with a black square&#10;&#10;AI-generated content may be incorrect.">
            <a:extLst>
              <a:ext uri="{FF2B5EF4-FFF2-40B4-BE49-F238E27FC236}">
                <a16:creationId xmlns:a16="http://schemas.microsoft.com/office/drawing/2014/main" id="{3365D9CE-876C-10EE-C5B3-794B31CBE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1829" y="4297994"/>
            <a:ext cx="418385" cy="418385"/>
          </a:xfrm>
          <a:prstGeom prst="rect">
            <a:avLst/>
          </a:prstGeom>
        </p:spPr>
      </p:pic>
      <p:pic>
        <p:nvPicPr>
          <p:cNvPr id="164" name="Picture 163" descr="A black background with a black square&#10;&#10;AI-generated content may be incorrect.">
            <a:extLst>
              <a:ext uri="{FF2B5EF4-FFF2-40B4-BE49-F238E27FC236}">
                <a16:creationId xmlns:a16="http://schemas.microsoft.com/office/drawing/2014/main" id="{5634C682-56FD-62EA-3612-B244A093C57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66408" y="4293596"/>
            <a:ext cx="450334" cy="450334"/>
          </a:xfrm>
          <a:prstGeom prst="rect">
            <a:avLst/>
          </a:prstGeom>
        </p:spPr>
      </p:pic>
    </p:spTree>
    <p:extLst>
      <p:ext uri="{BB962C8B-B14F-4D97-AF65-F5344CB8AC3E}">
        <p14:creationId xmlns:p14="http://schemas.microsoft.com/office/powerpoint/2010/main" val="1831123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698FBDBA-4C85-ECEC-87A5-F767C61D5489}"/>
              </a:ext>
            </a:extLst>
          </p:cNvPr>
          <p:cNvSpPr txBox="1">
            <a:spLocks/>
          </p:cNvSpPr>
          <p:nvPr/>
        </p:nvSpPr>
        <p:spPr>
          <a:xfrm>
            <a:off x="609284" y="295832"/>
            <a:ext cx="10967088" cy="347613"/>
          </a:xfrm>
          <a:prstGeom prst="rect">
            <a:avLst/>
          </a:prstGeom>
        </p:spPr>
        <p:txBody>
          <a:bodyPr vert="horz" wrap="square" lIns="0" tIns="0" rIns="0" bIns="0" rtlCol="0" anchor="t" anchorCtr="0">
            <a:noAutofit/>
          </a:bodyPr>
          <a:lstStyle>
            <a:defPPr>
              <a:defRPr lang="en-US"/>
            </a:defPPr>
            <a:lvl1pPr defTabSz="913943">
              <a:lnSpc>
                <a:spcPct val="85000"/>
              </a:lnSpc>
              <a:spcBef>
                <a:spcPct val="0"/>
              </a:spcBef>
              <a:buNone/>
              <a:defRPr sz="1999" b="1">
                <a:solidFill>
                  <a:prstClr val="white"/>
                </a:solidFill>
                <a:latin typeface="EYInterstate Light" panose="02000506000000020004" pitchFamily="2" charset="0"/>
                <a:ea typeface="+mj-ea"/>
                <a:cs typeface="Arial" pitchFamily="34" charset="0"/>
              </a:defRPr>
            </a:lvl1pPr>
          </a:lstStyle>
          <a:p>
            <a:pPr defTabSz="913486">
              <a:defRPr/>
            </a:pPr>
            <a:r>
              <a:rPr lang="en-GB" sz="1998">
                <a:solidFill>
                  <a:srgbClr val="000000"/>
                </a:solidFill>
              </a:rPr>
              <a:t>… that embodies our value proposition</a:t>
            </a:r>
          </a:p>
        </p:txBody>
      </p:sp>
      <p:sp>
        <p:nvSpPr>
          <p:cNvPr id="2" name="Rectangle 1">
            <a:extLst>
              <a:ext uri="{FF2B5EF4-FFF2-40B4-BE49-F238E27FC236}">
                <a16:creationId xmlns:a16="http://schemas.microsoft.com/office/drawing/2014/main" id="{A3B24054-4CCF-0810-BF33-563862C5C6CA}"/>
              </a:ext>
            </a:extLst>
          </p:cNvPr>
          <p:cNvSpPr/>
          <p:nvPr/>
        </p:nvSpPr>
        <p:spPr>
          <a:xfrm>
            <a:off x="632143" y="1357201"/>
            <a:ext cx="5463857" cy="4609341"/>
          </a:xfrm>
          <a:prstGeom prst="rect">
            <a:avLst/>
          </a:prstGeom>
          <a:noFill/>
          <a:ln w="3175" cap="flat" cmpd="sng" algn="ctr">
            <a:solidFill>
              <a:schemeClr val="tx1"/>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3" name="Rectangle 2">
            <a:extLst>
              <a:ext uri="{FF2B5EF4-FFF2-40B4-BE49-F238E27FC236}">
                <a16:creationId xmlns:a16="http://schemas.microsoft.com/office/drawing/2014/main" id="{60D196B9-025C-8A23-5691-AEFC507983D0}"/>
              </a:ext>
            </a:extLst>
          </p:cNvPr>
          <p:cNvSpPr/>
          <p:nvPr/>
        </p:nvSpPr>
        <p:spPr>
          <a:xfrm>
            <a:off x="9806252"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Knowledge Transfer</a:t>
            </a:r>
          </a:p>
        </p:txBody>
      </p:sp>
      <p:sp>
        <p:nvSpPr>
          <p:cNvPr id="6" name="Rectangle 5">
            <a:extLst>
              <a:ext uri="{FF2B5EF4-FFF2-40B4-BE49-F238E27FC236}">
                <a16:creationId xmlns:a16="http://schemas.microsoft.com/office/drawing/2014/main" id="{018AF14F-6F08-B5B1-AB0E-7E8B6198E4BA}"/>
              </a:ext>
            </a:extLst>
          </p:cNvPr>
          <p:cNvSpPr/>
          <p:nvPr/>
        </p:nvSpPr>
        <p:spPr>
          <a:xfrm>
            <a:off x="2455422"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Global Partnerships</a:t>
            </a:r>
          </a:p>
        </p:txBody>
      </p:sp>
      <p:sp>
        <p:nvSpPr>
          <p:cNvPr id="7" name="Rectangle 6">
            <a:extLst>
              <a:ext uri="{FF2B5EF4-FFF2-40B4-BE49-F238E27FC236}">
                <a16:creationId xmlns:a16="http://schemas.microsoft.com/office/drawing/2014/main" id="{D128DEAD-811C-9E85-4787-F1997660408D}"/>
              </a:ext>
            </a:extLst>
          </p:cNvPr>
          <p:cNvSpPr/>
          <p:nvPr/>
        </p:nvSpPr>
        <p:spPr>
          <a:xfrm>
            <a:off x="4296937"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International Expertise</a:t>
            </a:r>
          </a:p>
        </p:txBody>
      </p:sp>
      <p:sp>
        <p:nvSpPr>
          <p:cNvPr id="9" name="Rectangle 8">
            <a:extLst>
              <a:ext uri="{FF2B5EF4-FFF2-40B4-BE49-F238E27FC236}">
                <a16:creationId xmlns:a16="http://schemas.microsoft.com/office/drawing/2014/main" id="{67658E9A-746B-C329-C371-5E35916AB251}"/>
              </a:ext>
            </a:extLst>
          </p:cNvPr>
          <p:cNvSpPr/>
          <p:nvPr/>
        </p:nvSpPr>
        <p:spPr>
          <a:xfrm>
            <a:off x="6138452"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Regional Understanding</a:t>
            </a:r>
          </a:p>
        </p:txBody>
      </p:sp>
      <p:sp>
        <p:nvSpPr>
          <p:cNvPr id="10" name="Rectangle 9">
            <a:extLst>
              <a:ext uri="{FF2B5EF4-FFF2-40B4-BE49-F238E27FC236}">
                <a16:creationId xmlns:a16="http://schemas.microsoft.com/office/drawing/2014/main" id="{A941E5F6-2C38-2893-EA71-9B785211F128}"/>
              </a:ext>
            </a:extLst>
          </p:cNvPr>
          <p:cNvSpPr/>
          <p:nvPr/>
        </p:nvSpPr>
        <p:spPr>
          <a:xfrm>
            <a:off x="7979967"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Innovative Thinking</a:t>
            </a:r>
          </a:p>
        </p:txBody>
      </p:sp>
      <p:sp>
        <p:nvSpPr>
          <p:cNvPr id="11" name="Rectangle 10">
            <a:extLst>
              <a:ext uri="{FF2B5EF4-FFF2-40B4-BE49-F238E27FC236}">
                <a16:creationId xmlns:a16="http://schemas.microsoft.com/office/drawing/2014/main" id="{83E50ECE-7FAF-2A7E-5DE1-D20FB3157169}"/>
              </a:ext>
            </a:extLst>
          </p:cNvPr>
          <p:cNvSpPr/>
          <p:nvPr/>
        </p:nvSpPr>
        <p:spPr>
          <a:xfrm>
            <a:off x="613907" y="969091"/>
            <a:ext cx="1799063" cy="287850"/>
          </a:xfrm>
          <a:prstGeom prst="rect">
            <a:avLst/>
          </a:prstGeom>
          <a:solidFill>
            <a:srgbClr val="C4C4CD"/>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txBody>
          <a:bodyPr wrap="square" lIns="71963" tIns="35981" rIns="71963" bIns="35981" rtlCol="0" anchor="ctr" anchorCtr="0">
            <a:noAutofit/>
          </a:bodyPr>
          <a:lstStyle/>
          <a:p>
            <a:pPr defTabSz="913943">
              <a:defRPr/>
            </a:pPr>
            <a:r>
              <a:rPr lang="en-US" sz="999" kern="0">
                <a:solidFill>
                  <a:srgbClr val="2E2E38"/>
                </a:solidFill>
                <a:latin typeface="EYInterstate Light"/>
                <a:cs typeface="Arial" panose="020B0604020202020204" pitchFamily="34" charset="0"/>
              </a:rPr>
              <a:t>Proven Capability</a:t>
            </a:r>
          </a:p>
        </p:txBody>
      </p:sp>
      <p:sp>
        <p:nvSpPr>
          <p:cNvPr id="12" name="Rectangle 11">
            <a:extLst>
              <a:ext uri="{FF2B5EF4-FFF2-40B4-BE49-F238E27FC236}">
                <a16:creationId xmlns:a16="http://schemas.microsoft.com/office/drawing/2014/main" id="{DB58B538-BE9F-C46D-73A7-4DFC77A1E0AE}"/>
              </a:ext>
            </a:extLst>
          </p:cNvPr>
          <p:cNvSpPr/>
          <p:nvPr/>
        </p:nvSpPr>
        <p:spPr>
          <a:xfrm>
            <a:off x="11323027" y="965015"/>
            <a:ext cx="273260" cy="288134"/>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pic>
        <p:nvPicPr>
          <p:cNvPr id="13" name="Picture 12">
            <a:extLst>
              <a:ext uri="{FF2B5EF4-FFF2-40B4-BE49-F238E27FC236}">
                <a16:creationId xmlns:a16="http://schemas.microsoft.com/office/drawing/2014/main" id="{7EF6CE75-1683-926A-EDF5-2ADDA110163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361117" y="1012780"/>
            <a:ext cx="197080" cy="199000"/>
          </a:xfrm>
          <a:prstGeom prst="rect">
            <a:avLst/>
          </a:prstGeom>
        </p:spPr>
      </p:pic>
      <p:sp>
        <p:nvSpPr>
          <p:cNvPr id="18" name="Rectangle 17">
            <a:extLst>
              <a:ext uri="{FF2B5EF4-FFF2-40B4-BE49-F238E27FC236}">
                <a16:creationId xmlns:a16="http://schemas.microsoft.com/office/drawing/2014/main" id="{317964CD-D964-0FD7-B324-2DE591F9F003}"/>
              </a:ext>
            </a:extLst>
          </p:cNvPr>
          <p:cNvSpPr/>
          <p:nvPr/>
        </p:nvSpPr>
        <p:spPr>
          <a:xfrm>
            <a:off x="9506326" y="969091"/>
            <a:ext cx="273260" cy="284058"/>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pic>
        <p:nvPicPr>
          <p:cNvPr id="19" name="Picture 18">
            <a:extLst>
              <a:ext uri="{FF2B5EF4-FFF2-40B4-BE49-F238E27FC236}">
                <a16:creationId xmlns:a16="http://schemas.microsoft.com/office/drawing/2014/main" id="{4BEC34C3-77BE-A4A1-8114-4922FEE054B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561912" y="1001373"/>
            <a:ext cx="172126" cy="232995"/>
          </a:xfrm>
          <a:prstGeom prst="rect">
            <a:avLst/>
          </a:prstGeom>
        </p:spPr>
      </p:pic>
      <p:sp>
        <p:nvSpPr>
          <p:cNvPr id="22" name="Rectangle 21">
            <a:extLst>
              <a:ext uri="{FF2B5EF4-FFF2-40B4-BE49-F238E27FC236}">
                <a16:creationId xmlns:a16="http://schemas.microsoft.com/office/drawing/2014/main" id="{7E15992A-B2AA-F5D1-2196-85F3CAC597F7}"/>
              </a:ext>
            </a:extLst>
          </p:cNvPr>
          <p:cNvSpPr/>
          <p:nvPr/>
        </p:nvSpPr>
        <p:spPr>
          <a:xfrm>
            <a:off x="7666654" y="965015"/>
            <a:ext cx="273260" cy="288134"/>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sp>
        <p:nvSpPr>
          <p:cNvPr id="23" name="Rectangle 22">
            <a:extLst>
              <a:ext uri="{FF2B5EF4-FFF2-40B4-BE49-F238E27FC236}">
                <a16:creationId xmlns:a16="http://schemas.microsoft.com/office/drawing/2014/main" id="{32C2DB60-10CB-BD5E-C24C-C73E9853E2D1}"/>
              </a:ext>
            </a:extLst>
          </p:cNvPr>
          <p:cNvSpPr/>
          <p:nvPr/>
        </p:nvSpPr>
        <p:spPr>
          <a:xfrm>
            <a:off x="5822740" y="965015"/>
            <a:ext cx="273260" cy="288134"/>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sp>
        <p:nvSpPr>
          <p:cNvPr id="24" name="Rectangle 23">
            <a:extLst>
              <a:ext uri="{FF2B5EF4-FFF2-40B4-BE49-F238E27FC236}">
                <a16:creationId xmlns:a16="http://schemas.microsoft.com/office/drawing/2014/main" id="{4D313D2A-0F75-E791-C1B9-ED77FF2FED1F}"/>
              </a:ext>
            </a:extLst>
          </p:cNvPr>
          <p:cNvSpPr/>
          <p:nvPr/>
        </p:nvSpPr>
        <p:spPr>
          <a:xfrm>
            <a:off x="3981225" y="965015"/>
            <a:ext cx="273260" cy="288134"/>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sp>
        <p:nvSpPr>
          <p:cNvPr id="25" name="Rectangle 24">
            <a:extLst>
              <a:ext uri="{FF2B5EF4-FFF2-40B4-BE49-F238E27FC236}">
                <a16:creationId xmlns:a16="http://schemas.microsoft.com/office/drawing/2014/main" id="{03484921-09C7-A549-4371-370465152417}"/>
              </a:ext>
            </a:extLst>
          </p:cNvPr>
          <p:cNvSpPr/>
          <p:nvPr/>
        </p:nvSpPr>
        <p:spPr>
          <a:xfrm>
            <a:off x="2136567" y="965299"/>
            <a:ext cx="273260" cy="287850"/>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2"/>
                </a:solidFill>
                <a:prstDash val="solid"/>
              </a14:hiddenLine>
            </a:ext>
          </a:extLst>
        </p:spPr>
        <p:txBody>
          <a:bodyPr rtlCol="0" anchor="ctr" anchorCtr="0"/>
          <a:lstStyle/>
          <a:p>
            <a:pPr algn="ctr" defTabSz="913943">
              <a:defRPr/>
            </a:pPr>
            <a:endParaRPr lang="en-IN" sz="999" b="1" kern="0">
              <a:solidFill>
                <a:srgbClr val="2E2E38"/>
              </a:solidFill>
              <a:latin typeface="EYInterstate Light"/>
              <a:cs typeface="Arial"/>
            </a:endParaRPr>
          </a:p>
        </p:txBody>
      </p:sp>
      <p:pic>
        <p:nvPicPr>
          <p:cNvPr id="26" name="Picture 25">
            <a:extLst>
              <a:ext uri="{FF2B5EF4-FFF2-40B4-BE49-F238E27FC236}">
                <a16:creationId xmlns:a16="http://schemas.microsoft.com/office/drawing/2014/main" id="{947858F3-FF44-E827-6FB6-F9D257465A8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010304" y="1043633"/>
            <a:ext cx="210571" cy="164025"/>
          </a:xfrm>
          <a:prstGeom prst="rect">
            <a:avLst/>
          </a:prstGeom>
        </p:spPr>
      </p:pic>
      <p:grpSp>
        <p:nvGrpSpPr>
          <p:cNvPr id="85" name="Group 84">
            <a:extLst>
              <a:ext uri="{FF2B5EF4-FFF2-40B4-BE49-F238E27FC236}">
                <a16:creationId xmlns:a16="http://schemas.microsoft.com/office/drawing/2014/main" id="{3EBEFB4D-F4A9-108F-E18B-E392834313B7}"/>
              </a:ext>
            </a:extLst>
          </p:cNvPr>
          <p:cNvGrpSpPr/>
          <p:nvPr/>
        </p:nvGrpSpPr>
        <p:grpSpPr>
          <a:xfrm>
            <a:off x="2195657" y="1043634"/>
            <a:ext cx="163051" cy="165741"/>
            <a:chOff x="2196801" y="1061102"/>
            <a:chExt cx="101504" cy="147116"/>
          </a:xfrm>
        </p:grpSpPr>
        <p:sp>
          <p:nvSpPr>
            <p:cNvPr id="29" name="AutoShape 93">
              <a:extLst>
                <a:ext uri="{FF2B5EF4-FFF2-40B4-BE49-F238E27FC236}">
                  <a16:creationId xmlns:a16="http://schemas.microsoft.com/office/drawing/2014/main" id="{99C7055F-DB6F-D522-1FB3-20E04762A85D}"/>
                </a:ext>
              </a:extLst>
            </p:cNvPr>
            <p:cNvSpPr>
              <a:spLocks noChangeAspect="1" noChangeArrowheads="1" noTextEdit="1"/>
            </p:cNvSpPr>
            <p:nvPr/>
          </p:nvSpPr>
          <p:spPr bwMode="auto">
            <a:xfrm flipH="1">
              <a:off x="2197405" y="1061706"/>
              <a:ext cx="100296" cy="145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defRPr/>
              </a:pPr>
              <a:endParaRPr lang="en-IN" sz="999" kern="0">
                <a:solidFill>
                  <a:srgbClr val="000000"/>
                </a:solidFill>
                <a:latin typeface="EYInterstate Light"/>
                <a:cs typeface="Arial" panose="020B0604020202020204" pitchFamily="34" charset="0"/>
              </a:endParaRPr>
            </a:p>
          </p:txBody>
        </p:sp>
        <p:sp>
          <p:nvSpPr>
            <p:cNvPr id="30" name="Freeform 95">
              <a:extLst>
                <a:ext uri="{FF2B5EF4-FFF2-40B4-BE49-F238E27FC236}">
                  <a16:creationId xmlns:a16="http://schemas.microsoft.com/office/drawing/2014/main" id="{517EAD61-0176-1B2E-C056-C0E0766F5786}"/>
                </a:ext>
              </a:extLst>
            </p:cNvPr>
            <p:cNvSpPr>
              <a:spLocks noEditPoints="1"/>
            </p:cNvSpPr>
            <p:nvPr/>
          </p:nvSpPr>
          <p:spPr bwMode="auto">
            <a:xfrm flipH="1">
              <a:off x="2220364" y="1061102"/>
              <a:ext cx="54377" cy="22052"/>
            </a:xfrm>
            <a:custGeom>
              <a:avLst/>
              <a:gdLst>
                <a:gd name="T0" fmla="*/ 180 w 180"/>
                <a:gd name="T1" fmla="*/ 73 h 73"/>
                <a:gd name="T2" fmla="*/ 0 w 180"/>
                <a:gd name="T3" fmla="*/ 73 h 73"/>
                <a:gd name="T4" fmla="*/ 0 w 180"/>
                <a:gd name="T5" fmla="*/ 0 h 73"/>
                <a:gd name="T6" fmla="*/ 180 w 180"/>
                <a:gd name="T7" fmla="*/ 0 h 73"/>
                <a:gd name="T8" fmla="*/ 180 w 180"/>
                <a:gd name="T9" fmla="*/ 73 h 73"/>
                <a:gd name="T10" fmla="*/ 12 w 180"/>
                <a:gd name="T11" fmla="*/ 62 h 73"/>
                <a:gd name="T12" fmla="*/ 169 w 180"/>
                <a:gd name="T13" fmla="*/ 62 h 73"/>
                <a:gd name="T14" fmla="*/ 169 w 180"/>
                <a:gd name="T15" fmla="*/ 12 h 73"/>
                <a:gd name="T16" fmla="*/ 12 w 180"/>
                <a:gd name="T17" fmla="*/ 12 h 73"/>
                <a:gd name="T18" fmla="*/ 12 w 180"/>
                <a:gd name="T19"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73">
                  <a:moveTo>
                    <a:pt x="180" y="73"/>
                  </a:moveTo>
                  <a:lnTo>
                    <a:pt x="0" y="73"/>
                  </a:lnTo>
                  <a:lnTo>
                    <a:pt x="0" y="0"/>
                  </a:lnTo>
                  <a:lnTo>
                    <a:pt x="180" y="0"/>
                  </a:lnTo>
                  <a:lnTo>
                    <a:pt x="180" y="73"/>
                  </a:lnTo>
                  <a:close/>
                  <a:moveTo>
                    <a:pt x="12" y="62"/>
                  </a:moveTo>
                  <a:lnTo>
                    <a:pt x="169" y="62"/>
                  </a:lnTo>
                  <a:lnTo>
                    <a:pt x="169" y="12"/>
                  </a:lnTo>
                  <a:lnTo>
                    <a:pt x="12" y="12"/>
                  </a:lnTo>
                  <a:lnTo>
                    <a:pt x="12" y="62"/>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defRPr/>
              </a:pPr>
              <a:endParaRPr lang="en-IN" sz="999" kern="0">
                <a:solidFill>
                  <a:srgbClr val="000000"/>
                </a:solidFill>
                <a:latin typeface="EYInterstate Light"/>
                <a:cs typeface="Arial" panose="020B0604020202020204" pitchFamily="34" charset="0"/>
              </a:endParaRPr>
            </a:p>
          </p:txBody>
        </p:sp>
        <p:sp>
          <p:nvSpPr>
            <p:cNvPr id="31" name="Freeform 96">
              <a:extLst>
                <a:ext uri="{FF2B5EF4-FFF2-40B4-BE49-F238E27FC236}">
                  <a16:creationId xmlns:a16="http://schemas.microsoft.com/office/drawing/2014/main" id="{85AECA12-1091-092A-8F9C-70DCC6BD3F1D}"/>
                </a:ext>
              </a:extLst>
            </p:cNvPr>
            <p:cNvSpPr>
              <a:spLocks/>
            </p:cNvSpPr>
            <p:nvPr/>
          </p:nvSpPr>
          <p:spPr bwMode="auto">
            <a:xfrm flipH="1">
              <a:off x="2196801" y="1071071"/>
              <a:ext cx="101504" cy="137147"/>
            </a:xfrm>
            <a:custGeom>
              <a:avLst/>
              <a:gdLst>
                <a:gd name="T0" fmla="*/ 336 w 336"/>
                <a:gd name="T1" fmla="*/ 454 h 454"/>
                <a:gd name="T2" fmla="*/ 0 w 336"/>
                <a:gd name="T3" fmla="*/ 454 h 454"/>
                <a:gd name="T4" fmla="*/ 0 w 336"/>
                <a:gd name="T5" fmla="*/ 0 h 454"/>
                <a:gd name="T6" fmla="*/ 85 w 336"/>
                <a:gd name="T7" fmla="*/ 0 h 454"/>
                <a:gd name="T8" fmla="*/ 85 w 336"/>
                <a:gd name="T9" fmla="*/ 12 h 454"/>
                <a:gd name="T10" fmla="*/ 12 w 336"/>
                <a:gd name="T11" fmla="*/ 12 h 454"/>
                <a:gd name="T12" fmla="*/ 12 w 336"/>
                <a:gd name="T13" fmla="*/ 442 h 454"/>
                <a:gd name="T14" fmla="*/ 324 w 336"/>
                <a:gd name="T15" fmla="*/ 442 h 454"/>
                <a:gd name="T16" fmla="*/ 324 w 336"/>
                <a:gd name="T17" fmla="*/ 415 h 454"/>
                <a:gd name="T18" fmla="*/ 336 w 336"/>
                <a:gd name="T19" fmla="*/ 415 h 454"/>
                <a:gd name="T20" fmla="*/ 336 w 336"/>
                <a:gd name="T21"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454">
                  <a:moveTo>
                    <a:pt x="336" y="454"/>
                  </a:moveTo>
                  <a:lnTo>
                    <a:pt x="0" y="454"/>
                  </a:lnTo>
                  <a:lnTo>
                    <a:pt x="0" y="0"/>
                  </a:lnTo>
                  <a:lnTo>
                    <a:pt x="85" y="0"/>
                  </a:lnTo>
                  <a:lnTo>
                    <a:pt x="85" y="12"/>
                  </a:lnTo>
                  <a:lnTo>
                    <a:pt x="12" y="12"/>
                  </a:lnTo>
                  <a:lnTo>
                    <a:pt x="12" y="442"/>
                  </a:lnTo>
                  <a:lnTo>
                    <a:pt x="324" y="442"/>
                  </a:lnTo>
                  <a:lnTo>
                    <a:pt x="324" y="415"/>
                  </a:lnTo>
                  <a:lnTo>
                    <a:pt x="336" y="415"/>
                  </a:lnTo>
                  <a:lnTo>
                    <a:pt x="336" y="4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defRPr/>
              </a:pPr>
              <a:endParaRPr lang="en-IN" sz="999" kern="0">
                <a:solidFill>
                  <a:srgbClr val="000000"/>
                </a:solidFill>
                <a:latin typeface="EYInterstate Light"/>
                <a:cs typeface="Arial" panose="020B0604020202020204" pitchFamily="34" charset="0"/>
              </a:endParaRPr>
            </a:p>
          </p:txBody>
        </p:sp>
        <p:sp>
          <p:nvSpPr>
            <p:cNvPr id="40" name="Freeform 97">
              <a:extLst>
                <a:ext uri="{FF2B5EF4-FFF2-40B4-BE49-F238E27FC236}">
                  <a16:creationId xmlns:a16="http://schemas.microsoft.com/office/drawing/2014/main" id="{C6E3F283-4F0E-7A68-340E-427D901860FE}"/>
                </a:ext>
              </a:extLst>
            </p:cNvPr>
            <p:cNvSpPr>
              <a:spLocks/>
            </p:cNvSpPr>
            <p:nvPr/>
          </p:nvSpPr>
          <p:spPr bwMode="auto">
            <a:xfrm flipH="1">
              <a:off x="2196801" y="1071071"/>
              <a:ext cx="24470" cy="125064"/>
            </a:xfrm>
            <a:custGeom>
              <a:avLst/>
              <a:gdLst>
                <a:gd name="T0" fmla="*/ 81 w 81"/>
                <a:gd name="T1" fmla="*/ 414 h 414"/>
                <a:gd name="T2" fmla="*/ 69 w 81"/>
                <a:gd name="T3" fmla="*/ 414 h 414"/>
                <a:gd name="T4" fmla="*/ 69 w 81"/>
                <a:gd name="T5" fmla="*/ 12 h 414"/>
                <a:gd name="T6" fmla="*/ 0 w 81"/>
                <a:gd name="T7" fmla="*/ 12 h 414"/>
                <a:gd name="T8" fmla="*/ 0 w 81"/>
                <a:gd name="T9" fmla="*/ 0 h 414"/>
                <a:gd name="T10" fmla="*/ 81 w 81"/>
                <a:gd name="T11" fmla="*/ 0 h 414"/>
                <a:gd name="T12" fmla="*/ 81 w 81"/>
                <a:gd name="T13" fmla="*/ 414 h 414"/>
              </a:gdLst>
              <a:ahLst/>
              <a:cxnLst>
                <a:cxn ang="0">
                  <a:pos x="T0" y="T1"/>
                </a:cxn>
                <a:cxn ang="0">
                  <a:pos x="T2" y="T3"/>
                </a:cxn>
                <a:cxn ang="0">
                  <a:pos x="T4" y="T5"/>
                </a:cxn>
                <a:cxn ang="0">
                  <a:pos x="T6" y="T7"/>
                </a:cxn>
                <a:cxn ang="0">
                  <a:pos x="T8" y="T9"/>
                </a:cxn>
                <a:cxn ang="0">
                  <a:pos x="T10" y="T11"/>
                </a:cxn>
                <a:cxn ang="0">
                  <a:pos x="T12" y="T13"/>
                </a:cxn>
              </a:cxnLst>
              <a:rect l="0" t="0" r="r" b="b"/>
              <a:pathLst>
                <a:path w="81" h="414">
                  <a:moveTo>
                    <a:pt x="81" y="414"/>
                  </a:moveTo>
                  <a:lnTo>
                    <a:pt x="69" y="414"/>
                  </a:lnTo>
                  <a:lnTo>
                    <a:pt x="69" y="12"/>
                  </a:lnTo>
                  <a:lnTo>
                    <a:pt x="0" y="12"/>
                  </a:lnTo>
                  <a:lnTo>
                    <a:pt x="0" y="0"/>
                  </a:lnTo>
                  <a:lnTo>
                    <a:pt x="81" y="0"/>
                  </a:lnTo>
                  <a:lnTo>
                    <a:pt x="81" y="41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defRPr/>
              </a:pPr>
              <a:endParaRPr lang="en-IN" sz="999" kern="0">
                <a:solidFill>
                  <a:srgbClr val="000000"/>
                </a:solidFill>
                <a:latin typeface="EYInterstate Light"/>
                <a:cs typeface="Arial" panose="020B0604020202020204" pitchFamily="34" charset="0"/>
              </a:endParaRPr>
            </a:p>
          </p:txBody>
        </p:sp>
        <p:sp>
          <p:nvSpPr>
            <p:cNvPr id="41" name="Rectangle 98">
              <a:extLst>
                <a:ext uri="{FF2B5EF4-FFF2-40B4-BE49-F238E27FC236}">
                  <a16:creationId xmlns:a16="http://schemas.microsoft.com/office/drawing/2014/main" id="{F64331CD-256B-A89C-E139-1A8FE4251114}"/>
                </a:ext>
              </a:extLst>
            </p:cNvPr>
            <p:cNvSpPr>
              <a:spLocks noChangeArrowheads="1"/>
            </p:cNvSpPr>
            <p:nvPr/>
          </p:nvSpPr>
          <p:spPr bwMode="auto">
            <a:xfrm flipH="1">
              <a:off x="2235771" y="1071071"/>
              <a:ext cx="23563" cy="3323"/>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defRPr/>
              </a:pPr>
              <a:endParaRPr lang="en-IN" sz="999" kern="0">
                <a:solidFill>
                  <a:srgbClr val="000000"/>
                </a:solidFill>
                <a:latin typeface="EYInterstate Light"/>
                <a:cs typeface="Arial" panose="020B0604020202020204" pitchFamily="34" charset="0"/>
              </a:endParaRPr>
            </a:p>
          </p:txBody>
        </p:sp>
      </p:grpSp>
      <p:sp>
        <p:nvSpPr>
          <p:cNvPr id="42" name="TextBox 41">
            <a:extLst>
              <a:ext uri="{FF2B5EF4-FFF2-40B4-BE49-F238E27FC236}">
                <a16:creationId xmlns:a16="http://schemas.microsoft.com/office/drawing/2014/main" id="{BF1A16FA-1FA2-BA48-3A14-124A62AA3EDA}"/>
              </a:ext>
            </a:extLst>
          </p:cNvPr>
          <p:cNvSpPr txBox="1"/>
          <p:nvPr/>
        </p:nvSpPr>
        <p:spPr>
          <a:xfrm>
            <a:off x="2211368" y="1086834"/>
            <a:ext cx="139959" cy="104590"/>
          </a:xfrm>
          <a:prstGeom prst="rect">
            <a:avLst/>
          </a:prstGeom>
          <a:noFill/>
        </p:spPr>
        <p:txBody>
          <a:bodyPr wrap="square" lIns="0" tIns="0" rIns="0" bIns="0" rtlCol="0">
            <a:spAutoFit/>
          </a:bodyPr>
          <a:lstStyle/>
          <a:p>
            <a:pPr defTabSz="913943">
              <a:lnSpc>
                <a:spcPct val="85000"/>
              </a:lnSpc>
              <a:spcAft>
                <a:spcPts val="600"/>
              </a:spcAft>
              <a:buClr>
                <a:srgbClr val="FFD200"/>
              </a:buClr>
              <a:buSzPct val="70000"/>
              <a:defRPr/>
            </a:pPr>
            <a:r>
              <a:rPr lang="en-IN" sz="800" kern="0">
                <a:solidFill>
                  <a:srgbClr val="000000"/>
                </a:solidFill>
                <a:latin typeface="EYInterstate Light"/>
                <a:cs typeface="Arial" panose="020B0604020202020204" pitchFamily="34" charset="0"/>
              </a:rPr>
              <a:t>A+</a:t>
            </a:r>
          </a:p>
        </p:txBody>
      </p:sp>
      <p:pic>
        <p:nvPicPr>
          <p:cNvPr id="43" name="Picture 42">
            <a:extLst>
              <a:ext uri="{FF2B5EF4-FFF2-40B4-BE49-F238E27FC236}">
                <a16:creationId xmlns:a16="http://schemas.microsoft.com/office/drawing/2014/main" id="{D38B8796-24C6-1A3A-9B6E-19ECC889D67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51944" y="1030694"/>
            <a:ext cx="184717" cy="180910"/>
          </a:xfrm>
          <a:prstGeom prst="rect">
            <a:avLst/>
          </a:prstGeom>
        </p:spPr>
      </p:pic>
      <p:pic>
        <p:nvPicPr>
          <p:cNvPr id="44" name="Picture 43">
            <a:extLst>
              <a:ext uri="{FF2B5EF4-FFF2-40B4-BE49-F238E27FC236}">
                <a16:creationId xmlns:a16="http://schemas.microsoft.com/office/drawing/2014/main" id="{1F67259A-32B3-1895-BE0B-FDA6742D558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713037" y="1024248"/>
            <a:ext cx="210940" cy="193804"/>
          </a:xfrm>
          <a:prstGeom prst="rect">
            <a:avLst/>
          </a:prstGeom>
        </p:spPr>
      </p:pic>
      <p:grpSp>
        <p:nvGrpSpPr>
          <p:cNvPr id="45" name="Group 44">
            <a:extLst>
              <a:ext uri="{FF2B5EF4-FFF2-40B4-BE49-F238E27FC236}">
                <a16:creationId xmlns:a16="http://schemas.microsoft.com/office/drawing/2014/main" id="{CBC52032-07BC-54C1-482D-4FF424098089}"/>
              </a:ext>
            </a:extLst>
          </p:cNvPr>
          <p:cNvGrpSpPr/>
          <p:nvPr/>
        </p:nvGrpSpPr>
        <p:grpSpPr>
          <a:xfrm>
            <a:off x="750169" y="1786365"/>
            <a:ext cx="5286491" cy="4013150"/>
            <a:chOff x="647100" y="2528518"/>
            <a:chExt cx="5289244" cy="4015240"/>
          </a:xfrm>
        </p:grpSpPr>
        <p:sp>
          <p:nvSpPr>
            <p:cNvPr id="46" name="Rectangle 45">
              <a:extLst>
                <a:ext uri="{FF2B5EF4-FFF2-40B4-BE49-F238E27FC236}">
                  <a16:creationId xmlns:a16="http://schemas.microsoft.com/office/drawing/2014/main" id="{C3CE8386-C575-105D-735E-DA4C3A50A874}"/>
                </a:ext>
              </a:extLst>
            </p:cNvPr>
            <p:cNvSpPr>
              <a:spLocks/>
            </p:cNvSpPr>
            <p:nvPr/>
          </p:nvSpPr>
          <p:spPr>
            <a:xfrm>
              <a:off x="668786" y="2528518"/>
              <a:ext cx="5230526" cy="1128514"/>
            </a:xfrm>
            <a:prstGeom prst="rect">
              <a:avLst/>
            </a:prstGeom>
            <a:noFill/>
            <a:ln w="9525" cap="flat" cmpd="sng" algn="ctr">
              <a:noFill/>
              <a:prstDash val="solid"/>
            </a:ln>
            <a:effectLst/>
          </p:spPr>
          <p:txBody>
            <a:bodyPr wrap="square" lIns="0" tIns="0" rIns="0" bIns="0" rtlCol="0" anchor="t" anchorCtr="0">
              <a:spAutoFit/>
            </a:bodyPr>
            <a:lstStyle/>
            <a:p>
              <a:pPr defTabSz="913943">
                <a:spcAft>
                  <a:spcPts val="400"/>
                </a:spcAft>
                <a:buClr>
                  <a:srgbClr val="FFFFFF"/>
                </a:buClr>
                <a:buSzPct val="75000"/>
                <a:defRPr/>
              </a:pPr>
              <a:r>
                <a:rPr lang="en-US" sz="999" b="1" kern="0">
                  <a:solidFill>
                    <a:srgbClr val="C0C0C0">
                      <a:lumMod val="50000"/>
                    </a:srgbClr>
                  </a:solidFill>
                  <a:latin typeface="EYInterstate Light"/>
                  <a:cs typeface="Arial" panose="020B0604020202020204" pitchFamily="34" charset="0"/>
                </a:rPr>
                <a:t>1. Right Experience</a:t>
              </a:r>
            </a:p>
            <a:p>
              <a:pPr defTabSz="913943">
                <a:spcAft>
                  <a:spcPts val="400"/>
                </a:spcAft>
                <a:buClr>
                  <a:srgbClr val="FFFFFF"/>
                </a:buClr>
                <a:buSzPct val="75000"/>
                <a:defRPr/>
              </a:pPr>
              <a:r>
                <a:rPr lang="en-GB" sz="999" kern="0">
                  <a:solidFill>
                    <a:srgbClr val="000000"/>
                  </a:solidFill>
                  <a:latin typeface="EYInterstate Light"/>
                  <a:cs typeface="Arial" panose="020B0604020202020204" pitchFamily="34" charset="0"/>
                </a:rPr>
                <a:t>We bring extensive knowledge and familiarity, accrued from years of collaboration with banking institutions to execute complex and significant engagements on local, regional and global scales. Leveraging our global footprint, we have had the privilege to collaborate with central banks and to critically review core banking systems for clients in Mauritius, Seychelles, Madagascar, and Maldives providing us with a unique perspective and comprehensive understanding of the needs and challenges witnessed.</a:t>
              </a:r>
              <a:endParaRPr lang="en-IN" sz="999" kern="0">
                <a:solidFill>
                  <a:srgbClr val="000000"/>
                </a:solidFill>
                <a:latin typeface="EYInterstate Light"/>
                <a:cs typeface="Arial" panose="020B0604020202020204" pitchFamily="34" charset="0"/>
              </a:endParaRPr>
            </a:p>
          </p:txBody>
        </p:sp>
        <p:sp>
          <p:nvSpPr>
            <p:cNvPr id="47" name="Rectangle 46">
              <a:extLst>
                <a:ext uri="{FF2B5EF4-FFF2-40B4-BE49-F238E27FC236}">
                  <a16:creationId xmlns:a16="http://schemas.microsoft.com/office/drawing/2014/main" id="{25B4490E-15E3-0D10-5E2A-23E94AA45D50}"/>
                </a:ext>
              </a:extLst>
            </p:cNvPr>
            <p:cNvSpPr>
              <a:spLocks/>
            </p:cNvSpPr>
            <p:nvPr/>
          </p:nvSpPr>
          <p:spPr>
            <a:xfrm>
              <a:off x="664844" y="3717721"/>
              <a:ext cx="5230526" cy="1949252"/>
            </a:xfrm>
            <a:prstGeom prst="rect">
              <a:avLst/>
            </a:prstGeom>
            <a:noFill/>
            <a:ln w="9525" cap="flat" cmpd="sng" algn="ctr">
              <a:noFill/>
              <a:prstDash val="solid"/>
            </a:ln>
            <a:effectLst/>
          </p:spPr>
          <p:txBody>
            <a:bodyPr wrap="square" lIns="0" tIns="0" rIns="0" bIns="0" rtlCol="0" anchor="t" anchorCtr="0">
              <a:spAutoFit/>
            </a:bodyPr>
            <a:lstStyle/>
            <a:p>
              <a:pPr defTabSz="913943">
                <a:spcAft>
                  <a:spcPts val="400"/>
                </a:spcAft>
                <a:buClr>
                  <a:srgbClr val="FFFFFF"/>
                </a:buClr>
                <a:buSzPct val="75000"/>
                <a:defRPr/>
              </a:pPr>
              <a:r>
                <a:rPr lang="en-US" sz="999" b="1" kern="0">
                  <a:solidFill>
                    <a:srgbClr val="C0C0C0">
                      <a:lumMod val="50000"/>
                    </a:srgbClr>
                  </a:solidFill>
                  <a:latin typeface="EYInterstate Light"/>
                  <a:cs typeface="Arial" panose="020B0604020202020204" pitchFamily="34" charset="0"/>
                </a:rPr>
                <a:t>2. Engagements with Central Bank of Seychelles</a:t>
              </a:r>
            </a:p>
            <a:p>
              <a:pPr defTabSz="913943">
                <a:spcAft>
                  <a:spcPts val="400"/>
                </a:spcAft>
                <a:buClr>
                  <a:srgbClr val="FFFFFF"/>
                </a:buClr>
                <a:buSzPct val="75000"/>
                <a:defRPr/>
              </a:pPr>
              <a:r>
                <a:rPr lang="en-IN" sz="999" kern="0">
                  <a:solidFill>
                    <a:srgbClr val="000000"/>
                  </a:solidFill>
                  <a:latin typeface="EYInterstate Light"/>
                  <a:cs typeface="Arial" panose="020B0604020202020204" pitchFamily="34" charset="0"/>
                </a:rPr>
                <a:t>EY has partnered with CBS before for the </a:t>
              </a:r>
              <a:r>
                <a:rPr lang="en-GB" sz="999" kern="0">
                  <a:solidFill>
                    <a:srgbClr val="000000"/>
                  </a:solidFill>
                  <a:latin typeface="EYInterstate Light"/>
                  <a:cs typeface="Arial" panose="020B0604020202020204" pitchFamily="34" charset="0"/>
                </a:rPr>
                <a:t>provisioning of cybersecurity services over 3 years including:</a:t>
              </a:r>
              <a:endParaRPr lang="en-IN" sz="999" kern="0">
                <a:solidFill>
                  <a:srgbClr val="000000"/>
                </a:solidFill>
                <a:latin typeface="EYInterstate Light"/>
                <a:cs typeface="Arial" panose="020B0604020202020204" pitchFamily="34" charset="0"/>
              </a:endParaRP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Internal and external penetration testing exercises</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Web application testing</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Cyber footprint exercise</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Security configuration review</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Remote user access review (WFH)</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Log monitoring reviews</a:t>
              </a:r>
            </a:p>
            <a:p>
              <a:pPr marL="171364" indent="-171364" defTabSz="913943">
                <a:spcAft>
                  <a:spcPts val="400"/>
                </a:spcAft>
                <a:buClr>
                  <a:srgbClr val="FFE600"/>
                </a:buClr>
                <a:buSzPct val="75000"/>
                <a:buFont typeface="Wingdings" panose="05000000000000000000" pitchFamily="2" charset="2"/>
                <a:buChar char="§"/>
                <a:defRPr/>
              </a:pPr>
              <a:r>
                <a:rPr lang="en-IN" sz="999" kern="0">
                  <a:solidFill>
                    <a:srgbClr val="000000"/>
                  </a:solidFill>
                  <a:latin typeface="EYInterstate Light"/>
                  <a:cs typeface="Arial" panose="020B0604020202020204" pitchFamily="34" charset="0"/>
                </a:rPr>
                <a:t>VLAN segmentation testing</a:t>
              </a:r>
            </a:p>
          </p:txBody>
        </p:sp>
        <p:sp>
          <p:nvSpPr>
            <p:cNvPr id="48" name="Rectangle 47">
              <a:extLst>
                <a:ext uri="{FF2B5EF4-FFF2-40B4-BE49-F238E27FC236}">
                  <a16:creationId xmlns:a16="http://schemas.microsoft.com/office/drawing/2014/main" id="{2EB7A3AB-A488-D9C6-C348-A5B4F63C94F5}"/>
                </a:ext>
              </a:extLst>
            </p:cNvPr>
            <p:cNvSpPr>
              <a:spLocks/>
            </p:cNvSpPr>
            <p:nvPr/>
          </p:nvSpPr>
          <p:spPr>
            <a:xfrm>
              <a:off x="647100" y="5876909"/>
              <a:ext cx="5230526" cy="666849"/>
            </a:xfrm>
            <a:prstGeom prst="rect">
              <a:avLst/>
            </a:prstGeom>
            <a:noFill/>
            <a:ln w="9525" cap="flat" cmpd="sng" algn="ctr">
              <a:noFill/>
              <a:prstDash val="solid"/>
            </a:ln>
            <a:effectLst/>
          </p:spPr>
          <p:txBody>
            <a:bodyPr wrap="square" lIns="0" tIns="0" rIns="0" bIns="0" rtlCol="0" anchor="t" anchorCtr="0">
              <a:spAutoFit/>
            </a:bodyPr>
            <a:lstStyle/>
            <a:p>
              <a:pPr defTabSz="913943">
                <a:spcAft>
                  <a:spcPts val="400"/>
                </a:spcAft>
                <a:buClr>
                  <a:srgbClr val="FFFFFF"/>
                </a:buClr>
                <a:buSzPct val="75000"/>
                <a:defRPr/>
              </a:pPr>
              <a:r>
                <a:rPr lang="en-US" sz="999" b="1" kern="0">
                  <a:solidFill>
                    <a:srgbClr val="C0C0C0">
                      <a:lumMod val="50000"/>
                    </a:srgbClr>
                  </a:solidFill>
                  <a:latin typeface="EYInterstate Light"/>
                  <a:cs typeface="Arial" panose="020B0604020202020204" pitchFamily="34" charset="0"/>
                </a:rPr>
                <a:t>3. Robust Delivery</a:t>
              </a:r>
            </a:p>
            <a:p>
              <a:pPr defTabSz="913943">
                <a:spcAft>
                  <a:spcPts val="400"/>
                </a:spcAft>
                <a:buClr>
                  <a:srgbClr val="FFFFFF"/>
                </a:buClr>
                <a:buSzPct val="75000"/>
                <a:defRPr/>
              </a:pPr>
              <a:r>
                <a:rPr lang="en-IN" sz="999" kern="0">
                  <a:solidFill>
                    <a:srgbClr val="000000"/>
                  </a:solidFill>
                  <a:latin typeface="EYInterstate Light"/>
                  <a:cs typeface="Arial" panose="020B0604020202020204" pitchFamily="34" charset="0"/>
                </a:rPr>
                <a:t>Ongoing </a:t>
              </a:r>
              <a:r>
                <a:rPr lang="en-IN" sz="999" b="1" kern="0">
                  <a:solidFill>
                    <a:srgbClr val="000000"/>
                  </a:solidFill>
                  <a:latin typeface="EYInterstate Light"/>
                  <a:cs typeface="Arial" panose="020B0604020202020204" pitchFamily="34" charset="0"/>
                </a:rPr>
                <a:t>knowledge transfers </a:t>
              </a:r>
              <a:r>
                <a:rPr lang="en-IN" sz="999" kern="0">
                  <a:solidFill>
                    <a:srgbClr val="000000"/>
                  </a:solidFill>
                  <a:latin typeface="EYInterstate Light"/>
                  <a:cs typeface="Arial" panose="020B0604020202020204" pitchFamily="34" charset="0"/>
                </a:rPr>
                <a:t>throughout the delivery phase, leveraging our global SMR’s expertise to deliver quality work products, deploying cybersecurity expert resources for project management </a:t>
              </a:r>
            </a:p>
          </p:txBody>
        </p:sp>
        <p:cxnSp>
          <p:nvCxnSpPr>
            <p:cNvPr id="49" name="Straight Connector 48">
              <a:extLst>
                <a:ext uri="{FF2B5EF4-FFF2-40B4-BE49-F238E27FC236}">
                  <a16:creationId xmlns:a16="http://schemas.microsoft.com/office/drawing/2014/main" id="{2719BD51-B9B7-5AD2-21CD-970FB3B68272}"/>
                </a:ext>
              </a:extLst>
            </p:cNvPr>
            <p:cNvCxnSpPr>
              <a:cxnSpLocks/>
            </p:cNvCxnSpPr>
            <p:nvPr/>
          </p:nvCxnSpPr>
          <p:spPr>
            <a:xfrm>
              <a:off x="664844" y="3625828"/>
              <a:ext cx="5256000" cy="0"/>
            </a:xfrm>
            <a:prstGeom prst="line">
              <a:avLst/>
            </a:prstGeom>
            <a:noFill/>
            <a:ln w="9525" cap="flat" cmpd="sng" algn="ctr">
              <a:solidFill>
                <a:schemeClr val="tx2"/>
              </a:solidFill>
              <a:prstDash val="dash"/>
              <a:headEnd type="none"/>
              <a:tailEnd type="none"/>
            </a:ln>
            <a:effectLst/>
          </p:spPr>
        </p:cxnSp>
        <p:cxnSp>
          <p:nvCxnSpPr>
            <p:cNvPr id="50" name="Straight Connector 49">
              <a:extLst>
                <a:ext uri="{FF2B5EF4-FFF2-40B4-BE49-F238E27FC236}">
                  <a16:creationId xmlns:a16="http://schemas.microsoft.com/office/drawing/2014/main" id="{3FC365E3-58EC-090E-953B-74AC05B0652B}"/>
                </a:ext>
              </a:extLst>
            </p:cNvPr>
            <p:cNvCxnSpPr>
              <a:cxnSpLocks/>
            </p:cNvCxnSpPr>
            <p:nvPr/>
          </p:nvCxnSpPr>
          <p:spPr>
            <a:xfrm>
              <a:off x="680344" y="5759529"/>
              <a:ext cx="5256000" cy="0"/>
            </a:xfrm>
            <a:prstGeom prst="line">
              <a:avLst/>
            </a:prstGeom>
            <a:noFill/>
            <a:ln w="9525" cap="flat" cmpd="sng" algn="ctr">
              <a:solidFill>
                <a:schemeClr val="tx2"/>
              </a:solidFill>
              <a:prstDash val="dash"/>
              <a:headEnd type="none"/>
              <a:tailEnd type="none"/>
            </a:ln>
            <a:effectLst/>
          </p:spPr>
        </p:cxnSp>
      </p:grpSp>
      <p:sp>
        <p:nvSpPr>
          <p:cNvPr id="51" name="TextBox 50">
            <a:extLst>
              <a:ext uri="{FF2B5EF4-FFF2-40B4-BE49-F238E27FC236}">
                <a16:creationId xmlns:a16="http://schemas.microsoft.com/office/drawing/2014/main" id="{A99698DF-CEC9-B271-AD77-920A729B0273}"/>
              </a:ext>
            </a:extLst>
          </p:cNvPr>
          <p:cNvSpPr txBox="1"/>
          <p:nvPr/>
        </p:nvSpPr>
        <p:spPr>
          <a:xfrm>
            <a:off x="738188" y="1430920"/>
            <a:ext cx="3126983" cy="184570"/>
          </a:xfrm>
          <a:prstGeom prst="rect">
            <a:avLst/>
          </a:prstGeom>
          <a:noFill/>
        </p:spPr>
        <p:txBody>
          <a:bodyPr wrap="square" lIns="0" tIns="0" rIns="0" bIns="0" rtlCol="0" anchor="ctr">
            <a:spAutoFit/>
          </a:bodyPr>
          <a:lstStyle/>
          <a:p>
            <a:pPr defTabSz="913943">
              <a:spcAft>
                <a:spcPts val="600"/>
              </a:spcAft>
              <a:defRPr/>
            </a:pPr>
            <a:r>
              <a:rPr lang="en-IN" sz="1199" b="1" kern="0">
                <a:solidFill>
                  <a:srgbClr val="C0C0C0">
                    <a:lumMod val="50000"/>
                  </a:srgbClr>
                </a:solidFill>
                <a:latin typeface="EYInterstate Light" panose="02000506000000020004" pitchFamily="2" charset="0"/>
                <a:cs typeface="Arial" panose="020B0604020202020204" pitchFamily="34" charset="0"/>
              </a:rPr>
              <a:t>How will EY meet your requirements</a:t>
            </a:r>
          </a:p>
        </p:txBody>
      </p:sp>
      <p:sp>
        <p:nvSpPr>
          <p:cNvPr id="52" name="Rectangle 51">
            <a:extLst>
              <a:ext uri="{FF2B5EF4-FFF2-40B4-BE49-F238E27FC236}">
                <a16:creationId xmlns:a16="http://schemas.microsoft.com/office/drawing/2014/main" id="{D96C1D8D-57B6-60F4-1775-922A0BE0A1BA}"/>
              </a:ext>
            </a:extLst>
          </p:cNvPr>
          <p:cNvSpPr/>
          <p:nvPr/>
        </p:nvSpPr>
        <p:spPr>
          <a:xfrm>
            <a:off x="6300648" y="1357201"/>
            <a:ext cx="5304667" cy="4609341"/>
          </a:xfrm>
          <a:prstGeom prst="rect">
            <a:avLst/>
          </a:prstGeom>
          <a:noFill/>
          <a:ln w="3175" cap="flat" cmpd="sng" algn="ctr">
            <a:solidFill>
              <a:schemeClr val="tx1"/>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53" name="TextBox 52">
            <a:extLst>
              <a:ext uri="{FF2B5EF4-FFF2-40B4-BE49-F238E27FC236}">
                <a16:creationId xmlns:a16="http://schemas.microsoft.com/office/drawing/2014/main" id="{69235D7D-EF71-7A75-4132-3CFDBCAA6274}"/>
              </a:ext>
            </a:extLst>
          </p:cNvPr>
          <p:cNvSpPr txBox="1"/>
          <p:nvPr/>
        </p:nvSpPr>
        <p:spPr>
          <a:xfrm>
            <a:off x="6406692" y="1430920"/>
            <a:ext cx="3126983" cy="184570"/>
          </a:xfrm>
          <a:prstGeom prst="rect">
            <a:avLst/>
          </a:prstGeom>
          <a:noFill/>
        </p:spPr>
        <p:txBody>
          <a:bodyPr wrap="square" lIns="0" tIns="0" rIns="0" bIns="0" rtlCol="0" anchor="ctr">
            <a:spAutoFit/>
          </a:bodyPr>
          <a:lstStyle/>
          <a:p>
            <a:pPr defTabSz="913943">
              <a:spcAft>
                <a:spcPts val="600"/>
              </a:spcAft>
              <a:defRPr/>
            </a:pPr>
            <a:r>
              <a:rPr lang="en-IN" sz="1199" b="1" kern="0">
                <a:solidFill>
                  <a:srgbClr val="C0C0C0">
                    <a:lumMod val="50000"/>
                  </a:srgbClr>
                </a:solidFill>
                <a:latin typeface="EYInterstate Light" panose="02000506000000020004" pitchFamily="2" charset="0"/>
                <a:cs typeface="Arial" panose="020B0604020202020204" pitchFamily="34" charset="0"/>
              </a:rPr>
              <a:t>EY Differentiators</a:t>
            </a:r>
          </a:p>
        </p:txBody>
      </p:sp>
      <p:sp>
        <p:nvSpPr>
          <p:cNvPr id="55" name="Hexagon 54">
            <a:extLst>
              <a:ext uri="{FF2B5EF4-FFF2-40B4-BE49-F238E27FC236}">
                <a16:creationId xmlns:a16="http://schemas.microsoft.com/office/drawing/2014/main" id="{229312FD-8A0F-D198-88FC-F7F589E1DA0E}"/>
              </a:ext>
            </a:extLst>
          </p:cNvPr>
          <p:cNvSpPr/>
          <p:nvPr/>
        </p:nvSpPr>
        <p:spPr>
          <a:xfrm>
            <a:off x="9290343" y="3256362"/>
            <a:ext cx="849801" cy="732586"/>
          </a:xfrm>
          <a:prstGeom prst="hexagon">
            <a:avLst/>
          </a:prstGeom>
          <a:noFill/>
          <a:ln w="9525" cap="flat" cmpd="sng" algn="ctr">
            <a:solidFill>
              <a:srgbClr val="E9980C"/>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56" name="Hexagon 55">
            <a:extLst>
              <a:ext uri="{FF2B5EF4-FFF2-40B4-BE49-F238E27FC236}">
                <a16:creationId xmlns:a16="http://schemas.microsoft.com/office/drawing/2014/main" id="{47E3CBF7-F081-0C13-A478-6B9AC98332DC}"/>
              </a:ext>
            </a:extLst>
          </p:cNvPr>
          <p:cNvSpPr/>
          <p:nvPr/>
        </p:nvSpPr>
        <p:spPr>
          <a:xfrm>
            <a:off x="9339203" y="3298483"/>
            <a:ext cx="752081" cy="648345"/>
          </a:xfrm>
          <a:prstGeom prst="hexagon">
            <a:avLst/>
          </a:prstGeom>
          <a:noFill/>
          <a:ln w="9525" cap="flat" cmpd="sng" algn="ctr">
            <a:solidFill>
              <a:srgbClr val="747480"/>
            </a:solidFill>
            <a:prstDash val="sysDash"/>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58" name="Hexagon 57">
            <a:extLst>
              <a:ext uri="{FF2B5EF4-FFF2-40B4-BE49-F238E27FC236}">
                <a16:creationId xmlns:a16="http://schemas.microsoft.com/office/drawing/2014/main" id="{8B6B428F-8C3C-9B51-D3AB-381A1FBC6EF0}"/>
              </a:ext>
            </a:extLst>
          </p:cNvPr>
          <p:cNvSpPr/>
          <p:nvPr/>
        </p:nvSpPr>
        <p:spPr>
          <a:xfrm>
            <a:off x="8493416" y="2995503"/>
            <a:ext cx="849801" cy="732586"/>
          </a:xfrm>
          <a:prstGeom prst="hexagon">
            <a:avLst/>
          </a:prstGeom>
          <a:noFill/>
          <a:ln w="9525" cap="flat" cmpd="sng" algn="ctr">
            <a:solidFill>
              <a:srgbClr val="0070C0"/>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59" name="Hexagon 58">
            <a:extLst>
              <a:ext uri="{FF2B5EF4-FFF2-40B4-BE49-F238E27FC236}">
                <a16:creationId xmlns:a16="http://schemas.microsoft.com/office/drawing/2014/main" id="{8E47CFA1-DD65-CD09-ED9A-1CFCFA4C5C3B}"/>
              </a:ext>
            </a:extLst>
          </p:cNvPr>
          <p:cNvSpPr/>
          <p:nvPr/>
        </p:nvSpPr>
        <p:spPr>
          <a:xfrm>
            <a:off x="8542276" y="3037624"/>
            <a:ext cx="752081" cy="648345"/>
          </a:xfrm>
          <a:prstGeom prst="hexagon">
            <a:avLst/>
          </a:prstGeom>
          <a:noFill/>
          <a:ln w="9525" cap="flat" cmpd="sng" algn="ctr">
            <a:solidFill>
              <a:srgbClr val="747480"/>
            </a:solidFill>
            <a:prstDash val="sysDash"/>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1" name="Hexagon 60">
            <a:extLst>
              <a:ext uri="{FF2B5EF4-FFF2-40B4-BE49-F238E27FC236}">
                <a16:creationId xmlns:a16="http://schemas.microsoft.com/office/drawing/2014/main" id="{81722CFB-5F6A-33A2-9F6A-3859485EFC4A}"/>
              </a:ext>
            </a:extLst>
          </p:cNvPr>
          <p:cNvSpPr/>
          <p:nvPr/>
        </p:nvSpPr>
        <p:spPr>
          <a:xfrm>
            <a:off x="8605356" y="3795158"/>
            <a:ext cx="849801" cy="732586"/>
          </a:xfrm>
          <a:prstGeom prst="hexagon">
            <a:avLst/>
          </a:prstGeom>
          <a:noFill/>
          <a:ln w="9525" cap="flat" cmpd="sng" algn="ctr">
            <a:solidFill>
              <a:srgbClr val="7030A0"/>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2" name="Hexagon 61">
            <a:extLst>
              <a:ext uri="{FF2B5EF4-FFF2-40B4-BE49-F238E27FC236}">
                <a16:creationId xmlns:a16="http://schemas.microsoft.com/office/drawing/2014/main" id="{02BF72C8-1D3E-0A84-6E7B-78166D733172}"/>
              </a:ext>
            </a:extLst>
          </p:cNvPr>
          <p:cNvSpPr/>
          <p:nvPr/>
        </p:nvSpPr>
        <p:spPr>
          <a:xfrm>
            <a:off x="8654216" y="3837278"/>
            <a:ext cx="752081" cy="648345"/>
          </a:xfrm>
          <a:prstGeom prst="hexagon">
            <a:avLst/>
          </a:prstGeom>
          <a:noFill/>
          <a:ln w="9525" cap="flat" cmpd="sng" algn="ctr">
            <a:solidFill>
              <a:srgbClr val="747480"/>
            </a:solidFill>
            <a:prstDash val="sysDash"/>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4" name="Hexagon 63">
            <a:extLst>
              <a:ext uri="{FF2B5EF4-FFF2-40B4-BE49-F238E27FC236}">
                <a16:creationId xmlns:a16="http://schemas.microsoft.com/office/drawing/2014/main" id="{DB5E5AC3-0F6E-4D07-2F6D-7BE63501F204}"/>
              </a:ext>
            </a:extLst>
          </p:cNvPr>
          <p:cNvSpPr/>
          <p:nvPr/>
        </p:nvSpPr>
        <p:spPr>
          <a:xfrm>
            <a:off x="7809689" y="3443621"/>
            <a:ext cx="867947" cy="775972"/>
          </a:xfrm>
          <a:prstGeom prst="hexagon">
            <a:avLst/>
          </a:prstGeom>
          <a:noFill/>
          <a:ln w="9525" cap="flat" cmpd="sng" algn="ctr">
            <a:solidFill>
              <a:srgbClr val="92D050"/>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5" name="Hexagon 64">
            <a:extLst>
              <a:ext uri="{FF2B5EF4-FFF2-40B4-BE49-F238E27FC236}">
                <a16:creationId xmlns:a16="http://schemas.microsoft.com/office/drawing/2014/main" id="{45F14122-2E62-10F6-5F59-35DCE98F46A6}"/>
              </a:ext>
            </a:extLst>
          </p:cNvPr>
          <p:cNvSpPr/>
          <p:nvPr/>
        </p:nvSpPr>
        <p:spPr>
          <a:xfrm>
            <a:off x="7875843" y="3506073"/>
            <a:ext cx="752081" cy="648345"/>
          </a:xfrm>
          <a:prstGeom prst="hexagon">
            <a:avLst/>
          </a:prstGeom>
          <a:noFill/>
          <a:ln w="9525" cap="flat" cmpd="sng" algn="ctr">
            <a:solidFill>
              <a:srgbClr val="747480"/>
            </a:solidFill>
            <a:prstDash val="sysDash"/>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7" name="Hexagon 66">
            <a:extLst>
              <a:ext uri="{FF2B5EF4-FFF2-40B4-BE49-F238E27FC236}">
                <a16:creationId xmlns:a16="http://schemas.microsoft.com/office/drawing/2014/main" id="{7684D35F-8FF8-4443-E999-912A68ECD4BF}"/>
              </a:ext>
            </a:extLst>
          </p:cNvPr>
          <p:cNvSpPr/>
          <p:nvPr/>
        </p:nvSpPr>
        <p:spPr>
          <a:xfrm>
            <a:off x="6917687" y="3679458"/>
            <a:ext cx="980721" cy="848286"/>
          </a:xfrm>
          <a:prstGeom prst="hexagon">
            <a:avLst/>
          </a:prstGeom>
          <a:noFill/>
          <a:ln w="9525" cap="flat" cmpd="sng" algn="ctr">
            <a:solidFill>
              <a:srgbClr val="FFFF00"/>
            </a:solidFill>
            <a:prstDash val="solid"/>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68" name="Hexagon 67">
            <a:extLst>
              <a:ext uri="{FF2B5EF4-FFF2-40B4-BE49-F238E27FC236}">
                <a16:creationId xmlns:a16="http://schemas.microsoft.com/office/drawing/2014/main" id="{3C830A6D-DC34-BFC6-DFC1-1F03D79FE530}"/>
              </a:ext>
            </a:extLst>
          </p:cNvPr>
          <p:cNvSpPr/>
          <p:nvPr/>
        </p:nvSpPr>
        <p:spPr>
          <a:xfrm>
            <a:off x="6974075" y="3728230"/>
            <a:ext cx="867947" cy="750741"/>
          </a:xfrm>
          <a:prstGeom prst="hexagon">
            <a:avLst/>
          </a:prstGeom>
          <a:noFill/>
          <a:ln w="9525" cap="flat" cmpd="sng" algn="ctr">
            <a:solidFill>
              <a:srgbClr val="747480"/>
            </a:solidFill>
            <a:prstDash val="sysDash"/>
          </a:ln>
          <a:effectLst/>
        </p:spPr>
        <p:txBody>
          <a:bodyPr rtlCol="0" anchor="ctr" anchorCtr="0"/>
          <a:lstStyle/>
          <a:p>
            <a:pPr algn="ctr" defTabSz="913943">
              <a:defRPr/>
            </a:pPr>
            <a:endParaRPr lang="en-IN" sz="999" b="1" kern="0">
              <a:solidFill>
                <a:srgbClr val="FFFFFF"/>
              </a:solidFill>
              <a:latin typeface="EYInterstate Light"/>
              <a:cs typeface="Arial"/>
            </a:endParaRPr>
          </a:p>
        </p:txBody>
      </p:sp>
      <p:sp>
        <p:nvSpPr>
          <p:cNvPr id="70" name="TextBox 69">
            <a:extLst>
              <a:ext uri="{FF2B5EF4-FFF2-40B4-BE49-F238E27FC236}">
                <a16:creationId xmlns:a16="http://schemas.microsoft.com/office/drawing/2014/main" id="{5375C815-B516-C2E8-2C20-B18626AF8AAF}"/>
              </a:ext>
            </a:extLst>
          </p:cNvPr>
          <p:cNvSpPr txBox="1"/>
          <p:nvPr/>
        </p:nvSpPr>
        <p:spPr>
          <a:xfrm>
            <a:off x="6397444" y="2736798"/>
            <a:ext cx="1526533" cy="652127"/>
          </a:xfrm>
          <a:prstGeom prst="rect">
            <a:avLst/>
          </a:prstGeom>
          <a:noFill/>
        </p:spPr>
        <p:txBody>
          <a:bodyPr wrap="square" lIns="0" tIns="36538" rIns="0" bIns="0" rtlCol="0">
            <a:spAutoFit/>
          </a:bodyPr>
          <a:lstStyle/>
          <a:p>
            <a:pPr algn="ctr" defTabSz="913943">
              <a:defRPr/>
            </a:pPr>
            <a:r>
              <a:rPr lang="en-GB" sz="999" kern="0">
                <a:solidFill>
                  <a:srgbClr val="000000"/>
                </a:solidFill>
                <a:latin typeface="EYInterstate Light"/>
                <a:cs typeface="Arial" panose="020B0604020202020204" pitchFamily="34" charset="0"/>
              </a:rPr>
              <a:t>Extensive experience in conducting security audits across major banks in the region.</a:t>
            </a:r>
            <a:endParaRPr lang="en-US" sz="999" kern="0">
              <a:solidFill>
                <a:srgbClr val="000000"/>
              </a:solidFill>
              <a:latin typeface="EYInterstate Light"/>
              <a:cs typeface="Arial" panose="020B0604020202020204" pitchFamily="34" charset="0"/>
            </a:endParaRPr>
          </a:p>
        </p:txBody>
      </p:sp>
      <p:cxnSp>
        <p:nvCxnSpPr>
          <p:cNvPr id="71" name="Straight Connector 70">
            <a:extLst>
              <a:ext uri="{FF2B5EF4-FFF2-40B4-BE49-F238E27FC236}">
                <a16:creationId xmlns:a16="http://schemas.microsoft.com/office/drawing/2014/main" id="{DA0F6630-AE64-3198-054D-D2EAD9A1B3B9}"/>
              </a:ext>
            </a:extLst>
          </p:cNvPr>
          <p:cNvCxnSpPr>
            <a:cxnSpLocks/>
          </p:cNvCxnSpPr>
          <p:nvPr/>
        </p:nvCxnSpPr>
        <p:spPr>
          <a:xfrm flipV="1">
            <a:off x="8225928" y="4219871"/>
            <a:ext cx="0" cy="307873"/>
          </a:xfrm>
          <a:prstGeom prst="line">
            <a:avLst/>
          </a:prstGeom>
          <a:noFill/>
          <a:ln w="9525" cap="flat" cmpd="sng" algn="ctr">
            <a:solidFill>
              <a:srgbClr val="808080"/>
            </a:solidFill>
            <a:prstDash val="solid"/>
            <a:headEnd type="oval"/>
            <a:tailEnd type="none"/>
          </a:ln>
          <a:effectLst/>
        </p:spPr>
      </p:cxnSp>
      <p:sp>
        <p:nvSpPr>
          <p:cNvPr id="72" name="TextBox 71">
            <a:extLst>
              <a:ext uri="{FF2B5EF4-FFF2-40B4-BE49-F238E27FC236}">
                <a16:creationId xmlns:a16="http://schemas.microsoft.com/office/drawing/2014/main" id="{B8A3247D-0D76-B9A6-CB20-34CE67CF3166}"/>
              </a:ext>
            </a:extLst>
          </p:cNvPr>
          <p:cNvSpPr txBox="1"/>
          <p:nvPr/>
        </p:nvSpPr>
        <p:spPr>
          <a:xfrm>
            <a:off x="7146542" y="4658790"/>
            <a:ext cx="1752875" cy="652127"/>
          </a:xfrm>
          <a:prstGeom prst="rect">
            <a:avLst/>
          </a:prstGeom>
          <a:noFill/>
        </p:spPr>
        <p:txBody>
          <a:bodyPr wrap="square" lIns="0" tIns="36538" rIns="0" bIns="0" rtlCol="0">
            <a:spAutoFit/>
          </a:bodyPr>
          <a:lstStyle/>
          <a:p>
            <a:pPr algn="ctr" defTabSz="913943">
              <a:defRPr/>
            </a:pPr>
            <a:r>
              <a:rPr lang="en-GB" sz="999" kern="0">
                <a:solidFill>
                  <a:srgbClr val="000000"/>
                </a:solidFill>
                <a:latin typeface="EYInterstate Light"/>
                <a:cs typeface="Arial" panose="020B0604020202020204" pitchFamily="34" charset="0"/>
              </a:rPr>
              <a:t>In depth understanding of evolving cybersecurity threat landscape owing to digital disruption</a:t>
            </a:r>
            <a:endParaRPr lang="en-US" sz="999" kern="0">
              <a:solidFill>
                <a:srgbClr val="000000"/>
              </a:solidFill>
              <a:latin typeface="EYInterstate Light"/>
              <a:cs typeface="Arial" panose="020B0604020202020204" pitchFamily="34" charset="0"/>
            </a:endParaRPr>
          </a:p>
        </p:txBody>
      </p:sp>
      <p:pic>
        <p:nvPicPr>
          <p:cNvPr id="73" name="Picture 72">
            <a:extLst>
              <a:ext uri="{FF2B5EF4-FFF2-40B4-BE49-F238E27FC236}">
                <a16:creationId xmlns:a16="http://schemas.microsoft.com/office/drawing/2014/main" id="{30CA7E2E-FD40-B947-3204-6BF1C20881AE}"/>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8072635" y="3675627"/>
            <a:ext cx="331493" cy="294455"/>
          </a:xfrm>
          <a:prstGeom prst="rect">
            <a:avLst/>
          </a:prstGeom>
          <a:noFill/>
        </p:spPr>
      </p:pic>
      <p:pic>
        <p:nvPicPr>
          <p:cNvPr id="74" name="Picture 73">
            <a:extLst>
              <a:ext uri="{FF2B5EF4-FFF2-40B4-BE49-F238E27FC236}">
                <a16:creationId xmlns:a16="http://schemas.microsoft.com/office/drawing/2014/main" id="{3A073B1F-F441-40D4-1095-7D6F38041D1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flipH="1">
            <a:off x="8760947" y="3245632"/>
            <a:ext cx="310722" cy="236241"/>
          </a:xfrm>
          <a:prstGeom prst="rect">
            <a:avLst/>
          </a:prstGeom>
          <a:noFill/>
        </p:spPr>
      </p:pic>
      <p:cxnSp>
        <p:nvCxnSpPr>
          <p:cNvPr id="75" name="Straight Connector 74">
            <a:extLst>
              <a:ext uri="{FF2B5EF4-FFF2-40B4-BE49-F238E27FC236}">
                <a16:creationId xmlns:a16="http://schemas.microsoft.com/office/drawing/2014/main" id="{7509FE38-2468-6291-A94A-DD40D38B1B5C}"/>
              </a:ext>
            </a:extLst>
          </p:cNvPr>
          <p:cNvCxnSpPr/>
          <p:nvPr/>
        </p:nvCxnSpPr>
        <p:spPr>
          <a:xfrm>
            <a:off x="8902877" y="2687629"/>
            <a:ext cx="0" cy="307873"/>
          </a:xfrm>
          <a:prstGeom prst="line">
            <a:avLst/>
          </a:prstGeom>
          <a:noFill/>
          <a:ln w="9525" cap="flat" cmpd="sng" algn="ctr">
            <a:solidFill>
              <a:srgbClr val="808080"/>
            </a:solidFill>
            <a:prstDash val="solid"/>
            <a:headEnd type="oval"/>
            <a:tailEnd type="none"/>
          </a:ln>
          <a:effectLst/>
        </p:spPr>
      </p:cxnSp>
      <p:sp>
        <p:nvSpPr>
          <p:cNvPr id="76" name="TextBox 75">
            <a:extLst>
              <a:ext uri="{FF2B5EF4-FFF2-40B4-BE49-F238E27FC236}">
                <a16:creationId xmlns:a16="http://schemas.microsoft.com/office/drawing/2014/main" id="{BEA369C0-13B1-78B7-F0EA-F443C89BC43E}"/>
              </a:ext>
            </a:extLst>
          </p:cNvPr>
          <p:cNvSpPr txBox="1"/>
          <p:nvPr/>
        </p:nvSpPr>
        <p:spPr>
          <a:xfrm>
            <a:off x="7993526" y="1886883"/>
            <a:ext cx="1779694" cy="652127"/>
          </a:xfrm>
          <a:prstGeom prst="rect">
            <a:avLst/>
          </a:prstGeom>
        </p:spPr>
        <p:txBody>
          <a:bodyPr wrap="square" lIns="0" tIns="36538" rIns="0" bIns="0" rtlCol="0">
            <a:spAutoFit/>
          </a:bodyPr>
          <a:lstStyle/>
          <a:p>
            <a:pPr algn="ctr" defTabSz="913943">
              <a:spcBef>
                <a:spcPts val="88"/>
              </a:spcBef>
              <a:spcAft>
                <a:spcPts val="400"/>
              </a:spcAft>
              <a:buClr>
                <a:srgbClr val="000000"/>
              </a:buClr>
              <a:buSzPct val="100000"/>
              <a:defRPr/>
            </a:pPr>
            <a:r>
              <a:rPr lang="en-GB" sz="999" kern="0">
                <a:solidFill>
                  <a:srgbClr val="000000"/>
                </a:solidFill>
                <a:latin typeface="EYInterstate Light"/>
                <a:cs typeface="Arial" panose="020B0604020202020204" pitchFamily="34" charset="0"/>
                <a:sym typeface="Helvetica Neue"/>
              </a:rPr>
              <a:t>Our Advanced Security Center and proprietary cybersecurity assessment tools for advanced technical security assessments</a:t>
            </a:r>
            <a:endParaRPr lang="en-US" sz="999" kern="0">
              <a:solidFill>
                <a:srgbClr val="000000"/>
              </a:solidFill>
              <a:latin typeface="EYInterstate Light"/>
              <a:cs typeface="Arial" panose="020B0604020202020204" pitchFamily="34" charset="0"/>
              <a:sym typeface="Helvetica Neue"/>
            </a:endParaRPr>
          </a:p>
        </p:txBody>
      </p:sp>
      <p:sp>
        <p:nvSpPr>
          <p:cNvPr id="77" name="TextBox 76">
            <a:extLst>
              <a:ext uri="{FF2B5EF4-FFF2-40B4-BE49-F238E27FC236}">
                <a16:creationId xmlns:a16="http://schemas.microsoft.com/office/drawing/2014/main" id="{18D08422-E990-AA28-25CB-1E4D095AF1C6}"/>
              </a:ext>
            </a:extLst>
          </p:cNvPr>
          <p:cNvSpPr txBox="1"/>
          <p:nvPr/>
        </p:nvSpPr>
        <p:spPr>
          <a:xfrm>
            <a:off x="9020989" y="4674011"/>
            <a:ext cx="2073851" cy="652127"/>
          </a:xfrm>
          <a:prstGeom prst="rect">
            <a:avLst/>
          </a:prstGeom>
          <a:noFill/>
        </p:spPr>
        <p:txBody>
          <a:bodyPr wrap="square" lIns="0" tIns="36538" rIns="0" bIns="0" rtlCol="0">
            <a:spAutoFit/>
          </a:bodyPr>
          <a:lstStyle/>
          <a:p>
            <a:pPr algn="ctr" defTabSz="913943">
              <a:defRPr/>
            </a:pPr>
            <a:r>
              <a:rPr lang="en-GB" sz="999" kern="0">
                <a:solidFill>
                  <a:srgbClr val="000000"/>
                </a:solidFill>
                <a:latin typeface="EYInterstate Light"/>
                <a:cs typeface="Arial" panose="020B0604020202020204" pitchFamily="34" charset="0"/>
              </a:rPr>
              <a:t>Hand-picked team with experience of similar engagements, past experience with CBS and most relevant professional qualifications</a:t>
            </a:r>
            <a:endParaRPr lang="en-IN" sz="999" kern="0">
              <a:solidFill>
                <a:srgbClr val="000000"/>
              </a:solidFill>
              <a:latin typeface="EYInterstate Light"/>
              <a:cs typeface="Arial" panose="020B0604020202020204" pitchFamily="34" charset="0"/>
            </a:endParaRPr>
          </a:p>
        </p:txBody>
      </p:sp>
      <p:sp>
        <p:nvSpPr>
          <p:cNvPr id="78" name="Freeform: Shape 77">
            <a:extLst>
              <a:ext uri="{FF2B5EF4-FFF2-40B4-BE49-F238E27FC236}">
                <a16:creationId xmlns:a16="http://schemas.microsoft.com/office/drawing/2014/main" id="{61A30E94-89D5-185E-BF78-091321D13E11}"/>
              </a:ext>
            </a:extLst>
          </p:cNvPr>
          <p:cNvSpPr/>
          <p:nvPr/>
        </p:nvSpPr>
        <p:spPr>
          <a:xfrm>
            <a:off x="9465441" y="4161450"/>
            <a:ext cx="307779" cy="330581"/>
          </a:xfrm>
          <a:custGeom>
            <a:avLst/>
            <a:gdLst>
              <a:gd name="connsiteX0" fmla="*/ 0 w 804333"/>
              <a:gd name="connsiteY0" fmla="*/ 0 h 448733"/>
              <a:gd name="connsiteX1" fmla="*/ 804333 w 804333"/>
              <a:gd name="connsiteY1" fmla="*/ 0 h 448733"/>
              <a:gd name="connsiteX2" fmla="*/ 804333 w 804333"/>
              <a:gd name="connsiteY2" fmla="*/ 448733 h 448733"/>
            </a:gdLst>
            <a:ahLst/>
            <a:cxnLst>
              <a:cxn ang="0">
                <a:pos x="connsiteX0" y="connsiteY0"/>
              </a:cxn>
              <a:cxn ang="0">
                <a:pos x="connsiteX1" y="connsiteY1"/>
              </a:cxn>
              <a:cxn ang="0">
                <a:pos x="connsiteX2" y="connsiteY2"/>
              </a:cxn>
            </a:cxnLst>
            <a:rect l="l" t="t" r="r" b="b"/>
            <a:pathLst>
              <a:path w="804333" h="448733">
                <a:moveTo>
                  <a:pt x="0" y="0"/>
                </a:moveTo>
                <a:lnTo>
                  <a:pt x="804333" y="0"/>
                </a:lnTo>
                <a:lnTo>
                  <a:pt x="804333" y="448733"/>
                </a:lnTo>
              </a:path>
            </a:pathLst>
          </a:custGeom>
          <a:noFill/>
          <a:ln w="9525" cap="flat" cmpd="sng" algn="ctr">
            <a:solidFill>
              <a:srgbClr val="808080"/>
            </a:solidFill>
            <a:prstDash val="solid"/>
            <a:headEnd type="none"/>
            <a:tailEnd type="oval"/>
          </a:ln>
          <a:effectLst/>
        </p:spPr>
        <p:txBody>
          <a:bodyPr rtlCol="0" anchor="ctr"/>
          <a:lstStyle/>
          <a:p>
            <a:pPr algn="ctr" defTabSz="913943">
              <a:defRPr/>
            </a:pPr>
            <a:endParaRPr lang="en-IN" sz="1799" kern="0">
              <a:solidFill>
                <a:srgbClr val="FFFFFF"/>
              </a:solidFill>
              <a:latin typeface="EYInterstate Light"/>
              <a:cs typeface="Arial"/>
            </a:endParaRPr>
          </a:p>
        </p:txBody>
      </p:sp>
      <p:pic>
        <p:nvPicPr>
          <p:cNvPr id="79" name="Picture 78">
            <a:extLst>
              <a:ext uri="{FF2B5EF4-FFF2-40B4-BE49-F238E27FC236}">
                <a16:creationId xmlns:a16="http://schemas.microsoft.com/office/drawing/2014/main" id="{187C12A8-3B26-6D99-5BB3-E5B27CAF95C6}"/>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8873455" y="3963541"/>
            <a:ext cx="295069" cy="366753"/>
          </a:xfrm>
          <a:prstGeom prst="rect">
            <a:avLst/>
          </a:prstGeom>
          <a:noFill/>
        </p:spPr>
      </p:pic>
      <p:pic>
        <p:nvPicPr>
          <p:cNvPr id="80" name="Picture 79">
            <a:extLst>
              <a:ext uri="{FF2B5EF4-FFF2-40B4-BE49-F238E27FC236}">
                <a16:creationId xmlns:a16="http://schemas.microsoft.com/office/drawing/2014/main" id="{28A4CF7B-63C1-6C36-B146-0E38B2614C3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9561354" y="3453533"/>
            <a:ext cx="334226" cy="320216"/>
          </a:xfrm>
          <a:prstGeom prst="rect">
            <a:avLst/>
          </a:prstGeom>
          <a:noFill/>
        </p:spPr>
      </p:pic>
      <p:sp>
        <p:nvSpPr>
          <p:cNvPr id="81" name="TextBox 80">
            <a:extLst>
              <a:ext uri="{FF2B5EF4-FFF2-40B4-BE49-F238E27FC236}">
                <a16:creationId xmlns:a16="http://schemas.microsoft.com/office/drawing/2014/main" id="{A5F10286-F90F-4093-D061-7F02132779EA}"/>
              </a:ext>
            </a:extLst>
          </p:cNvPr>
          <p:cNvSpPr txBox="1"/>
          <p:nvPr/>
        </p:nvSpPr>
        <p:spPr>
          <a:xfrm>
            <a:off x="9895581" y="2402457"/>
            <a:ext cx="1715537" cy="805935"/>
          </a:xfrm>
          <a:prstGeom prst="rect">
            <a:avLst/>
          </a:prstGeom>
        </p:spPr>
        <p:txBody>
          <a:bodyPr wrap="square" lIns="0" tIns="36538" rIns="0" bIns="0" rtlCol="0">
            <a:spAutoFit/>
          </a:bodyPr>
          <a:lstStyle/>
          <a:p>
            <a:pPr algn="ctr" defTabSz="913943">
              <a:spcBef>
                <a:spcPts val="88"/>
              </a:spcBef>
              <a:spcAft>
                <a:spcPts val="400"/>
              </a:spcAft>
              <a:buClr>
                <a:srgbClr val="000000"/>
              </a:buClr>
              <a:buSzPct val="100000"/>
              <a:defRPr/>
            </a:pPr>
            <a:r>
              <a:rPr lang="en-GB" sz="999" kern="0">
                <a:solidFill>
                  <a:srgbClr val="000000"/>
                </a:solidFill>
                <a:latin typeface="EYInterstate Light"/>
                <a:cs typeface="Arial" panose="020B0604020202020204" pitchFamily="34" charset="0"/>
                <a:sym typeface="Helvetica Neue"/>
              </a:rPr>
              <a:t>Our cyber transformation methodologies have used to assess the policies and procedures of major banking organisations</a:t>
            </a:r>
          </a:p>
        </p:txBody>
      </p:sp>
      <p:sp>
        <p:nvSpPr>
          <p:cNvPr id="82" name="Freeform: Shape 81">
            <a:extLst>
              <a:ext uri="{FF2B5EF4-FFF2-40B4-BE49-F238E27FC236}">
                <a16:creationId xmlns:a16="http://schemas.microsoft.com/office/drawing/2014/main" id="{8E1C55D0-B68B-EA6A-531E-4CCE44D9AF8F}"/>
              </a:ext>
            </a:extLst>
          </p:cNvPr>
          <p:cNvSpPr/>
          <p:nvPr/>
        </p:nvSpPr>
        <p:spPr>
          <a:xfrm flipV="1">
            <a:off x="10120648" y="3284654"/>
            <a:ext cx="752081" cy="328988"/>
          </a:xfrm>
          <a:custGeom>
            <a:avLst/>
            <a:gdLst>
              <a:gd name="connsiteX0" fmla="*/ 0 w 804333"/>
              <a:gd name="connsiteY0" fmla="*/ 0 h 448733"/>
              <a:gd name="connsiteX1" fmla="*/ 804333 w 804333"/>
              <a:gd name="connsiteY1" fmla="*/ 0 h 448733"/>
              <a:gd name="connsiteX2" fmla="*/ 804333 w 804333"/>
              <a:gd name="connsiteY2" fmla="*/ 448733 h 448733"/>
            </a:gdLst>
            <a:ahLst/>
            <a:cxnLst>
              <a:cxn ang="0">
                <a:pos x="connsiteX0" y="connsiteY0"/>
              </a:cxn>
              <a:cxn ang="0">
                <a:pos x="connsiteX1" y="connsiteY1"/>
              </a:cxn>
              <a:cxn ang="0">
                <a:pos x="connsiteX2" y="connsiteY2"/>
              </a:cxn>
            </a:cxnLst>
            <a:rect l="l" t="t" r="r" b="b"/>
            <a:pathLst>
              <a:path w="804333" h="448733">
                <a:moveTo>
                  <a:pt x="0" y="0"/>
                </a:moveTo>
                <a:lnTo>
                  <a:pt x="804333" y="0"/>
                </a:lnTo>
                <a:lnTo>
                  <a:pt x="804333" y="448733"/>
                </a:lnTo>
              </a:path>
            </a:pathLst>
          </a:custGeom>
          <a:noFill/>
          <a:ln w="9525" cap="flat" cmpd="sng" algn="ctr">
            <a:solidFill>
              <a:srgbClr val="808080"/>
            </a:solidFill>
            <a:prstDash val="solid"/>
            <a:headEnd type="none"/>
            <a:tailEnd type="oval"/>
          </a:ln>
          <a:effectLst/>
        </p:spPr>
        <p:txBody>
          <a:bodyPr rtlCol="0" anchor="ctr"/>
          <a:lstStyle/>
          <a:p>
            <a:pPr algn="ctr" defTabSz="913943">
              <a:defRPr/>
            </a:pPr>
            <a:endParaRPr lang="en-IN" sz="1799" kern="0">
              <a:solidFill>
                <a:srgbClr val="FFFFFF"/>
              </a:solidFill>
              <a:latin typeface="EYInterstate Light"/>
              <a:cs typeface="Arial"/>
            </a:endParaRPr>
          </a:p>
        </p:txBody>
      </p:sp>
      <p:sp>
        <p:nvSpPr>
          <p:cNvPr id="83" name="Freeform: Shape 82">
            <a:extLst>
              <a:ext uri="{FF2B5EF4-FFF2-40B4-BE49-F238E27FC236}">
                <a16:creationId xmlns:a16="http://schemas.microsoft.com/office/drawing/2014/main" id="{4F5D7C80-8B9B-2D21-1B9A-A27513CE2457}"/>
              </a:ext>
            </a:extLst>
          </p:cNvPr>
          <p:cNvSpPr/>
          <p:nvPr/>
        </p:nvSpPr>
        <p:spPr>
          <a:xfrm flipH="1" flipV="1">
            <a:off x="6797717" y="3489399"/>
            <a:ext cx="93922" cy="611681"/>
          </a:xfrm>
          <a:custGeom>
            <a:avLst/>
            <a:gdLst>
              <a:gd name="connsiteX0" fmla="*/ 0 w 804333"/>
              <a:gd name="connsiteY0" fmla="*/ 0 h 448733"/>
              <a:gd name="connsiteX1" fmla="*/ 804333 w 804333"/>
              <a:gd name="connsiteY1" fmla="*/ 0 h 448733"/>
              <a:gd name="connsiteX2" fmla="*/ 804333 w 804333"/>
              <a:gd name="connsiteY2" fmla="*/ 448733 h 448733"/>
            </a:gdLst>
            <a:ahLst/>
            <a:cxnLst>
              <a:cxn ang="0">
                <a:pos x="connsiteX0" y="connsiteY0"/>
              </a:cxn>
              <a:cxn ang="0">
                <a:pos x="connsiteX1" y="connsiteY1"/>
              </a:cxn>
              <a:cxn ang="0">
                <a:pos x="connsiteX2" y="connsiteY2"/>
              </a:cxn>
            </a:cxnLst>
            <a:rect l="l" t="t" r="r" b="b"/>
            <a:pathLst>
              <a:path w="804333" h="448733">
                <a:moveTo>
                  <a:pt x="0" y="0"/>
                </a:moveTo>
                <a:lnTo>
                  <a:pt x="804333" y="0"/>
                </a:lnTo>
                <a:lnTo>
                  <a:pt x="804333" y="448733"/>
                </a:lnTo>
              </a:path>
            </a:pathLst>
          </a:custGeom>
          <a:noFill/>
          <a:ln w="9525" cap="flat" cmpd="sng" algn="ctr">
            <a:solidFill>
              <a:srgbClr val="808080"/>
            </a:solidFill>
            <a:prstDash val="solid"/>
            <a:headEnd type="none"/>
            <a:tailEnd type="oval"/>
          </a:ln>
          <a:effectLst/>
        </p:spPr>
        <p:txBody>
          <a:bodyPr rtlCol="0" anchor="ctr"/>
          <a:lstStyle/>
          <a:p>
            <a:pPr algn="ctr" defTabSz="913943">
              <a:defRPr/>
            </a:pPr>
            <a:endParaRPr lang="en-IN" sz="1799" kern="0">
              <a:solidFill>
                <a:srgbClr val="FFFFFF"/>
              </a:solidFill>
              <a:latin typeface="EYInterstate Light"/>
              <a:cs typeface="Arial"/>
            </a:endParaRPr>
          </a:p>
        </p:txBody>
      </p:sp>
      <p:sp>
        <p:nvSpPr>
          <p:cNvPr id="84" name="Rectangle 83">
            <a:extLst>
              <a:ext uri="{FF2B5EF4-FFF2-40B4-BE49-F238E27FC236}">
                <a16:creationId xmlns:a16="http://schemas.microsoft.com/office/drawing/2014/main" id="{FB4C9167-FC1E-3197-FBEE-5CFE8376F2E1}"/>
              </a:ext>
            </a:extLst>
          </p:cNvPr>
          <p:cNvSpPr/>
          <p:nvPr/>
        </p:nvSpPr>
        <p:spPr bwMode="auto">
          <a:xfrm>
            <a:off x="6364403" y="5485652"/>
            <a:ext cx="5177158" cy="363318"/>
          </a:xfrm>
          <a:prstGeom prst="rect">
            <a:avLst/>
          </a:prstGeom>
          <a:solidFill>
            <a:srgbClr val="FAE600"/>
          </a:solidFill>
          <a:ln w="0" cap="flat" cmpd="sng" algn="ctr">
            <a:noFill/>
            <a:prstDash val="solid"/>
            <a:round/>
            <a:headEnd type="none" w="med" len="med"/>
            <a:tailEnd type="none" w="med" len="med"/>
          </a:ln>
          <a:effectLst/>
        </p:spPr>
        <p:txBody>
          <a:bodyPr vert="horz" wrap="square" lIns="71963" tIns="71963" rIns="71963" bIns="71963" numCol="1" rtlCol="0" anchor="ctr" anchorCtr="0" compatLnSpc="1">
            <a:prstTxWarp prst="textNoShape">
              <a:avLst/>
            </a:prstTxWarp>
          </a:bodyPr>
          <a:lstStyle/>
          <a:p>
            <a:pPr algn="ctr" defTabSz="994865">
              <a:defRPr/>
            </a:pPr>
            <a:r>
              <a:rPr lang="en-US" sz="999" kern="0">
                <a:solidFill>
                  <a:srgbClr val="000000"/>
                </a:solidFill>
                <a:latin typeface="EYInterstate Light"/>
                <a:cs typeface="Arial" panose="020B0604020202020204" pitchFamily="34" charset="0"/>
              </a:rPr>
              <a:t>Each of the EY differentiators which will bring significant value to Central Bank of Seychelles</a:t>
            </a:r>
            <a:endParaRPr lang="en-GB" sz="999" kern="0">
              <a:solidFill>
                <a:srgbClr val="000000"/>
              </a:solidFill>
              <a:latin typeface="EYInterstate Light"/>
              <a:cs typeface="Arial" panose="020B0604020202020204" pitchFamily="34" charset="0"/>
            </a:endParaRPr>
          </a:p>
        </p:txBody>
      </p:sp>
      <p:sp>
        <p:nvSpPr>
          <p:cNvPr id="5" name="Freeform 126">
            <a:extLst>
              <a:ext uri="{FF2B5EF4-FFF2-40B4-BE49-F238E27FC236}">
                <a16:creationId xmlns:a16="http://schemas.microsoft.com/office/drawing/2014/main" id="{92216FA1-DE7F-E1E9-4A85-B63DF17AA4FC}"/>
              </a:ext>
            </a:extLst>
          </p:cNvPr>
          <p:cNvSpPr>
            <a:spLocks noChangeAspect="1" noEditPoints="1"/>
          </p:cNvSpPr>
          <p:nvPr/>
        </p:nvSpPr>
        <p:spPr bwMode="auto">
          <a:xfrm>
            <a:off x="7281526" y="3934807"/>
            <a:ext cx="248399" cy="321333"/>
          </a:xfrm>
          <a:custGeom>
            <a:avLst/>
            <a:gdLst>
              <a:gd name="T0" fmla="*/ 2147483647 w 3688"/>
              <a:gd name="T1" fmla="*/ 2147483647 h 4763"/>
              <a:gd name="T2" fmla="*/ 2147483647 w 3688"/>
              <a:gd name="T3" fmla="*/ 2147483647 h 4763"/>
              <a:gd name="T4" fmla="*/ 2147483647 w 3688"/>
              <a:gd name="T5" fmla="*/ 2147483647 h 4763"/>
              <a:gd name="T6" fmla="*/ 2147483647 w 3688"/>
              <a:gd name="T7" fmla="*/ 2147483647 h 4763"/>
              <a:gd name="T8" fmla="*/ 2147483647 w 3688"/>
              <a:gd name="T9" fmla="*/ 2147483647 h 4763"/>
              <a:gd name="T10" fmla="*/ 2147483647 w 3688"/>
              <a:gd name="T11" fmla="*/ 0 h 4763"/>
              <a:gd name="T12" fmla="*/ 2147483647 w 3688"/>
              <a:gd name="T13" fmla="*/ 2147483647 h 4763"/>
              <a:gd name="T14" fmla="*/ 2147483647 w 3688"/>
              <a:gd name="T15" fmla="*/ 2147483647 h 4763"/>
              <a:gd name="T16" fmla="*/ 2147483647 w 3688"/>
              <a:gd name="T17" fmla="*/ 2147483647 h 4763"/>
              <a:gd name="T18" fmla="*/ 2147483647 w 3688"/>
              <a:gd name="T19" fmla="*/ 2147483647 h 4763"/>
              <a:gd name="T20" fmla="*/ 2147483647 w 3688"/>
              <a:gd name="T21" fmla="*/ 2147483647 h 4763"/>
              <a:gd name="T22" fmla="*/ 2147483647 w 3688"/>
              <a:gd name="T23" fmla="*/ 2147483647 h 4763"/>
              <a:gd name="T24" fmla="*/ 2147483647 w 3688"/>
              <a:gd name="T25" fmla="*/ 2147483647 h 4763"/>
              <a:gd name="T26" fmla="*/ 2147483647 w 3688"/>
              <a:gd name="T27" fmla="*/ 2147483647 h 4763"/>
              <a:gd name="T28" fmla="*/ 2147483647 w 3688"/>
              <a:gd name="T29" fmla="*/ 2147483647 h 4763"/>
              <a:gd name="T30" fmla="*/ 2147483647 w 3688"/>
              <a:gd name="T31" fmla="*/ 2147483647 h 4763"/>
              <a:gd name="T32" fmla="*/ 2147483647 w 3688"/>
              <a:gd name="T33" fmla="*/ 2147483647 h 4763"/>
              <a:gd name="T34" fmla="*/ 2147483647 w 3688"/>
              <a:gd name="T35" fmla="*/ 2147483647 h 4763"/>
              <a:gd name="T36" fmla="*/ 2147483647 w 3688"/>
              <a:gd name="T37" fmla="*/ 2147483647 h 4763"/>
              <a:gd name="T38" fmla="*/ 2147483647 w 3688"/>
              <a:gd name="T39" fmla="*/ 2147483647 h 4763"/>
              <a:gd name="T40" fmla="*/ 2147483647 w 3688"/>
              <a:gd name="T41" fmla="*/ 2147483647 h 4763"/>
              <a:gd name="T42" fmla="*/ 2147483647 w 3688"/>
              <a:gd name="T43" fmla="*/ 2147483647 h 4763"/>
              <a:gd name="T44" fmla="*/ 2147483647 w 3688"/>
              <a:gd name="T45" fmla="*/ 2147483647 h 4763"/>
              <a:gd name="T46" fmla="*/ 2147483647 w 3688"/>
              <a:gd name="T47" fmla="*/ 2147483647 h 4763"/>
              <a:gd name="T48" fmla="*/ 2147483647 w 3688"/>
              <a:gd name="T49" fmla="*/ 2147483647 h 4763"/>
              <a:gd name="T50" fmla="*/ 2147483647 w 3688"/>
              <a:gd name="T51" fmla="*/ 2147483647 h 4763"/>
              <a:gd name="T52" fmla="*/ 2147483647 w 3688"/>
              <a:gd name="T53" fmla="*/ 2147483647 h 4763"/>
              <a:gd name="T54" fmla="*/ 2147483647 w 3688"/>
              <a:gd name="T55" fmla="*/ 2147483647 h 4763"/>
              <a:gd name="T56" fmla="*/ 2147483647 w 3688"/>
              <a:gd name="T57" fmla="*/ 2147483647 h 4763"/>
              <a:gd name="T58" fmla="*/ 2147483647 w 3688"/>
              <a:gd name="T59" fmla="*/ 2147483647 h 4763"/>
              <a:gd name="T60" fmla="*/ 2147483647 w 3688"/>
              <a:gd name="T61" fmla="*/ 2147483647 h 4763"/>
              <a:gd name="T62" fmla="*/ 2147483647 w 3688"/>
              <a:gd name="T63" fmla="*/ 2147483647 h 4763"/>
              <a:gd name="T64" fmla="*/ 2147483647 w 3688"/>
              <a:gd name="T65" fmla="*/ 2147483647 h 4763"/>
              <a:gd name="T66" fmla="*/ 2147483647 w 3688"/>
              <a:gd name="T67" fmla="*/ 2147483647 h 4763"/>
              <a:gd name="T68" fmla="*/ 2147483647 w 3688"/>
              <a:gd name="T69" fmla="*/ 2147483647 h 4763"/>
              <a:gd name="T70" fmla="*/ 2147483647 w 3688"/>
              <a:gd name="T71" fmla="*/ 2147483647 h 4763"/>
              <a:gd name="T72" fmla="*/ 2147483647 w 3688"/>
              <a:gd name="T73" fmla="*/ 2147483647 h 4763"/>
              <a:gd name="T74" fmla="*/ 2147483647 w 3688"/>
              <a:gd name="T75" fmla="*/ 2147483647 h 4763"/>
              <a:gd name="T76" fmla="*/ 2147483647 w 3688"/>
              <a:gd name="T77" fmla="*/ 2147483647 h 4763"/>
              <a:gd name="T78" fmla="*/ 2147483647 w 3688"/>
              <a:gd name="T79" fmla="*/ 2147483647 h 4763"/>
              <a:gd name="T80" fmla="*/ 2147483647 w 3688"/>
              <a:gd name="T81" fmla="*/ 2147483647 h 4763"/>
              <a:gd name="T82" fmla="*/ 2147483647 w 3688"/>
              <a:gd name="T83" fmla="*/ 2147483647 h 4763"/>
              <a:gd name="T84" fmla="*/ 2147483647 w 3688"/>
              <a:gd name="T85" fmla="*/ 2147483647 h 4763"/>
              <a:gd name="T86" fmla="*/ 2147483647 w 3688"/>
              <a:gd name="T87" fmla="*/ 2147483647 h 4763"/>
              <a:gd name="T88" fmla="*/ 2147483647 w 3688"/>
              <a:gd name="T89" fmla="*/ 2147483647 h 4763"/>
              <a:gd name="T90" fmla="*/ 2147483647 w 3688"/>
              <a:gd name="T91" fmla="*/ 2147483647 h 4763"/>
              <a:gd name="T92" fmla="*/ 2147483647 w 3688"/>
              <a:gd name="T93" fmla="*/ 2147483647 h 4763"/>
              <a:gd name="T94" fmla="*/ 2147483647 w 3688"/>
              <a:gd name="T95" fmla="*/ 2147483647 h 4763"/>
              <a:gd name="T96" fmla="*/ 2147483647 w 3688"/>
              <a:gd name="T97" fmla="*/ 2147483647 h 4763"/>
              <a:gd name="T98" fmla="*/ 2147483647 w 3688"/>
              <a:gd name="T99" fmla="*/ 2147483647 h 4763"/>
              <a:gd name="T100" fmla="*/ 2147483647 w 3688"/>
              <a:gd name="T101" fmla="*/ 2147483647 h 4763"/>
              <a:gd name="T102" fmla="*/ 2147483647 w 3688"/>
              <a:gd name="T103" fmla="*/ 2147483647 h 4763"/>
              <a:gd name="T104" fmla="*/ 2147483647 w 3688"/>
              <a:gd name="T105" fmla="*/ 2147483647 h 4763"/>
              <a:gd name="T106" fmla="*/ 2147483647 w 3688"/>
              <a:gd name="T107" fmla="*/ 2147483647 h 4763"/>
              <a:gd name="T108" fmla="*/ 2147483647 w 3688"/>
              <a:gd name="T109" fmla="*/ 2147483647 h 4763"/>
              <a:gd name="T110" fmla="*/ 2147483647 w 3688"/>
              <a:gd name="T111" fmla="*/ 2147483647 h 4763"/>
              <a:gd name="T112" fmla="*/ 2147483647 w 3688"/>
              <a:gd name="T113" fmla="*/ 2147483647 h 4763"/>
              <a:gd name="T114" fmla="*/ 2147483647 w 3688"/>
              <a:gd name="T115" fmla="*/ 2147483647 h 4763"/>
              <a:gd name="T116" fmla="*/ 2147483647 w 3688"/>
              <a:gd name="T117" fmla="*/ 2147483647 h 4763"/>
              <a:gd name="T118" fmla="*/ 2147483647 w 3688"/>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88"/>
              <a:gd name="T181" fmla="*/ 0 h 4763"/>
              <a:gd name="T182" fmla="*/ 3688 w 3688"/>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88" h="4763">
                <a:moveTo>
                  <a:pt x="1819" y="0"/>
                </a:moveTo>
                <a:lnTo>
                  <a:pt x="1819" y="0"/>
                </a:lnTo>
                <a:lnTo>
                  <a:pt x="1847" y="1"/>
                </a:lnTo>
                <a:lnTo>
                  <a:pt x="1874" y="5"/>
                </a:lnTo>
                <a:lnTo>
                  <a:pt x="1901" y="14"/>
                </a:lnTo>
                <a:lnTo>
                  <a:pt x="1926" y="24"/>
                </a:lnTo>
                <a:lnTo>
                  <a:pt x="1950" y="37"/>
                </a:lnTo>
                <a:lnTo>
                  <a:pt x="1973" y="53"/>
                </a:lnTo>
                <a:lnTo>
                  <a:pt x="1993" y="70"/>
                </a:lnTo>
                <a:lnTo>
                  <a:pt x="2012" y="89"/>
                </a:lnTo>
                <a:lnTo>
                  <a:pt x="2030" y="111"/>
                </a:lnTo>
                <a:lnTo>
                  <a:pt x="2045" y="134"/>
                </a:lnTo>
                <a:lnTo>
                  <a:pt x="2058" y="160"/>
                </a:lnTo>
                <a:lnTo>
                  <a:pt x="2071" y="185"/>
                </a:lnTo>
                <a:lnTo>
                  <a:pt x="2079" y="214"/>
                </a:lnTo>
                <a:lnTo>
                  <a:pt x="2085" y="242"/>
                </a:lnTo>
                <a:lnTo>
                  <a:pt x="2089" y="272"/>
                </a:lnTo>
                <a:lnTo>
                  <a:pt x="2091" y="303"/>
                </a:lnTo>
                <a:lnTo>
                  <a:pt x="2091" y="375"/>
                </a:lnTo>
                <a:lnTo>
                  <a:pt x="2089" y="406"/>
                </a:lnTo>
                <a:lnTo>
                  <a:pt x="2085" y="435"/>
                </a:lnTo>
                <a:lnTo>
                  <a:pt x="2079" y="464"/>
                </a:lnTo>
                <a:lnTo>
                  <a:pt x="2071" y="491"/>
                </a:lnTo>
                <a:lnTo>
                  <a:pt x="2058" y="518"/>
                </a:lnTo>
                <a:lnTo>
                  <a:pt x="2045" y="542"/>
                </a:lnTo>
                <a:lnTo>
                  <a:pt x="2030" y="567"/>
                </a:lnTo>
                <a:lnTo>
                  <a:pt x="2012" y="588"/>
                </a:lnTo>
                <a:lnTo>
                  <a:pt x="1993" y="607"/>
                </a:lnTo>
                <a:lnTo>
                  <a:pt x="1973" y="625"/>
                </a:lnTo>
                <a:lnTo>
                  <a:pt x="1950" y="640"/>
                </a:lnTo>
                <a:lnTo>
                  <a:pt x="1926" y="653"/>
                </a:lnTo>
                <a:lnTo>
                  <a:pt x="1901" y="664"/>
                </a:lnTo>
                <a:lnTo>
                  <a:pt x="1874" y="671"/>
                </a:lnTo>
                <a:lnTo>
                  <a:pt x="1847" y="676"/>
                </a:lnTo>
                <a:lnTo>
                  <a:pt x="1819" y="678"/>
                </a:lnTo>
                <a:lnTo>
                  <a:pt x="1791" y="676"/>
                </a:lnTo>
                <a:lnTo>
                  <a:pt x="1764" y="671"/>
                </a:lnTo>
                <a:lnTo>
                  <a:pt x="1738" y="664"/>
                </a:lnTo>
                <a:lnTo>
                  <a:pt x="1712" y="653"/>
                </a:lnTo>
                <a:lnTo>
                  <a:pt x="1688" y="640"/>
                </a:lnTo>
                <a:lnTo>
                  <a:pt x="1666" y="625"/>
                </a:lnTo>
                <a:lnTo>
                  <a:pt x="1646" y="607"/>
                </a:lnTo>
                <a:lnTo>
                  <a:pt x="1626" y="588"/>
                </a:lnTo>
                <a:lnTo>
                  <a:pt x="1609" y="567"/>
                </a:lnTo>
                <a:lnTo>
                  <a:pt x="1593" y="542"/>
                </a:lnTo>
                <a:lnTo>
                  <a:pt x="1580" y="518"/>
                </a:lnTo>
                <a:lnTo>
                  <a:pt x="1569" y="491"/>
                </a:lnTo>
                <a:lnTo>
                  <a:pt x="1559" y="464"/>
                </a:lnTo>
                <a:lnTo>
                  <a:pt x="1553" y="435"/>
                </a:lnTo>
                <a:lnTo>
                  <a:pt x="1549" y="406"/>
                </a:lnTo>
                <a:lnTo>
                  <a:pt x="1547" y="375"/>
                </a:lnTo>
                <a:lnTo>
                  <a:pt x="1547" y="303"/>
                </a:lnTo>
                <a:lnTo>
                  <a:pt x="1549" y="272"/>
                </a:lnTo>
                <a:lnTo>
                  <a:pt x="1553" y="242"/>
                </a:lnTo>
                <a:lnTo>
                  <a:pt x="1559" y="214"/>
                </a:lnTo>
                <a:lnTo>
                  <a:pt x="1569" y="185"/>
                </a:lnTo>
                <a:lnTo>
                  <a:pt x="1580" y="160"/>
                </a:lnTo>
                <a:lnTo>
                  <a:pt x="1593" y="134"/>
                </a:lnTo>
                <a:lnTo>
                  <a:pt x="1609" y="111"/>
                </a:lnTo>
                <a:lnTo>
                  <a:pt x="1626" y="89"/>
                </a:lnTo>
                <a:lnTo>
                  <a:pt x="1646" y="70"/>
                </a:lnTo>
                <a:lnTo>
                  <a:pt x="1666" y="53"/>
                </a:lnTo>
                <a:lnTo>
                  <a:pt x="1689" y="37"/>
                </a:lnTo>
                <a:lnTo>
                  <a:pt x="1712" y="24"/>
                </a:lnTo>
                <a:lnTo>
                  <a:pt x="1738" y="14"/>
                </a:lnTo>
                <a:lnTo>
                  <a:pt x="1764" y="5"/>
                </a:lnTo>
                <a:lnTo>
                  <a:pt x="1791" y="1"/>
                </a:lnTo>
                <a:lnTo>
                  <a:pt x="1819" y="0"/>
                </a:lnTo>
                <a:close/>
                <a:moveTo>
                  <a:pt x="2022" y="212"/>
                </a:moveTo>
                <a:lnTo>
                  <a:pt x="2022" y="212"/>
                </a:lnTo>
                <a:lnTo>
                  <a:pt x="2029" y="234"/>
                </a:lnTo>
                <a:lnTo>
                  <a:pt x="2033" y="256"/>
                </a:lnTo>
                <a:lnTo>
                  <a:pt x="2035" y="279"/>
                </a:lnTo>
                <a:lnTo>
                  <a:pt x="2037" y="303"/>
                </a:lnTo>
                <a:lnTo>
                  <a:pt x="2037" y="375"/>
                </a:lnTo>
                <a:lnTo>
                  <a:pt x="2035" y="400"/>
                </a:lnTo>
                <a:lnTo>
                  <a:pt x="2033" y="426"/>
                </a:lnTo>
                <a:lnTo>
                  <a:pt x="2027" y="450"/>
                </a:lnTo>
                <a:lnTo>
                  <a:pt x="2019" y="473"/>
                </a:lnTo>
                <a:lnTo>
                  <a:pt x="2010" y="495"/>
                </a:lnTo>
                <a:lnTo>
                  <a:pt x="1999" y="515"/>
                </a:lnTo>
                <a:lnTo>
                  <a:pt x="1987" y="534"/>
                </a:lnTo>
                <a:lnTo>
                  <a:pt x="1972" y="552"/>
                </a:lnTo>
                <a:lnTo>
                  <a:pt x="1957" y="568"/>
                </a:lnTo>
                <a:lnTo>
                  <a:pt x="1939" y="582"/>
                </a:lnTo>
                <a:lnTo>
                  <a:pt x="1922" y="594"/>
                </a:lnTo>
                <a:lnTo>
                  <a:pt x="1903" y="605"/>
                </a:lnTo>
                <a:lnTo>
                  <a:pt x="1883" y="613"/>
                </a:lnTo>
                <a:lnTo>
                  <a:pt x="1862" y="618"/>
                </a:lnTo>
                <a:lnTo>
                  <a:pt x="1841" y="622"/>
                </a:lnTo>
                <a:lnTo>
                  <a:pt x="1819" y="623"/>
                </a:lnTo>
                <a:lnTo>
                  <a:pt x="1797" y="622"/>
                </a:lnTo>
                <a:lnTo>
                  <a:pt x="1776" y="618"/>
                </a:lnTo>
                <a:lnTo>
                  <a:pt x="1755" y="613"/>
                </a:lnTo>
                <a:lnTo>
                  <a:pt x="1736" y="605"/>
                </a:lnTo>
                <a:lnTo>
                  <a:pt x="1718" y="594"/>
                </a:lnTo>
                <a:lnTo>
                  <a:pt x="1699" y="582"/>
                </a:lnTo>
                <a:lnTo>
                  <a:pt x="1682" y="568"/>
                </a:lnTo>
                <a:lnTo>
                  <a:pt x="1666" y="552"/>
                </a:lnTo>
                <a:lnTo>
                  <a:pt x="1653" y="534"/>
                </a:lnTo>
                <a:lnTo>
                  <a:pt x="1639" y="515"/>
                </a:lnTo>
                <a:lnTo>
                  <a:pt x="1628" y="495"/>
                </a:lnTo>
                <a:lnTo>
                  <a:pt x="1619" y="473"/>
                </a:lnTo>
                <a:lnTo>
                  <a:pt x="1612" y="450"/>
                </a:lnTo>
                <a:lnTo>
                  <a:pt x="1607" y="426"/>
                </a:lnTo>
                <a:lnTo>
                  <a:pt x="1603" y="400"/>
                </a:lnTo>
                <a:lnTo>
                  <a:pt x="1601" y="375"/>
                </a:lnTo>
                <a:lnTo>
                  <a:pt x="1601" y="303"/>
                </a:lnTo>
                <a:lnTo>
                  <a:pt x="1603" y="281"/>
                </a:lnTo>
                <a:lnTo>
                  <a:pt x="1605" y="260"/>
                </a:lnTo>
                <a:lnTo>
                  <a:pt x="1608" y="241"/>
                </a:lnTo>
                <a:lnTo>
                  <a:pt x="1613" y="220"/>
                </a:lnTo>
                <a:lnTo>
                  <a:pt x="1620" y="210"/>
                </a:lnTo>
                <a:lnTo>
                  <a:pt x="1628" y="199"/>
                </a:lnTo>
                <a:lnTo>
                  <a:pt x="1636" y="189"/>
                </a:lnTo>
                <a:lnTo>
                  <a:pt x="1646" y="181"/>
                </a:lnTo>
                <a:lnTo>
                  <a:pt x="1655" y="173"/>
                </a:lnTo>
                <a:lnTo>
                  <a:pt x="1666" y="165"/>
                </a:lnTo>
                <a:lnTo>
                  <a:pt x="1688" y="151"/>
                </a:lnTo>
                <a:lnTo>
                  <a:pt x="1700" y="165"/>
                </a:lnTo>
                <a:lnTo>
                  <a:pt x="1713" y="176"/>
                </a:lnTo>
                <a:lnTo>
                  <a:pt x="1728" y="187"/>
                </a:lnTo>
                <a:lnTo>
                  <a:pt x="1743" y="195"/>
                </a:lnTo>
                <a:lnTo>
                  <a:pt x="1761" y="202"/>
                </a:lnTo>
                <a:lnTo>
                  <a:pt x="1778" y="207"/>
                </a:lnTo>
                <a:lnTo>
                  <a:pt x="1796" y="210"/>
                </a:lnTo>
                <a:lnTo>
                  <a:pt x="1815" y="211"/>
                </a:lnTo>
                <a:lnTo>
                  <a:pt x="1834" y="210"/>
                </a:lnTo>
                <a:lnTo>
                  <a:pt x="1853" y="207"/>
                </a:lnTo>
                <a:lnTo>
                  <a:pt x="1870" y="202"/>
                </a:lnTo>
                <a:lnTo>
                  <a:pt x="1888" y="193"/>
                </a:lnTo>
                <a:lnTo>
                  <a:pt x="1904" y="184"/>
                </a:lnTo>
                <a:lnTo>
                  <a:pt x="1919" y="173"/>
                </a:lnTo>
                <a:lnTo>
                  <a:pt x="1933" y="161"/>
                </a:lnTo>
                <a:lnTo>
                  <a:pt x="1945" y="147"/>
                </a:lnTo>
                <a:lnTo>
                  <a:pt x="1968" y="160"/>
                </a:lnTo>
                <a:lnTo>
                  <a:pt x="1979" y="168"/>
                </a:lnTo>
                <a:lnTo>
                  <a:pt x="1988" y="174"/>
                </a:lnTo>
                <a:lnTo>
                  <a:pt x="1997" y="183"/>
                </a:lnTo>
                <a:lnTo>
                  <a:pt x="2007" y="192"/>
                </a:lnTo>
                <a:lnTo>
                  <a:pt x="2015" y="202"/>
                </a:lnTo>
                <a:lnTo>
                  <a:pt x="2022" y="212"/>
                </a:lnTo>
                <a:close/>
                <a:moveTo>
                  <a:pt x="3073" y="1083"/>
                </a:moveTo>
                <a:lnTo>
                  <a:pt x="3073" y="1083"/>
                </a:lnTo>
                <a:lnTo>
                  <a:pt x="3100" y="1082"/>
                </a:lnTo>
                <a:lnTo>
                  <a:pt x="3127" y="1078"/>
                </a:lnTo>
                <a:lnTo>
                  <a:pt x="3151" y="1070"/>
                </a:lnTo>
                <a:lnTo>
                  <a:pt x="3175" y="1060"/>
                </a:lnTo>
                <a:lnTo>
                  <a:pt x="3198" y="1048"/>
                </a:lnTo>
                <a:lnTo>
                  <a:pt x="3220" y="1033"/>
                </a:lnTo>
                <a:lnTo>
                  <a:pt x="3239" y="1017"/>
                </a:lnTo>
                <a:lnTo>
                  <a:pt x="3258" y="998"/>
                </a:lnTo>
                <a:lnTo>
                  <a:pt x="3274" y="976"/>
                </a:lnTo>
                <a:lnTo>
                  <a:pt x="3289" y="955"/>
                </a:lnTo>
                <a:lnTo>
                  <a:pt x="3303" y="930"/>
                </a:lnTo>
                <a:lnTo>
                  <a:pt x="3313" y="906"/>
                </a:lnTo>
                <a:lnTo>
                  <a:pt x="3321" y="879"/>
                </a:lnTo>
                <a:lnTo>
                  <a:pt x="3327" y="852"/>
                </a:lnTo>
                <a:lnTo>
                  <a:pt x="3331" y="824"/>
                </a:lnTo>
                <a:lnTo>
                  <a:pt x="3332" y="795"/>
                </a:lnTo>
                <a:lnTo>
                  <a:pt x="3332" y="726"/>
                </a:lnTo>
                <a:lnTo>
                  <a:pt x="3331" y="696"/>
                </a:lnTo>
                <a:lnTo>
                  <a:pt x="3327" y="668"/>
                </a:lnTo>
                <a:lnTo>
                  <a:pt x="3321" y="641"/>
                </a:lnTo>
                <a:lnTo>
                  <a:pt x="3313" y="614"/>
                </a:lnTo>
                <a:lnTo>
                  <a:pt x="3303" y="590"/>
                </a:lnTo>
                <a:lnTo>
                  <a:pt x="3289" y="565"/>
                </a:lnTo>
                <a:lnTo>
                  <a:pt x="3274" y="544"/>
                </a:lnTo>
                <a:lnTo>
                  <a:pt x="3258" y="522"/>
                </a:lnTo>
                <a:lnTo>
                  <a:pt x="3239" y="504"/>
                </a:lnTo>
                <a:lnTo>
                  <a:pt x="3220" y="487"/>
                </a:lnTo>
                <a:lnTo>
                  <a:pt x="3198" y="472"/>
                </a:lnTo>
                <a:lnTo>
                  <a:pt x="3175" y="460"/>
                </a:lnTo>
                <a:lnTo>
                  <a:pt x="3151" y="450"/>
                </a:lnTo>
                <a:lnTo>
                  <a:pt x="3127" y="442"/>
                </a:lnTo>
                <a:lnTo>
                  <a:pt x="3100" y="438"/>
                </a:lnTo>
                <a:lnTo>
                  <a:pt x="3073" y="437"/>
                </a:lnTo>
                <a:lnTo>
                  <a:pt x="3046" y="438"/>
                </a:lnTo>
                <a:lnTo>
                  <a:pt x="3020" y="442"/>
                </a:lnTo>
                <a:lnTo>
                  <a:pt x="2996" y="450"/>
                </a:lnTo>
                <a:lnTo>
                  <a:pt x="2971" y="460"/>
                </a:lnTo>
                <a:lnTo>
                  <a:pt x="2948" y="472"/>
                </a:lnTo>
                <a:lnTo>
                  <a:pt x="2927" y="487"/>
                </a:lnTo>
                <a:lnTo>
                  <a:pt x="2908" y="504"/>
                </a:lnTo>
                <a:lnTo>
                  <a:pt x="2889" y="522"/>
                </a:lnTo>
                <a:lnTo>
                  <a:pt x="2873" y="544"/>
                </a:lnTo>
                <a:lnTo>
                  <a:pt x="2858" y="565"/>
                </a:lnTo>
                <a:lnTo>
                  <a:pt x="2844" y="590"/>
                </a:lnTo>
                <a:lnTo>
                  <a:pt x="2833" y="614"/>
                </a:lnTo>
                <a:lnTo>
                  <a:pt x="2825" y="641"/>
                </a:lnTo>
                <a:lnTo>
                  <a:pt x="2818" y="668"/>
                </a:lnTo>
                <a:lnTo>
                  <a:pt x="2816" y="696"/>
                </a:lnTo>
                <a:lnTo>
                  <a:pt x="2814" y="726"/>
                </a:lnTo>
                <a:lnTo>
                  <a:pt x="2814" y="795"/>
                </a:lnTo>
                <a:lnTo>
                  <a:pt x="2816" y="824"/>
                </a:lnTo>
                <a:lnTo>
                  <a:pt x="2818" y="852"/>
                </a:lnTo>
                <a:lnTo>
                  <a:pt x="2825" y="879"/>
                </a:lnTo>
                <a:lnTo>
                  <a:pt x="2833" y="906"/>
                </a:lnTo>
                <a:lnTo>
                  <a:pt x="2844" y="930"/>
                </a:lnTo>
                <a:lnTo>
                  <a:pt x="2858" y="955"/>
                </a:lnTo>
                <a:lnTo>
                  <a:pt x="2873" y="976"/>
                </a:lnTo>
                <a:lnTo>
                  <a:pt x="2889" y="998"/>
                </a:lnTo>
                <a:lnTo>
                  <a:pt x="2908" y="1017"/>
                </a:lnTo>
                <a:lnTo>
                  <a:pt x="2927" y="1033"/>
                </a:lnTo>
                <a:lnTo>
                  <a:pt x="2948" y="1048"/>
                </a:lnTo>
                <a:lnTo>
                  <a:pt x="2971" y="1060"/>
                </a:lnTo>
                <a:lnTo>
                  <a:pt x="2996" y="1070"/>
                </a:lnTo>
                <a:lnTo>
                  <a:pt x="3020" y="1078"/>
                </a:lnTo>
                <a:lnTo>
                  <a:pt x="3046" y="1082"/>
                </a:lnTo>
                <a:lnTo>
                  <a:pt x="3073" y="1083"/>
                </a:lnTo>
                <a:close/>
                <a:moveTo>
                  <a:pt x="2868" y="726"/>
                </a:moveTo>
                <a:lnTo>
                  <a:pt x="2868" y="726"/>
                </a:lnTo>
                <a:lnTo>
                  <a:pt x="2868" y="702"/>
                </a:lnTo>
                <a:lnTo>
                  <a:pt x="2873" y="678"/>
                </a:lnTo>
                <a:lnTo>
                  <a:pt x="2878" y="655"/>
                </a:lnTo>
                <a:lnTo>
                  <a:pt x="2885" y="633"/>
                </a:lnTo>
                <a:lnTo>
                  <a:pt x="2893" y="613"/>
                </a:lnTo>
                <a:lnTo>
                  <a:pt x="2904" y="594"/>
                </a:lnTo>
                <a:lnTo>
                  <a:pt x="2916" y="575"/>
                </a:lnTo>
                <a:lnTo>
                  <a:pt x="2929" y="559"/>
                </a:lnTo>
                <a:lnTo>
                  <a:pt x="2944" y="544"/>
                </a:lnTo>
                <a:lnTo>
                  <a:pt x="2959" y="530"/>
                </a:lnTo>
                <a:lnTo>
                  <a:pt x="2977" y="518"/>
                </a:lnTo>
                <a:lnTo>
                  <a:pt x="2994" y="508"/>
                </a:lnTo>
                <a:lnTo>
                  <a:pt x="3013" y="502"/>
                </a:lnTo>
                <a:lnTo>
                  <a:pt x="3032" y="495"/>
                </a:lnTo>
                <a:lnTo>
                  <a:pt x="3052" y="492"/>
                </a:lnTo>
                <a:lnTo>
                  <a:pt x="3073" y="491"/>
                </a:lnTo>
                <a:lnTo>
                  <a:pt x="3094" y="492"/>
                </a:lnTo>
                <a:lnTo>
                  <a:pt x="3113" y="495"/>
                </a:lnTo>
                <a:lnTo>
                  <a:pt x="3134" y="502"/>
                </a:lnTo>
                <a:lnTo>
                  <a:pt x="3152" y="508"/>
                </a:lnTo>
                <a:lnTo>
                  <a:pt x="3170" y="518"/>
                </a:lnTo>
                <a:lnTo>
                  <a:pt x="3186" y="530"/>
                </a:lnTo>
                <a:lnTo>
                  <a:pt x="3202" y="544"/>
                </a:lnTo>
                <a:lnTo>
                  <a:pt x="3217" y="559"/>
                </a:lnTo>
                <a:lnTo>
                  <a:pt x="3231" y="575"/>
                </a:lnTo>
                <a:lnTo>
                  <a:pt x="3243" y="594"/>
                </a:lnTo>
                <a:lnTo>
                  <a:pt x="3254" y="613"/>
                </a:lnTo>
                <a:lnTo>
                  <a:pt x="3262" y="633"/>
                </a:lnTo>
                <a:lnTo>
                  <a:pt x="3269" y="655"/>
                </a:lnTo>
                <a:lnTo>
                  <a:pt x="3274" y="678"/>
                </a:lnTo>
                <a:lnTo>
                  <a:pt x="3277" y="702"/>
                </a:lnTo>
                <a:lnTo>
                  <a:pt x="3278" y="726"/>
                </a:lnTo>
                <a:lnTo>
                  <a:pt x="3278" y="795"/>
                </a:lnTo>
                <a:lnTo>
                  <a:pt x="3277" y="820"/>
                </a:lnTo>
                <a:lnTo>
                  <a:pt x="3274" y="843"/>
                </a:lnTo>
                <a:lnTo>
                  <a:pt x="3269" y="866"/>
                </a:lnTo>
                <a:lnTo>
                  <a:pt x="3262" y="887"/>
                </a:lnTo>
                <a:lnTo>
                  <a:pt x="3254" y="907"/>
                </a:lnTo>
                <a:lnTo>
                  <a:pt x="3243" y="928"/>
                </a:lnTo>
                <a:lnTo>
                  <a:pt x="3231" y="945"/>
                </a:lnTo>
                <a:lnTo>
                  <a:pt x="3217" y="962"/>
                </a:lnTo>
                <a:lnTo>
                  <a:pt x="3202" y="976"/>
                </a:lnTo>
                <a:lnTo>
                  <a:pt x="3186" y="990"/>
                </a:lnTo>
                <a:lnTo>
                  <a:pt x="3170" y="1002"/>
                </a:lnTo>
                <a:lnTo>
                  <a:pt x="3152" y="1012"/>
                </a:lnTo>
                <a:lnTo>
                  <a:pt x="3134" y="1020"/>
                </a:lnTo>
                <a:lnTo>
                  <a:pt x="3113" y="1025"/>
                </a:lnTo>
                <a:lnTo>
                  <a:pt x="3094" y="1028"/>
                </a:lnTo>
                <a:lnTo>
                  <a:pt x="3073" y="1029"/>
                </a:lnTo>
                <a:lnTo>
                  <a:pt x="3052" y="1028"/>
                </a:lnTo>
                <a:lnTo>
                  <a:pt x="3032" y="1025"/>
                </a:lnTo>
                <a:lnTo>
                  <a:pt x="3013" y="1020"/>
                </a:lnTo>
                <a:lnTo>
                  <a:pt x="2994" y="1012"/>
                </a:lnTo>
                <a:lnTo>
                  <a:pt x="2977" y="1002"/>
                </a:lnTo>
                <a:lnTo>
                  <a:pt x="2959" y="990"/>
                </a:lnTo>
                <a:lnTo>
                  <a:pt x="2944" y="976"/>
                </a:lnTo>
                <a:lnTo>
                  <a:pt x="2929" y="962"/>
                </a:lnTo>
                <a:lnTo>
                  <a:pt x="2916" y="945"/>
                </a:lnTo>
                <a:lnTo>
                  <a:pt x="2904" y="928"/>
                </a:lnTo>
                <a:lnTo>
                  <a:pt x="2893" y="907"/>
                </a:lnTo>
                <a:lnTo>
                  <a:pt x="2885" y="887"/>
                </a:lnTo>
                <a:lnTo>
                  <a:pt x="2878" y="866"/>
                </a:lnTo>
                <a:lnTo>
                  <a:pt x="2873" y="843"/>
                </a:lnTo>
                <a:lnTo>
                  <a:pt x="2868" y="820"/>
                </a:lnTo>
                <a:lnTo>
                  <a:pt x="2868" y="795"/>
                </a:lnTo>
                <a:lnTo>
                  <a:pt x="2868" y="726"/>
                </a:lnTo>
                <a:close/>
                <a:moveTo>
                  <a:pt x="622" y="1083"/>
                </a:moveTo>
                <a:lnTo>
                  <a:pt x="622" y="1083"/>
                </a:lnTo>
                <a:lnTo>
                  <a:pt x="649" y="1082"/>
                </a:lnTo>
                <a:lnTo>
                  <a:pt x="676" y="1078"/>
                </a:lnTo>
                <a:lnTo>
                  <a:pt x="701" y="1070"/>
                </a:lnTo>
                <a:lnTo>
                  <a:pt x="725" y="1060"/>
                </a:lnTo>
                <a:lnTo>
                  <a:pt x="748" y="1048"/>
                </a:lnTo>
                <a:lnTo>
                  <a:pt x="770" y="1033"/>
                </a:lnTo>
                <a:lnTo>
                  <a:pt x="788" y="1017"/>
                </a:lnTo>
                <a:lnTo>
                  <a:pt x="807" y="998"/>
                </a:lnTo>
                <a:lnTo>
                  <a:pt x="824" y="976"/>
                </a:lnTo>
                <a:lnTo>
                  <a:pt x="838" y="955"/>
                </a:lnTo>
                <a:lnTo>
                  <a:pt x="851" y="930"/>
                </a:lnTo>
                <a:lnTo>
                  <a:pt x="861" y="906"/>
                </a:lnTo>
                <a:lnTo>
                  <a:pt x="871" y="879"/>
                </a:lnTo>
                <a:lnTo>
                  <a:pt x="876" y="852"/>
                </a:lnTo>
                <a:lnTo>
                  <a:pt x="880" y="824"/>
                </a:lnTo>
                <a:lnTo>
                  <a:pt x="882" y="795"/>
                </a:lnTo>
                <a:lnTo>
                  <a:pt x="882" y="726"/>
                </a:lnTo>
                <a:lnTo>
                  <a:pt x="880" y="696"/>
                </a:lnTo>
                <a:lnTo>
                  <a:pt x="876" y="668"/>
                </a:lnTo>
                <a:lnTo>
                  <a:pt x="871" y="641"/>
                </a:lnTo>
                <a:lnTo>
                  <a:pt x="861" y="614"/>
                </a:lnTo>
                <a:lnTo>
                  <a:pt x="851" y="590"/>
                </a:lnTo>
                <a:lnTo>
                  <a:pt x="838" y="565"/>
                </a:lnTo>
                <a:lnTo>
                  <a:pt x="824" y="544"/>
                </a:lnTo>
                <a:lnTo>
                  <a:pt x="807" y="522"/>
                </a:lnTo>
                <a:lnTo>
                  <a:pt x="788" y="504"/>
                </a:lnTo>
                <a:lnTo>
                  <a:pt x="770" y="487"/>
                </a:lnTo>
                <a:lnTo>
                  <a:pt x="748" y="472"/>
                </a:lnTo>
                <a:lnTo>
                  <a:pt x="725" y="460"/>
                </a:lnTo>
                <a:lnTo>
                  <a:pt x="701" y="450"/>
                </a:lnTo>
                <a:lnTo>
                  <a:pt x="676" y="442"/>
                </a:lnTo>
                <a:lnTo>
                  <a:pt x="649" y="438"/>
                </a:lnTo>
                <a:lnTo>
                  <a:pt x="622" y="437"/>
                </a:lnTo>
                <a:lnTo>
                  <a:pt x="595" y="438"/>
                </a:lnTo>
                <a:lnTo>
                  <a:pt x="569" y="442"/>
                </a:lnTo>
                <a:lnTo>
                  <a:pt x="544" y="450"/>
                </a:lnTo>
                <a:lnTo>
                  <a:pt x="521" y="460"/>
                </a:lnTo>
                <a:lnTo>
                  <a:pt x="498" y="472"/>
                </a:lnTo>
                <a:lnTo>
                  <a:pt x="476" y="487"/>
                </a:lnTo>
                <a:lnTo>
                  <a:pt x="456" y="504"/>
                </a:lnTo>
                <a:lnTo>
                  <a:pt x="438" y="522"/>
                </a:lnTo>
                <a:lnTo>
                  <a:pt x="422" y="544"/>
                </a:lnTo>
                <a:lnTo>
                  <a:pt x="407" y="565"/>
                </a:lnTo>
                <a:lnTo>
                  <a:pt x="394" y="590"/>
                </a:lnTo>
                <a:lnTo>
                  <a:pt x="383" y="614"/>
                </a:lnTo>
                <a:lnTo>
                  <a:pt x="375" y="641"/>
                </a:lnTo>
                <a:lnTo>
                  <a:pt x="368" y="668"/>
                </a:lnTo>
                <a:lnTo>
                  <a:pt x="364" y="696"/>
                </a:lnTo>
                <a:lnTo>
                  <a:pt x="362" y="726"/>
                </a:lnTo>
                <a:lnTo>
                  <a:pt x="362" y="795"/>
                </a:lnTo>
                <a:lnTo>
                  <a:pt x="364" y="824"/>
                </a:lnTo>
                <a:lnTo>
                  <a:pt x="368" y="852"/>
                </a:lnTo>
                <a:lnTo>
                  <a:pt x="375" y="879"/>
                </a:lnTo>
                <a:lnTo>
                  <a:pt x="383" y="906"/>
                </a:lnTo>
                <a:lnTo>
                  <a:pt x="394" y="930"/>
                </a:lnTo>
                <a:lnTo>
                  <a:pt x="407" y="955"/>
                </a:lnTo>
                <a:lnTo>
                  <a:pt x="422" y="976"/>
                </a:lnTo>
                <a:lnTo>
                  <a:pt x="438" y="998"/>
                </a:lnTo>
                <a:lnTo>
                  <a:pt x="456" y="1017"/>
                </a:lnTo>
                <a:lnTo>
                  <a:pt x="476" y="1033"/>
                </a:lnTo>
                <a:lnTo>
                  <a:pt x="498" y="1048"/>
                </a:lnTo>
                <a:lnTo>
                  <a:pt x="521" y="1060"/>
                </a:lnTo>
                <a:lnTo>
                  <a:pt x="544" y="1070"/>
                </a:lnTo>
                <a:lnTo>
                  <a:pt x="569" y="1078"/>
                </a:lnTo>
                <a:lnTo>
                  <a:pt x="595" y="1082"/>
                </a:lnTo>
                <a:lnTo>
                  <a:pt x="622" y="1083"/>
                </a:lnTo>
                <a:close/>
                <a:moveTo>
                  <a:pt x="417" y="726"/>
                </a:moveTo>
                <a:lnTo>
                  <a:pt x="417" y="726"/>
                </a:lnTo>
                <a:lnTo>
                  <a:pt x="418" y="702"/>
                </a:lnTo>
                <a:lnTo>
                  <a:pt x="422" y="678"/>
                </a:lnTo>
                <a:lnTo>
                  <a:pt x="426" y="655"/>
                </a:lnTo>
                <a:lnTo>
                  <a:pt x="434" y="633"/>
                </a:lnTo>
                <a:lnTo>
                  <a:pt x="442" y="613"/>
                </a:lnTo>
                <a:lnTo>
                  <a:pt x="453" y="594"/>
                </a:lnTo>
                <a:lnTo>
                  <a:pt x="465" y="575"/>
                </a:lnTo>
                <a:lnTo>
                  <a:pt x="479" y="559"/>
                </a:lnTo>
                <a:lnTo>
                  <a:pt x="494" y="544"/>
                </a:lnTo>
                <a:lnTo>
                  <a:pt x="509" y="530"/>
                </a:lnTo>
                <a:lnTo>
                  <a:pt x="526" y="518"/>
                </a:lnTo>
                <a:lnTo>
                  <a:pt x="544" y="508"/>
                </a:lnTo>
                <a:lnTo>
                  <a:pt x="563" y="502"/>
                </a:lnTo>
                <a:lnTo>
                  <a:pt x="582" y="495"/>
                </a:lnTo>
                <a:lnTo>
                  <a:pt x="602" y="492"/>
                </a:lnTo>
                <a:lnTo>
                  <a:pt x="622" y="491"/>
                </a:lnTo>
                <a:lnTo>
                  <a:pt x="642" y="492"/>
                </a:lnTo>
                <a:lnTo>
                  <a:pt x="663" y="495"/>
                </a:lnTo>
                <a:lnTo>
                  <a:pt x="683" y="502"/>
                </a:lnTo>
                <a:lnTo>
                  <a:pt x="701" y="508"/>
                </a:lnTo>
                <a:lnTo>
                  <a:pt x="719" y="518"/>
                </a:lnTo>
                <a:lnTo>
                  <a:pt x="736" y="530"/>
                </a:lnTo>
                <a:lnTo>
                  <a:pt x="752" y="544"/>
                </a:lnTo>
                <a:lnTo>
                  <a:pt x="767" y="559"/>
                </a:lnTo>
                <a:lnTo>
                  <a:pt x="780" y="575"/>
                </a:lnTo>
                <a:lnTo>
                  <a:pt x="793" y="594"/>
                </a:lnTo>
                <a:lnTo>
                  <a:pt x="802" y="613"/>
                </a:lnTo>
                <a:lnTo>
                  <a:pt x="811" y="633"/>
                </a:lnTo>
                <a:lnTo>
                  <a:pt x="818" y="655"/>
                </a:lnTo>
                <a:lnTo>
                  <a:pt x="824" y="678"/>
                </a:lnTo>
                <a:lnTo>
                  <a:pt x="826" y="702"/>
                </a:lnTo>
                <a:lnTo>
                  <a:pt x="828" y="726"/>
                </a:lnTo>
                <a:lnTo>
                  <a:pt x="828" y="795"/>
                </a:lnTo>
                <a:lnTo>
                  <a:pt x="826" y="820"/>
                </a:lnTo>
                <a:lnTo>
                  <a:pt x="824" y="843"/>
                </a:lnTo>
                <a:lnTo>
                  <a:pt x="818" y="866"/>
                </a:lnTo>
                <a:lnTo>
                  <a:pt x="811" y="887"/>
                </a:lnTo>
                <a:lnTo>
                  <a:pt x="802" y="907"/>
                </a:lnTo>
                <a:lnTo>
                  <a:pt x="793" y="928"/>
                </a:lnTo>
                <a:lnTo>
                  <a:pt x="780" y="945"/>
                </a:lnTo>
                <a:lnTo>
                  <a:pt x="767" y="962"/>
                </a:lnTo>
                <a:lnTo>
                  <a:pt x="752" y="976"/>
                </a:lnTo>
                <a:lnTo>
                  <a:pt x="736" y="990"/>
                </a:lnTo>
                <a:lnTo>
                  <a:pt x="719" y="1002"/>
                </a:lnTo>
                <a:lnTo>
                  <a:pt x="701" y="1012"/>
                </a:lnTo>
                <a:lnTo>
                  <a:pt x="683" y="1020"/>
                </a:lnTo>
                <a:lnTo>
                  <a:pt x="663" y="1025"/>
                </a:lnTo>
                <a:lnTo>
                  <a:pt x="642" y="1028"/>
                </a:lnTo>
                <a:lnTo>
                  <a:pt x="622" y="1029"/>
                </a:lnTo>
                <a:lnTo>
                  <a:pt x="602" y="1028"/>
                </a:lnTo>
                <a:lnTo>
                  <a:pt x="582" y="1025"/>
                </a:lnTo>
                <a:lnTo>
                  <a:pt x="563" y="1020"/>
                </a:lnTo>
                <a:lnTo>
                  <a:pt x="544" y="1012"/>
                </a:lnTo>
                <a:lnTo>
                  <a:pt x="526" y="1002"/>
                </a:lnTo>
                <a:lnTo>
                  <a:pt x="509" y="990"/>
                </a:lnTo>
                <a:lnTo>
                  <a:pt x="494" y="976"/>
                </a:lnTo>
                <a:lnTo>
                  <a:pt x="479" y="962"/>
                </a:lnTo>
                <a:lnTo>
                  <a:pt x="465" y="945"/>
                </a:lnTo>
                <a:lnTo>
                  <a:pt x="453" y="928"/>
                </a:lnTo>
                <a:lnTo>
                  <a:pt x="442" y="907"/>
                </a:lnTo>
                <a:lnTo>
                  <a:pt x="434" y="887"/>
                </a:lnTo>
                <a:lnTo>
                  <a:pt x="426" y="866"/>
                </a:lnTo>
                <a:lnTo>
                  <a:pt x="422" y="843"/>
                </a:lnTo>
                <a:lnTo>
                  <a:pt x="418" y="820"/>
                </a:lnTo>
                <a:lnTo>
                  <a:pt x="417" y="795"/>
                </a:lnTo>
                <a:lnTo>
                  <a:pt x="417" y="726"/>
                </a:lnTo>
                <a:close/>
                <a:moveTo>
                  <a:pt x="3519" y="1206"/>
                </a:moveTo>
                <a:lnTo>
                  <a:pt x="2717" y="1145"/>
                </a:lnTo>
                <a:lnTo>
                  <a:pt x="2712" y="1124"/>
                </a:lnTo>
                <a:lnTo>
                  <a:pt x="2706" y="1104"/>
                </a:lnTo>
                <a:lnTo>
                  <a:pt x="2699" y="1085"/>
                </a:lnTo>
                <a:lnTo>
                  <a:pt x="2693" y="1066"/>
                </a:lnTo>
                <a:lnTo>
                  <a:pt x="2683" y="1047"/>
                </a:lnTo>
                <a:lnTo>
                  <a:pt x="2674" y="1029"/>
                </a:lnTo>
                <a:lnTo>
                  <a:pt x="2663" y="1013"/>
                </a:lnTo>
                <a:lnTo>
                  <a:pt x="2651" y="997"/>
                </a:lnTo>
                <a:lnTo>
                  <a:pt x="2637" y="982"/>
                </a:lnTo>
                <a:lnTo>
                  <a:pt x="2624" y="967"/>
                </a:lnTo>
                <a:lnTo>
                  <a:pt x="2609" y="953"/>
                </a:lnTo>
                <a:lnTo>
                  <a:pt x="2594" y="941"/>
                </a:lnTo>
                <a:lnTo>
                  <a:pt x="2576" y="930"/>
                </a:lnTo>
                <a:lnTo>
                  <a:pt x="2559" y="920"/>
                </a:lnTo>
                <a:lnTo>
                  <a:pt x="2541" y="910"/>
                </a:lnTo>
                <a:lnTo>
                  <a:pt x="2522" y="902"/>
                </a:lnTo>
                <a:lnTo>
                  <a:pt x="2075" y="732"/>
                </a:lnTo>
                <a:lnTo>
                  <a:pt x="2052" y="837"/>
                </a:lnTo>
                <a:lnTo>
                  <a:pt x="2066" y="837"/>
                </a:lnTo>
                <a:lnTo>
                  <a:pt x="2469" y="999"/>
                </a:lnTo>
                <a:lnTo>
                  <a:pt x="2486" y="1008"/>
                </a:lnTo>
                <a:lnTo>
                  <a:pt x="2502" y="1014"/>
                </a:lnTo>
                <a:lnTo>
                  <a:pt x="2517" y="1024"/>
                </a:lnTo>
                <a:lnTo>
                  <a:pt x="2530" y="1033"/>
                </a:lnTo>
                <a:lnTo>
                  <a:pt x="2543" y="1043"/>
                </a:lnTo>
                <a:lnTo>
                  <a:pt x="2555" y="1053"/>
                </a:lnTo>
                <a:lnTo>
                  <a:pt x="2564" y="1066"/>
                </a:lnTo>
                <a:lnTo>
                  <a:pt x="2574" y="1076"/>
                </a:lnTo>
                <a:lnTo>
                  <a:pt x="2583" y="1090"/>
                </a:lnTo>
                <a:lnTo>
                  <a:pt x="2590" y="1104"/>
                </a:lnTo>
                <a:lnTo>
                  <a:pt x="2597" y="1117"/>
                </a:lnTo>
                <a:lnTo>
                  <a:pt x="2602" y="1132"/>
                </a:lnTo>
                <a:lnTo>
                  <a:pt x="2606" y="1148"/>
                </a:lnTo>
                <a:lnTo>
                  <a:pt x="2610" y="1164"/>
                </a:lnTo>
                <a:lnTo>
                  <a:pt x="2613" y="1182"/>
                </a:lnTo>
                <a:lnTo>
                  <a:pt x="2614" y="1200"/>
                </a:lnTo>
                <a:lnTo>
                  <a:pt x="2679" y="2625"/>
                </a:lnTo>
                <a:lnTo>
                  <a:pt x="2451" y="2625"/>
                </a:lnTo>
                <a:lnTo>
                  <a:pt x="2438" y="1258"/>
                </a:lnTo>
                <a:lnTo>
                  <a:pt x="2384" y="1259"/>
                </a:lnTo>
                <a:lnTo>
                  <a:pt x="2396" y="2625"/>
                </a:lnTo>
                <a:lnTo>
                  <a:pt x="1296" y="2625"/>
                </a:lnTo>
                <a:lnTo>
                  <a:pt x="1309" y="1259"/>
                </a:lnTo>
                <a:lnTo>
                  <a:pt x="1255" y="1258"/>
                </a:lnTo>
                <a:lnTo>
                  <a:pt x="1242" y="2625"/>
                </a:lnTo>
                <a:lnTo>
                  <a:pt x="964" y="2625"/>
                </a:lnTo>
                <a:lnTo>
                  <a:pt x="1043" y="1200"/>
                </a:lnTo>
                <a:lnTo>
                  <a:pt x="1045" y="1182"/>
                </a:lnTo>
                <a:lnTo>
                  <a:pt x="1047" y="1164"/>
                </a:lnTo>
                <a:lnTo>
                  <a:pt x="1051" y="1148"/>
                </a:lnTo>
                <a:lnTo>
                  <a:pt x="1055" y="1132"/>
                </a:lnTo>
                <a:lnTo>
                  <a:pt x="1060" y="1117"/>
                </a:lnTo>
                <a:lnTo>
                  <a:pt x="1067" y="1104"/>
                </a:lnTo>
                <a:lnTo>
                  <a:pt x="1075" y="1090"/>
                </a:lnTo>
                <a:lnTo>
                  <a:pt x="1083" y="1076"/>
                </a:lnTo>
                <a:lnTo>
                  <a:pt x="1093" y="1064"/>
                </a:lnTo>
                <a:lnTo>
                  <a:pt x="1104" y="1053"/>
                </a:lnTo>
                <a:lnTo>
                  <a:pt x="1114" y="1043"/>
                </a:lnTo>
                <a:lnTo>
                  <a:pt x="1128" y="1033"/>
                </a:lnTo>
                <a:lnTo>
                  <a:pt x="1141" y="1024"/>
                </a:lnTo>
                <a:lnTo>
                  <a:pt x="1155" y="1014"/>
                </a:lnTo>
                <a:lnTo>
                  <a:pt x="1171" y="1008"/>
                </a:lnTo>
                <a:lnTo>
                  <a:pt x="1187" y="999"/>
                </a:lnTo>
                <a:lnTo>
                  <a:pt x="1590" y="837"/>
                </a:lnTo>
                <a:lnTo>
                  <a:pt x="1607" y="837"/>
                </a:lnTo>
                <a:lnTo>
                  <a:pt x="1584" y="730"/>
                </a:lnTo>
                <a:lnTo>
                  <a:pt x="1164" y="886"/>
                </a:lnTo>
                <a:lnTo>
                  <a:pt x="1143" y="894"/>
                </a:lnTo>
                <a:lnTo>
                  <a:pt x="1122" y="903"/>
                </a:lnTo>
                <a:lnTo>
                  <a:pt x="1102" y="914"/>
                </a:lnTo>
                <a:lnTo>
                  <a:pt x="1083" y="926"/>
                </a:lnTo>
                <a:lnTo>
                  <a:pt x="1064" y="940"/>
                </a:lnTo>
                <a:lnTo>
                  <a:pt x="1048" y="953"/>
                </a:lnTo>
                <a:lnTo>
                  <a:pt x="1032" y="970"/>
                </a:lnTo>
                <a:lnTo>
                  <a:pt x="1017" y="986"/>
                </a:lnTo>
                <a:lnTo>
                  <a:pt x="1003" y="1002"/>
                </a:lnTo>
                <a:lnTo>
                  <a:pt x="990" y="1021"/>
                </a:lnTo>
                <a:lnTo>
                  <a:pt x="979" y="1040"/>
                </a:lnTo>
                <a:lnTo>
                  <a:pt x="968" y="1059"/>
                </a:lnTo>
                <a:lnTo>
                  <a:pt x="959" y="1081"/>
                </a:lnTo>
                <a:lnTo>
                  <a:pt x="952" y="1102"/>
                </a:lnTo>
                <a:lnTo>
                  <a:pt x="945" y="1124"/>
                </a:lnTo>
                <a:lnTo>
                  <a:pt x="940" y="1147"/>
                </a:lnTo>
                <a:lnTo>
                  <a:pt x="168" y="1206"/>
                </a:lnTo>
                <a:lnTo>
                  <a:pt x="145" y="1209"/>
                </a:lnTo>
                <a:lnTo>
                  <a:pt x="124" y="1213"/>
                </a:lnTo>
                <a:lnTo>
                  <a:pt x="104" y="1218"/>
                </a:lnTo>
                <a:lnTo>
                  <a:pt x="88" y="1227"/>
                </a:lnTo>
                <a:lnTo>
                  <a:pt x="72" y="1235"/>
                </a:lnTo>
                <a:lnTo>
                  <a:pt x="58" y="1244"/>
                </a:lnTo>
                <a:lnTo>
                  <a:pt x="46" y="1254"/>
                </a:lnTo>
                <a:lnTo>
                  <a:pt x="35" y="1266"/>
                </a:lnTo>
                <a:lnTo>
                  <a:pt x="27" y="1277"/>
                </a:lnTo>
                <a:lnTo>
                  <a:pt x="19" y="1289"/>
                </a:lnTo>
                <a:lnTo>
                  <a:pt x="12" y="1302"/>
                </a:lnTo>
                <a:lnTo>
                  <a:pt x="8" y="1314"/>
                </a:lnTo>
                <a:lnTo>
                  <a:pt x="4" y="1327"/>
                </a:lnTo>
                <a:lnTo>
                  <a:pt x="1" y="1339"/>
                </a:lnTo>
                <a:lnTo>
                  <a:pt x="0" y="1351"/>
                </a:lnTo>
                <a:lnTo>
                  <a:pt x="0" y="1363"/>
                </a:lnTo>
                <a:lnTo>
                  <a:pt x="1" y="2706"/>
                </a:lnTo>
                <a:lnTo>
                  <a:pt x="3" y="2725"/>
                </a:lnTo>
                <a:lnTo>
                  <a:pt x="3" y="2744"/>
                </a:lnTo>
                <a:lnTo>
                  <a:pt x="8" y="2779"/>
                </a:lnTo>
                <a:lnTo>
                  <a:pt x="15" y="2810"/>
                </a:lnTo>
                <a:lnTo>
                  <a:pt x="24" y="2840"/>
                </a:lnTo>
                <a:lnTo>
                  <a:pt x="37" y="2868"/>
                </a:lnTo>
                <a:lnTo>
                  <a:pt x="50" y="2893"/>
                </a:lnTo>
                <a:lnTo>
                  <a:pt x="65" y="2917"/>
                </a:lnTo>
                <a:lnTo>
                  <a:pt x="81" y="2939"/>
                </a:lnTo>
                <a:lnTo>
                  <a:pt x="99" y="2959"/>
                </a:lnTo>
                <a:lnTo>
                  <a:pt x="116" y="2978"/>
                </a:lnTo>
                <a:lnTo>
                  <a:pt x="135" y="2995"/>
                </a:lnTo>
                <a:lnTo>
                  <a:pt x="153" y="3013"/>
                </a:lnTo>
                <a:lnTo>
                  <a:pt x="189" y="3046"/>
                </a:lnTo>
                <a:lnTo>
                  <a:pt x="223" y="3077"/>
                </a:lnTo>
                <a:lnTo>
                  <a:pt x="296" y="4763"/>
                </a:lnTo>
                <a:lnTo>
                  <a:pt x="1274" y="4763"/>
                </a:lnTo>
                <a:lnTo>
                  <a:pt x="1296" y="2679"/>
                </a:lnTo>
                <a:lnTo>
                  <a:pt x="2398" y="2679"/>
                </a:lnTo>
                <a:lnTo>
                  <a:pt x="2418" y="4763"/>
                </a:lnTo>
                <a:lnTo>
                  <a:pt x="3392" y="4763"/>
                </a:lnTo>
                <a:lnTo>
                  <a:pt x="3465" y="3077"/>
                </a:lnTo>
                <a:lnTo>
                  <a:pt x="3499" y="3046"/>
                </a:lnTo>
                <a:lnTo>
                  <a:pt x="3534" y="3013"/>
                </a:lnTo>
                <a:lnTo>
                  <a:pt x="3553" y="2995"/>
                </a:lnTo>
                <a:lnTo>
                  <a:pt x="3572" y="2978"/>
                </a:lnTo>
                <a:lnTo>
                  <a:pt x="3589" y="2959"/>
                </a:lnTo>
                <a:lnTo>
                  <a:pt x="3607" y="2939"/>
                </a:lnTo>
                <a:lnTo>
                  <a:pt x="3623" y="2917"/>
                </a:lnTo>
                <a:lnTo>
                  <a:pt x="3638" y="2893"/>
                </a:lnTo>
                <a:lnTo>
                  <a:pt x="3651" y="2868"/>
                </a:lnTo>
                <a:lnTo>
                  <a:pt x="3664" y="2840"/>
                </a:lnTo>
                <a:lnTo>
                  <a:pt x="3673" y="2810"/>
                </a:lnTo>
                <a:lnTo>
                  <a:pt x="3680" y="2779"/>
                </a:lnTo>
                <a:lnTo>
                  <a:pt x="3684" y="2744"/>
                </a:lnTo>
                <a:lnTo>
                  <a:pt x="3685" y="2725"/>
                </a:lnTo>
                <a:lnTo>
                  <a:pt x="3687" y="2706"/>
                </a:lnTo>
                <a:lnTo>
                  <a:pt x="3688" y="1363"/>
                </a:lnTo>
                <a:lnTo>
                  <a:pt x="3688" y="1351"/>
                </a:lnTo>
                <a:lnTo>
                  <a:pt x="3687" y="1339"/>
                </a:lnTo>
                <a:lnTo>
                  <a:pt x="3684" y="1327"/>
                </a:lnTo>
                <a:lnTo>
                  <a:pt x="3680" y="1314"/>
                </a:lnTo>
                <a:lnTo>
                  <a:pt x="3676" y="1302"/>
                </a:lnTo>
                <a:lnTo>
                  <a:pt x="3669" y="1289"/>
                </a:lnTo>
                <a:lnTo>
                  <a:pt x="3661" y="1277"/>
                </a:lnTo>
                <a:lnTo>
                  <a:pt x="3653" y="1266"/>
                </a:lnTo>
                <a:lnTo>
                  <a:pt x="3642" y="1254"/>
                </a:lnTo>
                <a:lnTo>
                  <a:pt x="3630" y="1244"/>
                </a:lnTo>
                <a:lnTo>
                  <a:pt x="3616" y="1235"/>
                </a:lnTo>
                <a:lnTo>
                  <a:pt x="3600" y="1227"/>
                </a:lnTo>
                <a:lnTo>
                  <a:pt x="3583" y="1218"/>
                </a:lnTo>
                <a:lnTo>
                  <a:pt x="3564" y="1213"/>
                </a:lnTo>
                <a:lnTo>
                  <a:pt x="3543" y="1209"/>
                </a:lnTo>
                <a:lnTo>
                  <a:pt x="3519" y="1206"/>
                </a:lnTo>
                <a:close/>
                <a:moveTo>
                  <a:pt x="625" y="2552"/>
                </a:moveTo>
                <a:lnTo>
                  <a:pt x="463" y="2350"/>
                </a:lnTo>
                <a:lnTo>
                  <a:pt x="579" y="1296"/>
                </a:lnTo>
                <a:lnTo>
                  <a:pt x="660" y="1290"/>
                </a:lnTo>
                <a:lnTo>
                  <a:pt x="776" y="2350"/>
                </a:lnTo>
                <a:lnTo>
                  <a:pt x="625" y="2552"/>
                </a:lnTo>
                <a:close/>
                <a:moveTo>
                  <a:pt x="1237" y="3110"/>
                </a:moveTo>
                <a:lnTo>
                  <a:pt x="978" y="2679"/>
                </a:lnTo>
                <a:lnTo>
                  <a:pt x="1242" y="2679"/>
                </a:lnTo>
                <a:lnTo>
                  <a:pt x="1237" y="3110"/>
                </a:lnTo>
                <a:close/>
                <a:moveTo>
                  <a:pt x="2456" y="3109"/>
                </a:moveTo>
                <a:lnTo>
                  <a:pt x="2452" y="2679"/>
                </a:lnTo>
                <a:lnTo>
                  <a:pt x="2680" y="2679"/>
                </a:lnTo>
                <a:lnTo>
                  <a:pt x="2456" y="3109"/>
                </a:lnTo>
                <a:close/>
                <a:moveTo>
                  <a:pt x="3065" y="2595"/>
                </a:moveTo>
                <a:lnTo>
                  <a:pt x="2902" y="2394"/>
                </a:lnTo>
                <a:lnTo>
                  <a:pt x="3019" y="1290"/>
                </a:lnTo>
                <a:lnTo>
                  <a:pt x="3100" y="1296"/>
                </a:lnTo>
                <a:lnTo>
                  <a:pt x="3216" y="2394"/>
                </a:lnTo>
                <a:lnTo>
                  <a:pt x="3065" y="2595"/>
                </a:lnTo>
                <a:close/>
                <a:moveTo>
                  <a:pt x="1792" y="2951"/>
                </a:moveTo>
                <a:lnTo>
                  <a:pt x="1777" y="4763"/>
                </a:lnTo>
                <a:lnTo>
                  <a:pt x="1861" y="4763"/>
                </a:lnTo>
                <a:lnTo>
                  <a:pt x="1846" y="2951"/>
                </a:lnTo>
                <a:lnTo>
                  <a:pt x="1792" y="2951"/>
                </a:lnTo>
                <a:close/>
                <a:moveTo>
                  <a:pt x="1035" y="2528"/>
                </a:moveTo>
                <a:lnTo>
                  <a:pt x="1035" y="2528"/>
                </a:lnTo>
                <a:lnTo>
                  <a:pt x="1036" y="2534"/>
                </a:lnTo>
                <a:lnTo>
                  <a:pt x="1037" y="2540"/>
                </a:lnTo>
                <a:lnTo>
                  <a:pt x="1040" y="2545"/>
                </a:lnTo>
                <a:lnTo>
                  <a:pt x="1044" y="2551"/>
                </a:lnTo>
                <a:lnTo>
                  <a:pt x="1048" y="2555"/>
                </a:lnTo>
                <a:lnTo>
                  <a:pt x="1054" y="2557"/>
                </a:lnTo>
                <a:lnTo>
                  <a:pt x="1060" y="2559"/>
                </a:lnTo>
                <a:lnTo>
                  <a:pt x="1066" y="2560"/>
                </a:lnTo>
                <a:lnTo>
                  <a:pt x="1072" y="2559"/>
                </a:lnTo>
                <a:lnTo>
                  <a:pt x="1078" y="2557"/>
                </a:lnTo>
                <a:lnTo>
                  <a:pt x="1083" y="2555"/>
                </a:lnTo>
                <a:lnTo>
                  <a:pt x="1089" y="2551"/>
                </a:lnTo>
                <a:lnTo>
                  <a:pt x="1093" y="2545"/>
                </a:lnTo>
                <a:lnTo>
                  <a:pt x="1095" y="2540"/>
                </a:lnTo>
                <a:lnTo>
                  <a:pt x="1097" y="2534"/>
                </a:lnTo>
                <a:lnTo>
                  <a:pt x="1097" y="2528"/>
                </a:lnTo>
                <a:lnTo>
                  <a:pt x="1097" y="2522"/>
                </a:lnTo>
                <a:lnTo>
                  <a:pt x="1095" y="2515"/>
                </a:lnTo>
                <a:lnTo>
                  <a:pt x="1093" y="2511"/>
                </a:lnTo>
                <a:lnTo>
                  <a:pt x="1089" y="2506"/>
                </a:lnTo>
                <a:lnTo>
                  <a:pt x="1083" y="2502"/>
                </a:lnTo>
                <a:lnTo>
                  <a:pt x="1078" y="2499"/>
                </a:lnTo>
                <a:lnTo>
                  <a:pt x="1072" y="2498"/>
                </a:lnTo>
                <a:lnTo>
                  <a:pt x="1066" y="2496"/>
                </a:lnTo>
                <a:lnTo>
                  <a:pt x="1060" y="2498"/>
                </a:lnTo>
                <a:lnTo>
                  <a:pt x="1054" y="2499"/>
                </a:lnTo>
                <a:lnTo>
                  <a:pt x="1048" y="2502"/>
                </a:lnTo>
                <a:lnTo>
                  <a:pt x="1044" y="2506"/>
                </a:lnTo>
                <a:lnTo>
                  <a:pt x="1040" y="2511"/>
                </a:lnTo>
                <a:lnTo>
                  <a:pt x="1037" y="2515"/>
                </a:lnTo>
                <a:lnTo>
                  <a:pt x="1036" y="2522"/>
                </a:lnTo>
                <a:lnTo>
                  <a:pt x="1035" y="2528"/>
                </a:lnTo>
                <a:close/>
                <a:moveTo>
                  <a:pt x="2602" y="2528"/>
                </a:moveTo>
                <a:lnTo>
                  <a:pt x="2602" y="2528"/>
                </a:lnTo>
                <a:lnTo>
                  <a:pt x="2602" y="2522"/>
                </a:lnTo>
                <a:lnTo>
                  <a:pt x="2601" y="2515"/>
                </a:lnTo>
                <a:lnTo>
                  <a:pt x="2598" y="2511"/>
                </a:lnTo>
                <a:lnTo>
                  <a:pt x="2594" y="2506"/>
                </a:lnTo>
                <a:lnTo>
                  <a:pt x="2588" y="2502"/>
                </a:lnTo>
                <a:lnTo>
                  <a:pt x="2583" y="2499"/>
                </a:lnTo>
                <a:lnTo>
                  <a:pt x="2578" y="2498"/>
                </a:lnTo>
                <a:lnTo>
                  <a:pt x="2571" y="2496"/>
                </a:lnTo>
                <a:lnTo>
                  <a:pt x="2566" y="2498"/>
                </a:lnTo>
                <a:lnTo>
                  <a:pt x="2559" y="2499"/>
                </a:lnTo>
                <a:lnTo>
                  <a:pt x="2553" y="2502"/>
                </a:lnTo>
                <a:lnTo>
                  <a:pt x="2549" y="2506"/>
                </a:lnTo>
                <a:lnTo>
                  <a:pt x="2545" y="2511"/>
                </a:lnTo>
                <a:lnTo>
                  <a:pt x="2543" y="2515"/>
                </a:lnTo>
                <a:lnTo>
                  <a:pt x="2541" y="2522"/>
                </a:lnTo>
                <a:lnTo>
                  <a:pt x="2540" y="2528"/>
                </a:lnTo>
                <a:lnTo>
                  <a:pt x="2541" y="2534"/>
                </a:lnTo>
                <a:lnTo>
                  <a:pt x="2543" y="2540"/>
                </a:lnTo>
                <a:lnTo>
                  <a:pt x="2545" y="2545"/>
                </a:lnTo>
                <a:lnTo>
                  <a:pt x="2549" y="2551"/>
                </a:lnTo>
                <a:lnTo>
                  <a:pt x="2553" y="2555"/>
                </a:lnTo>
                <a:lnTo>
                  <a:pt x="2559" y="2557"/>
                </a:lnTo>
                <a:lnTo>
                  <a:pt x="2566" y="2559"/>
                </a:lnTo>
                <a:lnTo>
                  <a:pt x="2571" y="2560"/>
                </a:lnTo>
                <a:lnTo>
                  <a:pt x="2578" y="2559"/>
                </a:lnTo>
                <a:lnTo>
                  <a:pt x="2583" y="2557"/>
                </a:lnTo>
                <a:lnTo>
                  <a:pt x="2588" y="2555"/>
                </a:lnTo>
                <a:lnTo>
                  <a:pt x="2594" y="2551"/>
                </a:lnTo>
                <a:lnTo>
                  <a:pt x="2598" y="2545"/>
                </a:lnTo>
                <a:lnTo>
                  <a:pt x="2601" y="2540"/>
                </a:lnTo>
                <a:lnTo>
                  <a:pt x="2602" y="2534"/>
                </a:lnTo>
                <a:lnTo>
                  <a:pt x="2602" y="2528"/>
                </a:lnTo>
                <a:close/>
                <a:moveTo>
                  <a:pt x="1815" y="2453"/>
                </a:moveTo>
                <a:lnTo>
                  <a:pt x="2003" y="2215"/>
                </a:lnTo>
                <a:lnTo>
                  <a:pt x="1858" y="898"/>
                </a:lnTo>
                <a:lnTo>
                  <a:pt x="1874" y="891"/>
                </a:lnTo>
                <a:lnTo>
                  <a:pt x="1889" y="880"/>
                </a:lnTo>
                <a:lnTo>
                  <a:pt x="1903" y="870"/>
                </a:lnTo>
                <a:lnTo>
                  <a:pt x="1914" y="856"/>
                </a:lnTo>
                <a:lnTo>
                  <a:pt x="1819" y="767"/>
                </a:lnTo>
                <a:lnTo>
                  <a:pt x="1724" y="856"/>
                </a:lnTo>
                <a:lnTo>
                  <a:pt x="1734" y="867"/>
                </a:lnTo>
                <a:lnTo>
                  <a:pt x="1743" y="876"/>
                </a:lnTo>
                <a:lnTo>
                  <a:pt x="1754" y="884"/>
                </a:lnTo>
                <a:lnTo>
                  <a:pt x="1766" y="891"/>
                </a:lnTo>
                <a:lnTo>
                  <a:pt x="1636" y="2215"/>
                </a:lnTo>
                <a:lnTo>
                  <a:pt x="1815" y="2453"/>
                </a:lnTo>
                <a:close/>
              </a:path>
            </a:pathLst>
          </a:custGeom>
          <a:solidFill>
            <a:srgbClr val="000000"/>
          </a:solidFill>
          <a:ln w="9525">
            <a:noFill/>
            <a:round/>
            <a:headEnd/>
            <a:tailEnd/>
          </a:ln>
        </p:spPr>
        <p:txBody>
          <a:bodyPr/>
          <a:lstStyle/>
          <a:p>
            <a:pPr defTabSz="913943"/>
            <a:endParaRPr lang="de-DE" sz="1799">
              <a:solidFill>
                <a:srgbClr val="000000"/>
              </a:solidFill>
              <a:latin typeface="EYInterstate Light" panose="02000506000000020004" pitchFamily="2" charset="0"/>
              <a:cs typeface="Arial"/>
            </a:endParaRPr>
          </a:p>
        </p:txBody>
      </p:sp>
    </p:spTree>
    <p:extLst>
      <p:ext uri="{BB962C8B-B14F-4D97-AF65-F5344CB8AC3E}">
        <p14:creationId xmlns:p14="http://schemas.microsoft.com/office/powerpoint/2010/main" val="748450981"/>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0" name="Straight Connector 289">
            <a:extLst>
              <a:ext uri="{FF2B5EF4-FFF2-40B4-BE49-F238E27FC236}">
                <a16:creationId xmlns:a16="http://schemas.microsoft.com/office/drawing/2014/main" id="{E7C54125-2ADD-C63D-1E77-7E09C6962B10}"/>
              </a:ext>
            </a:extLst>
          </p:cNvPr>
          <p:cNvCxnSpPr>
            <a:cxnSpLocks/>
          </p:cNvCxnSpPr>
          <p:nvPr/>
        </p:nvCxnSpPr>
        <p:spPr>
          <a:xfrm>
            <a:off x="620445" y="5192589"/>
            <a:ext cx="2989458" cy="5837"/>
          </a:xfrm>
          <a:prstGeom prst="line">
            <a:avLst/>
          </a:prstGeom>
          <a:ln w="19050">
            <a:solidFill>
              <a:srgbClr val="507C93"/>
            </a:solidFill>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B37ECFF1-E293-8608-1319-FAAF137AB3A7}"/>
              </a:ext>
            </a:extLst>
          </p:cNvPr>
          <p:cNvCxnSpPr>
            <a:cxnSpLocks/>
          </p:cNvCxnSpPr>
          <p:nvPr/>
        </p:nvCxnSpPr>
        <p:spPr>
          <a:xfrm flipV="1">
            <a:off x="2331384" y="6270569"/>
            <a:ext cx="3026624" cy="15089"/>
          </a:xfrm>
          <a:prstGeom prst="line">
            <a:avLst/>
          </a:prstGeom>
          <a:ln w="19050">
            <a:solidFill>
              <a:srgbClr val="507C93"/>
            </a:solidFill>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4B797AC8-F7F3-2B2B-ED31-59A86DB7ADB0}"/>
              </a:ext>
            </a:extLst>
          </p:cNvPr>
          <p:cNvCxnSpPr>
            <a:cxnSpLocks/>
          </p:cNvCxnSpPr>
          <p:nvPr/>
        </p:nvCxnSpPr>
        <p:spPr>
          <a:xfrm>
            <a:off x="523671" y="3204127"/>
            <a:ext cx="2989458" cy="5837"/>
          </a:xfrm>
          <a:prstGeom prst="line">
            <a:avLst/>
          </a:prstGeom>
          <a:ln w="19050">
            <a:solidFill>
              <a:srgbClr val="2C7FB8"/>
            </a:solidFill>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F77275C7-295B-A7B1-D482-0F018FED339F}"/>
              </a:ext>
            </a:extLst>
          </p:cNvPr>
          <p:cNvCxnSpPr>
            <a:cxnSpLocks/>
          </p:cNvCxnSpPr>
          <p:nvPr/>
        </p:nvCxnSpPr>
        <p:spPr>
          <a:xfrm>
            <a:off x="7604758" y="3770463"/>
            <a:ext cx="2569872" cy="0"/>
          </a:xfrm>
          <a:prstGeom prst="line">
            <a:avLst/>
          </a:prstGeom>
          <a:ln w="19050">
            <a:solidFill>
              <a:srgbClr val="48A7AE"/>
            </a:solidFill>
            <a:tailEnd type="non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1C4B9A78-5A15-92D7-6CE8-89A6AE17585B}"/>
              </a:ext>
            </a:extLst>
          </p:cNvPr>
          <p:cNvCxnSpPr>
            <a:cxnSpLocks/>
          </p:cNvCxnSpPr>
          <p:nvPr/>
        </p:nvCxnSpPr>
        <p:spPr>
          <a:xfrm>
            <a:off x="7740495" y="1697281"/>
            <a:ext cx="2434135" cy="0"/>
          </a:xfrm>
          <a:prstGeom prst="line">
            <a:avLst/>
          </a:prstGeom>
          <a:ln w="19050">
            <a:solidFill>
              <a:srgbClr val="2C7FB8"/>
            </a:solidFill>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D4FAB288-B6BB-F715-7C68-2AE836418B57}"/>
              </a:ext>
            </a:extLst>
          </p:cNvPr>
          <p:cNvCxnSpPr>
            <a:cxnSpLocks/>
          </p:cNvCxnSpPr>
          <p:nvPr/>
        </p:nvCxnSpPr>
        <p:spPr>
          <a:xfrm>
            <a:off x="6096000" y="637721"/>
            <a:ext cx="2989458" cy="5837"/>
          </a:xfrm>
          <a:prstGeom prst="line">
            <a:avLst/>
          </a:prstGeom>
          <a:ln w="19050">
            <a:solidFill>
              <a:srgbClr val="48A7AE"/>
            </a:solidFill>
            <a:tailEnd type="none"/>
          </a:ln>
        </p:spPr>
        <p:style>
          <a:lnRef idx="1">
            <a:schemeClr val="accent1"/>
          </a:lnRef>
          <a:fillRef idx="0">
            <a:schemeClr val="accent1"/>
          </a:fillRef>
          <a:effectRef idx="0">
            <a:schemeClr val="accent1"/>
          </a:effectRef>
          <a:fontRef idx="minor">
            <a:schemeClr val="tx1"/>
          </a:fontRef>
        </p:style>
      </p:cxnSp>
      <p:sp>
        <p:nvSpPr>
          <p:cNvPr id="296" name="Freeform 8">
            <a:extLst>
              <a:ext uri="{FF2B5EF4-FFF2-40B4-BE49-F238E27FC236}">
                <a16:creationId xmlns:a16="http://schemas.microsoft.com/office/drawing/2014/main" id="{97C3D7FD-FFBC-50ED-4018-5BEBECB7FD91}"/>
              </a:ext>
            </a:extLst>
          </p:cNvPr>
          <p:cNvSpPr>
            <a:spLocks/>
          </p:cNvSpPr>
          <p:nvPr/>
        </p:nvSpPr>
        <p:spPr bwMode="auto">
          <a:xfrm>
            <a:off x="4129411" y="2187768"/>
            <a:ext cx="3045433" cy="2550834"/>
          </a:xfrm>
          <a:prstGeom prst="hexagon">
            <a:avLst/>
          </a:prstGeom>
          <a:solidFill>
            <a:schemeClr val="bg1"/>
          </a:solidFill>
          <a:ln w="38100">
            <a:solidFill>
              <a:schemeClr val="accent5"/>
            </a:solidFill>
            <a:prstDash val="solid"/>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000000"/>
                </a:solidFill>
                <a:latin typeface="Avenir"/>
              </a:rPr>
              <a:t>NIST Cybersecurity Framework 2.0</a:t>
            </a:r>
          </a:p>
        </p:txBody>
      </p:sp>
      <p:sp>
        <p:nvSpPr>
          <p:cNvPr id="297" name="Freeform 8">
            <a:extLst>
              <a:ext uri="{FF2B5EF4-FFF2-40B4-BE49-F238E27FC236}">
                <a16:creationId xmlns:a16="http://schemas.microsoft.com/office/drawing/2014/main" id="{AAE7DEB9-C2B6-F213-0013-8BABFAA176CA}"/>
              </a:ext>
            </a:extLst>
          </p:cNvPr>
          <p:cNvSpPr>
            <a:spLocks/>
          </p:cNvSpPr>
          <p:nvPr/>
        </p:nvSpPr>
        <p:spPr bwMode="auto">
          <a:xfrm>
            <a:off x="4684733" y="589642"/>
            <a:ext cx="1934785" cy="1671445"/>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a:moveTo>
                  <a:pt x="0" y="540"/>
                </a:moveTo>
                <a:lnTo>
                  <a:pt x="309" y="0"/>
                </a:lnTo>
                <a:lnTo>
                  <a:pt x="941" y="0"/>
                </a:lnTo>
                <a:lnTo>
                  <a:pt x="1249" y="540"/>
                </a:lnTo>
                <a:lnTo>
                  <a:pt x="941" y="1079"/>
                </a:lnTo>
                <a:lnTo>
                  <a:pt x="309" y="1079"/>
                </a:lnTo>
                <a:lnTo>
                  <a:pt x="0" y="540"/>
                </a:lnTo>
                <a:close/>
              </a:path>
            </a:pathLst>
          </a:custGeom>
          <a:gradFill>
            <a:gsLst>
              <a:gs pos="0">
                <a:srgbClr val="3985BA"/>
              </a:gs>
              <a:gs pos="100000">
                <a:srgbClr val="50BA7E"/>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298" name="Freeform 22">
            <a:extLst>
              <a:ext uri="{FF2B5EF4-FFF2-40B4-BE49-F238E27FC236}">
                <a16:creationId xmlns:a16="http://schemas.microsoft.com/office/drawing/2014/main" id="{220CAE24-649C-B274-F99C-78A931DB41C4}"/>
              </a:ext>
            </a:extLst>
          </p:cNvPr>
          <p:cNvSpPr>
            <a:spLocks/>
          </p:cNvSpPr>
          <p:nvPr/>
        </p:nvSpPr>
        <p:spPr bwMode="auto">
          <a:xfrm>
            <a:off x="2907178" y="1613576"/>
            <a:ext cx="1934785" cy="1671445"/>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a:moveTo>
                  <a:pt x="0" y="540"/>
                </a:moveTo>
                <a:lnTo>
                  <a:pt x="309" y="0"/>
                </a:lnTo>
                <a:lnTo>
                  <a:pt x="941" y="0"/>
                </a:lnTo>
                <a:lnTo>
                  <a:pt x="1249" y="540"/>
                </a:lnTo>
                <a:lnTo>
                  <a:pt x="941" y="1079"/>
                </a:lnTo>
                <a:lnTo>
                  <a:pt x="309" y="1079"/>
                </a:lnTo>
                <a:lnTo>
                  <a:pt x="0" y="540"/>
                </a:lnTo>
                <a:close/>
              </a:path>
            </a:pathLst>
          </a:custGeom>
          <a:gradFill>
            <a:gsLst>
              <a:gs pos="21000">
                <a:srgbClr val="0060A8"/>
              </a:gs>
              <a:gs pos="79000">
                <a:srgbClr val="73B1D3"/>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299" name="Freeform 11">
            <a:extLst>
              <a:ext uri="{FF2B5EF4-FFF2-40B4-BE49-F238E27FC236}">
                <a16:creationId xmlns:a16="http://schemas.microsoft.com/office/drawing/2014/main" id="{294F8522-9CFE-0F55-9160-FD9D07F815A7}"/>
              </a:ext>
            </a:extLst>
          </p:cNvPr>
          <p:cNvSpPr>
            <a:spLocks/>
          </p:cNvSpPr>
          <p:nvPr/>
        </p:nvSpPr>
        <p:spPr bwMode="auto">
          <a:xfrm>
            <a:off x="6462289" y="1613573"/>
            <a:ext cx="1934785" cy="1682288"/>
          </a:xfrm>
          <a:custGeom>
            <a:avLst/>
            <a:gdLst>
              <a:gd name="T0" fmla="*/ 0 w 1249"/>
              <a:gd name="T1" fmla="*/ 543 h 1086"/>
              <a:gd name="T2" fmla="*/ 311 w 1249"/>
              <a:gd name="T3" fmla="*/ 0 h 1086"/>
              <a:gd name="T4" fmla="*/ 940 w 1249"/>
              <a:gd name="T5" fmla="*/ 0 h 1086"/>
              <a:gd name="T6" fmla="*/ 1249 w 1249"/>
              <a:gd name="T7" fmla="*/ 543 h 1086"/>
              <a:gd name="T8" fmla="*/ 940 w 1249"/>
              <a:gd name="T9" fmla="*/ 1086 h 1086"/>
              <a:gd name="T10" fmla="*/ 311 w 1249"/>
              <a:gd name="T11" fmla="*/ 1086 h 1086"/>
              <a:gd name="T12" fmla="*/ 0 w 1249"/>
              <a:gd name="T13" fmla="*/ 543 h 1086"/>
            </a:gdLst>
            <a:ahLst/>
            <a:cxnLst>
              <a:cxn ang="0">
                <a:pos x="T0" y="T1"/>
              </a:cxn>
              <a:cxn ang="0">
                <a:pos x="T2" y="T3"/>
              </a:cxn>
              <a:cxn ang="0">
                <a:pos x="T4" y="T5"/>
              </a:cxn>
              <a:cxn ang="0">
                <a:pos x="T6" y="T7"/>
              </a:cxn>
              <a:cxn ang="0">
                <a:pos x="T8" y="T9"/>
              </a:cxn>
              <a:cxn ang="0">
                <a:pos x="T10" y="T11"/>
              </a:cxn>
              <a:cxn ang="0">
                <a:pos x="T12" y="T13"/>
              </a:cxn>
            </a:cxnLst>
            <a:rect l="0" t="0" r="r" b="b"/>
            <a:pathLst>
              <a:path w="1249" h="1086">
                <a:moveTo>
                  <a:pt x="0" y="543"/>
                </a:moveTo>
                <a:lnTo>
                  <a:pt x="311" y="0"/>
                </a:lnTo>
                <a:lnTo>
                  <a:pt x="940" y="0"/>
                </a:lnTo>
                <a:lnTo>
                  <a:pt x="1249" y="543"/>
                </a:lnTo>
                <a:lnTo>
                  <a:pt x="940" y="1086"/>
                </a:lnTo>
                <a:lnTo>
                  <a:pt x="311" y="1086"/>
                </a:lnTo>
                <a:lnTo>
                  <a:pt x="0" y="543"/>
                </a:lnTo>
                <a:close/>
              </a:path>
            </a:pathLst>
          </a:custGeom>
          <a:gradFill>
            <a:gsLst>
              <a:gs pos="21000">
                <a:srgbClr val="0060A8"/>
              </a:gs>
              <a:gs pos="79000">
                <a:srgbClr val="73B1D3"/>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300" name="Freeform 20">
            <a:extLst>
              <a:ext uri="{FF2B5EF4-FFF2-40B4-BE49-F238E27FC236}">
                <a16:creationId xmlns:a16="http://schemas.microsoft.com/office/drawing/2014/main" id="{192B45FC-2D2D-33DF-9449-AF43BCDEA8B5}"/>
              </a:ext>
            </a:extLst>
          </p:cNvPr>
          <p:cNvSpPr>
            <a:spLocks/>
          </p:cNvSpPr>
          <p:nvPr/>
        </p:nvSpPr>
        <p:spPr bwMode="auto">
          <a:xfrm>
            <a:off x="2907178" y="3639754"/>
            <a:ext cx="1934785" cy="1682288"/>
          </a:xfrm>
          <a:custGeom>
            <a:avLst/>
            <a:gdLst>
              <a:gd name="T0" fmla="*/ 0 w 1249"/>
              <a:gd name="T1" fmla="*/ 543 h 1086"/>
              <a:gd name="T2" fmla="*/ 310 w 1249"/>
              <a:gd name="T3" fmla="*/ 0 h 1086"/>
              <a:gd name="T4" fmla="*/ 939 w 1249"/>
              <a:gd name="T5" fmla="*/ 0 h 1086"/>
              <a:gd name="T6" fmla="*/ 1249 w 1249"/>
              <a:gd name="T7" fmla="*/ 543 h 1086"/>
              <a:gd name="T8" fmla="*/ 939 w 1249"/>
              <a:gd name="T9" fmla="*/ 1086 h 1086"/>
              <a:gd name="T10" fmla="*/ 310 w 1249"/>
              <a:gd name="T11" fmla="*/ 1086 h 1086"/>
              <a:gd name="T12" fmla="*/ 0 w 1249"/>
              <a:gd name="T13" fmla="*/ 543 h 1086"/>
            </a:gdLst>
            <a:ahLst/>
            <a:cxnLst>
              <a:cxn ang="0">
                <a:pos x="T0" y="T1"/>
              </a:cxn>
              <a:cxn ang="0">
                <a:pos x="T2" y="T3"/>
              </a:cxn>
              <a:cxn ang="0">
                <a:pos x="T4" y="T5"/>
              </a:cxn>
              <a:cxn ang="0">
                <a:pos x="T6" y="T7"/>
              </a:cxn>
              <a:cxn ang="0">
                <a:pos x="T8" y="T9"/>
              </a:cxn>
              <a:cxn ang="0">
                <a:pos x="T10" y="T11"/>
              </a:cxn>
              <a:cxn ang="0">
                <a:pos x="T12" y="T13"/>
              </a:cxn>
            </a:cxnLst>
            <a:rect l="0" t="0" r="r" b="b"/>
            <a:pathLst>
              <a:path w="1249" h="1086">
                <a:moveTo>
                  <a:pt x="0" y="543"/>
                </a:moveTo>
                <a:lnTo>
                  <a:pt x="310" y="0"/>
                </a:lnTo>
                <a:lnTo>
                  <a:pt x="939" y="0"/>
                </a:lnTo>
                <a:lnTo>
                  <a:pt x="1249" y="543"/>
                </a:lnTo>
                <a:lnTo>
                  <a:pt x="939" y="1086"/>
                </a:lnTo>
                <a:lnTo>
                  <a:pt x="310" y="1086"/>
                </a:lnTo>
                <a:lnTo>
                  <a:pt x="0" y="543"/>
                </a:lnTo>
                <a:close/>
              </a:path>
            </a:pathLst>
          </a:custGeom>
          <a:gradFill>
            <a:gsLst>
              <a:gs pos="0">
                <a:srgbClr val="3985BA"/>
              </a:gs>
              <a:gs pos="100000">
                <a:srgbClr val="50BA7E"/>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301" name="Freeform 14">
            <a:extLst>
              <a:ext uri="{FF2B5EF4-FFF2-40B4-BE49-F238E27FC236}">
                <a16:creationId xmlns:a16="http://schemas.microsoft.com/office/drawing/2014/main" id="{13D98D11-C36F-2505-E183-008972E1DCFF}"/>
              </a:ext>
            </a:extLst>
          </p:cNvPr>
          <p:cNvSpPr>
            <a:spLocks/>
          </p:cNvSpPr>
          <p:nvPr/>
        </p:nvSpPr>
        <p:spPr bwMode="auto">
          <a:xfrm>
            <a:off x="6462289" y="3639754"/>
            <a:ext cx="1934785" cy="1682288"/>
          </a:xfrm>
          <a:custGeom>
            <a:avLst/>
            <a:gdLst>
              <a:gd name="T0" fmla="*/ 0 w 1249"/>
              <a:gd name="T1" fmla="*/ 543 h 1086"/>
              <a:gd name="T2" fmla="*/ 311 w 1249"/>
              <a:gd name="T3" fmla="*/ 0 h 1086"/>
              <a:gd name="T4" fmla="*/ 940 w 1249"/>
              <a:gd name="T5" fmla="*/ 0 h 1086"/>
              <a:gd name="T6" fmla="*/ 1249 w 1249"/>
              <a:gd name="T7" fmla="*/ 543 h 1086"/>
              <a:gd name="T8" fmla="*/ 940 w 1249"/>
              <a:gd name="T9" fmla="*/ 1086 h 1086"/>
              <a:gd name="T10" fmla="*/ 311 w 1249"/>
              <a:gd name="T11" fmla="*/ 1086 h 1086"/>
              <a:gd name="T12" fmla="*/ 0 w 1249"/>
              <a:gd name="T13" fmla="*/ 543 h 1086"/>
            </a:gdLst>
            <a:ahLst/>
            <a:cxnLst>
              <a:cxn ang="0">
                <a:pos x="T0" y="T1"/>
              </a:cxn>
              <a:cxn ang="0">
                <a:pos x="T2" y="T3"/>
              </a:cxn>
              <a:cxn ang="0">
                <a:pos x="T4" y="T5"/>
              </a:cxn>
              <a:cxn ang="0">
                <a:pos x="T6" y="T7"/>
              </a:cxn>
              <a:cxn ang="0">
                <a:pos x="T8" y="T9"/>
              </a:cxn>
              <a:cxn ang="0">
                <a:pos x="T10" y="T11"/>
              </a:cxn>
              <a:cxn ang="0">
                <a:pos x="T12" y="T13"/>
              </a:cxn>
            </a:cxnLst>
            <a:rect l="0" t="0" r="r" b="b"/>
            <a:pathLst>
              <a:path w="1249" h="1086">
                <a:moveTo>
                  <a:pt x="0" y="543"/>
                </a:moveTo>
                <a:lnTo>
                  <a:pt x="311" y="0"/>
                </a:lnTo>
                <a:lnTo>
                  <a:pt x="940" y="0"/>
                </a:lnTo>
                <a:lnTo>
                  <a:pt x="1249" y="543"/>
                </a:lnTo>
                <a:lnTo>
                  <a:pt x="940" y="1086"/>
                </a:lnTo>
                <a:lnTo>
                  <a:pt x="311" y="1086"/>
                </a:lnTo>
                <a:lnTo>
                  <a:pt x="0" y="543"/>
                </a:lnTo>
                <a:close/>
              </a:path>
            </a:pathLst>
          </a:custGeom>
          <a:gradFill>
            <a:gsLst>
              <a:gs pos="0">
                <a:srgbClr val="3985BA"/>
              </a:gs>
              <a:gs pos="100000">
                <a:srgbClr val="50BA7E"/>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302" name="Freeform 17">
            <a:extLst>
              <a:ext uri="{FF2B5EF4-FFF2-40B4-BE49-F238E27FC236}">
                <a16:creationId xmlns:a16="http://schemas.microsoft.com/office/drawing/2014/main" id="{20DD8757-C6F9-E4AB-AC45-C724C5B6605D}"/>
              </a:ext>
            </a:extLst>
          </p:cNvPr>
          <p:cNvSpPr>
            <a:spLocks/>
          </p:cNvSpPr>
          <p:nvPr/>
        </p:nvSpPr>
        <p:spPr bwMode="auto">
          <a:xfrm>
            <a:off x="4684733" y="4674531"/>
            <a:ext cx="1934785" cy="1671445"/>
          </a:xfrm>
          <a:custGeom>
            <a:avLst/>
            <a:gdLst>
              <a:gd name="T0" fmla="*/ 0 w 1249"/>
              <a:gd name="T1" fmla="*/ 539 h 1079"/>
              <a:gd name="T2" fmla="*/ 309 w 1249"/>
              <a:gd name="T3" fmla="*/ 0 h 1079"/>
              <a:gd name="T4" fmla="*/ 941 w 1249"/>
              <a:gd name="T5" fmla="*/ 0 h 1079"/>
              <a:gd name="T6" fmla="*/ 1249 w 1249"/>
              <a:gd name="T7" fmla="*/ 539 h 1079"/>
              <a:gd name="T8" fmla="*/ 941 w 1249"/>
              <a:gd name="T9" fmla="*/ 1079 h 1079"/>
              <a:gd name="T10" fmla="*/ 309 w 1249"/>
              <a:gd name="T11" fmla="*/ 1079 h 1079"/>
              <a:gd name="T12" fmla="*/ 0 w 1249"/>
              <a:gd name="T13" fmla="*/ 539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a:moveTo>
                  <a:pt x="0" y="539"/>
                </a:moveTo>
                <a:lnTo>
                  <a:pt x="309" y="0"/>
                </a:lnTo>
                <a:lnTo>
                  <a:pt x="941" y="0"/>
                </a:lnTo>
                <a:lnTo>
                  <a:pt x="1249" y="539"/>
                </a:lnTo>
                <a:lnTo>
                  <a:pt x="941" y="1079"/>
                </a:lnTo>
                <a:lnTo>
                  <a:pt x="309" y="1079"/>
                </a:lnTo>
                <a:lnTo>
                  <a:pt x="0" y="539"/>
                </a:lnTo>
                <a:close/>
              </a:path>
            </a:pathLst>
          </a:custGeom>
          <a:gradFill>
            <a:gsLst>
              <a:gs pos="21000">
                <a:srgbClr val="0060A8"/>
              </a:gs>
              <a:gs pos="79000">
                <a:srgbClr val="73B1D3"/>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128016" tIns="128016" rIns="128016" bIns="128016" rtlCol="0" anchor="ctr" anchorCtr="0"/>
          <a:lstStyle/>
          <a:p>
            <a:pPr algn="ctr" defTabSz="1280160">
              <a:spcBef>
                <a:spcPts val="420"/>
              </a:spcBef>
              <a:spcAft>
                <a:spcPts val="420"/>
              </a:spcAft>
              <a:buClr>
                <a:srgbClr val="000000"/>
              </a:buClr>
            </a:pPr>
            <a:endParaRPr lang="en-US" sz="1680">
              <a:solidFill>
                <a:srgbClr val="FFFFFF"/>
              </a:solidFill>
              <a:latin typeface="Avenir"/>
            </a:endParaRPr>
          </a:p>
        </p:txBody>
      </p:sp>
      <p:sp>
        <p:nvSpPr>
          <p:cNvPr id="303" name="Freeform 8">
            <a:extLst>
              <a:ext uri="{FF2B5EF4-FFF2-40B4-BE49-F238E27FC236}">
                <a16:creationId xmlns:a16="http://schemas.microsoft.com/office/drawing/2014/main" id="{BE0FC6D3-D79F-D26C-0770-29CFAFA972A1}"/>
              </a:ext>
            </a:extLst>
          </p:cNvPr>
          <p:cNvSpPr>
            <a:spLocks/>
          </p:cNvSpPr>
          <p:nvPr/>
        </p:nvSpPr>
        <p:spPr bwMode="auto">
          <a:xfrm>
            <a:off x="4684733" y="1426199"/>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Govern</a:t>
            </a:r>
          </a:p>
        </p:txBody>
      </p:sp>
      <p:sp>
        <p:nvSpPr>
          <p:cNvPr id="304" name="Freeform 8">
            <a:extLst>
              <a:ext uri="{FF2B5EF4-FFF2-40B4-BE49-F238E27FC236}">
                <a16:creationId xmlns:a16="http://schemas.microsoft.com/office/drawing/2014/main" id="{ACF342D1-E136-941D-5E79-9CC89CAAEBC0}"/>
              </a:ext>
            </a:extLst>
          </p:cNvPr>
          <p:cNvSpPr>
            <a:spLocks/>
          </p:cNvSpPr>
          <p:nvPr/>
        </p:nvSpPr>
        <p:spPr bwMode="auto">
          <a:xfrm>
            <a:off x="6462289" y="2460976"/>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Identify</a:t>
            </a:r>
          </a:p>
        </p:txBody>
      </p:sp>
      <p:sp>
        <p:nvSpPr>
          <p:cNvPr id="305" name="Freeform 8">
            <a:extLst>
              <a:ext uri="{FF2B5EF4-FFF2-40B4-BE49-F238E27FC236}">
                <a16:creationId xmlns:a16="http://schemas.microsoft.com/office/drawing/2014/main" id="{3D80A76B-65A2-64E5-9115-D9DD82A68F81}"/>
              </a:ext>
            </a:extLst>
          </p:cNvPr>
          <p:cNvSpPr>
            <a:spLocks/>
          </p:cNvSpPr>
          <p:nvPr/>
        </p:nvSpPr>
        <p:spPr bwMode="auto">
          <a:xfrm>
            <a:off x="6462289" y="4487155"/>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Protect</a:t>
            </a:r>
          </a:p>
        </p:txBody>
      </p:sp>
      <p:sp>
        <p:nvSpPr>
          <p:cNvPr id="306" name="Freeform 8">
            <a:extLst>
              <a:ext uri="{FF2B5EF4-FFF2-40B4-BE49-F238E27FC236}">
                <a16:creationId xmlns:a16="http://schemas.microsoft.com/office/drawing/2014/main" id="{E486DC2B-FBA7-BF4F-D4AB-D3ED3B76610D}"/>
              </a:ext>
            </a:extLst>
          </p:cNvPr>
          <p:cNvSpPr>
            <a:spLocks/>
          </p:cNvSpPr>
          <p:nvPr/>
        </p:nvSpPr>
        <p:spPr bwMode="auto">
          <a:xfrm>
            <a:off x="2907178" y="2450133"/>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Recover</a:t>
            </a:r>
          </a:p>
        </p:txBody>
      </p:sp>
      <p:sp>
        <p:nvSpPr>
          <p:cNvPr id="307" name="Freeform 8">
            <a:extLst>
              <a:ext uri="{FF2B5EF4-FFF2-40B4-BE49-F238E27FC236}">
                <a16:creationId xmlns:a16="http://schemas.microsoft.com/office/drawing/2014/main" id="{E2AF6EC6-1013-C673-F401-1F3F257320A6}"/>
              </a:ext>
            </a:extLst>
          </p:cNvPr>
          <p:cNvSpPr>
            <a:spLocks/>
          </p:cNvSpPr>
          <p:nvPr/>
        </p:nvSpPr>
        <p:spPr bwMode="auto">
          <a:xfrm>
            <a:off x="2907178" y="4487155"/>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Respond</a:t>
            </a:r>
          </a:p>
        </p:txBody>
      </p:sp>
      <p:sp>
        <p:nvSpPr>
          <p:cNvPr id="308" name="Freeform 8">
            <a:extLst>
              <a:ext uri="{FF2B5EF4-FFF2-40B4-BE49-F238E27FC236}">
                <a16:creationId xmlns:a16="http://schemas.microsoft.com/office/drawing/2014/main" id="{6744C3E9-69C4-6644-3E29-8FCB7BF44062}"/>
              </a:ext>
            </a:extLst>
          </p:cNvPr>
          <p:cNvSpPr>
            <a:spLocks/>
          </p:cNvSpPr>
          <p:nvPr/>
        </p:nvSpPr>
        <p:spPr bwMode="auto">
          <a:xfrm>
            <a:off x="4684733" y="5511090"/>
            <a:ext cx="1934785" cy="834887"/>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 name="connsiteX0" fmla="*/ 0 w 10000"/>
              <a:gd name="connsiteY0" fmla="*/ 5005 h 10000"/>
              <a:gd name="connsiteX1" fmla="*/ 7534 w 10000"/>
              <a:gd name="connsiteY1" fmla="*/ 0 h 10000"/>
              <a:gd name="connsiteX2" fmla="*/ 10000 w 10000"/>
              <a:gd name="connsiteY2" fmla="*/ 5005 h 10000"/>
              <a:gd name="connsiteX3" fmla="*/ 7534 w 10000"/>
              <a:gd name="connsiteY3" fmla="*/ 10000 h 10000"/>
              <a:gd name="connsiteX4" fmla="*/ 2474 w 10000"/>
              <a:gd name="connsiteY4" fmla="*/ 10000 h 10000"/>
              <a:gd name="connsiteX5" fmla="*/ 0 w 10000"/>
              <a:gd name="connsiteY5" fmla="*/ 5005 h 10000"/>
              <a:gd name="connsiteX0" fmla="*/ 0 w 10000"/>
              <a:gd name="connsiteY0" fmla="*/ 0 h 4995"/>
              <a:gd name="connsiteX1" fmla="*/ 10000 w 10000"/>
              <a:gd name="connsiteY1" fmla="*/ 0 h 4995"/>
              <a:gd name="connsiteX2" fmla="*/ 7534 w 10000"/>
              <a:gd name="connsiteY2" fmla="*/ 4995 h 4995"/>
              <a:gd name="connsiteX3" fmla="*/ 2474 w 10000"/>
              <a:gd name="connsiteY3" fmla="*/ 4995 h 4995"/>
              <a:gd name="connsiteX4" fmla="*/ 0 w 10000"/>
              <a:gd name="connsiteY4" fmla="*/ 0 h 4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4995">
                <a:moveTo>
                  <a:pt x="0" y="0"/>
                </a:moveTo>
                <a:lnTo>
                  <a:pt x="10000" y="0"/>
                </a:lnTo>
                <a:lnTo>
                  <a:pt x="7534" y="4995"/>
                </a:lnTo>
                <a:lnTo>
                  <a:pt x="2474" y="4995"/>
                </a:lnTo>
                <a:lnTo>
                  <a:pt x="0" y="0"/>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36" rIns="288036" rtlCol="0" anchor="ctr"/>
          <a:lstStyle/>
          <a:p>
            <a:pPr algn="ctr" defTabSz="1280160"/>
            <a:r>
              <a:rPr lang="en-US" sz="1680" b="1" cap="all">
                <a:solidFill>
                  <a:srgbClr val="FFFFFF"/>
                </a:solidFill>
                <a:effectLst>
                  <a:outerShdw blurRad="38100" dist="38100" dir="2700000" algn="tl">
                    <a:srgbClr val="000000">
                      <a:alpha val="43137"/>
                    </a:srgbClr>
                  </a:outerShdw>
                </a:effectLst>
                <a:latin typeface="Avenir"/>
              </a:rPr>
              <a:t>Detect</a:t>
            </a:r>
          </a:p>
        </p:txBody>
      </p:sp>
      <p:sp>
        <p:nvSpPr>
          <p:cNvPr id="309" name="TextBox 308">
            <a:extLst>
              <a:ext uri="{FF2B5EF4-FFF2-40B4-BE49-F238E27FC236}">
                <a16:creationId xmlns:a16="http://schemas.microsoft.com/office/drawing/2014/main" id="{8AC343CC-7EE7-6F1F-0F7D-38F31BC0B189}"/>
              </a:ext>
            </a:extLst>
          </p:cNvPr>
          <p:cNvSpPr txBox="1"/>
          <p:nvPr/>
        </p:nvSpPr>
        <p:spPr>
          <a:xfrm>
            <a:off x="8906675" y="608893"/>
            <a:ext cx="5086740" cy="867930"/>
          </a:xfrm>
          <a:prstGeom prst="rect">
            <a:avLst/>
          </a:prstGeom>
          <a:noFill/>
        </p:spPr>
        <p:txBody>
          <a:bodyPr wrap="square">
            <a:spAutoFit/>
          </a:bodyPr>
          <a:lstStyle/>
          <a:p>
            <a:pPr marL="240030" indent="-240030" defTabSz="1280160">
              <a:spcAft>
                <a:spcPts val="840"/>
              </a:spcAft>
              <a:buClr>
                <a:srgbClr val="48A7AE"/>
              </a:buClr>
              <a:buFont typeface="Arial" panose="020B0604020202020204" pitchFamily="34" charset="0"/>
              <a:buChar char="•"/>
            </a:pPr>
            <a:r>
              <a:rPr lang="en-GB" sz="1680">
                <a:solidFill>
                  <a:srgbClr val="000000"/>
                </a:solidFill>
                <a:latin typeface="Avenir"/>
              </a:rPr>
              <a:t>The organization's cybersecurity risk management strategy, expectations, and policy are established, communicated, and maintained.</a:t>
            </a:r>
          </a:p>
        </p:txBody>
      </p:sp>
      <p:sp>
        <p:nvSpPr>
          <p:cNvPr id="310" name="TextBox 309">
            <a:extLst>
              <a:ext uri="{FF2B5EF4-FFF2-40B4-BE49-F238E27FC236}">
                <a16:creationId xmlns:a16="http://schemas.microsoft.com/office/drawing/2014/main" id="{95F31FEE-9746-E71D-5BB0-9FDD25D3F1A7}"/>
              </a:ext>
            </a:extLst>
          </p:cNvPr>
          <p:cNvSpPr txBox="1"/>
          <p:nvPr/>
        </p:nvSpPr>
        <p:spPr>
          <a:xfrm>
            <a:off x="9987188" y="1684729"/>
            <a:ext cx="3742242" cy="1384995"/>
          </a:xfrm>
          <a:prstGeom prst="rect">
            <a:avLst/>
          </a:prstGeom>
          <a:noFill/>
        </p:spPr>
        <p:txBody>
          <a:bodyPr wrap="square">
            <a:spAutoFit/>
          </a:bodyPr>
          <a:lstStyle/>
          <a:p>
            <a:pPr marL="240030" indent="-240030" defTabSz="1280160">
              <a:spcAft>
                <a:spcPts val="840"/>
              </a:spcAft>
              <a:buClr>
                <a:srgbClr val="2C7FB8"/>
              </a:buClr>
              <a:buFont typeface="Arial" panose="020B0604020202020204" pitchFamily="34" charset="0"/>
              <a:buChar char="•"/>
            </a:pPr>
            <a:r>
              <a:rPr lang="en-GB" sz="1680">
                <a:solidFill>
                  <a:srgbClr val="000000"/>
                </a:solidFill>
                <a:latin typeface="Avenir"/>
              </a:rPr>
              <a:t>Involves understanding the organization's cybersecurity risks by assessing assets, systems, data, and capabilities to establish a clear picture of potential threats.</a:t>
            </a:r>
          </a:p>
        </p:txBody>
      </p:sp>
      <p:sp>
        <p:nvSpPr>
          <p:cNvPr id="311" name="TextBox 310">
            <a:extLst>
              <a:ext uri="{FF2B5EF4-FFF2-40B4-BE49-F238E27FC236}">
                <a16:creationId xmlns:a16="http://schemas.microsoft.com/office/drawing/2014/main" id="{A8FD60E9-2B04-B02E-2BC8-24D20106468E}"/>
              </a:ext>
            </a:extLst>
          </p:cNvPr>
          <p:cNvSpPr txBox="1"/>
          <p:nvPr/>
        </p:nvSpPr>
        <p:spPr>
          <a:xfrm>
            <a:off x="9986919" y="3834242"/>
            <a:ext cx="3742242" cy="1487587"/>
          </a:xfrm>
          <a:prstGeom prst="rect">
            <a:avLst/>
          </a:prstGeom>
          <a:noFill/>
        </p:spPr>
        <p:txBody>
          <a:bodyPr wrap="square">
            <a:spAutoFit/>
          </a:bodyPr>
          <a:lstStyle/>
          <a:p>
            <a:pPr marL="240030" indent="-240030" defTabSz="1280160">
              <a:spcAft>
                <a:spcPts val="840"/>
              </a:spcAft>
              <a:buClr>
                <a:srgbClr val="48A7AE"/>
              </a:buClr>
              <a:buFont typeface="Arial" panose="020B0604020202020204" pitchFamily="34" charset="0"/>
              <a:buChar char="•"/>
            </a:pPr>
            <a:r>
              <a:rPr lang="en-GB" sz="1680">
                <a:solidFill>
                  <a:srgbClr val="000000"/>
                </a:solidFill>
                <a:latin typeface="Avenir"/>
              </a:rPr>
              <a:t>Implement safeguards to ensure delivery of critical services</a:t>
            </a:r>
          </a:p>
          <a:p>
            <a:pPr marL="240030" indent="-240030" defTabSz="1280160">
              <a:spcAft>
                <a:spcPts val="840"/>
              </a:spcAft>
              <a:buClr>
                <a:srgbClr val="48A7AE"/>
              </a:buClr>
              <a:buFont typeface="Arial" panose="020B0604020202020204" pitchFamily="34" charset="0"/>
              <a:buChar char="•"/>
            </a:pPr>
            <a:r>
              <a:rPr lang="en-GB" sz="1680">
                <a:solidFill>
                  <a:srgbClr val="000000"/>
                </a:solidFill>
                <a:latin typeface="Avenir"/>
              </a:rPr>
              <a:t>Manage cybersecurity risks through protective actions that limit or contain potential incidents</a:t>
            </a:r>
          </a:p>
        </p:txBody>
      </p:sp>
      <p:sp>
        <p:nvSpPr>
          <p:cNvPr id="312" name="TextBox 311">
            <a:extLst>
              <a:ext uri="{FF2B5EF4-FFF2-40B4-BE49-F238E27FC236}">
                <a16:creationId xmlns:a16="http://schemas.microsoft.com/office/drawing/2014/main" id="{A0F43FBE-893B-9ACC-6924-EB9E9C93FEAF}"/>
              </a:ext>
            </a:extLst>
          </p:cNvPr>
          <p:cNvSpPr txBox="1"/>
          <p:nvPr/>
        </p:nvSpPr>
        <p:spPr>
          <a:xfrm>
            <a:off x="-1697102" y="1376329"/>
            <a:ext cx="4599791" cy="1848711"/>
          </a:xfrm>
          <a:prstGeom prst="rect">
            <a:avLst/>
          </a:prstGeom>
          <a:noFill/>
        </p:spPr>
        <p:txBody>
          <a:bodyPr wrap="square">
            <a:spAutoFit/>
          </a:bodyPr>
          <a:lstStyle/>
          <a:p>
            <a:pPr marL="240030" indent="-240030" defTabSz="1280160">
              <a:spcAft>
                <a:spcPts val="840"/>
              </a:spcAft>
              <a:buClr>
                <a:srgbClr val="2C7FB8"/>
              </a:buClr>
              <a:buFont typeface="Arial" panose="020B0604020202020204" pitchFamily="34" charset="0"/>
              <a:buChar char="•"/>
            </a:pPr>
            <a:r>
              <a:rPr lang="en-GB" sz="1680">
                <a:solidFill>
                  <a:srgbClr val="000000"/>
                </a:solidFill>
                <a:latin typeface="Avenir"/>
              </a:rPr>
              <a:t>Restore affected assets and operations after an incident</a:t>
            </a:r>
          </a:p>
          <a:p>
            <a:pPr marL="240030" indent="-240030" defTabSz="1280160">
              <a:spcAft>
                <a:spcPts val="840"/>
              </a:spcAft>
              <a:buClr>
                <a:srgbClr val="2C7FB8"/>
              </a:buClr>
              <a:buFont typeface="Arial" panose="020B0604020202020204" pitchFamily="34" charset="0"/>
              <a:buChar char="•"/>
            </a:pPr>
            <a:r>
              <a:rPr lang="en-GB" sz="1680">
                <a:solidFill>
                  <a:srgbClr val="000000"/>
                </a:solidFill>
                <a:latin typeface="Avenir"/>
              </a:rPr>
              <a:t>Ensure timely recovery</a:t>
            </a:r>
          </a:p>
          <a:p>
            <a:pPr marL="240030" indent="-240030" defTabSz="1280160">
              <a:spcAft>
                <a:spcPts val="840"/>
              </a:spcAft>
              <a:buClr>
                <a:srgbClr val="2C7FB8"/>
              </a:buClr>
              <a:buFont typeface="Arial" panose="020B0604020202020204" pitchFamily="34" charset="0"/>
              <a:buChar char="•"/>
            </a:pPr>
            <a:r>
              <a:rPr lang="en-GB" sz="1680">
                <a:solidFill>
                  <a:srgbClr val="000000"/>
                </a:solidFill>
                <a:latin typeface="Avenir"/>
              </a:rPr>
              <a:t>Minimize disruption while enhancing the organization's ability to recover from future incidents</a:t>
            </a:r>
          </a:p>
        </p:txBody>
      </p:sp>
      <p:sp>
        <p:nvSpPr>
          <p:cNvPr id="313" name="TextBox 312">
            <a:extLst>
              <a:ext uri="{FF2B5EF4-FFF2-40B4-BE49-F238E27FC236}">
                <a16:creationId xmlns:a16="http://schemas.microsoft.com/office/drawing/2014/main" id="{785D3DA1-EF42-7E44-F4D8-B0F857111E2E}"/>
              </a:ext>
            </a:extLst>
          </p:cNvPr>
          <p:cNvSpPr txBox="1"/>
          <p:nvPr/>
        </p:nvSpPr>
        <p:spPr>
          <a:xfrm>
            <a:off x="-1754798" y="3865991"/>
            <a:ext cx="4733431" cy="1229054"/>
          </a:xfrm>
          <a:prstGeom prst="rect">
            <a:avLst/>
          </a:prstGeom>
          <a:noFill/>
        </p:spPr>
        <p:txBody>
          <a:bodyPr wrap="square">
            <a:spAutoFit/>
          </a:bodyPr>
          <a:lstStyle/>
          <a:p>
            <a:pPr marL="240030" indent="-240030" defTabSz="1280160">
              <a:spcAft>
                <a:spcPts val="840"/>
              </a:spcAft>
              <a:buClr>
                <a:srgbClr val="48A7AE"/>
              </a:buClr>
              <a:buFont typeface="Arial" panose="020B0604020202020204" pitchFamily="34" charset="0"/>
              <a:buChar char="•"/>
            </a:pPr>
            <a:r>
              <a:rPr lang="en-GB" sz="1680">
                <a:solidFill>
                  <a:srgbClr val="000000"/>
                </a:solidFill>
                <a:latin typeface="Avenir"/>
              </a:rPr>
              <a:t>Take appropriate actions to contain, mitigate, and remediate during a detected incident</a:t>
            </a:r>
          </a:p>
          <a:p>
            <a:pPr marL="240030" indent="-240030" defTabSz="1280160">
              <a:spcAft>
                <a:spcPts val="840"/>
              </a:spcAft>
              <a:buClr>
                <a:srgbClr val="48A7AE"/>
              </a:buClr>
              <a:buFont typeface="Arial" panose="020B0604020202020204" pitchFamily="34" charset="0"/>
              <a:buChar char="•"/>
            </a:pPr>
            <a:r>
              <a:rPr lang="en-GB" sz="1680">
                <a:solidFill>
                  <a:srgbClr val="000000"/>
                </a:solidFill>
                <a:latin typeface="Avenir"/>
              </a:rPr>
              <a:t>Coordinate with stakeholders for effective decision making</a:t>
            </a:r>
          </a:p>
        </p:txBody>
      </p:sp>
      <p:sp>
        <p:nvSpPr>
          <p:cNvPr id="314" name="TextBox 313">
            <a:extLst>
              <a:ext uri="{FF2B5EF4-FFF2-40B4-BE49-F238E27FC236}">
                <a16:creationId xmlns:a16="http://schemas.microsoft.com/office/drawing/2014/main" id="{34ED74FC-33AD-BBD2-55A3-253C62683764}"/>
              </a:ext>
            </a:extLst>
          </p:cNvPr>
          <p:cNvSpPr txBox="1"/>
          <p:nvPr/>
        </p:nvSpPr>
        <p:spPr>
          <a:xfrm>
            <a:off x="-974081" y="5486218"/>
            <a:ext cx="6267685" cy="711990"/>
          </a:xfrm>
          <a:prstGeom prst="rect">
            <a:avLst/>
          </a:prstGeom>
          <a:noFill/>
        </p:spPr>
        <p:txBody>
          <a:bodyPr wrap="square">
            <a:spAutoFit/>
          </a:bodyPr>
          <a:lstStyle/>
          <a:p>
            <a:pPr marL="240030" indent="-240030" defTabSz="1280160">
              <a:spcAft>
                <a:spcPts val="840"/>
              </a:spcAft>
              <a:buClr>
                <a:srgbClr val="507C93"/>
              </a:buClr>
              <a:buFont typeface="Arial" panose="020B0604020202020204" pitchFamily="34" charset="0"/>
              <a:buChar char="•"/>
            </a:pPr>
            <a:r>
              <a:rPr lang="en-GB" sz="1680">
                <a:solidFill>
                  <a:srgbClr val="000000"/>
                </a:solidFill>
                <a:latin typeface="Avenir"/>
              </a:rPr>
              <a:t>Focus on identifying potential cybersecurity threats</a:t>
            </a:r>
          </a:p>
          <a:p>
            <a:pPr marL="240030" indent="-240030" defTabSz="1280160">
              <a:spcAft>
                <a:spcPts val="840"/>
              </a:spcAft>
              <a:buClr>
                <a:srgbClr val="507C93"/>
              </a:buClr>
              <a:buFont typeface="Arial" panose="020B0604020202020204" pitchFamily="34" charset="0"/>
              <a:buChar char="•"/>
            </a:pPr>
            <a:r>
              <a:rPr lang="en-GB" sz="1680">
                <a:solidFill>
                  <a:srgbClr val="000000"/>
                </a:solidFill>
                <a:latin typeface="Avenir"/>
              </a:rPr>
              <a:t>Monitor anomalies to enable timely detection of incidents</a:t>
            </a:r>
          </a:p>
        </p:txBody>
      </p:sp>
      <p:grpSp>
        <p:nvGrpSpPr>
          <p:cNvPr id="315" name="Group 314">
            <a:extLst>
              <a:ext uri="{FF2B5EF4-FFF2-40B4-BE49-F238E27FC236}">
                <a16:creationId xmlns:a16="http://schemas.microsoft.com/office/drawing/2014/main" id="{27707583-3ADF-D19E-EDD2-19BC1B335FE4}"/>
              </a:ext>
            </a:extLst>
          </p:cNvPr>
          <p:cNvGrpSpPr/>
          <p:nvPr/>
        </p:nvGrpSpPr>
        <p:grpSpPr>
          <a:xfrm>
            <a:off x="7132963" y="1744284"/>
            <a:ext cx="593435" cy="551816"/>
            <a:chOff x="5003800" y="3032125"/>
            <a:chExt cx="1289050" cy="1117600"/>
          </a:xfrm>
          <a:solidFill>
            <a:schemeClr val="bg1"/>
          </a:solidFill>
        </p:grpSpPr>
        <p:sp>
          <p:nvSpPr>
            <p:cNvPr id="316" name="Freeform 56">
              <a:extLst>
                <a:ext uri="{FF2B5EF4-FFF2-40B4-BE49-F238E27FC236}">
                  <a16:creationId xmlns:a16="http://schemas.microsoft.com/office/drawing/2014/main" id="{3C919DCB-7F5C-EE62-B482-689832F6C660}"/>
                </a:ext>
              </a:extLst>
            </p:cNvPr>
            <p:cNvSpPr>
              <a:spLocks/>
            </p:cNvSpPr>
            <p:nvPr/>
          </p:nvSpPr>
          <p:spPr bwMode="auto">
            <a:xfrm>
              <a:off x="5114925" y="3032125"/>
              <a:ext cx="1066800" cy="546100"/>
            </a:xfrm>
            <a:custGeom>
              <a:avLst/>
              <a:gdLst>
                <a:gd name="T0" fmla="*/ 654 w 672"/>
                <a:gd name="T1" fmla="*/ 344 h 344"/>
                <a:gd name="T2" fmla="*/ 654 w 672"/>
                <a:gd name="T3" fmla="*/ 336 h 344"/>
                <a:gd name="T4" fmla="*/ 648 w 672"/>
                <a:gd name="T5" fmla="*/ 272 h 344"/>
                <a:gd name="T6" fmla="*/ 628 w 672"/>
                <a:gd name="T7" fmla="*/ 212 h 344"/>
                <a:gd name="T8" fmla="*/ 600 w 672"/>
                <a:gd name="T9" fmla="*/ 158 h 344"/>
                <a:gd name="T10" fmla="*/ 560 w 672"/>
                <a:gd name="T11" fmla="*/ 110 h 344"/>
                <a:gd name="T12" fmla="*/ 514 w 672"/>
                <a:gd name="T13" fmla="*/ 72 h 344"/>
                <a:gd name="T14" fmla="*/ 460 w 672"/>
                <a:gd name="T15" fmla="*/ 42 h 344"/>
                <a:gd name="T16" fmla="*/ 400 w 672"/>
                <a:gd name="T17" fmla="*/ 24 h 344"/>
                <a:gd name="T18" fmla="*/ 336 w 672"/>
                <a:gd name="T19" fmla="*/ 18 h 344"/>
                <a:gd name="T20" fmla="*/ 304 w 672"/>
                <a:gd name="T21" fmla="*/ 20 h 344"/>
                <a:gd name="T22" fmla="*/ 242 w 672"/>
                <a:gd name="T23" fmla="*/ 32 h 344"/>
                <a:gd name="T24" fmla="*/ 184 w 672"/>
                <a:gd name="T25" fmla="*/ 56 h 344"/>
                <a:gd name="T26" fmla="*/ 134 w 672"/>
                <a:gd name="T27" fmla="*/ 90 h 344"/>
                <a:gd name="T28" fmla="*/ 90 w 672"/>
                <a:gd name="T29" fmla="*/ 134 h 344"/>
                <a:gd name="T30" fmla="*/ 56 w 672"/>
                <a:gd name="T31" fmla="*/ 184 h 344"/>
                <a:gd name="T32" fmla="*/ 32 w 672"/>
                <a:gd name="T33" fmla="*/ 242 h 344"/>
                <a:gd name="T34" fmla="*/ 20 w 672"/>
                <a:gd name="T35" fmla="*/ 304 h 344"/>
                <a:gd name="T36" fmla="*/ 18 w 672"/>
                <a:gd name="T37" fmla="*/ 344 h 344"/>
                <a:gd name="T38" fmla="*/ 0 w 672"/>
                <a:gd name="T39" fmla="*/ 336 h 344"/>
                <a:gd name="T40" fmla="*/ 2 w 672"/>
                <a:gd name="T41" fmla="*/ 302 h 344"/>
                <a:gd name="T42" fmla="*/ 16 w 672"/>
                <a:gd name="T43" fmla="*/ 236 h 344"/>
                <a:gd name="T44" fmla="*/ 40 w 672"/>
                <a:gd name="T45" fmla="*/ 176 h 344"/>
                <a:gd name="T46" fmla="*/ 76 w 672"/>
                <a:gd name="T47" fmla="*/ 122 h 344"/>
                <a:gd name="T48" fmla="*/ 122 w 672"/>
                <a:gd name="T49" fmla="*/ 76 h 344"/>
                <a:gd name="T50" fmla="*/ 176 w 672"/>
                <a:gd name="T51" fmla="*/ 40 h 344"/>
                <a:gd name="T52" fmla="*/ 236 w 672"/>
                <a:gd name="T53" fmla="*/ 14 h 344"/>
                <a:gd name="T54" fmla="*/ 302 w 672"/>
                <a:gd name="T55" fmla="*/ 2 h 344"/>
                <a:gd name="T56" fmla="*/ 336 w 672"/>
                <a:gd name="T57" fmla="*/ 0 h 344"/>
                <a:gd name="T58" fmla="*/ 404 w 672"/>
                <a:gd name="T59" fmla="*/ 6 h 344"/>
                <a:gd name="T60" fmla="*/ 466 w 672"/>
                <a:gd name="T61" fmla="*/ 26 h 344"/>
                <a:gd name="T62" fmla="*/ 524 w 672"/>
                <a:gd name="T63" fmla="*/ 58 h 344"/>
                <a:gd name="T64" fmla="*/ 574 w 672"/>
                <a:gd name="T65" fmla="*/ 98 h 344"/>
                <a:gd name="T66" fmla="*/ 614 w 672"/>
                <a:gd name="T67" fmla="*/ 148 h 344"/>
                <a:gd name="T68" fmla="*/ 646 w 672"/>
                <a:gd name="T69" fmla="*/ 206 h 344"/>
                <a:gd name="T70" fmla="*/ 664 w 672"/>
                <a:gd name="T71" fmla="*/ 268 h 344"/>
                <a:gd name="T72" fmla="*/ 672 w 672"/>
                <a:gd name="T73" fmla="*/ 33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2" h="344">
                  <a:moveTo>
                    <a:pt x="672" y="344"/>
                  </a:moveTo>
                  <a:lnTo>
                    <a:pt x="654" y="344"/>
                  </a:lnTo>
                  <a:lnTo>
                    <a:pt x="654" y="336"/>
                  </a:lnTo>
                  <a:lnTo>
                    <a:pt x="654" y="336"/>
                  </a:lnTo>
                  <a:lnTo>
                    <a:pt x="652" y="304"/>
                  </a:lnTo>
                  <a:lnTo>
                    <a:pt x="648" y="272"/>
                  </a:lnTo>
                  <a:lnTo>
                    <a:pt x="640" y="242"/>
                  </a:lnTo>
                  <a:lnTo>
                    <a:pt x="628" y="212"/>
                  </a:lnTo>
                  <a:lnTo>
                    <a:pt x="616" y="184"/>
                  </a:lnTo>
                  <a:lnTo>
                    <a:pt x="600" y="158"/>
                  </a:lnTo>
                  <a:lnTo>
                    <a:pt x="580" y="134"/>
                  </a:lnTo>
                  <a:lnTo>
                    <a:pt x="560" y="110"/>
                  </a:lnTo>
                  <a:lnTo>
                    <a:pt x="538" y="90"/>
                  </a:lnTo>
                  <a:lnTo>
                    <a:pt x="514" y="72"/>
                  </a:lnTo>
                  <a:lnTo>
                    <a:pt x="488" y="56"/>
                  </a:lnTo>
                  <a:lnTo>
                    <a:pt x="460" y="42"/>
                  </a:lnTo>
                  <a:lnTo>
                    <a:pt x="430" y="32"/>
                  </a:lnTo>
                  <a:lnTo>
                    <a:pt x="400" y="24"/>
                  </a:lnTo>
                  <a:lnTo>
                    <a:pt x="368" y="20"/>
                  </a:lnTo>
                  <a:lnTo>
                    <a:pt x="336" y="18"/>
                  </a:lnTo>
                  <a:lnTo>
                    <a:pt x="336" y="18"/>
                  </a:lnTo>
                  <a:lnTo>
                    <a:pt x="304" y="20"/>
                  </a:lnTo>
                  <a:lnTo>
                    <a:pt x="272" y="24"/>
                  </a:lnTo>
                  <a:lnTo>
                    <a:pt x="242" y="32"/>
                  </a:lnTo>
                  <a:lnTo>
                    <a:pt x="212" y="42"/>
                  </a:lnTo>
                  <a:lnTo>
                    <a:pt x="184" y="56"/>
                  </a:lnTo>
                  <a:lnTo>
                    <a:pt x="158" y="72"/>
                  </a:lnTo>
                  <a:lnTo>
                    <a:pt x="134" y="90"/>
                  </a:lnTo>
                  <a:lnTo>
                    <a:pt x="112" y="110"/>
                  </a:lnTo>
                  <a:lnTo>
                    <a:pt x="90" y="134"/>
                  </a:lnTo>
                  <a:lnTo>
                    <a:pt x="72" y="158"/>
                  </a:lnTo>
                  <a:lnTo>
                    <a:pt x="56" y="184"/>
                  </a:lnTo>
                  <a:lnTo>
                    <a:pt x="44" y="212"/>
                  </a:lnTo>
                  <a:lnTo>
                    <a:pt x="32" y="242"/>
                  </a:lnTo>
                  <a:lnTo>
                    <a:pt x="24" y="272"/>
                  </a:lnTo>
                  <a:lnTo>
                    <a:pt x="20" y="304"/>
                  </a:lnTo>
                  <a:lnTo>
                    <a:pt x="18" y="336"/>
                  </a:lnTo>
                  <a:lnTo>
                    <a:pt x="18" y="344"/>
                  </a:lnTo>
                  <a:lnTo>
                    <a:pt x="0" y="344"/>
                  </a:lnTo>
                  <a:lnTo>
                    <a:pt x="0" y="336"/>
                  </a:lnTo>
                  <a:lnTo>
                    <a:pt x="0" y="336"/>
                  </a:lnTo>
                  <a:lnTo>
                    <a:pt x="2" y="302"/>
                  </a:lnTo>
                  <a:lnTo>
                    <a:pt x="6" y="268"/>
                  </a:lnTo>
                  <a:lnTo>
                    <a:pt x="16" y="236"/>
                  </a:lnTo>
                  <a:lnTo>
                    <a:pt x="26" y="206"/>
                  </a:lnTo>
                  <a:lnTo>
                    <a:pt x="40" y="176"/>
                  </a:lnTo>
                  <a:lnTo>
                    <a:pt x="58" y="148"/>
                  </a:lnTo>
                  <a:lnTo>
                    <a:pt x="76" y="122"/>
                  </a:lnTo>
                  <a:lnTo>
                    <a:pt x="98" y="98"/>
                  </a:lnTo>
                  <a:lnTo>
                    <a:pt x="122" y="76"/>
                  </a:lnTo>
                  <a:lnTo>
                    <a:pt x="148" y="58"/>
                  </a:lnTo>
                  <a:lnTo>
                    <a:pt x="176" y="40"/>
                  </a:lnTo>
                  <a:lnTo>
                    <a:pt x="206" y="26"/>
                  </a:lnTo>
                  <a:lnTo>
                    <a:pt x="236" y="14"/>
                  </a:lnTo>
                  <a:lnTo>
                    <a:pt x="268" y="6"/>
                  </a:lnTo>
                  <a:lnTo>
                    <a:pt x="302" y="2"/>
                  </a:lnTo>
                  <a:lnTo>
                    <a:pt x="336" y="0"/>
                  </a:lnTo>
                  <a:lnTo>
                    <a:pt x="336" y="0"/>
                  </a:lnTo>
                  <a:lnTo>
                    <a:pt x="370" y="2"/>
                  </a:lnTo>
                  <a:lnTo>
                    <a:pt x="404" y="6"/>
                  </a:lnTo>
                  <a:lnTo>
                    <a:pt x="436" y="14"/>
                  </a:lnTo>
                  <a:lnTo>
                    <a:pt x="466" y="26"/>
                  </a:lnTo>
                  <a:lnTo>
                    <a:pt x="496" y="40"/>
                  </a:lnTo>
                  <a:lnTo>
                    <a:pt x="524" y="58"/>
                  </a:lnTo>
                  <a:lnTo>
                    <a:pt x="550" y="76"/>
                  </a:lnTo>
                  <a:lnTo>
                    <a:pt x="574" y="98"/>
                  </a:lnTo>
                  <a:lnTo>
                    <a:pt x="594" y="122"/>
                  </a:lnTo>
                  <a:lnTo>
                    <a:pt x="614" y="148"/>
                  </a:lnTo>
                  <a:lnTo>
                    <a:pt x="632" y="176"/>
                  </a:lnTo>
                  <a:lnTo>
                    <a:pt x="646" y="206"/>
                  </a:lnTo>
                  <a:lnTo>
                    <a:pt x="656" y="236"/>
                  </a:lnTo>
                  <a:lnTo>
                    <a:pt x="664" y="268"/>
                  </a:lnTo>
                  <a:lnTo>
                    <a:pt x="670" y="302"/>
                  </a:lnTo>
                  <a:lnTo>
                    <a:pt x="672" y="336"/>
                  </a:lnTo>
                  <a:lnTo>
                    <a:pt x="672" y="344"/>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17" name="Freeform 57">
              <a:extLst>
                <a:ext uri="{FF2B5EF4-FFF2-40B4-BE49-F238E27FC236}">
                  <a16:creationId xmlns:a16="http://schemas.microsoft.com/office/drawing/2014/main" id="{DC11B9F1-9F83-5180-BECB-A2C4862545DB}"/>
                </a:ext>
              </a:extLst>
            </p:cNvPr>
            <p:cNvSpPr>
              <a:spLocks noEditPoints="1"/>
            </p:cNvSpPr>
            <p:nvPr/>
          </p:nvSpPr>
          <p:spPr bwMode="auto">
            <a:xfrm>
              <a:off x="6153150" y="3549650"/>
              <a:ext cx="139700" cy="292100"/>
            </a:xfrm>
            <a:custGeom>
              <a:avLst/>
              <a:gdLst>
                <a:gd name="T0" fmla="*/ 48 w 88"/>
                <a:gd name="T1" fmla="*/ 184 h 184"/>
                <a:gd name="T2" fmla="*/ 0 w 88"/>
                <a:gd name="T3" fmla="*/ 184 h 184"/>
                <a:gd name="T4" fmla="*/ 0 w 88"/>
                <a:gd name="T5" fmla="*/ 0 h 184"/>
                <a:gd name="T6" fmla="*/ 48 w 88"/>
                <a:gd name="T7" fmla="*/ 0 h 184"/>
                <a:gd name="T8" fmla="*/ 48 w 88"/>
                <a:gd name="T9" fmla="*/ 0 h 184"/>
                <a:gd name="T10" fmla="*/ 56 w 88"/>
                <a:gd name="T11" fmla="*/ 2 h 184"/>
                <a:gd name="T12" fmla="*/ 64 w 88"/>
                <a:gd name="T13" fmla="*/ 4 h 184"/>
                <a:gd name="T14" fmla="*/ 70 w 88"/>
                <a:gd name="T15" fmla="*/ 8 h 184"/>
                <a:gd name="T16" fmla="*/ 76 w 88"/>
                <a:gd name="T17" fmla="*/ 12 h 184"/>
                <a:gd name="T18" fmla="*/ 80 w 88"/>
                <a:gd name="T19" fmla="*/ 18 h 184"/>
                <a:gd name="T20" fmla="*/ 84 w 88"/>
                <a:gd name="T21" fmla="*/ 26 h 184"/>
                <a:gd name="T22" fmla="*/ 86 w 88"/>
                <a:gd name="T23" fmla="*/ 32 h 184"/>
                <a:gd name="T24" fmla="*/ 88 w 88"/>
                <a:gd name="T25" fmla="*/ 40 h 184"/>
                <a:gd name="T26" fmla="*/ 88 w 88"/>
                <a:gd name="T27" fmla="*/ 142 h 184"/>
                <a:gd name="T28" fmla="*/ 88 w 88"/>
                <a:gd name="T29" fmla="*/ 142 h 184"/>
                <a:gd name="T30" fmla="*/ 86 w 88"/>
                <a:gd name="T31" fmla="*/ 152 h 184"/>
                <a:gd name="T32" fmla="*/ 84 w 88"/>
                <a:gd name="T33" fmla="*/ 158 h 184"/>
                <a:gd name="T34" fmla="*/ 80 w 88"/>
                <a:gd name="T35" fmla="*/ 166 h 184"/>
                <a:gd name="T36" fmla="*/ 76 w 88"/>
                <a:gd name="T37" fmla="*/ 172 h 184"/>
                <a:gd name="T38" fmla="*/ 70 w 88"/>
                <a:gd name="T39" fmla="*/ 176 h 184"/>
                <a:gd name="T40" fmla="*/ 64 w 88"/>
                <a:gd name="T41" fmla="*/ 180 h 184"/>
                <a:gd name="T42" fmla="*/ 56 w 88"/>
                <a:gd name="T43" fmla="*/ 182 h 184"/>
                <a:gd name="T44" fmla="*/ 48 w 88"/>
                <a:gd name="T45" fmla="*/ 184 h 184"/>
                <a:gd name="T46" fmla="*/ 48 w 88"/>
                <a:gd name="T47" fmla="*/ 184 h 184"/>
                <a:gd name="T48" fmla="*/ 18 w 88"/>
                <a:gd name="T49" fmla="*/ 166 h 184"/>
                <a:gd name="T50" fmla="*/ 48 w 88"/>
                <a:gd name="T51" fmla="*/ 166 h 184"/>
                <a:gd name="T52" fmla="*/ 48 w 88"/>
                <a:gd name="T53" fmla="*/ 166 h 184"/>
                <a:gd name="T54" fmla="*/ 56 w 88"/>
                <a:gd name="T55" fmla="*/ 164 h 184"/>
                <a:gd name="T56" fmla="*/ 64 w 88"/>
                <a:gd name="T57" fmla="*/ 158 h 184"/>
                <a:gd name="T58" fmla="*/ 68 w 88"/>
                <a:gd name="T59" fmla="*/ 152 h 184"/>
                <a:gd name="T60" fmla="*/ 70 w 88"/>
                <a:gd name="T61" fmla="*/ 142 h 184"/>
                <a:gd name="T62" fmla="*/ 70 w 88"/>
                <a:gd name="T63" fmla="*/ 40 h 184"/>
                <a:gd name="T64" fmla="*/ 70 w 88"/>
                <a:gd name="T65" fmla="*/ 40 h 184"/>
                <a:gd name="T66" fmla="*/ 68 w 88"/>
                <a:gd name="T67" fmla="*/ 32 h 184"/>
                <a:gd name="T68" fmla="*/ 64 w 88"/>
                <a:gd name="T69" fmla="*/ 26 h 184"/>
                <a:gd name="T70" fmla="*/ 56 w 88"/>
                <a:gd name="T71" fmla="*/ 20 h 184"/>
                <a:gd name="T72" fmla="*/ 48 w 88"/>
                <a:gd name="T73" fmla="*/ 18 h 184"/>
                <a:gd name="T74" fmla="*/ 18 w 88"/>
                <a:gd name="T75" fmla="*/ 18 h 184"/>
                <a:gd name="T76" fmla="*/ 18 w 88"/>
                <a:gd name="T77" fmla="*/ 1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184">
                  <a:moveTo>
                    <a:pt x="48" y="184"/>
                  </a:moveTo>
                  <a:lnTo>
                    <a:pt x="0" y="184"/>
                  </a:lnTo>
                  <a:lnTo>
                    <a:pt x="0" y="0"/>
                  </a:lnTo>
                  <a:lnTo>
                    <a:pt x="48" y="0"/>
                  </a:lnTo>
                  <a:lnTo>
                    <a:pt x="48" y="0"/>
                  </a:lnTo>
                  <a:lnTo>
                    <a:pt x="56" y="2"/>
                  </a:lnTo>
                  <a:lnTo>
                    <a:pt x="64" y="4"/>
                  </a:lnTo>
                  <a:lnTo>
                    <a:pt x="70" y="8"/>
                  </a:lnTo>
                  <a:lnTo>
                    <a:pt x="76" y="12"/>
                  </a:lnTo>
                  <a:lnTo>
                    <a:pt x="80" y="18"/>
                  </a:lnTo>
                  <a:lnTo>
                    <a:pt x="84" y="26"/>
                  </a:lnTo>
                  <a:lnTo>
                    <a:pt x="86" y="32"/>
                  </a:lnTo>
                  <a:lnTo>
                    <a:pt x="88" y="40"/>
                  </a:lnTo>
                  <a:lnTo>
                    <a:pt x="88" y="142"/>
                  </a:lnTo>
                  <a:lnTo>
                    <a:pt x="88" y="142"/>
                  </a:lnTo>
                  <a:lnTo>
                    <a:pt x="86" y="152"/>
                  </a:lnTo>
                  <a:lnTo>
                    <a:pt x="84" y="158"/>
                  </a:lnTo>
                  <a:lnTo>
                    <a:pt x="80" y="166"/>
                  </a:lnTo>
                  <a:lnTo>
                    <a:pt x="76" y="172"/>
                  </a:lnTo>
                  <a:lnTo>
                    <a:pt x="70" y="176"/>
                  </a:lnTo>
                  <a:lnTo>
                    <a:pt x="64" y="180"/>
                  </a:lnTo>
                  <a:lnTo>
                    <a:pt x="56" y="182"/>
                  </a:lnTo>
                  <a:lnTo>
                    <a:pt x="48" y="184"/>
                  </a:lnTo>
                  <a:lnTo>
                    <a:pt x="48" y="184"/>
                  </a:lnTo>
                  <a:close/>
                  <a:moveTo>
                    <a:pt x="18" y="166"/>
                  </a:moveTo>
                  <a:lnTo>
                    <a:pt x="48" y="166"/>
                  </a:lnTo>
                  <a:lnTo>
                    <a:pt x="48" y="166"/>
                  </a:lnTo>
                  <a:lnTo>
                    <a:pt x="56" y="164"/>
                  </a:lnTo>
                  <a:lnTo>
                    <a:pt x="64" y="158"/>
                  </a:lnTo>
                  <a:lnTo>
                    <a:pt x="68" y="152"/>
                  </a:lnTo>
                  <a:lnTo>
                    <a:pt x="70" y="142"/>
                  </a:lnTo>
                  <a:lnTo>
                    <a:pt x="70" y="40"/>
                  </a:lnTo>
                  <a:lnTo>
                    <a:pt x="70" y="40"/>
                  </a:lnTo>
                  <a:lnTo>
                    <a:pt x="68" y="32"/>
                  </a:lnTo>
                  <a:lnTo>
                    <a:pt x="64" y="26"/>
                  </a:lnTo>
                  <a:lnTo>
                    <a:pt x="56" y="20"/>
                  </a:lnTo>
                  <a:lnTo>
                    <a:pt x="48" y="18"/>
                  </a:lnTo>
                  <a:lnTo>
                    <a:pt x="18" y="18"/>
                  </a:lnTo>
                  <a:lnTo>
                    <a:pt x="18" y="16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18" name="Freeform 58">
              <a:extLst>
                <a:ext uri="{FF2B5EF4-FFF2-40B4-BE49-F238E27FC236}">
                  <a16:creationId xmlns:a16="http://schemas.microsoft.com/office/drawing/2014/main" id="{11809E4D-5F5B-B534-F84C-081C35ED2944}"/>
                </a:ext>
              </a:extLst>
            </p:cNvPr>
            <p:cNvSpPr>
              <a:spLocks noEditPoints="1"/>
            </p:cNvSpPr>
            <p:nvPr/>
          </p:nvSpPr>
          <p:spPr bwMode="auto">
            <a:xfrm>
              <a:off x="5003800" y="3549650"/>
              <a:ext cx="139700" cy="292100"/>
            </a:xfrm>
            <a:custGeom>
              <a:avLst/>
              <a:gdLst>
                <a:gd name="T0" fmla="*/ 88 w 88"/>
                <a:gd name="T1" fmla="*/ 184 h 184"/>
                <a:gd name="T2" fmla="*/ 40 w 88"/>
                <a:gd name="T3" fmla="*/ 184 h 184"/>
                <a:gd name="T4" fmla="*/ 40 w 88"/>
                <a:gd name="T5" fmla="*/ 184 h 184"/>
                <a:gd name="T6" fmla="*/ 32 w 88"/>
                <a:gd name="T7" fmla="*/ 182 h 184"/>
                <a:gd name="T8" fmla="*/ 24 w 88"/>
                <a:gd name="T9" fmla="*/ 180 h 184"/>
                <a:gd name="T10" fmla="*/ 18 w 88"/>
                <a:gd name="T11" fmla="*/ 176 h 184"/>
                <a:gd name="T12" fmla="*/ 12 w 88"/>
                <a:gd name="T13" fmla="*/ 172 h 184"/>
                <a:gd name="T14" fmla="*/ 6 w 88"/>
                <a:gd name="T15" fmla="*/ 166 h 184"/>
                <a:gd name="T16" fmla="*/ 4 w 88"/>
                <a:gd name="T17" fmla="*/ 158 h 184"/>
                <a:gd name="T18" fmla="*/ 0 w 88"/>
                <a:gd name="T19" fmla="*/ 152 h 184"/>
                <a:gd name="T20" fmla="*/ 0 w 88"/>
                <a:gd name="T21" fmla="*/ 142 h 184"/>
                <a:gd name="T22" fmla="*/ 0 w 88"/>
                <a:gd name="T23" fmla="*/ 40 h 184"/>
                <a:gd name="T24" fmla="*/ 0 w 88"/>
                <a:gd name="T25" fmla="*/ 40 h 184"/>
                <a:gd name="T26" fmla="*/ 0 w 88"/>
                <a:gd name="T27" fmla="*/ 32 h 184"/>
                <a:gd name="T28" fmla="*/ 4 w 88"/>
                <a:gd name="T29" fmla="*/ 26 h 184"/>
                <a:gd name="T30" fmla="*/ 6 w 88"/>
                <a:gd name="T31" fmla="*/ 18 h 184"/>
                <a:gd name="T32" fmla="*/ 12 w 88"/>
                <a:gd name="T33" fmla="*/ 12 h 184"/>
                <a:gd name="T34" fmla="*/ 18 w 88"/>
                <a:gd name="T35" fmla="*/ 8 h 184"/>
                <a:gd name="T36" fmla="*/ 24 w 88"/>
                <a:gd name="T37" fmla="*/ 4 h 184"/>
                <a:gd name="T38" fmla="*/ 32 w 88"/>
                <a:gd name="T39" fmla="*/ 2 h 184"/>
                <a:gd name="T40" fmla="*/ 40 w 88"/>
                <a:gd name="T41" fmla="*/ 0 h 184"/>
                <a:gd name="T42" fmla="*/ 88 w 88"/>
                <a:gd name="T43" fmla="*/ 0 h 184"/>
                <a:gd name="T44" fmla="*/ 88 w 88"/>
                <a:gd name="T45" fmla="*/ 184 h 184"/>
                <a:gd name="T46" fmla="*/ 40 w 88"/>
                <a:gd name="T47" fmla="*/ 18 h 184"/>
                <a:gd name="T48" fmla="*/ 40 w 88"/>
                <a:gd name="T49" fmla="*/ 18 h 184"/>
                <a:gd name="T50" fmla="*/ 32 w 88"/>
                <a:gd name="T51" fmla="*/ 20 h 184"/>
                <a:gd name="T52" fmla="*/ 24 w 88"/>
                <a:gd name="T53" fmla="*/ 26 h 184"/>
                <a:gd name="T54" fmla="*/ 20 w 88"/>
                <a:gd name="T55" fmla="*/ 32 h 184"/>
                <a:gd name="T56" fmla="*/ 18 w 88"/>
                <a:gd name="T57" fmla="*/ 40 h 184"/>
                <a:gd name="T58" fmla="*/ 18 w 88"/>
                <a:gd name="T59" fmla="*/ 142 h 184"/>
                <a:gd name="T60" fmla="*/ 18 w 88"/>
                <a:gd name="T61" fmla="*/ 142 h 184"/>
                <a:gd name="T62" fmla="*/ 20 w 88"/>
                <a:gd name="T63" fmla="*/ 152 h 184"/>
                <a:gd name="T64" fmla="*/ 24 w 88"/>
                <a:gd name="T65" fmla="*/ 158 h 184"/>
                <a:gd name="T66" fmla="*/ 32 w 88"/>
                <a:gd name="T67" fmla="*/ 164 h 184"/>
                <a:gd name="T68" fmla="*/ 40 w 88"/>
                <a:gd name="T69" fmla="*/ 166 h 184"/>
                <a:gd name="T70" fmla="*/ 70 w 88"/>
                <a:gd name="T71" fmla="*/ 166 h 184"/>
                <a:gd name="T72" fmla="*/ 70 w 88"/>
                <a:gd name="T73" fmla="*/ 18 h 184"/>
                <a:gd name="T74" fmla="*/ 40 w 88"/>
                <a:gd name="T75" fmla="*/ 1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84">
                  <a:moveTo>
                    <a:pt x="88" y="184"/>
                  </a:moveTo>
                  <a:lnTo>
                    <a:pt x="40" y="184"/>
                  </a:lnTo>
                  <a:lnTo>
                    <a:pt x="40" y="184"/>
                  </a:lnTo>
                  <a:lnTo>
                    <a:pt x="32" y="182"/>
                  </a:lnTo>
                  <a:lnTo>
                    <a:pt x="24" y="180"/>
                  </a:lnTo>
                  <a:lnTo>
                    <a:pt x="18" y="176"/>
                  </a:lnTo>
                  <a:lnTo>
                    <a:pt x="12" y="172"/>
                  </a:lnTo>
                  <a:lnTo>
                    <a:pt x="6" y="166"/>
                  </a:lnTo>
                  <a:lnTo>
                    <a:pt x="4" y="158"/>
                  </a:lnTo>
                  <a:lnTo>
                    <a:pt x="0" y="152"/>
                  </a:lnTo>
                  <a:lnTo>
                    <a:pt x="0" y="142"/>
                  </a:lnTo>
                  <a:lnTo>
                    <a:pt x="0" y="40"/>
                  </a:lnTo>
                  <a:lnTo>
                    <a:pt x="0" y="40"/>
                  </a:lnTo>
                  <a:lnTo>
                    <a:pt x="0" y="32"/>
                  </a:lnTo>
                  <a:lnTo>
                    <a:pt x="4" y="26"/>
                  </a:lnTo>
                  <a:lnTo>
                    <a:pt x="6" y="18"/>
                  </a:lnTo>
                  <a:lnTo>
                    <a:pt x="12" y="12"/>
                  </a:lnTo>
                  <a:lnTo>
                    <a:pt x="18" y="8"/>
                  </a:lnTo>
                  <a:lnTo>
                    <a:pt x="24" y="4"/>
                  </a:lnTo>
                  <a:lnTo>
                    <a:pt x="32" y="2"/>
                  </a:lnTo>
                  <a:lnTo>
                    <a:pt x="40" y="0"/>
                  </a:lnTo>
                  <a:lnTo>
                    <a:pt x="88" y="0"/>
                  </a:lnTo>
                  <a:lnTo>
                    <a:pt x="88" y="184"/>
                  </a:lnTo>
                  <a:close/>
                  <a:moveTo>
                    <a:pt x="40" y="18"/>
                  </a:moveTo>
                  <a:lnTo>
                    <a:pt x="40" y="18"/>
                  </a:lnTo>
                  <a:lnTo>
                    <a:pt x="32" y="20"/>
                  </a:lnTo>
                  <a:lnTo>
                    <a:pt x="24" y="26"/>
                  </a:lnTo>
                  <a:lnTo>
                    <a:pt x="20" y="32"/>
                  </a:lnTo>
                  <a:lnTo>
                    <a:pt x="18" y="40"/>
                  </a:lnTo>
                  <a:lnTo>
                    <a:pt x="18" y="142"/>
                  </a:lnTo>
                  <a:lnTo>
                    <a:pt x="18" y="142"/>
                  </a:lnTo>
                  <a:lnTo>
                    <a:pt x="20" y="152"/>
                  </a:lnTo>
                  <a:lnTo>
                    <a:pt x="24" y="158"/>
                  </a:lnTo>
                  <a:lnTo>
                    <a:pt x="32" y="164"/>
                  </a:lnTo>
                  <a:lnTo>
                    <a:pt x="40" y="166"/>
                  </a:lnTo>
                  <a:lnTo>
                    <a:pt x="70" y="166"/>
                  </a:lnTo>
                  <a:lnTo>
                    <a:pt x="70" y="18"/>
                  </a:lnTo>
                  <a:lnTo>
                    <a:pt x="40" y="1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19" name="Freeform 59">
              <a:extLst>
                <a:ext uri="{FF2B5EF4-FFF2-40B4-BE49-F238E27FC236}">
                  <a16:creationId xmlns:a16="http://schemas.microsoft.com/office/drawing/2014/main" id="{65D9330D-1E78-925C-5491-BB9DB3D3DAB6}"/>
                </a:ext>
              </a:extLst>
            </p:cNvPr>
            <p:cNvSpPr>
              <a:spLocks noEditPoints="1"/>
            </p:cNvSpPr>
            <p:nvPr/>
          </p:nvSpPr>
          <p:spPr bwMode="auto">
            <a:xfrm>
              <a:off x="5616575" y="4041775"/>
              <a:ext cx="269875" cy="107950"/>
            </a:xfrm>
            <a:custGeom>
              <a:avLst/>
              <a:gdLst>
                <a:gd name="T0" fmla="*/ 136 w 170"/>
                <a:gd name="T1" fmla="*/ 68 h 68"/>
                <a:gd name="T2" fmla="*/ 34 w 170"/>
                <a:gd name="T3" fmla="*/ 68 h 68"/>
                <a:gd name="T4" fmla="*/ 34 w 170"/>
                <a:gd name="T5" fmla="*/ 68 h 68"/>
                <a:gd name="T6" fmla="*/ 28 w 170"/>
                <a:gd name="T7" fmla="*/ 66 h 68"/>
                <a:gd name="T8" fmla="*/ 20 w 170"/>
                <a:gd name="T9" fmla="*/ 64 h 68"/>
                <a:gd name="T10" fmla="*/ 16 w 170"/>
                <a:gd name="T11" fmla="*/ 62 h 68"/>
                <a:gd name="T12" fmla="*/ 10 w 170"/>
                <a:gd name="T13" fmla="*/ 58 h 68"/>
                <a:gd name="T14" fmla="*/ 6 w 170"/>
                <a:gd name="T15" fmla="*/ 52 h 68"/>
                <a:gd name="T16" fmla="*/ 2 w 170"/>
                <a:gd name="T17" fmla="*/ 46 h 68"/>
                <a:gd name="T18" fmla="*/ 0 w 170"/>
                <a:gd name="T19" fmla="*/ 40 h 68"/>
                <a:gd name="T20" fmla="*/ 0 w 170"/>
                <a:gd name="T21" fmla="*/ 34 h 68"/>
                <a:gd name="T22" fmla="*/ 0 w 170"/>
                <a:gd name="T23" fmla="*/ 34 h 68"/>
                <a:gd name="T24" fmla="*/ 0 w 170"/>
                <a:gd name="T25" fmla="*/ 26 h 68"/>
                <a:gd name="T26" fmla="*/ 2 w 170"/>
                <a:gd name="T27" fmla="*/ 20 h 68"/>
                <a:gd name="T28" fmla="*/ 6 w 170"/>
                <a:gd name="T29" fmla="*/ 14 h 68"/>
                <a:gd name="T30" fmla="*/ 10 w 170"/>
                <a:gd name="T31" fmla="*/ 10 h 68"/>
                <a:gd name="T32" fmla="*/ 16 w 170"/>
                <a:gd name="T33" fmla="*/ 6 h 68"/>
                <a:gd name="T34" fmla="*/ 20 w 170"/>
                <a:gd name="T35" fmla="*/ 2 h 68"/>
                <a:gd name="T36" fmla="*/ 28 w 170"/>
                <a:gd name="T37" fmla="*/ 0 h 68"/>
                <a:gd name="T38" fmla="*/ 34 w 170"/>
                <a:gd name="T39" fmla="*/ 0 h 68"/>
                <a:gd name="T40" fmla="*/ 136 w 170"/>
                <a:gd name="T41" fmla="*/ 0 h 68"/>
                <a:gd name="T42" fmla="*/ 136 w 170"/>
                <a:gd name="T43" fmla="*/ 0 h 68"/>
                <a:gd name="T44" fmla="*/ 142 w 170"/>
                <a:gd name="T45" fmla="*/ 0 h 68"/>
                <a:gd name="T46" fmla="*/ 150 w 170"/>
                <a:gd name="T47" fmla="*/ 2 h 68"/>
                <a:gd name="T48" fmla="*/ 156 w 170"/>
                <a:gd name="T49" fmla="*/ 6 h 68"/>
                <a:gd name="T50" fmla="*/ 160 w 170"/>
                <a:gd name="T51" fmla="*/ 10 h 68"/>
                <a:gd name="T52" fmla="*/ 164 w 170"/>
                <a:gd name="T53" fmla="*/ 14 h 68"/>
                <a:gd name="T54" fmla="*/ 168 w 170"/>
                <a:gd name="T55" fmla="*/ 20 h 68"/>
                <a:gd name="T56" fmla="*/ 170 w 170"/>
                <a:gd name="T57" fmla="*/ 26 h 68"/>
                <a:gd name="T58" fmla="*/ 170 w 170"/>
                <a:gd name="T59" fmla="*/ 34 h 68"/>
                <a:gd name="T60" fmla="*/ 170 w 170"/>
                <a:gd name="T61" fmla="*/ 34 h 68"/>
                <a:gd name="T62" fmla="*/ 170 w 170"/>
                <a:gd name="T63" fmla="*/ 40 h 68"/>
                <a:gd name="T64" fmla="*/ 168 w 170"/>
                <a:gd name="T65" fmla="*/ 46 h 68"/>
                <a:gd name="T66" fmla="*/ 164 w 170"/>
                <a:gd name="T67" fmla="*/ 52 h 68"/>
                <a:gd name="T68" fmla="*/ 160 w 170"/>
                <a:gd name="T69" fmla="*/ 58 h 68"/>
                <a:gd name="T70" fmla="*/ 156 w 170"/>
                <a:gd name="T71" fmla="*/ 62 h 68"/>
                <a:gd name="T72" fmla="*/ 150 w 170"/>
                <a:gd name="T73" fmla="*/ 64 h 68"/>
                <a:gd name="T74" fmla="*/ 142 w 170"/>
                <a:gd name="T75" fmla="*/ 66 h 68"/>
                <a:gd name="T76" fmla="*/ 136 w 170"/>
                <a:gd name="T77" fmla="*/ 68 h 68"/>
                <a:gd name="T78" fmla="*/ 136 w 170"/>
                <a:gd name="T79" fmla="*/ 68 h 68"/>
                <a:gd name="T80" fmla="*/ 34 w 170"/>
                <a:gd name="T81" fmla="*/ 18 h 68"/>
                <a:gd name="T82" fmla="*/ 34 w 170"/>
                <a:gd name="T83" fmla="*/ 18 h 68"/>
                <a:gd name="T84" fmla="*/ 28 w 170"/>
                <a:gd name="T85" fmla="*/ 20 h 68"/>
                <a:gd name="T86" fmla="*/ 22 w 170"/>
                <a:gd name="T87" fmla="*/ 22 h 68"/>
                <a:gd name="T88" fmla="*/ 20 w 170"/>
                <a:gd name="T89" fmla="*/ 28 h 68"/>
                <a:gd name="T90" fmla="*/ 18 w 170"/>
                <a:gd name="T91" fmla="*/ 34 h 68"/>
                <a:gd name="T92" fmla="*/ 18 w 170"/>
                <a:gd name="T93" fmla="*/ 34 h 68"/>
                <a:gd name="T94" fmla="*/ 20 w 170"/>
                <a:gd name="T95" fmla="*/ 40 h 68"/>
                <a:gd name="T96" fmla="*/ 22 w 170"/>
                <a:gd name="T97" fmla="*/ 44 h 68"/>
                <a:gd name="T98" fmla="*/ 28 w 170"/>
                <a:gd name="T99" fmla="*/ 48 h 68"/>
                <a:gd name="T100" fmla="*/ 34 w 170"/>
                <a:gd name="T101" fmla="*/ 50 h 68"/>
                <a:gd name="T102" fmla="*/ 136 w 170"/>
                <a:gd name="T103" fmla="*/ 50 h 68"/>
                <a:gd name="T104" fmla="*/ 136 w 170"/>
                <a:gd name="T105" fmla="*/ 50 h 68"/>
                <a:gd name="T106" fmla="*/ 142 w 170"/>
                <a:gd name="T107" fmla="*/ 48 h 68"/>
                <a:gd name="T108" fmla="*/ 148 w 170"/>
                <a:gd name="T109" fmla="*/ 44 h 68"/>
                <a:gd name="T110" fmla="*/ 150 w 170"/>
                <a:gd name="T111" fmla="*/ 40 h 68"/>
                <a:gd name="T112" fmla="*/ 152 w 170"/>
                <a:gd name="T113" fmla="*/ 34 h 68"/>
                <a:gd name="T114" fmla="*/ 152 w 170"/>
                <a:gd name="T115" fmla="*/ 34 h 68"/>
                <a:gd name="T116" fmla="*/ 150 w 170"/>
                <a:gd name="T117" fmla="*/ 28 h 68"/>
                <a:gd name="T118" fmla="*/ 148 w 170"/>
                <a:gd name="T119" fmla="*/ 22 h 68"/>
                <a:gd name="T120" fmla="*/ 142 w 170"/>
                <a:gd name="T121" fmla="*/ 20 h 68"/>
                <a:gd name="T122" fmla="*/ 136 w 170"/>
                <a:gd name="T123" fmla="*/ 18 h 68"/>
                <a:gd name="T124" fmla="*/ 34 w 170"/>
                <a:gd name="T125" fmla="*/ 1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68">
                  <a:moveTo>
                    <a:pt x="136" y="68"/>
                  </a:moveTo>
                  <a:lnTo>
                    <a:pt x="34" y="68"/>
                  </a:lnTo>
                  <a:lnTo>
                    <a:pt x="34" y="68"/>
                  </a:lnTo>
                  <a:lnTo>
                    <a:pt x="28" y="66"/>
                  </a:lnTo>
                  <a:lnTo>
                    <a:pt x="20" y="64"/>
                  </a:lnTo>
                  <a:lnTo>
                    <a:pt x="16" y="62"/>
                  </a:lnTo>
                  <a:lnTo>
                    <a:pt x="10" y="58"/>
                  </a:lnTo>
                  <a:lnTo>
                    <a:pt x="6" y="52"/>
                  </a:lnTo>
                  <a:lnTo>
                    <a:pt x="2" y="46"/>
                  </a:lnTo>
                  <a:lnTo>
                    <a:pt x="0" y="40"/>
                  </a:lnTo>
                  <a:lnTo>
                    <a:pt x="0" y="34"/>
                  </a:lnTo>
                  <a:lnTo>
                    <a:pt x="0" y="34"/>
                  </a:lnTo>
                  <a:lnTo>
                    <a:pt x="0" y="26"/>
                  </a:lnTo>
                  <a:lnTo>
                    <a:pt x="2" y="20"/>
                  </a:lnTo>
                  <a:lnTo>
                    <a:pt x="6" y="14"/>
                  </a:lnTo>
                  <a:lnTo>
                    <a:pt x="10" y="10"/>
                  </a:lnTo>
                  <a:lnTo>
                    <a:pt x="16" y="6"/>
                  </a:lnTo>
                  <a:lnTo>
                    <a:pt x="20" y="2"/>
                  </a:lnTo>
                  <a:lnTo>
                    <a:pt x="28" y="0"/>
                  </a:lnTo>
                  <a:lnTo>
                    <a:pt x="34" y="0"/>
                  </a:lnTo>
                  <a:lnTo>
                    <a:pt x="136" y="0"/>
                  </a:lnTo>
                  <a:lnTo>
                    <a:pt x="136" y="0"/>
                  </a:lnTo>
                  <a:lnTo>
                    <a:pt x="142" y="0"/>
                  </a:lnTo>
                  <a:lnTo>
                    <a:pt x="150" y="2"/>
                  </a:lnTo>
                  <a:lnTo>
                    <a:pt x="156" y="6"/>
                  </a:lnTo>
                  <a:lnTo>
                    <a:pt x="160" y="10"/>
                  </a:lnTo>
                  <a:lnTo>
                    <a:pt x="164" y="14"/>
                  </a:lnTo>
                  <a:lnTo>
                    <a:pt x="168" y="20"/>
                  </a:lnTo>
                  <a:lnTo>
                    <a:pt x="170" y="26"/>
                  </a:lnTo>
                  <a:lnTo>
                    <a:pt x="170" y="34"/>
                  </a:lnTo>
                  <a:lnTo>
                    <a:pt x="170" y="34"/>
                  </a:lnTo>
                  <a:lnTo>
                    <a:pt x="170" y="40"/>
                  </a:lnTo>
                  <a:lnTo>
                    <a:pt x="168" y="46"/>
                  </a:lnTo>
                  <a:lnTo>
                    <a:pt x="164" y="52"/>
                  </a:lnTo>
                  <a:lnTo>
                    <a:pt x="160" y="58"/>
                  </a:lnTo>
                  <a:lnTo>
                    <a:pt x="156" y="62"/>
                  </a:lnTo>
                  <a:lnTo>
                    <a:pt x="150" y="64"/>
                  </a:lnTo>
                  <a:lnTo>
                    <a:pt x="142" y="66"/>
                  </a:lnTo>
                  <a:lnTo>
                    <a:pt x="136" y="68"/>
                  </a:lnTo>
                  <a:lnTo>
                    <a:pt x="136" y="68"/>
                  </a:lnTo>
                  <a:close/>
                  <a:moveTo>
                    <a:pt x="34" y="18"/>
                  </a:moveTo>
                  <a:lnTo>
                    <a:pt x="34" y="18"/>
                  </a:lnTo>
                  <a:lnTo>
                    <a:pt x="28" y="20"/>
                  </a:lnTo>
                  <a:lnTo>
                    <a:pt x="22" y="22"/>
                  </a:lnTo>
                  <a:lnTo>
                    <a:pt x="20" y="28"/>
                  </a:lnTo>
                  <a:lnTo>
                    <a:pt x="18" y="34"/>
                  </a:lnTo>
                  <a:lnTo>
                    <a:pt x="18" y="34"/>
                  </a:lnTo>
                  <a:lnTo>
                    <a:pt x="20" y="40"/>
                  </a:lnTo>
                  <a:lnTo>
                    <a:pt x="22" y="44"/>
                  </a:lnTo>
                  <a:lnTo>
                    <a:pt x="28" y="48"/>
                  </a:lnTo>
                  <a:lnTo>
                    <a:pt x="34" y="50"/>
                  </a:lnTo>
                  <a:lnTo>
                    <a:pt x="136" y="50"/>
                  </a:lnTo>
                  <a:lnTo>
                    <a:pt x="136" y="50"/>
                  </a:lnTo>
                  <a:lnTo>
                    <a:pt x="142" y="48"/>
                  </a:lnTo>
                  <a:lnTo>
                    <a:pt x="148" y="44"/>
                  </a:lnTo>
                  <a:lnTo>
                    <a:pt x="150" y="40"/>
                  </a:lnTo>
                  <a:lnTo>
                    <a:pt x="152" y="34"/>
                  </a:lnTo>
                  <a:lnTo>
                    <a:pt x="152" y="34"/>
                  </a:lnTo>
                  <a:lnTo>
                    <a:pt x="150" y="28"/>
                  </a:lnTo>
                  <a:lnTo>
                    <a:pt x="148" y="22"/>
                  </a:lnTo>
                  <a:lnTo>
                    <a:pt x="142" y="20"/>
                  </a:lnTo>
                  <a:lnTo>
                    <a:pt x="136" y="18"/>
                  </a:lnTo>
                  <a:lnTo>
                    <a:pt x="34" y="1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0" name="Freeform 60">
              <a:extLst>
                <a:ext uri="{FF2B5EF4-FFF2-40B4-BE49-F238E27FC236}">
                  <a16:creationId xmlns:a16="http://schemas.microsoft.com/office/drawing/2014/main" id="{9F1C8BEA-FFA9-F4AD-0296-8EC194AB61ED}"/>
                </a:ext>
              </a:extLst>
            </p:cNvPr>
            <p:cNvSpPr>
              <a:spLocks/>
            </p:cNvSpPr>
            <p:nvPr/>
          </p:nvSpPr>
          <p:spPr bwMode="auto">
            <a:xfrm>
              <a:off x="5372100" y="3190875"/>
              <a:ext cx="561975" cy="152400"/>
            </a:xfrm>
            <a:custGeom>
              <a:avLst/>
              <a:gdLst>
                <a:gd name="T0" fmla="*/ 342 w 354"/>
                <a:gd name="T1" fmla="*/ 96 h 96"/>
                <a:gd name="T2" fmla="*/ 336 w 354"/>
                <a:gd name="T3" fmla="*/ 90 h 96"/>
                <a:gd name="T4" fmla="*/ 336 w 354"/>
                <a:gd name="T5" fmla="*/ 90 h 96"/>
                <a:gd name="T6" fmla="*/ 320 w 354"/>
                <a:gd name="T7" fmla="*/ 74 h 96"/>
                <a:gd name="T8" fmla="*/ 302 w 354"/>
                <a:gd name="T9" fmla="*/ 58 h 96"/>
                <a:gd name="T10" fmla="*/ 282 w 354"/>
                <a:gd name="T11" fmla="*/ 46 h 96"/>
                <a:gd name="T12" fmla="*/ 262 w 354"/>
                <a:gd name="T13" fmla="*/ 36 h 96"/>
                <a:gd name="T14" fmla="*/ 242 w 354"/>
                <a:gd name="T15" fmla="*/ 28 h 96"/>
                <a:gd name="T16" fmla="*/ 220 w 354"/>
                <a:gd name="T17" fmla="*/ 22 h 96"/>
                <a:gd name="T18" fmla="*/ 196 w 354"/>
                <a:gd name="T19" fmla="*/ 18 h 96"/>
                <a:gd name="T20" fmla="*/ 174 w 354"/>
                <a:gd name="T21" fmla="*/ 18 h 96"/>
                <a:gd name="T22" fmla="*/ 174 w 354"/>
                <a:gd name="T23" fmla="*/ 18 h 96"/>
                <a:gd name="T24" fmla="*/ 152 w 354"/>
                <a:gd name="T25" fmla="*/ 18 h 96"/>
                <a:gd name="T26" fmla="*/ 130 w 354"/>
                <a:gd name="T27" fmla="*/ 22 h 96"/>
                <a:gd name="T28" fmla="*/ 110 w 354"/>
                <a:gd name="T29" fmla="*/ 28 h 96"/>
                <a:gd name="T30" fmla="*/ 90 w 354"/>
                <a:gd name="T31" fmla="*/ 34 h 96"/>
                <a:gd name="T32" fmla="*/ 72 w 354"/>
                <a:gd name="T33" fmla="*/ 44 h 96"/>
                <a:gd name="T34" fmla="*/ 52 w 354"/>
                <a:gd name="T35" fmla="*/ 54 h 96"/>
                <a:gd name="T36" fmla="*/ 36 w 354"/>
                <a:gd name="T37" fmla="*/ 66 h 96"/>
                <a:gd name="T38" fmla="*/ 20 w 354"/>
                <a:gd name="T39" fmla="*/ 82 h 96"/>
                <a:gd name="T40" fmla="*/ 14 w 354"/>
                <a:gd name="T41" fmla="*/ 88 h 96"/>
                <a:gd name="T42" fmla="*/ 0 w 354"/>
                <a:gd name="T43" fmla="*/ 76 h 96"/>
                <a:gd name="T44" fmla="*/ 6 w 354"/>
                <a:gd name="T45" fmla="*/ 68 h 96"/>
                <a:gd name="T46" fmla="*/ 6 w 354"/>
                <a:gd name="T47" fmla="*/ 68 h 96"/>
                <a:gd name="T48" fmla="*/ 24 w 354"/>
                <a:gd name="T49" fmla="*/ 54 h 96"/>
                <a:gd name="T50" fmla="*/ 42 w 354"/>
                <a:gd name="T51" fmla="*/ 40 h 96"/>
                <a:gd name="T52" fmla="*/ 62 w 354"/>
                <a:gd name="T53" fmla="*/ 28 h 96"/>
                <a:gd name="T54" fmla="*/ 84 w 354"/>
                <a:gd name="T55" fmla="*/ 18 h 96"/>
                <a:gd name="T56" fmla="*/ 106 w 354"/>
                <a:gd name="T57" fmla="*/ 10 h 96"/>
                <a:gd name="T58" fmla="*/ 128 w 354"/>
                <a:gd name="T59" fmla="*/ 4 h 96"/>
                <a:gd name="T60" fmla="*/ 150 w 354"/>
                <a:gd name="T61" fmla="*/ 0 h 96"/>
                <a:gd name="T62" fmla="*/ 174 w 354"/>
                <a:gd name="T63" fmla="*/ 0 h 96"/>
                <a:gd name="T64" fmla="*/ 174 w 354"/>
                <a:gd name="T65" fmla="*/ 0 h 96"/>
                <a:gd name="T66" fmla="*/ 198 w 354"/>
                <a:gd name="T67" fmla="*/ 0 h 96"/>
                <a:gd name="T68" fmla="*/ 224 w 354"/>
                <a:gd name="T69" fmla="*/ 4 h 96"/>
                <a:gd name="T70" fmla="*/ 246 w 354"/>
                <a:gd name="T71" fmla="*/ 12 h 96"/>
                <a:gd name="T72" fmla="*/ 270 w 354"/>
                <a:gd name="T73" fmla="*/ 20 h 96"/>
                <a:gd name="T74" fmla="*/ 292 w 354"/>
                <a:gd name="T75" fmla="*/ 32 h 96"/>
                <a:gd name="T76" fmla="*/ 312 w 354"/>
                <a:gd name="T77" fmla="*/ 44 h 96"/>
                <a:gd name="T78" fmla="*/ 332 w 354"/>
                <a:gd name="T79" fmla="*/ 60 h 96"/>
                <a:gd name="T80" fmla="*/ 348 w 354"/>
                <a:gd name="T81" fmla="*/ 78 h 96"/>
                <a:gd name="T82" fmla="*/ 354 w 354"/>
                <a:gd name="T83" fmla="*/ 84 h 96"/>
                <a:gd name="T84" fmla="*/ 342 w 354"/>
                <a:gd name="T8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96">
                  <a:moveTo>
                    <a:pt x="342" y="96"/>
                  </a:moveTo>
                  <a:lnTo>
                    <a:pt x="336" y="90"/>
                  </a:lnTo>
                  <a:lnTo>
                    <a:pt x="336" y="90"/>
                  </a:lnTo>
                  <a:lnTo>
                    <a:pt x="320" y="74"/>
                  </a:lnTo>
                  <a:lnTo>
                    <a:pt x="302" y="58"/>
                  </a:lnTo>
                  <a:lnTo>
                    <a:pt x="282" y="46"/>
                  </a:lnTo>
                  <a:lnTo>
                    <a:pt x="262" y="36"/>
                  </a:lnTo>
                  <a:lnTo>
                    <a:pt x="242" y="28"/>
                  </a:lnTo>
                  <a:lnTo>
                    <a:pt x="220" y="22"/>
                  </a:lnTo>
                  <a:lnTo>
                    <a:pt x="196" y="18"/>
                  </a:lnTo>
                  <a:lnTo>
                    <a:pt x="174" y="18"/>
                  </a:lnTo>
                  <a:lnTo>
                    <a:pt x="174" y="18"/>
                  </a:lnTo>
                  <a:lnTo>
                    <a:pt x="152" y="18"/>
                  </a:lnTo>
                  <a:lnTo>
                    <a:pt x="130" y="22"/>
                  </a:lnTo>
                  <a:lnTo>
                    <a:pt x="110" y="28"/>
                  </a:lnTo>
                  <a:lnTo>
                    <a:pt x="90" y="34"/>
                  </a:lnTo>
                  <a:lnTo>
                    <a:pt x="72" y="44"/>
                  </a:lnTo>
                  <a:lnTo>
                    <a:pt x="52" y="54"/>
                  </a:lnTo>
                  <a:lnTo>
                    <a:pt x="36" y="66"/>
                  </a:lnTo>
                  <a:lnTo>
                    <a:pt x="20" y="82"/>
                  </a:lnTo>
                  <a:lnTo>
                    <a:pt x="14" y="88"/>
                  </a:lnTo>
                  <a:lnTo>
                    <a:pt x="0" y="76"/>
                  </a:lnTo>
                  <a:lnTo>
                    <a:pt x="6" y="68"/>
                  </a:lnTo>
                  <a:lnTo>
                    <a:pt x="6" y="68"/>
                  </a:lnTo>
                  <a:lnTo>
                    <a:pt x="24" y="54"/>
                  </a:lnTo>
                  <a:lnTo>
                    <a:pt x="42" y="40"/>
                  </a:lnTo>
                  <a:lnTo>
                    <a:pt x="62" y="28"/>
                  </a:lnTo>
                  <a:lnTo>
                    <a:pt x="84" y="18"/>
                  </a:lnTo>
                  <a:lnTo>
                    <a:pt x="106" y="10"/>
                  </a:lnTo>
                  <a:lnTo>
                    <a:pt x="128" y="4"/>
                  </a:lnTo>
                  <a:lnTo>
                    <a:pt x="150" y="0"/>
                  </a:lnTo>
                  <a:lnTo>
                    <a:pt x="174" y="0"/>
                  </a:lnTo>
                  <a:lnTo>
                    <a:pt x="174" y="0"/>
                  </a:lnTo>
                  <a:lnTo>
                    <a:pt x="198" y="0"/>
                  </a:lnTo>
                  <a:lnTo>
                    <a:pt x="224" y="4"/>
                  </a:lnTo>
                  <a:lnTo>
                    <a:pt x="246" y="12"/>
                  </a:lnTo>
                  <a:lnTo>
                    <a:pt x="270" y="20"/>
                  </a:lnTo>
                  <a:lnTo>
                    <a:pt x="292" y="32"/>
                  </a:lnTo>
                  <a:lnTo>
                    <a:pt x="312" y="44"/>
                  </a:lnTo>
                  <a:lnTo>
                    <a:pt x="332" y="60"/>
                  </a:lnTo>
                  <a:lnTo>
                    <a:pt x="348" y="78"/>
                  </a:lnTo>
                  <a:lnTo>
                    <a:pt x="354" y="84"/>
                  </a:lnTo>
                  <a:lnTo>
                    <a:pt x="342" y="9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1" name="Line 61">
              <a:extLst>
                <a:ext uri="{FF2B5EF4-FFF2-40B4-BE49-F238E27FC236}">
                  <a16:creationId xmlns:a16="http://schemas.microsoft.com/office/drawing/2014/main" id="{DC90A91C-DD6D-9C7F-6418-BE8A3CF9027D}"/>
                </a:ext>
              </a:extLst>
            </p:cNvPr>
            <p:cNvSpPr>
              <a:spLocks noChangeShapeType="1"/>
            </p:cNvSpPr>
            <p:nvPr/>
          </p:nvSpPr>
          <p:spPr bwMode="auto">
            <a:xfrm>
              <a:off x="5286375" y="3565525"/>
              <a:ext cx="0" cy="0"/>
            </a:xfrm>
            <a:prstGeom prst="line">
              <a:avLst/>
            </a:pr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2" name="Line 62">
              <a:extLst>
                <a:ext uri="{FF2B5EF4-FFF2-40B4-BE49-F238E27FC236}">
                  <a16:creationId xmlns:a16="http://schemas.microsoft.com/office/drawing/2014/main" id="{74994284-52B6-02FD-DA9E-0F3F2706BF51}"/>
                </a:ext>
              </a:extLst>
            </p:cNvPr>
            <p:cNvSpPr>
              <a:spLocks noChangeShapeType="1"/>
            </p:cNvSpPr>
            <p:nvPr/>
          </p:nvSpPr>
          <p:spPr bwMode="auto">
            <a:xfrm>
              <a:off x="5286375" y="3565525"/>
              <a:ext cx="0" cy="0"/>
            </a:xfrm>
            <a:prstGeom prst="line">
              <a:avLst/>
            </a:prstGeom>
            <a:grpFill/>
            <a:ln w="12700">
              <a:solidFill>
                <a:schemeClr val="bg1"/>
              </a:solidFill>
              <a:prstDash val="solid"/>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3" name="Freeform 63">
              <a:extLst>
                <a:ext uri="{FF2B5EF4-FFF2-40B4-BE49-F238E27FC236}">
                  <a16:creationId xmlns:a16="http://schemas.microsoft.com/office/drawing/2014/main" id="{EADE8F78-6D87-527D-0F68-C3AE4FCA5B45}"/>
                </a:ext>
              </a:extLst>
            </p:cNvPr>
            <p:cNvSpPr>
              <a:spLocks/>
            </p:cNvSpPr>
            <p:nvPr/>
          </p:nvSpPr>
          <p:spPr bwMode="auto">
            <a:xfrm>
              <a:off x="5857875" y="3813175"/>
              <a:ext cx="355600" cy="295275"/>
            </a:xfrm>
            <a:custGeom>
              <a:avLst/>
              <a:gdLst>
                <a:gd name="T0" fmla="*/ 8 w 224"/>
                <a:gd name="T1" fmla="*/ 186 h 186"/>
                <a:gd name="T2" fmla="*/ 0 w 224"/>
                <a:gd name="T3" fmla="*/ 186 h 186"/>
                <a:gd name="T4" fmla="*/ 0 w 224"/>
                <a:gd name="T5" fmla="*/ 168 h 186"/>
                <a:gd name="T6" fmla="*/ 8 w 224"/>
                <a:gd name="T7" fmla="*/ 168 h 186"/>
                <a:gd name="T8" fmla="*/ 8 w 224"/>
                <a:gd name="T9" fmla="*/ 168 h 186"/>
                <a:gd name="T10" fmla="*/ 28 w 224"/>
                <a:gd name="T11" fmla="*/ 168 h 186"/>
                <a:gd name="T12" fmla="*/ 48 w 224"/>
                <a:gd name="T13" fmla="*/ 166 h 186"/>
                <a:gd name="T14" fmla="*/ 68 w 224"/>
                <a:gd name="T15" fmla="*/ 162 h 186"/>
                <a:gd name="T16" fmla="*/ 86 w 224"/>
                <a:gd name="T17" fmla="*/ 156 h 186"/>
                <a:gd name="T18" fmla="*/ 102 w 224"/>
                <a:gd name="T19" fmla="*/ 150 h 186"/>
                <a:gd name="T20" fmla="*/ 118 w 224"/>
                <a:gd name="T21" fmla="*/ 142 h 186"/>
                <a:gd name="T22" fmla="*/ 134 w 224"/>
                <a:gd name="T23" fmla="*/ 132 h 186"/>
                <a:gd name="T24" fmla="*/ 148 w 224"/>
                <a:gd name="T25" fmla="*/ 122 h 186"/>
                <a:gd name="T26" fmla="*/ 160 w 224"/>
                <a:gd name="T27" fmla="*/ 110 h 186"/>
                <a:gd name="T28" fmla="*/ 172 w 224"/>
                <a:gd name="T29" fmla="*/ 98 h 186"/>
                <a:gd name="T30" fmla="*/ 182 w 224"/>
                <a:gd name="T31" fmla="*/ 84 h 186"/>
                <a:gd name="T32" fmla="*/ 190 w 224"/>
                <a:gd name="T33" fmla="*/ 70 h 186"/>
                <a:gd name="T34" fmla="*/ 196 w 224"/>
                <a:gd name="T35" fmla="*/ 56 h 186"/>
                <a:gd name="T36" fmla="*/ 202 w 224"/>
                <a:gd name="T37" fmla="*/ 40 h 186"/>
                <a:gd name="T38" fmla="*/ 204 w 224"/>
                <a:gd name="T39" fmla="*/ 24 h 186"/>
                <a:gd name="T40" fmla="*/ 206 w 224"/>
                <a:gd name="T41" fmla="*/ 8 h 186"/>
                <a:gd name="T42" fmla="*/ 206 w 224"/>
                <a:gd name="T43" fmla="*/ 0 h 186"/>
                <a:gd name="T44" fmla="*/ 224 w 224"/>
                <a:gd name="T45" fmla="*/ 0 h 186"/>
                <a:gd name="T46" fmla="*/ 224 w 224"/>
                <a:gd name="T47" fmla="*/ 8 h 186"/>
                <a:gd name="T48" fmla="*/ 224 w 224"/>
                <a:gd name="T49" fmla="*/ 8 h 186"/>
                <a:gd name="T50" fmla="*/ 222 w 224"/>
                <a:gd name="T51" fmla="*/ 26 h 186"/>
                <a:gd name="T52" fmla="*/ 218 w 224"/>
                <a:gd name="T53" fmla="*/ 44 h 186"/>
                <a:gd name="T54" fmla="*/ 214 w 224"/>
                <a:gd name="T55" fmla="*/ 62 h 186"/>
                <a:gd name="T56" fmla="*/ 206 w 224"/>
                <a:gd name="T57" fmla="*/ 78 h 186"/>
                <a:gd name="T58" fmla="*/ 198 w 224"/>
                <a:gd name="T59" fmla="*/ 94 h 186"/>
                <a:gd name="T60" fmla="*/ 186 w 224"/>
                <a:gd name="T61" fmla="*/ 108 h 186"/>
                <a:gd name="T62" fmla="*/ 174 w 224"/>
                <a:gd name="T63" fmla="*/ 122 h 186"/>
                <a:gd name="T64" fmla="*/ 160 w 224"/>
                <a:gd name="T65" fmla="*/ 134 h 186"/>
                <a:gd name="T66" fmla="*/ 146 w 224"/>
                <a:gd name="T67" fmla="*/ 146 h 186"/>
                <a:gd name="T68" fmla="*/ 128 w 224"/>
                <a:gd name="T69" fmla="*/ 156 h 186"/>
                <a:gd name="T70" fmla="*/ 110 w 224"/>
                <a:gd name="T71" fmla="*/ 166 h 186"/>
                <a:gd name="T72" fmla="*/ 92 w 224"/>
                <a:gd name="T73" fmla="*/ 172 h 186"/>
                <a:gd name="T74" fmla="*/ 72 w 224"/>
                <a:gd name="T75" fmla="*/ 178 h 186"/>
                <a:gd name="T76" fmla="*/ 52 w 224"/>
                <a:gd name="T77" fmla="*/ 184 h 186"/>
                <a:gd name="T78" fmla="*/ 30 w 224"/>
                <a:gd name="T79" fmla="*/ 186 h 186"/>
                <a:gd name="T80" fmla="*/ 8 w 224"/>
                <a:gd name="T81" fmla="*/ 186 h 186"/>
                <a:gd name="T82" fmla="*/ 8 w 224"/>
                <a:gd name="T8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86">
                  <a:moveTo>
                    <a:pt x="8" y="186"/>
                  </a:moveTo>
                  <a:lnTo>
                    <a:pt x="0" y="186"/>
                  </a:lnTo>
                  <a:lnTo>
                    <a:pt x="0" y="168"/>
                  </a:lnTo>
                  <a:lnTo>
                    <a:pt x="8" y="168"/>
                  </a:lnTo>
                  <a:lnTo>
                    <a:pt x="8" y="168"/>
                  </a:lnTo>
                  <a:lnTo>
                    <a:pt x="28" y="168"/>
                  </a:lnTo>
                  <a:lnTo>
                    <a:pt x="48" y="166"/>
                  </a:lnTo>
                  <a:lnTo>
                    <a:pt x="68" y="162"/>
                  </a:lnTo>
                  <a:lnTo>
                    <a:pt x="86" y="156"/>
                  </a:lnTo>
                  <a:lnTo>
                    <a:pt x="102" y="150"/>
                  </a:lnTo>
                  <a:lnTo>
                    <a:pt x="118" y="142"/>
                  </a:lnTo>
                  <a:lnTo>
                    <a:pt x="134" y="132"/>
                  </a:lnTo>
                  <a:lnTo>
                    <a:pt x="148" y="122"/>
                  </a:lnTo>
                  <a:lnTo>
                    <a:pt x="160" y="110"/>
                  </a:lnTo>
                  <a:lnTo>
                    <a:pt x="172" y="98"/>
                  </a:lnTo>
                  <a:lnTo>
                    <a:pt x="182" y="84"/>
                  </a:lnTo>
                  <a:lnTo>
                    <a:pt x="190" y="70"/>
                  </a:lnTo>
                  <a:lnTo>
                    <a:pt x="196" y="56"/>
                  </a:lnTo>
                  <a:lnTo>
                    <a:pt x="202" y="40"/>
                  </a:lnTo>
                  <a:lnTo>
                    <a:pt x="204" y="24"/>
                  </a:lnTo>
                  <a:lnTo>
                    <a:pt x="206" y="8"/>
                  </a:lnTo>
                  <a:lnTo>
                    <a:pt x="206" y="0"/>
                  </a:lnTo>
                  <a:lnTo>
                    <a:pt x="224" y="0"/>
                  </a:lnTo>
                  <a:lnTo>
                    <a:pt x="224" y="8"/>
                  </a:lnTo>
                  <a:lnTo>
                    <a:pt x="224" y="8"/>
                  </a:lnTo>
                  <a:lnTo>
                    <a:pt x="222" y="26"/>
                  </a:lnTo>
                  <a:lnTo>
                    <a:pt x="218" y="44"/>
                  </a:lnTo>
                  <a:lnTo>
                    <a:pt x="214" y="62"/>
                  </a:lnTo>
                  <a:lnTo>
                    <a:pt x="206" y="78"/>
                  </a:lnTo>
                  <a:lnTo>
                    <a:pt x="198" y="94"/>
                  </a:lnTo>
                  <a:lnTo>
                    <a:pt x="186" y="108"/>
                  </a:lnTo>
                  <a:lnTo>
                    <a:pt x="174" y="122"/>
                  </a:lnTo>
                  <a:lnTo>
                    <a:pt x="160" y="134"/>
                  </a:lnTo>
                  <a:lnTo>
                    <a:pt x="146" y="146"/>
                  </a:lnTo>
                  <a:lnTo>
                    <a:pt x="128" y="156"/>
                  </a:lnTo>
                  <a:lnTo>
                    <a:pt x="110" y="166"/>
                  </a:lnTo>
                  <a:lnTo>
                    <a:pt x="92" y="172"/>
                  </a:lnTo>
                  <a:lnTo>
                    <a:pt x="72" y="178"/>
                  </a:lnTo>
                  <a:lnTo>
                    <a:pt x="52" y="184"/>
                  </a:lnTo>
                  <a:lnTo>
                    <a:pt x="30" y="186"/>
                  </a:lnTo>
                  <a:lnTo>
                    <a:pt x="8" y="186"/>
                  </a:lnTo>
                  <a:lnTo>
                    <a:pt x="8" y="18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4" name="Freeform 64">
              <a:extLst>
                <a:ext uri="{FF2B5EF4-FFF2-40B4-BE49-F238E27FC236}">
                  <a16:creationId xmlns:a16="http://schemas.microsoft.com/office/drawing/2014/main" id="{F6DBDFA0-E028-2708-27D5-6950AAC32063}"/>
                </a:ext>
              </a:extLst>
            </p:cNvPr>
            <p:cNvSpPr>
              <a:spLocks noEditPoints="1"/>
            </p:cNvSpPr>
            <p:nvPr/>
          </p:nvSpPr>
          <p:spPr bwMode="auto">
            <a:xfrm>
              <a:off x="5295900" y="3435350"/>
              <a:ext cx="704850" cy="520700"/>
            </a:xfrm>
            <a:custGeom>
              <a:avLst/>
              <a:gdLst>
                <a:gd name="T0" fmla="*/ 96 w 444"/>
                <a:gd name="T1" fmla="*/ 328 h 328"/>
                <a:gd name="T2" fmla="*/ 96 w 444"/>
                <a:gd name="T3" fmla="*/ 328 h 328"/>
                <a:gd name="T4" fmla="*/ 92 w 444"/>
                <a:gd name="T5" fmla="*/ 328 h 328"/>
                <a:gd name="T6" fmla="*/ 92 w 444"/>
                <a:gd name="T7" fmla="*/ 328 h 328"/>
                <a:gd name="T8" fmla="*/ 88 w 444"/>
                <a:gd name="T9" fmla="*/ 324 h 328"/>
                <a:gd name="T10" fmla="*/ 86 w 444"/>
                <a:gd name="T11" fmla="*/ 320 h 328"/>
                <a:gd name="T12" fmla="*/ 86 w 444"/>
                <a:gd name="T13" fmla="*/ 232 h 328"/>
                <a:gd name="T14" fmla="*/ 8 w 444"/>
                <a:gd name="T15" fmla="*/ 232 h 328"/>
                <a:gd name="T16" fmla="*/ 8 w 444"/>
                <a:gd name="T17" fmla="*/ 232 h 328"/>
                <a:gd name="T18" fmla="*/ 6 w 444"/>
                <a:gd name="T19" fmla="*/ 232 h 328"/>
                <a:gd name="T20" fmla="*/ 2 w 444"/>
                <a:gd name="T21" fmla="*/ 230 h 328"/>
                <a:gd name="T22" fmla="*/ 0 w 444"/>
                <a:gd name="T23" fmla="*/ 228 h 328"/>
                <a:gd name="T24" fmla="*/ 0 w 444"/>
                <a:gd name="T25" fmla="*/ 224 h 328"/>
                <a:gd name="T26" fmla="*/ 0 w 444"/>
                <a:gd name="T27" fmla="*/ 8 h 328"/>
                <a:gd name="T28" fmla="*/ 0 w 444"/>
                <a:gd name="T29" fmla="*/ 8 h 328"/>
                <a:gd name="T30" fmla="*/ 0 w 444"/>
                <a:gd name="T31" fmla="*/ 4 h 328"/>
                <a:gd name="T32" fmla="*/ 2 w 444"/>
                <a:gd name="T33" fmla="*/ 2 h 328"/>
                <a:gd name="T34" fmla="*/ 6 w 444"/>
                <a:gd name="T35" fmla="*/ 0 h 328"/>
                <a:gd name="T36" fmla="*/ 8 w 444"/>
                <a:gd name="T37" fmla="*/ 0 h 328"/>
                <a:gd name="T38" fmla="*/ 434 w 444"/>
                <a:gd name="T39" fmla="*/ 0 h 328"/>
                <a:gd name="T40" fmla="*/ 434 w 444"/>
                <a:gd name="T41" fmla="*/ 0 h 328"/>
                <a:gd name="T42" fmla="*/ 438 w 444"/>
                <a:gd name="T43" fmla="*/ 0 h 328"/>
                <a:gd name="T44" fmla="*/ 442 w 444"/>
                <a:gd name="T45" fmla="*/ 2 h 328"/>
                <a:gd name="T46" fmla="*/ 444 w 444"/>
                <a:gd name="T47" fmla="*/ 4 h 328"/>
                <a:gd name="T48" fmla="*/ 444 w 444"/>
                <a:gd name="T49" fmla="*/ 8 h 328"/>
                <a:gd name="T50" fmla="*/ 444 w 444"/>
                <a:gd name="T51" fmla="*/ 224 h 328"/>
                <a:gd name="T52" fmla="*/ 444 w 444"/>
                <a:gd name="T53" fmla="*/ 224 h 328"/>
                <a:gd name="T54" fmla="*/ 444 w 444"/>
                <a:gd name="T55" fmla="*/ 228 h 328"/>
                <a:gd name="T56" fmla="*/ 442 w 444"/>
                <a:gd name="T57" fmla="*/ 230 h 328"/>
                <a:gd name="T58" fmla="*/ 438 w 444"/>
                <a:gd name="T59" fmla="*/ 232 h 328"/>
                <a:gd name="T60" fmla="*/ 434 w 444"/>
                <a:gd name="T61" fmla="*/ 232 h 328"/>
                <a:gd name="T62" fmla="*/ 182 w 444"/>
                <a:gd name="T63" fmla="*/ 232 h 328"/>
                <a:gd name="T64" fmla="*/ 102 w 444"/>
                <a:gd name="T65" fmla="*/ 326 h 328"/>
                <a:gd name="T66" fmla="*/ 102 w 444"/>
                <a:gd name="T67" fmla="*/ 326 h 328"/>
                <a:gd name="T68" fmla="*/ 100 w 444"/>
                <a:gd name="T69" fmla="*/ 328 h 328"/>
                <a:gd name="T70" fmla="*/ 96 w 444"/>
                <a:gd name="T71" fmla="*/ 328 h 328"/>
                <a:gd name="T72" fmla="*/ 96 w 444"/>
                <a:gd name="T73" fmla="*/ 328 h 328"/>
                <a:gd name="T74" fmla="*/ 18 w 444"/>
                <a:gd name="T75" fmla="*/ 214 h 328"/>
                <a:gd name="T76" fmla="*/ 96 w 444"/>
                <a:gd name="T77" fmla="*/ 214 h 328"/>
                <a:gd name="T78" fmla="*/ 96 w 444"/>
                <a:gd name="T79" fmla="*/ 214 h 328"/>
                <a:gd name="T80" fmla="*/ 100 w 444"/>
                <a:gd name="T81" fmla="*/ 216 h 328"/>
                <a:gd name="T82" fmla="*/ 102 w 444"/>
                <a:gd name="T83" fmla="*/ 218 h 328"/>
                <a:gd name="T84" fmla="*/ 104 w 444"/>
                <a:gd name="T85" fmla="*/ 220 h 328"/>
                <a:gd name="T86" fmla="*/ 104 w 444"/>
                <a:gd name="T87" fmla="*/ 224 h 328"/>
                <a:gd name="T88" fmla="*/ 104 w 444"/>
                <a:gd name="T89" fmla="*/ 296 h 328"/>
                <a:gd name="T90" fmla="*/ 170 w 444"/>
                <a:gd name="T91" fmla="*/ 218 h 328"/>
                <a:gd name="T92" fmla="*/ 170 w 444"/>
                <a:gd name="T93" fmla="*/ 218 h 328"/>
                <a:gd name="T94" fmla="*/ 174 w 444"/>
                <a:gd name="T95" fmla="*/ 216 h 328"/>
                <a:gd name="T96" fmla="*/ 178 w 444"/>
                <a:gd name="T97" fmla="*/ 214 h 328"/>
                <a:gd name="T98" fmla="*/ 426 w 444"/>
                <a:gd name="T99" fmla="*/ 214 h 328"/>
                <a:gd name="T100" fmla="*/ 426 w 444"/>
                <a:gd name="T101" fmla="*/ 18 h 328"/>
                <a:gd name="T102" fmla="*/ 18 w 444"/>
                <a:gd name="T103" fmla="*/ 18 h 328"/>
                <a:gd name="T104" fmla="*/ 18 w 444"/>
                <a:gd name="T105" fmla="*/ 2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4" h="328">
                  <a:moveTo>
                    <a:pt x="96" y="328"/>
                  </a:moveTo>
                  <a:lnTo>
                    <a:pt x="96" y="328"/>
                  </a:lnTo>
                  <a:lnTo>
                    <a:pt x="92" y="328"/>
                  </a:lnTo>
                  <a:lnTo>
                    <a:pt x="92" y="328"/>
                  </a:lnTo>
                  <a:lnTo>
                    <a:pt x="88" y="324"/>
                  </a:lnTo>
                  <a:lnTo>
                    <a:pt x="86" y="320"/>
                  </a:lnTo>
                  <a:lnTo>
                    <a:pt x="86" y="232"/>
                  </a:lnTo>
                  <a:lnTo>
                    <a:pt x="8" y="232"/>
                  </a:lnTo>
                  <a:lnTo>
                    <a:pt x="8" y="232"/>
                  </a:lnTo>
                  <a:lnTo>
                    <a:pt x="6" y="232"/>
                  </a:lnTo>
                  <a:lnTo>
                    <a:pt x="2" y="230"/>
                  </a:lnTo>
                  <a:lnTo>
                    <a:pt x="0" y="228"/>
                  </a:lnTo>
                  <a:lnTo>
                    <a:pt x="0" y="224"/>
                  </a:lnTo>
                  <a:lnTo>
                    <a:pt x="0" y="8"/>
                  </a:lnTo>
                  <a:lnTo>
                    <a:pt x="0" y="8"/>
                  </a:lnTo>
                  <a:lnTo>
                    <a:pt x="0" y="4"/>
                  </a:lnTo>
                  <a:lnTo>
                    <a:pt x="2" y="2"/>
                  </a:lnTo>
                  <a:lnTo>
                    <a:pt x="6" y="0"/>
                  </a:lnTo>
                  <a:lnTo>
                    <a:pt x="8" y="0"/>
                  </a:lnTo>
                  <a:lnTo>
                    <a:pt x="434" y="0"/>
                  </a:lnTo>
                  <a:lnTo>
                    <a:pt x="434" y="0"/>
                  </a:lnTo>
                  <a:lnTo>
                    <a:pt x="438" y="0"/>
                  </a:lnTo>
                  <a:lnTo>
                    <a:pt x="442" y="2"/>
                  </a:lnTo>
                  <a:lnTo>
                    <a:pt x="444" y="4"/>
                  </a:lnTo>
                  <a:lnTo>
                    <a:pt x="444" y="8"/>
                  </a:lnTo>
                  <a:lnTo>
                    <a:pt x="444" y="224"/>
                  </a:lnTo>
                  <a:lnTo>
                    <a:pt x="444" y="224"/>
                  </a:lnTo>
                  <a:lnTo>
                    <a:pt x="444" y="228"/>
                  </a:lnTo>
                  <a:lnTo>
                    <a:pt x="442" y="230"/>
                  </a:lnTo>
                  <a:lnTo>
                    <a:pt x="438" y="232"/>
                  </a:lnTo>
                  <a:lnTo>
                    <a:pt x="434" y="232"/>
                  </a:lnTo>
                  <a:lnTo>
                    <a:pt x="182" y="232"/>
                  </a:lnTo>
                  <a:lnTo>
                    <a:pt x="102" y="326"/>
                  </a:lnTo>
                  <a:lnTo>
                    <a:pt x="102" y="326"/>
                  </a:lnTo>
                  <a:lnTo>
                    <a:pt x="100" y="328"/>
                  </a:lnTo>
                  <a:lnTo>
                    <a:pt x="96" y="328"/>
                  </a:lnTo>
                  <a:lnTo>
                    <a:pt x="96" y="328"/>
                  </a:lnTo>
                  <a:close/>
                  <a:moveTo>
                    <a:pt x="18" y="214"/>
                  </a:moveTo>
                  <a:lnTo>
                    <a:pt x="96" y="214"/>
                  </a:lnTo>
                  <a:lnTo>
                    <a:pt x="96" y="214"/>
                  </a:lnTo>
                  <a:lnTo>
                    <a:pt x="100" y="216"/>
                  </a:lnTo>
                  <a:lnTo>
                    <a:pt x="102" y="218"/>
                  </a:lnTo>
                  <a:lnTo>
                    <a:pt x="104" y="220"/>
                  </a:lnTo>
                  <a:lnTo>
                    <a:pt x="104" y="224"/>
                  </a:lnTo>
                  <a:lnTo>
                    <a:pt x="104" y="296"/>
                  </a:lnTo>
                  <a:lnTo>
                    <a:pt x="170" y="218"/>
                  </a:lnTo>
                  <a:lnTo>
                    <a:pt x="170" y="218"/>
                  </a:lnTo>
                  <a:lnTo>
                    <a:pt x="174" y="216"/>
                  </a:lnTo>
                  <a:lnTo>
                    <a:pt x="178" y="214"/>
                  </a:lnTo>
                  <a:lnTo>
                    <a:pt x="426" y="214"/>
                  </a:lnTo>
                  <a:lnTo>
                    <a:pt x="426" y="18"/>
                  </a:lnTo>
                  <a:lnTo>
                    <a:pt x="18" y="18"/>
                  </a:lnTo>
                  <a:lnTo>
                    <a:pt x="18" y="214"/>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grpSp>
      <p:grpSp>
        <p:nvGrpSpPr>
          <p:cNvPr id="325" name="Group 4">
            <a:extLst>
              <a:ext uri="{FF2B5EF4-FFF2-40B4-BE49-F238E27FC236}">
                <a16:creationId xmlns:a16="http://schemas.microsoft.com/office/drawing/2014/main" id="{64845CFA-73FA-6FA0-AA68-387911BD0E0F}"/>
              </a:ext>
            </a:extLst>
          </p:cNvPr>
          <p:cNvGrpSpPr>
            <a:grpSpLocks noChangeAspect="1"/>
          </p:cNvGrpSpPr>
          <p:nvPr/>
        </p:nvGrpSpPr>
        <p:grpSpPr bwMode="auto">
          <a:xfrm>
            <a:off x="7076827" y="3776120"/>
            <a:ext cx="663667" cy="552922"/>
            <a:chOff x="4443" y="1983"/>
            <a:chExt cx="851" cy="709"/>
          </a:xfrm>
          <a:solidFill>
            <a:schemeClr val="bg1"/>
          </a:solidFill>
        </p:grpSpPr>
        <p:sp>
          <p:nvSpPr>
            <p:cNvPr id="326" name="Freeform 5">
              <a:extLst>
                <a:ext uri="{FF2B5EF4-FFF2-40B4-BE49-F238E27FC236}">
                  <a16:creationId xmlns:a16="http://schemas.microsoft.com/office/drawing/2014/main" id="{F47019A0-F6CB-2360-A216-5C00723D28AB}"/>
                </a:ext>
              </a:extLst>
            </p:cNvPr>
            <p:cNvSpPr>
              <a:spLocks noEditPoints="1"/>
            </p:cNvSpPr>
            <p:nvPr/>
          </p:nvSpPr>
          <p:spPr bwMode="auto">
            <a:xfrm>
              <a:off x="4443" y="2392"/>
              <a:ext cx="851" cy="300"/>
            </a:xfrm>
            <a:custGeom>
              <a:avLst/>
              <a:gdLst>
                <a:gd name="T0" fmla="*/ 1470 w 2709"/>
                <a:gd name="T1" fmla="*/ 960 h 960"/>
                <a:gd name="T2" fmla="*/ 1462 w 2709"/>
                <a:gd name="T3" fmla="*/ 959 h 960"/>
                <a:gd name="T4" fmla="*/ 634 w 2709"/>
                <a:gd name="T5" fmla="*/ 727 h 960"/>
                <a:gd name="T6" fmla="*/ 29 w 2709"/>
                <a:gd name="T7" fmla="*/ 727 h 960"/>
                <a:gd name="T8" fmla="*/ 0 w 2709"/>
                <a:gd name="T9" fmla="*/ 697 h 960"/>
                <a:gd name="T10" fmla="*/ 0 w 2709"/>
                <a:gd name="T11" fmla="*/ 140 h 960"/>
                <a:gd name="T12" fmla="*/ 29 w 2709"/>
                <a:gd name="T13" fmla="*/ 111 h 960"/>
                <a:gd name="T14" fmla="*/ 384 w 2709"/>
                <a:gd name="T15" fmla="*/ 111 h 960"/>
                <a:gd name="T16" fmla="*/ 764 w 2709"/>
                <a:gd name="T17" fmla="*/ 0 h 960"/>
                <a:gd name="T18" fmla="*/ 1307 w 2709"/>
                <a:gd name="T19" fmla="*/ 253 h 960"/>
                <a:gd name="T20" fmla="*/ 1880 w 2709"/>
                <a:gd name="T21" fmla="*/ 253 h 960"/>
                <a:gd name="T22" fmla="*/ 1964 w 2709"/>
                <a:gd name="T23" fmla="*/ 298 h 960"/>
                <a:gd name="T24" fmla="*/ 1977 w 2709"/>
                <a:gd name="T25" fmla="*/ 428 h 960"/>
                <a:gd name="T26" fmla="*/ 1976 w 2709"/>
                <a:gd name="T27" fmla="*/ 431 h 960"/>
                <a:gd name="T28" fmla="*/ 2508 w 2709"/>
                <a:gd name="T29" fmla="*/ 260 h 960"/>
                <a:gd name="T30" fmla="*/ 2697 w 2709"/>
                <a:gd name="T31" fmla="*/ 353 h 960"/>
                <a:gd name="T32" fmla="*/ 2689 w 2709"/>
                <a:gd name="T33" fmla="*/ 466 h 960"/>
                <a:gd name="T34" fmla="*/ 2604 w 2709"/>
                <a:gd name="T35" fmla="*/ 542 h 960"/>
                <a:gd name="T36" fmla="*/ 2571 w 2709"/>
                <a:gd name="T37" fmla="*/ 554 h 960"/>
                <a:gd name="T38" fmla="*/ 1893 w 2709"/>
                <a:gd name="T39" fmla="*/ 806 h 960"/>
                <a:gd name="T40" fmla="*/ 1480 w 2709"/>
                <a:gd name="T41" fmla="*/ 958 h 960"/>
                <a:gd name="T42" fmla="*/ 1470 w 2709"/>
                <a:gd name="T43" fmla="*/ 960 h 960"/>
                <a:gd name="T44" fmla="*/ 59 w 2709"/>
                <a:gd name="T45" fmla="*/ 668 h 960"/>
                <a:gd name="T46" fmla="*/ 639 w 2709"/>
                <a:gd name="T47" fmla="*/ 668 h 960"/>
                <a:gd name="T48" fmla="*/ 646 w 2709"/>
                <a:gd name="T49" fmla="*/ 669 h 960"/>
                <a:gd name="T50" fmla="*/ 1468 w 2709"/>
                <a:gd name="T51" fmla="*/ 899 h 960"/>
                <a:gd name="T52" fmla="*/ 1872 w 2709"/>
                <a:gd name="T53" fmla="*/ 751 h 960"/>
                <a:gd name="T54" fmla="*/ 2584 w 2709"/>
                <a:gd name="T55" fmla="*/ 486 h 960"/>
                <a:gd name="T56" fmla="*/ 2637 w 2709"/>
                <a:gd name="T57" fmla="*/ 440 h 960"/>
                <a:gd name="T58" fmla="*/ 2641 w 2709"/>
                <a:gd name="T59" fmla="*/ 372 h 960"/>
                <a:gd name="T60" fmla="*/ 2527 w 2709"/>
                <a:gd name="T61" fmla="*/ 316 h 960"/>
                <a:gd name="T62" fmla="*/ 1916 w 2709"/>
                <a:gd name="T63" fmla="*/ 512 h 960"/>
                <a:gd name="T64" fmla="*/ 1733 w 2709"/>
                <a:gd name="T65" fmla="*/ 573 h 960"/>
                <a:gd name="T66" fmla="*/ 1099 w 2709"/>
                <a:gd name="T67" fmla="*/ 573 h 960"/>
                <a:gd name="T68" fmla="*/ 1070 w 2709"/>
                <a:gd name="T69" fmla="*/ 544 h 960"/>
                <a:gd name="T70" fmla="*/ 1099 w 2709"/>
                <a:gd name="T71" fmla="*/ 514 h 960"/>
                <a:gd name="T72" fmla="*/ 1733 w 2709"/>
                <a:gd name="T73" fmla="*/ 514 h 960"/>
                <a:gd name="T74" fmla="*/ 1878 w 2709"/>
                <a:gd name="T75" fmla="*/ 467 h 960"/>
                <a:gd name="T76" fmla="*/ 1884 w 2709"/>
                <a:gd name="T77" fmla="*/ 462 h 960"/>
                <a:gd name="T78" fmla="*/ 1923 w 2709"/>
                <a:gd name="T79" fmla="*/ 406 h 960"/>
                <a:gd name="T80" fmla="*/ 1915 w 2709"/>
                <a:gd name="T81" fmla="*/ 331 h 960"/>
                <a:gd name="T82" fmla="*/ 1880 w 2709"/>
                <a:gd name="T83" fmla="*/ 312 h 960"/>
                <a:gd name="T84" fmla="*/ 1293 w 2709"/>
                <a:gd name="T85" fmla="*/ 312 h 960"/>
                <a:gd name="T86" fmla="*/ 1293 w 2709"/>
                <a:gd name="T87" fmla="*/ 312 h 960"/>
                <a:gd name="T88" fmla="*/ 1270 w 2709"/>
                <a:gd name="T89" fmla="*/ 301 h 960"/>
                <a:gd name="T90" fmla="*/ 764 w 2709"/>
                <a:gd name="T91" fmla="*/ 59 h 960"/>
                <a:gd name="T92" fmla="*/ 409 w 2709"/>
                <a:gd name="T93" fmla="*/ 165 h 960"/>
                <a:gd name="T94" fmla="*/ 393 w 2709"/>
                <a:gd name="T95" fmla="*/ 170 h 960"/>
                <a:gd name="T96" fmla="*/ 59 w 2709"/>
                <a:gd name="T97" fmla="*/ 170 h 960"/>
                <a:gd name="T98" fmla="*/ 59 w 2709"/>
                <a:gd name="T99" fmla="*/ 668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09" h="960">
                  <a:moveTo>
                    <a:pt x="1470" y="960"/>
                  </a:moveTo>
                  <a:cubicBezTo>
                    <a:pt x="1467" y="960"/>
                    <a:pt x="1464" y="959"/>
                    <a:pt x="1462" y="959"/>
                  </a:cubicBezTo>
                  <a:cubicBezTo>
                    <a:pt x="634" y="727"/>
                    <a:pt x="634" y="727"/>
                    <a:pt x="634" y="727"/>
                  </a:cubicBezTo>
                  <a:cubicBezTo>
                    <a:pt x="29" y="727"/>
                    <a:pt x="29" y="727"/>
                    <a:pt x="29" y="727"/>
                  </a:cubicBezTo>
                  <a:cubicBezTo>
                    <a:pt x="13" y="727"/>
                    <a:pt x="0" y="713"/>
                    <a:pt x="0" y="697"/>
                  </a:cubicBezTo>
                  <a:cubicBezTo>
                    <a:pt x="0" y="140"/>
                    <a:pt x="0" y="140"/>
                    <a:pt x="0" y="140"/>
                  </a:cubicBezTo>
                  <a:cubicBezTo>
                    <a:pt x="0" y="124"/>
                    <a:pt x="13" y="111"/>
                    <a:pt x="29" y="111"/>
                  </a:cubicBezTo>
                  <a:cubicBezTo>
                    <a:pt x="384" y="111"/>
                    <a:pt x="384" y="111"/>
                    <a:pt x="384" y="111"/>
                  </a:cubicBezTo>
                  <a:cubicBezTo>
                    <a:pt x="498" y="38"/>
                    <a:pt x="629" y="0"/>
                    <a:pt x="764" y="0"/>
                  </a:cubicBezTo>
                  <a:cubicBezTo>
                    <a:pt x="975" y="0"/>
                    <a:pt x="1172" y="92"/>
                    <a:pt x="1307" y="253"/>
                  </a:cubicBezTo>
                  <a:cubicBezTo>
                    <a:pt x="1880" y="253"/>
                    <a:pt x="1880" y="253"/>
                    <a:pt x="1880" y="253"/>
                  </a:cubicBezTo>
                  <a:cubicBezTo>
                    <a:pt x="1914" y="253"/>
                    <a:pt x="1944" y="269"/>
                    <a:pt x="1964" y="298"/>
                  </a:cubicBezTo>
                  <a:cubicBezTo>
                    <a:pt x="1988" y="334"/>
                    <a:pt x="1993" y="388"/>
                    <a:pt x="1977" y="428"/>
                  </a:cubicBezTo>
                  <a:cubicBezTo>
                    <a:pt x="1977" y="429"/>
                    <a:pt x="1976" y="430"/>
                    <a:pt x="1976" y="431"/>
                  </a:cubicBezTo>
                  <a:cubicBezTo>
                    <a:pt x="2508" y="260"/>
                    <a:pt x="2508" y="260"/>
                    <a:pt x="2508" y="260"/>
                  </a:cubicBezTo>
                  <a:cubicBezTo>
                    <a:pt x="2585" y="234"/>
                    <a:pt x="2670" y="275"/>
                    <a:pt x="2697" y="353"/>
                  </a:cubicBezTo>
                  <a:cubicBezTo>
                    <a:pt x="2709" y="390"/>
                    <a:pt x="2707" y="431"/>
                    <a:pt x="2689" y="466"/>
                  </a:cubicBezTo>
                  <a:cubicBezTo>
                    <a:pt x="2672" y="502"/>
                    <a:pt x="2642" y="529"/>
                    <a:pt x="2604" y="542"/>
                  </a:cubicBezTo>
                  <a:cubicBezTo>
                    <a:pt x="2571" y="554"/>
                    <a:pt x="2571" y="554"/>
                    <a:pt x="2571" y="554"/>
                  </a:cubicBezTo>
                  <a:cubicBezTo>
                    <a:pt x="1893" y="806"/>
                    <a:pt x="1893" y="806"/>
                    <a:pt x="1893" y="806"/>
                  </a:cubicBezTo>
                  <a:cubicBezTo>
                    <a:pt x="1480" y="958"/>
                    <a:pt x="1480" y="958"/>
                    <a:pt x="1480" y="958"/>
                  </a:cubicBezTo>
                  <a:cubicBezTo>
                    <a:pt x="1476" y="959"/>
                    <a:pt x="1473" y="960"/>
                    <a:pt x="1470" y="960"/>
                  </a:cubicBezTo>
                  <a:close/>
                  <a:moveTo>
                    <a:pt x="59" y="668"/>
                  </a:moveTo>
                  <a:cubicBezTo>
                    <a:pt x="639" y="668"/>
                    <a:pt x="639" y="668"/>
                    <a:pt x="639" y="668"/>
                  </a:cubicBezTo>
                  <a:cubicBezTo>
                    <a:pt x="641" y="668"/>
                    <a:pt x="644" y="668"/>
                    <a:pt x="646" y="669"/>
                  </a:cubicBezTo>
                  <a:cubicBezTo>
                    <a:pt x="1468" y="899"/>
                    <a:pt x="1468" y="899"/>
                    <a:pt x="1468" y="899"/>
                  </a:cubicBezTo>
                  <a:cubicBezTo>
                    <a:pt x="1872" y="751"/>
                    <a:pt x="1872" y="751"/>
                    <a:pt x="1872" y="751"/>
                  </a:cubicBezTo>
                  <a:cubicBezTo>
                    <a:pt x="2584" y="486"/>
                    <a:pt x="2584" y="486"/>
                    <a:pt x="2584" y="486"/>
                  </a:cubicBezTo>
                  <a:cubicBezTo>
                    <a:pt x="2608" y="478"/>
                    <a:pt x="2626" y="462"/>
                    <a:pt x="2637" y="440"/>
                  </a:cubicBezTo>
                  <a:cubicBezTo>
                    <a:pt x="2647" y="419"/>
                    <a:pt x="2649" y="394"/>
                    <a:pt x="2641" y="372"/>
                  </a:cubicBezTo>
                  <a:cubicBezTo>
                    <a:pt x="2625" y="325"/>
                    <a:pt x="2574" y="300"/>
                    <a:pt x="2527" y="316"/>
                  </a:cubicBezTo>
                  <a:cubicBezTo>
                    <a:pt x="1916" y="512"/>
                    <a:pt x="1916" y="512"/>
                    <a:pt x="1916" y="512"/>
                  </a:cubicBezTo>
                  <a:cubicBezTo>
                    <a:pt x="1878" y="545"/>
                    <a:pt x="1820" y="573"/>
                    <a:pt x="1733" y="573"/>
                  </a:cubicBezTo>
                  <a:cubicBezTo>
                    <a:pt x="1099" y="573"/>
                    <a:pt x="1099" y="573"/>
                    <a:pt x="1099" y="573"/>
                  </a:cubicBezTo>
                  <a:cubicBezTo>
                    <a:pt x="1083" y="573"/>
                    <a:pt x="1070" y="560"/>
                    <a:pt x="1070" y="544"/>
                  </a:cubicBezTo>
                  <a:cubicBezTo>
                    <a:pt x="1070" y="527"/>
                    <a:pt x="1083" y="514"/>
                    <a:pt x="1099" y="514"/>
                  </a:cubicBezTo>
                  <a:cubicBezTo>
                    <a:pt x="1733" y="514"/>
                    <a:pt x="1733" y="514"/>
                    <a:pt x="1733" y="514"/>
                  </a:cubicBezTo>
                  <a:cubicBezTo>
                    <a:pt x="1803" y="514"/>
                    <a:pt x="1849" y="492"/>
                    <a:pt x="1878" y="467"/>
                  </a:cubicBezTo>
                  <a:cubicBezTo>
                    <a:pt x="1880" y="465"/>
                    <a:pt x="1882" y="463"/>
                    <a:pt x="1884" y="462"/>
                  </a:cubicBezTo>
                  <a:cubicBezTo>
                    <a:pt x="1906" y="441"/>
                    <a:pt x="1917" y="419"/>
                    <a:pt x="1923" y="406"/>
                  </a:cubicBezTo>
                  <a:cubicBezTo>
                    <a:pt x="1932" y="383"/>
                    <a:pt x="1928" y="351"/>
                    <a:pt x="1915" y="331"/>
                  </a:cubicBezTo>
                  <a:cubicBezTo>
                    <a:pt x="1906" y="318"/>
                    <a:pt x="1895" y="312"/>
                    <a:pt x="1880" y="312"/>
                  </a:cubicBezTo>
                  <a:cubicBezTo>
                    <a:pt x="1293" y="312"/>
                    <a:pt x="1293" y="312"/>
                    <a:pt x="1293" y="312"/>
                  </a:cubicBezTo>
                  <a:cubicBezTo>
                    <a:pt x="1293" y="312"/>
                    <a:pt x="1293" y="312"/>
                    <a:pt x="1293" y="312"/>
                  </a:cubicBezTo>
                  <a:cubicBezTo>
                    <a:pt x="1284" y="312"/>
                    <a:pt x="1275" y="308"/>
                    <a:pt x="1270" y="301"/>
                  </a:cubicBezTo>
                  <a:cubicBezTo>
                    <a:pt x="1146" y="147"/>
                    <a:pt x="962" y="59"/>
                    <a:pt x="764" y="59"/>
                  </a:cubicBezTo>
                  <a:cubicBezTo>
                    <a:pt x="638" y="59"/>
                    <a:pt x="515" y="95"/>
                    <a:pt x="409" y="165"/>
                  </a:cubicBezTo>
                  <a:cubicBezTo>
                    <a:pt x="404" y="168"/>
                    <a:pt x="399" y="170"/>
                    <a:pt x="393" y="170"/>
                  </a:cubicBezTo>
                  <a:cubicBezTo>
                    <a:pt x="59" y="170"/>
                    <a:pt x="59" y="170"/>
                    <a:pt x="59" y="170"/>
                  </a:cubicBezTo>
                  <a:lnTo>
                    <a:pt x="59" y="66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7" name="Freeform 6">
              <a:extLst>
                <a:ext uri="{FF2B5EF4-FFF2-40B4-BE49-F238E27FC236}">
                  <a16:creationId xmlns:a16="http://schemas.microsoft.com/office/drawing/2014/main" id="{C693F448-DB35-55EB-2C75-D377FEBD99ED}"/>
                </a:ext>
              </a:extLst>
            </p:cNvPr>
            <p:cNvSpPr>
              <a:spLocks/>
            </p:cNvSpPr>
            <p:nvPr/>
          </p:nvSpPr>
          <p:spPr bwMode="auto">
            <a:xfrm>
              <a:off x="4783" y="2335"/>
              <a:ext cx="400" cy="175"/>
            </a:xfrm>
            <a:custGeom>
              <a:avLst/>
              <a:gdLst>
                <a:gd name="T0" fmla="*/ 1256 w 1274"/>
                <a:gd name="T1" fmla="*/ 558 h 558"/>
                <a:gd name="T2" fmla="*/ 1197 w 1274"/>
                <a:gd name="T3" fmla="*/ 552 h 558"/>
                <a:gd name="T4" fmla="*/ 1201 w 1274"/>
                <a:gd name="T5" fmla="*/ 522 h 558"/>
                <a:gd name="T6" fmla="*/ 1126 w 1274"/>
                <a:gd name="T7" fmla="*/ 254 h 558"/>
                <a:gd name="T8" fmla="*/ 634 w 1274"/>
                <a:gd name="T9" fmla="*/ 70 h 558"/>
                <a:gd name="T10" fmla="*/ 66 w 1274"/>
                <a:gd name="T11" fmla="*/ 320 h 558"/>
                <a:gd name="T12" fmla="*/ 52 w 1274"/>
                <a:gd name="T13" fmla="*/ 346 h 558"/>
                <a:gd name="T14" fmla="*/ 0 w 1274"/>
                <a:gd name="T15" fmla="*/ 318 h 558"/>
                <a:gd name="T16" fmla="*/ 14 w 1274"/>
                <a:gd name="T17" fmla="*/ 292 h 558"/>
                <a:gd name="T18" fmla="*/ 635 w 1274"/>
                <a:gd name="T19" fmla="*/ 11 h 558"/>
                <a:gd name="T20" fmla="*/ 1170 w 1274"/>
                <a:gd name="T21" fmla="*/ 215 h 558"/>
                <a:gd name="T22" fmla="*/ 1259 w 1274"/>
                <a:gd name="T23" fmla="*/ 529 h 558"/>
                <a:gd name="T24" fmla="*/ 1256 w 1274"/>
                <a:gd name="T25"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4" h="558">
                  <a:moveTo>
                    <a:pt x="1256" y="558"/>
                  </a:moveTo>
                  <a:cubicBezTo>
                    <a:pt x="1197" y="552"/>
                    <a:pt x="1197" y="552"/>
                    <a:pt x="1197" y="552"/>
                  </a:cubicBezTo>
                  <a:cubicBezTo>
                    <a:pt x="1201" y="522"/>
                    <a:pt x="1201" y="522"/>
                    <a:pt x="1201" y="522"/>
                  </a:cubicBezTo>
                  <a:cubicBezTo>
                    <a:pt x="1213" y="415"/>
                    <a:pt x="1188" y="325"/>
                    <a:pt x="1126" y="254"/>
                  </a:cubicBezTo>
                  <a:cubicBezTo>
                    <a:pt x="971" y="77"/>
                    <a:pt x="637" y="70"/>
                    <a:pt x="634" y="70"/>
                  </a:cubicBezTo>
                  <a:cubicBezTo>
                    <a:pt x="213" y="60"/>
                    <a:pt x="72" y="310"/>
                    <a:pt x="66" y="320"/>
                  </a:cubicBezTo>
                  <a:cubicBezTo>
                    <a:pt x="52" y="346"/>
                    <a:pt x="52" y="346"/>
                    <a:pt x="52" y="346"/>
                  </a:cubicBezTo>
                  <a:cubicBezTo>
                    <a:pt x="0" y="318"/>
                    <a:pt x="0" y="318"/>
                    <a:pt x="0" y="318"/>
                  </a:cubicBezTo>
                  <a:cubicBezTo>
                    <a:pt x="14" y="292"/>
                    <a:pt x="14" y="292"/>
                    <a:pt x="14" y="292"/>
                  </a:cubicBezTo>
                  <a:cubicBezTo>
                    <a:pt x="20" y="280"/>
                    <a:pt x="176" y="0"/>
                    <a:pt x="635" y="11"/>
                  </a:cubicBezTo>
                  <a:cubicBezTo>
                    <a:pt x="649" y="11"/>
                    <a:pt x="998" y="19"/>
                    <a:pt x="1170" y="215"/>
                  </a:cubicBezTo>
                  <a:cubicBezTo>
                    <a:pt x="1244" y="299"/>
                    <a:pt x="1274" y="405"/>
                    <a:pt x="1259" y="529"/>
                  </a:cubicBezTo>
                  <a:lnTo>
                    <a:pt x="1256" y="55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8" name="Freeform 7">
              <a:extLst>
                <a:ext uri="{FF2B5EF4-FFF2-40B4-BE49-F238E27FC236}">
                  <a16:creationId xmlns:a16="http://schemas.microsoft.com/office/drawing/2014/main" id="{25376B31-393C-4CC3-1F53-F8B0255B2094}"/>
                </a:ext>
              </a:extLst>
            </p:cNvPr>
            <p:cNvSpPr>
              <a:spLocks/>
            </p:cNvSpPr>
            <p:nvPr/>
          </p:nvSpPr>
          <p:spPr bwMode="auto">
            <a:xfrm>
              <a:off x="4866" y="2118"/>
              <a:ext cx="125" cy="236"/>
            </a:xfrm>
            <a:custGeom>
              <a:avLst/>
              <a:gdLst>
                <a:gd name="T0" fmla="*/ 397 w 397"/>
                <a:gd name="T1" fmla="*/ 757 h 757"/>
                <a:gd name="T2" fmla="*/ 339 w 397"/>
                <a:gd name="T3" fmla="*/ 757 h 757"/>
                <a:gd name="T4" fmla="*/ 339 w 397"/>
                <a:gd name="T5" fmla="*/ 413 h 757"/>
                <a:gd name="T6" fmla="*/ 0 w 397"/>
                <a:gd name="T7" fmla="*/ 39 h 757"/>
                <a:gd name="T8" fmla="*/ 44 w 397"/>
                <a:gd name="T9" fmla="*/ 0 h 757"/>
                <a:gd name="T10" fmla="*/ 390 w 397"/>
                <a:gd name="T11" fmla="*/ 382 h 757"/>
                <a:gd name="T12" fmla="*/ 397 w 397"/>
                <a:gd name="T13" fmla="*/ 401 h 757"/>
                <a:gd name="T14" fmla="*/ 397 w 397"/>
                <a:gd name="T15" fmla="*/ 757 h 7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57">
                  <a:moveTo>
                    <a:pt x="397" y="757"/>
                  </a:moveTo>
                  <a:cubicBezTo>
                    <a:pt x="339" y="757"/>
                    <a:pt x="339" y="757"/>
                    <a:pt x="339" y="757"/>
                  </a:cubicBezTo>
                  <a:cubicBezTo>
                    <a:pt x="339" y="413"/>
                    <a:pt x="339" y="413"/>
                    <a:pt x="339" y="413"/>
                  </a:cubicBezTo>
                  <a:cubicBezTo>
                    <a:pt x="0" y="39"/>
                    <a:pt x="0" y="39"/>
                    <a:pt x="0" y="39"/>
                  </a:cubicBezTo>
                  <a:cubicBezTo>
                    <a:pt x="44" y="0"/>
                    <a:pt x="44" y="0"/>
                    <a:pt x="44" y="0"/>
                  </a:cubicBezTo>
                  <a:cubicBezTo>
                    <a:pt x="390" y="382"/>
                    <a:pt x="390" y="382"/>
                    <a:pt x="390" y="382"/>
                  </a:cubicBezTo>
                  <a:cubicBezTo>
                    <a:pt x="395" y="387"/>
                    <a:pt x="397" y="394"/>
                    <a:pt x="397" y="401"/>
                  </a:cubicBezTo>
                  <a:lnTo>
                    <a:pt x="397" y="757"/>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29" name="Freeform 8">
              <a:extLst>
                <a:ext uri="{FF2B5EF4-FFF2-40B4-BE49-F238E27FC236}">
                  <a16:creationId xmlns:a16="http://schemas.microsoft.com/office/drawing/2014/main" id="{2A703913-93B1-FF61-830F-D801026DAAD8}"/>
                </a:ext>
              </a:extLst>
            </p:cNvPr>
            <p:cNvSpPr>
              <a:spLocks/>
            </p:cNvSpPr>
            <p:nvPr/>
          </p:nvSpPr>
          <p:spPr bwMode="auto">
            <a:xfrm>
              <a:off x="4969" y="2118"/>
              <a:ext cx="128" cy="138"/>
            </a:xfrm>
            <a:custGeom>
              <a:avLst/>
              <a:gdLst>
                <a:gd name="T0" fmla="*/ 14 w 128"/>
                <a:gd name="T1" fmla="*/ 138 h 138"/>
                <a:gd name="T2" fmla="*/ 0 w 128"/>
                <a:gd name="T3" fmla="*/ 125 h 138"/>
                <a:gd name="T4" fmla="*/ 114 w 128"/>
                <a:gd name="T5" fmla="*/ 0 h 138"/>
                <a:gd name="T6" fmla="*/ 128 w 128"/>
                <a:gd name="T7" fmla="*/ 12 h 138"/>
                <a:gd name="T8" fmla="*/ 14 w 128"/>
                <a:gd name="T9" fmla="*/ 138 h 138"/>
              </a:gdLst>
              <a:ahLst/>
              <a:cxnLst>
                <a:cxn ang="0">
                  <a:pos x="T0" y="T1"/>
                </a:cxn>
                <a:cxn ang="0">
                  <a:pos x="T2" y="T3"/>
                </a:cxn>
                <a:cxn ang="0">
                  <a:pos x="T4" y="T5"/>
                </a:cxn>
                <a:cxn ang="0">
                  <a:pos x="T6" y="T7"/>
                </a:cxn>
                <a:cxn ang="0">
                  <a:pos x="T8" y="T9"/>
                </a:cxn>
              </a:cxnLst>
              <a:rect l="0" t="0" r="r" b="b"/>
              <a:pathLst>
                <a:path w="128" h="138">
                  <a:moveTo>
                    <a:pt x="14" y="138"/>
                  </a:moveTo>
                  <a:lnTo>
                    <a:pt x="0" y="125"/>
                  </a:lnTo>
                  <a:lnTo>
                    <a:pt x="114" y="0"/>
                  </a:lnTo>
                  <a:lnTo>
                    <a:pt x="128" y="12"/>
                  </a:lnTo>
                  <a:lnTo>
                    <a:pt x="14" y="13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0" name="Freeform 9">
              <a:extLst>
                <a:ext uri="{FF2B5EF4-FFF2-40B4-BE49-F238E27FC236}">
                  <a16:creationId xmlns:a16="http://schemas.microsoft.com/office/drawing/2014/main" id="{30592F9C-1EEF-A0FD-22FB-963ECD7A3327}"/>
                </a:ext>
              </a:extLst>
            </p:cNvPr>
            <p:cNvSpPr>
              <a:spLocks noEditPoints="1"/>
            </p:cNvSpPr>
            <p:nvPr/>
          </p:nvSpPr>
          <p:spPr bwMode="auto">
            <a:xfrm>
              <a:off x="4968" y="1983"/>
              <a:ext cx="267" cy="227"/>
            </a:xfrm>
            <a:custGeom>
              <a:avLst/>
              <a:gdLst>
                <a:gd name="T0" fmla="*/ 376 w 850"/>
                <a:gd name="T1" fmla="*/ 727 h 727"/>
                <a:gd name="T2" fmla="*/ 197 w 850"/>
                <a:gd name="T3" fmla="*/ 664 h 727"/>
                <a:gd name="T4" fmla="*/ 195 w 850"/>
                <a:gd name="T5" fmla="*/ 662 h 727"/>
                <a:gd name="T6" fmla="*/ 176 w 850"/>
                <a:gd name="T7" fmla="*/ 265 h 727"/>
                <a:gd name="T8" fmla="*/ 322 w 850"/>
                <a:gd name="T9" fmla="*/ 132 h 727"/>
                <a:gd name="T10" fmla="*/ 413 w 850"/>
                <a:gd name="T11" fmla="*/ 84 h 727"/>
                <a:gd name="T12" fmla="*/ 554 w 850"/>
                <a:gd name="T13" fmla="*/ 46 h 727"/>
                <a:gd name="T14" fmla="*/ 850 w 850"/>
                <a:gd name="T15" fmla="*/ 0 h 727"/>
                <a:gd name="T16" fmla="*/ 798 w 850"/>
                <a:gd name="T17" fmla="*/ 275 h 727"/>
                <a:gd name="T18" fmla="*/ 674 w 850"/>
                <a:gd name="T19" fmla="*/ 548 h 727"/>
                <a:gd name="T20" fmla="*/ 605 w 850"/>
                <a:gd name="T21" fmla="*/ 614 h 727"/>
                <a:gd name="T22" fmla="*/ 481 w 850"/>
                <a:gd name="T23" fmla="*/ 706 h 727"/>
                <a:gd name="T24" fmla="*/ 478 w 850"/>
                <a:gd name="T25" fmla="*/ 708 h 727"/>
                <a:gd name="T26" fmla="*/ 376 w 850"/>
                <a:gd name="T27" fmla="*/ 727 h 727"/>
                <a:gd name="T28" fmla="*/ 237 w 850"/>
                <a:gd name="T29" fmla="*/ 620 h 727"/>
                <a:gd name="T30" fmla="*/ 455 w 850"/>
                <a:gd name="T31" fmla="*/ 654 h 727"/>
                <a:gd name="T32" fmla="*/ 563 w 850"/>
                <a:gd name="T33" fmla="*/ 573 h 727"/>
                <a:gd name="T34" fmla="*/ 633 w 850"/>
                <a:gd name="T35" fmla="*/ 505 h 727"/>
                <a:gd name="T36" fmla="*/ 741 w 850"/>
                <a:gd name="T37" fmla="*/ 263 h 727"/>
                <a:gd name="T38" fmla="*/ 777 w 850"/>
                <a:gd name="T39" fmla="*/ 71 h 727"/>
                <a:gd name="T40" fmla="*/ 563 w 850"/>
                <a:gd name="T41" fmla="*/ 105 h 727"/>
                <a:gd name="T42" fmla="*/ 433 w 850"/>
                <a:gd name="T43" fmla="*/ 139 h 727"/>
                <a:gd name="T44" fmla="*/ 354 w 850"/>
                <a:gd name="T45" fmla="*/ 181 h 727"/>
                <a:gd name="T46" fmla="*/ 217 w 850"/>
                <a:gd name="T47" fmla="*/ 307 h 727"/>
                <a:gd name="T48" fmla="*/ 237 w 850"/>
                <a:gd name="T49" fmla="*/ 62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0" h="727">
                  <a:moveTo>
                    <a:pt x="376" y="727"/>
                  </a:moveTo>
                  <a:cubicBezTo>
                    <a:pt x="272" y="727"/>
                    <a:pt x="201" y="667"/>
                    <a:pt x="197" y="664"/>
                  </a:cubicBezTo>
                  <a:cubicBezTo>
                    <a:pt x="195" y="662"/>
                    <a:pt x="195" y="662"/>
                    <a:pt x="195" y="662"/>
                  </a:cubicBezTo>
                  <a:cubicBezTo>
                    <a:pt x="0" y="456"/>
                    <a:pt x="174" y="267"/>
                    <a:pt x="176" y="265"/>
                  </a:cubicBezTo>
                  <a:cubicBezTo>
                    <a:pt x="322" y="132"/>
                    <a:pt x="322" y="132"/>
                    <a:pt x="322" y="132"/>
                  </a:cubicBezTo>
                  <a:cubicBezTo>
                    <a:pt x="345" y="118"/>
                    <a:pt x="385" y="94"/>
                    <a:pt x="413" y="84"/>
                  </a:cubicBezTo>
                  <a:cubicBezTo>
                    <a:pt x="494" y="54"/>
                    <a:pt x="552" y="47"/>
                    <a:pt x="554" y="46"/>
                  </a:cubicBezTo>
                  <a:cubicBezTo>
                    <a:pt x="850" y="0"/>
                    <a:pt x="850" y="0"/>
                    <a:pt x="850" y="0"/>
                  </a:cubicBezTo>
                  <a:cubicBezTo>
                    <a:pt x="798" y="275"/>
                    <a:pt x="798" y="275"/>
                    <a:pt x="798" y="275"/>
                  </a:cubicBezTo>
                  <a:cubicBezTo>
                    <a:pt x="755" y="467"/>
                    <a:pt x="677" y="544"/>
                    <a:pt x="674" y="548"/>
                  </a:cubicBezTo>
                  <a:cubicBezTo>
                    <a:pt x="605" y="614"/>
                    <a:pt x="605" y="614"/>
                    <a:pt x="605" y="614"/>
                  </a:cubicBezTo>
                  <a:cubicBezTo>
                    <a:pt x="556" y="665"/>
                    <a:pt x="484" y="705"/>
                    <a:pt x="481" y="706"/>
                  </a:cubicBezTo>
                  <a:cubicBezTo>
                    <a:pt x="478" y="708"/>
                    <a:pt x="478" y="708"/>
                    <a:pt x="478" y="708"/>
                  </a:cubicBezTo>
                  <a:cubicBezTo>
                    <a:pt x="441" y="722"/>
                    <a:pt x="407" y="727"/>
                    <a:pt x="376" y="727"/>
                  </a:cubicBezTo>
                  <a:close/>
                  <a:moveTo>
                    <a:pt x="237" y="620"/>
                  </a:moveTo>
                  <a:cubicBezTo>
                    <a:pt x="247" y="629"/>
                    <a:pt x="337" y="697"/>
                    <a:pt x="455" y="654"/>
                  </a:cubicBezTo>
                  <a:cubicBezTo>
                    <a:pt x="465" y="648"/>
                    <a:pt x="524" y="614"/>
                    <a:pt x="563" y="573"/>
                  </a:cubicBezTo>
                  <a:cubicBezTo>
                    <a:pt x="633" y="505"/>
                    <a:pt x="633" y="505"/>
                    <a:pt x="633" y="505"/>
                  </a:cubicBezTo>
                  <a:cubicBezTo>
                    <a:pt x="633" y="505"/>
                    <a:pt x="702" y="435"/>
                    <a:pt x="741" y="263"/>
                  </a:cubicBezTo>
                  <a:cubicBezTo>
                    <a:pt x="777" y="71"/>
                    <a:pt x="777" y="71"/>
                    <a:pt x="777" y="71"/>
                  </a:cubicBezTo>
                  <a:cubicBezTo>
                    <a:pt x="563" y="105"/>
                    <a:pt x="563" y="105"/>
                    <a:pt x="563" y="105"/>
                  </a:cubicBezTo>
                  <a:cubicBezTo>
                    <a:pt x="561" y="105"/>
                    <a:pt x="508" y="112"/>
                    <a:pt x="433" y="139"/>
                  </a:cubicBezTo>
                  <a:cubicBezTo>
                    <a:pt x="411" y="147"/>
                    <a:pt x="375" y="168"/>
                    <a:pt x="354" y="181"/>
                  </a:cubicBezTo>
                  <a:cubicBezTo>
                    <a:pt x="217" y="307"/>
                    <a:pt x="217" y="307"/>
                    <a:pt x="217" y="307"/>
                  </a:cubicBezTo>
                  <a:cubicBezTo>
                    <a:pt x="213" y="312"/>
                    <a:pt x="82" y="456"/>
                    <a:pt x="237" y="620"/>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1" name="Freeform 10">
              <a:extLst>
                <a:ext uri="{FF2B5EF4-FFF2-40B4-BE49-F238E27FC236}">
                  <a16:creationId xmlns:a16="http://schemas.microsoft.com/office/drawing/2014/main" id="{96A29298-3E8E-0EEB-A1D2-71366147773F}"/>
                </a:ext>
              </a:extLst>
            </p:cNvPr>
            <p:cNvSpPr>
              <a:spLocks noEditPoints="1"/>
            </p:cNvSpPr>
            <p:nvPr/>
          </p:nvSpPr>
          <p:spPr bwMode="auto">
            <a:xfrm>
              <a:off x="4721" y="1983"/>
              <a:ext cx="267" cy="227"/>
            </a:xfrm>
            <a:custGeom>
              <a:avLst/>
              <a:gdLst>
                <a:gd name="T0" fmla="*/ 473 w 850"/>
                <a:gd name="T1" fmla="*/ 727 h 727"/>
                <a:gd name="T2" fmla="*/ 372 w 850"/>
                <a:gd name="T3" fmla="*/ 708 h 727"/>
                <a:gd name="T4" fmla="*/ 369 w 850"/>
                <a:gd name="T5" fmla="*/ 706 h 727"/>
                <a:gd name="T6" fmla="*/ 244 w 850"/>
                <a:gd name="T7" fmla="*/ 613 h 727"/>
                <a:gd name="T8" fmla="*/ 176 w 850"/>
                <a:gd name="T9" fmla="*/ 548 h 727"/>
                <a:gd name="T10" fmla="*/ 52 w 850"/>
                <a:gd name="T11" fmla="*/ 276 h 727"/>
                <a:gd name="T12" fmla="*/ 0 w 850"/>
                <a:gd name="T13" fmla="*/ 0 h 727"/>
                <a:gd name="T14" fmla="*/ 296 w 850"/>
                <a:gd name="T15" fmla="*/ 46 h 727"/>
                <a:gd name="T16" fmla="*/ 436 w 850"/>
                <a:gd name="T17" fmla="*/ 84 h 727"/>
                <a:gd name="T18" fmla="*/ 528 w 850"/>
                <a:gd name="T19" fmla="*/ 132 h 727"/>
                <a:gd name="T20" fmla="*/ 533 w 850"/>
                <a:gd name="T21" fmla="*/ 135 h 727"/>
                <a:gd name="T22" fmla="*/ 672 w 850"/>
                <a:gd name="T23" fmla="*/ 264 h 727"/>
                <a:gd name="T24" fmla="*/ 654 w 850"/>
                <a:gd name="T25" fmla="*/ 662 h 727"/>
                <a:gd name="T26" fmla="*/ 652 w 850"/>
                <a:gd name="T27" fmla="*/ 664 h 727"/>
                <a:gd name="T28" fmla="*/ 473 w 850"/>
                <a:gd name="T29" fmla="*/ 727 h 727"/>
                <a:gd name="T30" fmla="*/ 395 w 850"/>
                <a:gd name="T31" fmla="*/ 654 h 727"/>
                <a:gd name="T32" fmla="*/ 613 w 850"/>
                <a:gd name="T33" fmla="*/ 620 h 727"/>
                <a:gd name="T34" fmla="*/ 631 w 850"/>
                <a:gd name="T35" fmla="*/ 306 h 727"/>
                <a:gd name="T36" fmla="*/ 495 w 850"/>
                <a:gd name="T37" fmla="*/ 181 h 727"/>
                <a:gd name="T38" fmla="*/ 416 w 850"/>
                <a:gd name="T39" fmla="*/ 139 h 727"/>
                <a:gd name="T40" fmla="*/ 288 w 850"/>
                <a:gd name="T41" fmla="*/ 105 h 727"/>
                <a:gd name="T42" fmla="*/ 73 w 850"/>
                <a:gd name="T43" fmla="*/ 71 h 727"/>
                <a:gd name="T44" fmla="*/ 109 w 850"/>
                <a:gd name="T45" fmla="*/ 264 h 727"/>
                <a:gd name="T46" fmla="*/ 217 w 850"/>
                <a:gd name="T47" fmla="*/ 505 h 727"/>
                <a:gd name="T48" fmla="*/ 286 w 850"/>
                <a:gd name="T49" fmla="*/ 572 h 727"/>
                <a:gd name="T50" fmla="*/ 395 w 850"/>
                <a:gd name="T51" fmla="*/ 65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0" h="727">
                  <a:moveTo>
                    <a:pt x="473" y="727"/>
                  </a:moveTo>
                  <a:cubicBezTo>
                    <a:pt x="442" y="727"/>
                    <a:pt x="408" y="722"/>
                    <a:pt x="372" y="708"/>
                  </a:cubicBezTo>
                  <a:cubicBezTo>
                    <a:pt x="369" y="706"/>
                    <a:pt x="369" y="706"/>
                    <a:pt x="369" y="706"/>
                  </a:cubicBezTo>
                  <a:cubicBezTo>
                    <a:pt x="366" y="705"/>
                    <a:pt x="293" y="665"/>
                    <a:pt x="244" y="613"/>
                  </a:cubicBezTo>
                  <a:cubicBezTo>
                    <a:pt x="176" y="548"/>
                    <a:pt x="176" y="548"/>
                    <a:pt x="176" y="548"/>
                  </a:cubicBezTo>
                  <a:cubicBezTo>
                    <a:pt x="173" y="544"/>
                    <a:pt x="95" y="467"/>
                    <a:pt x="52" y="276"/>
                  </a:cubicBezTo>
                  <a:cubicBezTo>
                    <a:pt x="0" y="0"/>
                    <a:pt x="0" y="0"/>
                    <a:pt x="0" y="0"/>
                  </a:cubicBezTo>
                  <a:cubicBezTo>
                    <a:pt x="296" y="46"/>
                    <a:pt x="296" y="46"/>
                    <a:pt x="296" y="46"/>
                  </a:cubicBezTo>
                  <a:cubicBezTo>
                    <a:pt x="298" y="47"/>
                    <a:pt x="355" y="54"/>
                    <a:pt x="436" y="84"/>
                  </a:cubicBezTo>
                  <a:cubicBezTo>
                    <a:pt x="465" y="94"/>
                    <a:pt x="504" y="118"/>
                    <a:pt x="528" y="132"/>
                  </a:cubicBezTo>
                  <a:cubicBezTo>
                    <a:pt x="533" y="135"/>
                    <a:pt x="533" y="135"/>
                    <a:pt x="533" y="135"/>
                  </a:cubicBezTo>
                  <a:cubicBezTo>
                    <a:pt x="672" y="264"/>
                    <a:pt x="672" y="264"/>
                    <a:pt x="672" y="264"/>
                  </a:cubicBezTo>
                  <a:cubicBezTo>
                    <a:pt x="676" y="267"/>
                    <a:pt x="850" y="456"/>
                    <a:pt x="654" y="662"/>
                  </a:cubicBezTo>
                  <a:cubicBezTo>
                    <a:pt x="652" y="664"/>
                    <a:pt x="652" y="664"/>
                    <a:pt x="652" y="664"/>
                  </a:cubicBezTo>
                  <a:cubicBezTo>
                    <a:pt x="649" y="667"/>
                    <a:pt x="578" y="727"/>
                    <a:pt x="473" y="727"/>
                  </a:cubicBezTo>
                  <a:close/>
                  <a:moveTo>
                    <a:pt x="395" y="654"/>
                  </a:moveTo>
                  <a:cubicBezTo>
                    <a:pt x="513" y="697"/>
                    <a:pt x="603" y="628"/>
                    <a:pt x="613" y="620"/>
                  </a:cubicBezTo>
                  <a:cubicBezTo>
                    <a:pt x="769" y="455"/>
                    <a:pt x="637" y="312"/>
                    <a:pt x="631" y="306"/>
                  </a:cubicBezTo>
                  <a:cubicBezTo>
                    <a:pt x="495" y="181"/>
                    <a:pt x="495" y="181"/>
                    <a:pt x="495" y="181"/>
                  </a:cubicBezTo>
                  <a:cubicBezTo>
                    <a:pt x="474" y="168"/>
                    <a:pt x="439" y="147"/>
                    <a:pt x="416" y="139"/>
                  </a:cubicBezTo>
                  <a:cubicBezTo>
                    <a:pt x="342" y="112"/>
                    <a:pt x="288" y="105"/>
                    <a:pt x="288" y="105"/>
                  </a:cubicBezTo>
                  <a:cubicBezTo>
                    <a:pt x="73" y="71"/>
                    <a:pt x="73" y="71"/>
                    <a:pt x="73" y="71"/>
                  </a:cubicBezTo>
                  <a:cubicBezTo>
                    <a:pt x="109" y="264"/>
                    <a:pt x="109" y="264"/>
                    <a:pt x="109" y="264"/>
                  </a:cubicBezTo>
                  <a:cubicBezTo>
                    <a:pt x="148" y="435"/>
                    <a:pt x="216" y="505"/>
                    <a:pt x="217" y="505"/>
                  </a:cubicBezTo>
                  <a:cubicBezTo>
                    <a:pt x="286" y="572"/>
                    <a:pt x="286" y="572"/>
                    <a:pt x="286" y="572"/>
                  </a:cubicBezTo>
                  <a:cubicBezTo>
                    <a:pt x="326" y="614"/>
                    <a:pt x="384" y="648"/>
                    <a:pt x="395" y="654"/>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grpSp>
      <p:grpSp>
        <p:nvGrpSpPr>
          <p:cNvPr id="332" name="Group 331">
            <a:extLst>
              <a:ext uri="{FF2B5EF4-FFF2-40B4-BE49-F238E27FC236}">
                <a16:creationId xmlns:a16="http://schemas.microsoft.com/office/drawing/2014/main" id="{E52F5704-ABA8-299B-496E-9332AB52C8AF}"/>
              </a:ext>
            </a:extLst>
          </p:cNvPr>
          <p:cNvGrpSpPr/>
          <p:nvPr/>
        </p:nvGrpSpPr>
        <p:grpSpPr>
          <a:xfrm>
            <a:off x="5346917" y="4738598"/>
            <a:ext cx="639740" cy="681091"/>
            <a:chOff x="944563" y="3032125"/>
            <a:chExt cx="927100" cy="1320800"/>
          </a:xfrm>
          <a:solidFill>
            <a:schemeClr val="bg1"/>
          </a:solidFill>
        </p:grpSpPr>
        <p:sp>
          <p:nvSpPr>
            <p:cNvPr id="333" name="Freeform 5">
              <a:extLst>
                <a:ext uri="{FF2B5EF4-FFF2-40B4-BE49-F238E27FC236}">
                  <a16:creationId xmlns:a16="http://schemas.microsoft.com/office/drawing/2014/main" id="{810B5706-8E6C-EF10-48C1-DDD4B489C216}"/>
                </a:ext>
              </a:extLst>
            </p:cNvPr>
            <p:cNvSpPr>
              <a:spLocks/>
            </p:cNvSpPr>
            <p:nvPr/>
          </p:nvSpPr>
          <p:spPr bwMode="auto">
            <a:xfrm>
              <a:off x="969963" y="3209925"/>
              <a:ext cx="168275" cy="247650"/>
            </a:xfrm>
            <a:custGeom>
              <a:avLst/>
              <a:gdLst>
                <a:gd name="T0" fmla="*/ 38 w 106"/>
                <a:gd name="T1" fmla="*/ 156 h 156"/>
                <a:gd name="T2" fmla="*/ 38 w 106"/>
                <a:gd name="T3" fmla="*/ 156 h 156"/>
                <a:gd name="T4" fmla="*/ 32 w 106"/>
                <a:gd name="T5" fmla="*/ 154 h 156"/>
                <a:gd name="T6" fmla="*/ 32 w 106"/>
                <a:gd name="T7" fmla="*/ 154 h 156"/>
                <a:gd name="T8" fmla="*/ 24 w 106"/>
                <a:gd name="T9" fmla="*/ 146 h 156"/>
                <a:gd name="T10" fmla="*/ 18 w 106"/>
                <a:gd name="T11" fmla="*/ 138 h 156"/>
                <a:gd name="T12" fmla="*/ 12 w 106"/>
                <a:gd name="T13" fmla="*/ 128 h 156"/>
                <a:gd name="T14" fmla="*/ 6 w 106"/>
                <a:gd name="T15" fmla="*/ 120 h 156"/>
                <a:gd name="T16" fmla="*/ 4 w 106"/>
                <a:gd name="T17" fmla="*/ 110 h 156"/>
                <a:gd name="T18" fmla="*/ 2 w 106"/>
                <a:gd name="T19" fmla="*/ 98 h 156"/>
                <a:gd name="T20" fmla="*/ 0 w 106"/>
                <a:gd name="T21" fmla="*/ 88 h 156"/>
                <a:gd name="T22" fmla="*/ 2 w 106"/>
                <a:gd name="T23" fmla="*/ 76 h 156"/>
                <a:gd name="T24" fmla="*/ 2 w 106"/>
                <a:gd name="T25" fmla="*/ 76 h 156"/>
                <a:gd name="T26" fmla="*/ 4 w 106"/>
                <a:gd name="T27" fmla="*/ 60 h 156"/>
                <a:gd name="T28" fmla="*/ 12 w 106"/>
                <a:gd name="T29" fmla="*/ 44 h 156"/>
                <a:gd name="T30" fmla="*/ 22 w 106"/>
                <a:gd name="T31" fmla="*/ 30 h 156"/>
                <a:gd name="T32" fmla="*/ 34 w 106"/>
                <a:gd name="T33" fmla="*/ 18 h 156"/>
                <a:gd name="T34" fmla="*/ 34 w 106"/>
                <a:gd name="T35" fmla="*/ 18 h 156"/>
                <a:gd name="T36" fmla="*/ 48 w 106"/>
                <a:gd name="T37" fmla="*/ 8 h 156"/>
                <a:gd name="T38" fmla="*/ 64 w 106"/>
                <a:gd name="T39" fmla="*/ 2 h 156"/>
                <a:gd name="T40" fmla="*/ 80 w 106"/>
                <a:gd name="T41" fmla="*/ 0 h 156"/>
                <a:gd name="T42" fmla="*/ 98 w 106"/>
                <a:gd name="T43" fmla="*/ 0 h 156"/>
                <a:gd name="T44" fmla="*/ 98 w 106"/>
                <a:gd name="T45" fmla="*/ 0 h 156"/>
                <a:gd name="T46" fmla="*/ 102 w 106"/>
                <a:gd name="T47" fmla="*/ 0 h 156"/>
                <a:gd name="T48" fmla="*/ 104 w 106"/>
                <a:gd name="T49" fmla="*/ 2 h 156"/>
                <a:gd name="T50" fmla="*/ 106 w 106"/>
                <a:gd name="T51" fmla="*/ 6 h 156"/>
                <a:gd name="T52" fmla="*/ 106 w 106"/>
                <a:gd name="T53" fmla="*/ 10 h 156"/>
                <a:gd name="T54" fmla="*/ 106 w 106"/>
                <a:gd name="T55" fmla="*/ 10 h 156"/>
                <a:gd name="T56" fmla="*/ 104 w 106"/>
                <a:gd name="T57" fmla="*/ 12 h 156"/>
                <a:gd name="T58" fmla="*/ 102 w 106"/>
                <a:gd name="T59" fmla="*/ 16 h 156"/>
                <a:gd name="T60" fmla="*/ 100 w 106"/>
                <a:gd name="T61" fmla="*/ 16 h 156"/>
                <a:gd name="T62" fmla="*/ 96 w 106"/>
                <a:gd name="T63" fmla="*/ 18 h 156"/>
                <a:gd name="T64" fmla="*/ 96 w 106"/>
                <a:gd name="T65" fmla="*/ 18 h 156"/>
                <a:gd name="T66" fmla="*/ 82 w 106"/>
                <a:gd name="T67" fmla="*/ 18 h 156"/>
                <a:gd name="T68" fmla="*/ 68 w 106"/>
                <a:gd name="T69" fmla="*/ 20 h 156"/>
                <a:gd name="T70" fmla="*/ 56 w 106"/>
                <a:gd name="T71" fmla="*/ 24 h 156"/>
                <a:gd name="T72" fmla="*/ 44 w 106"/>
                <a:gd name="T73" fmla="*/ 32 h 156"/>
                <a:gd name="T74" fmla="*/ 44 w 106"/>
                <a:gd name="T75" fmla="*/ 32 h 156"/>
                <a:gd name="T76" fmla="*/ 34 w 106"/>
                <a:gd name="T77" fmla="*/ 42 h 156"/>
                <a:gd name="T78" fmla="*/ 28 w 106"/>
                <a:gd name="T79" fmla="*/ 52 h 156"/>
                <a:gd name="T80" fmla="*/ 22 w 106"/>
                <a:gd name="T81" fmla="*/ 66 h 156"/>
                <a:gd name="T82" fmla="*/ 20 w 106"/>
                <a:gd name="T83" fmla="*/ 78 h 156"/>
                <a:gd name="T84" fmla="*/ 20 w 106"/>
                <a:gd name="T85" fmla="*/ 78 h 156"/>
                <a:gd name="T86" fmla="*/ 20 w 106"/>
                <a:gd name="T87" fmla="*/ 96 h 156"/>
                <a:gd name="T88" fmla="*/ 24 w 106"/>
                <a:gd name="T89" fmla="*/ 112 h 156"/>
                <a:gd name="T90" fmla="*/ 32 w 106"/>
                <a:gd name="T91" fmla="*/ 128 h 156"/>
                <a:gd name="T92" fmla="*/ 44 w 106"/>
                <a:gd name="T93" fmla="*/ 140 h 156"/>
                <a:gd name="T94" fmla="*/ 44 w 106"/>
                <a:gd name="T95" fmla="*/ 140 h 156"/>
                <a:gd name="T96" fmla="*/ 46 w 106"/>
                <a:gd name="T97" fmla="*/ 142 h 156"/>
                <a:gd name="T98" fmla="*/ 46 w 106"/>
                <a:gd name="T99" fmla="*/ 146 h 156"/>
                <a:gd name="T100" fmla="*/ 46 w 106"/>
                <a:gd name="T101" fmla="*/ 150 h 156"/>
                <a:gd name="T102" fmla="*/ 44 w 106"/>
                <a:gd name="T103" fmla="*/ 152 h 156"/>
                <a:gd name="T104" fmla="*/ 44 w 106"/>
                <a:gd name="T105" fmla="*/ 152 h 156"/>
                <a:gd name="T106" fmla="*/ 42 w 106"/>
                <a:gd name="T107" fmla="*/ 154 h 156"/>
                <a:gd name="T108" fmla="*/ 38 w 106"/>
                <a:gd name="T109" fmla="*/ 156 h 156"/>
                <a:gd name="T110" fmla="*/ 38 w 106"/>
                <a:gd name="T11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156">
                  <a:moveTo>
                    <a:pt x="38" y="156"/>
                  </a:moveTo>
                  <a:lnTo>
                    <a:pt x="38" y="156"/>
                  </a:lnTo>
                  <a:lnTo>
                    <a:pt x="32" y="154"/>
                  </a:lnTo>
                  <a:lnTo>
                    <a:pt x="32" y="154"/>
                  </a:lnTo>
                  <a:lnTo>
                    <a:pt x="24" y="146"/>
                  </a:lnTo>
                  <a:lnTo>
                    <a:pt x="18" y="138"/>
                  </a:lnTo>
                  <a:lnTo>
                    <a:pt x="12" y="128"/>
                  </a:lnTo>
                  <a:lnTo>
                    <a:pt x="6" y="120"/>
                  </a:lnTo>
                  <a:lnTo>
                    <a:pt x="4" y="110"/>
                  </a:lnTo>
                  <a:lnTo>
                    <a:pt x="2" y="98"/>
                  </a:lnTo>
                  <a:lnTo>
                    <a:pt x="0" y="88"/>
                  </a:lnTo>
                  <a:lnTo>
                    <a:pt x="2" y="76"/>
                  </a:lnTo>
                  <a:lnTo>
                    <a:pt x="2" y="76"/>
                  </a:lnTo>
                  <a:lnTo>
                    <a:pt x="4" y="60"/>
                  </a:lnTo>
                  <a:lnTo>
                    <a:pt x="12" y="44"/>
                  </a:lnTo>
                  <a:lnTo>
                    <a:pt x="22" y="30"/>
                  </a:lnTo>
                  <a:lnTo>
                    <a:pt x="34" y="18"/>
                  </a:lnTo>
                  <a:lnTo>
                    <a:pt x="34" y="18"/>
                  </a:lnTo>
                  <a:lnTo>
                    <a:pt x="48" y="8"/>
                  </a:lnTo>
                  <a:lnTo>
                    <a:pt x="64" y="2"/>
                  </a:lnTo>
                  <a:lnTo>
                    <a:pt x="80" y="0"/>
                  </a:lnTo>
                  <a:lnTo>
                    <a:pt x="98" y="0"/>
                  </a:lnTo>
                  <a:lnTo>
                    <a:pt x="98" y="0"/>
                  </a:lnTo>
                  <a:lnTo>
                    <a:pt x="102" y="0"/>
                  </a:lnTo>
                  <a:lnTo>
                    <a:pt x="104" y="2"/>
                  </a:lnTo>
                  <a:lnTo>
                    <a:pt x="106" y="6"/>
                  </a:lnTo>
                  <a:lnTo>
                    <a:pt x="106" y="10"/>
                  </a:lnTo>
                  <a:lnTo>
                    <a:pt x="106" y="10"/>
                  </a:lnTo>
                  <a:lnTo>
                    <a:pt x="104" y="12"/>
                  </a:lnTo>
                  <a:lnTo>
                    <a:pt x="102" y="16"/>
                  </a:lnTo>
                  <a:lnTo>
                    <a:pt x="100" y="16"/>
                  </a:lnTo>
                  <a:lnTo>
                    <a:pt x="96" y="18"/>
                  </a:lnTo>
                  <a:lnTo>
                    <a:pt x="96" y="18"/>
                  </a:lnTo>
                  <a:lnTo>
                    <a:pt x="82" y="18"/>
                  </a:lnTo>
                  <a:lnTo>
                    <a:pt x="68" y="20"/>
                  </a:lnTo>
                  <a:lnTo>
                    <a:pt x="56" y="24"/>
                  </a:lnTo>
                  <a:lnTo>
                    <a:pt x="44" y="32"/>
                  </a:lnTo>
                  <a:lnTo>
                    <a:pt x="44" y="32"/>
                  </a:lnTo>
                  <a:lnTo>
                    <a:pt x="34" y="42"/>
                  </a:lnTo>
                  <a:lnTo>
                    <a:pt x="28" y="52"/>
                  </a:lnTo>
                  <a:lnTo>
                    <a:pt x="22" y="66"/>
                  </a:lnTo>
                  <a:lnTo>
                    <a:pt x="20" y="78"/>
                  </a:lnTo>
                  <a:lnTo>
                    <a:pt x="20" y="78"/>
                  </a:lnTo>
                  <a:lnTo>
                    <a:pt x="20" y="96"/>
                  </a:lnTo>
                  <a:lnTo>
                    <a:pt x="24" y="112"/>
                  </a:lnTo>
                  <a:lnTo>
                    <a:pt x="32" y="128"/>
                  </a:lnTo>
                  <a:lnTo>
                    <a:pt x="44" y="140"/>
                  </a:lnTo>
                  <a:lnTo>
                    <a:pt x="44" y="140"/>
                  </a:lnTo>
                  <a:lnTo>
                    <a:pt x="46" y="142"/>
                  </a:lnTo>
                  <a:lnTo>
                    <a:pt x="46" y="146"/>
                  </a:lnTo>
                  <a:lnTo>
                    <a:pt x="46" y="150"/>
                  </a:lnTo>
                  <a:lnTo>
                    <a:pt x="44" y="152"/>
                  </a:lnTo>
                  <a:lnTo>
                    <a:pt x="44" y="152"/>
                  </a:lnTo>
                  <a:lnTo>
                    <a:pt x="42" y="154"/>
                  </a:lnTo>
                  <a:lnTo>
                    <a:pt x="38" y="156"/>
                  </a:lnTo>
                  <a:lnTo>
                    <a:pt x="38" y="156"/>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4" name="Freeform 6">
              <a:extLst>
                <a:ext uri="{FF2B5EF4-FFF2-40B4-BE49-F238E27FC236}">
                  <a16:creationId xmlns:a16="http://schemas.microsoft.com/office/drawing/2014/main" id="{DB9028C5-B459-A32B-C0E1-174B0442592E}"/>
                </a:ext>
              </a:extLst>
            </p:cNvPr>
            <p:cNvSpPr>
              <a:spLocks/>
            </p:cNvSpPr>
            <p:nvPr/>
          </p:nvSpPr>
          <p:spPr bwMode="auto">
            <a:xfrm>
              <a:off x="944563" y="3359150"/>
              <a:ext cx="165100" cy="279400"/>
            </a:xfrm>
            <a:custGeom>
              <a:avLst/>
              <a:gdLst>
                <a:gd name="T0" fmla="*/ 78 w 104"/>
                <a:gd name="T1" fmla="*/ 176 h 176"/>
                <a:gd name="T2" fmla="*/ 78 w 104"/>
                <a:gd name="T3" fmla="*/ 176 h 176"/>
                <a:gd name="T4" fmla="*/ 78 w 104"/>
                <a:gd name="T5" fmla="*/ 176 h 176"/>
                <a:gd name="T6" fmla="*/ 78 w 104"/>
                <a:gd name="T7" fmla="*/ 176 h 176"/>
                <a:gd name="T8" fmla="*/ 60 w 104"/>
                <a:gd name="T9" fmla="*/ 172 h 176"/>
                <a:gd name="T10" fmla="*/ 44 w 104"/>
                <a:gd name="T11" fmla="*/ 166 h 176"/>
                <a:gd name="T12" fmla="*/ 30 w 104"/>
                <a:gd name="T13" fmla="*/ 156 h 176"/>
                <a:gd name="T14" fmla="*/ 18 w 104"/>
                <a:gd name="T15" fmla="*/ 144 h 176"/>
                <a:gd name="T16" fmla="*/ 18 w 104"/>
                <a:gd name="T17" fmla="*/ 144 h 176"/>
                <a:gd name="T18" fmla="*/ 8 w 104"/>
                <a:gd name="T19" fmla="*/ 128 h 176"/>
                <a:gd name="T20" fmla="*/ 2 w 104"/>
                <a:gd name="T21" fmla="*/ 112 h 176"/>
                <a:gd name="T22" fmla="*/ 0 w 104"/>
                <a:gd name="T23" fmla="*/ 96 h 176"/>
                <a:gd name="T24" fmla="*/ 0 w 104"/>
                <a:gd name="T25" fmla="*/ 78 h 176"/>
                <a:gd name="T26" fmla="*/ 0 w 104"/>
                <a:gd name="T27" fmla="*/ 78 h 176"/>
                <a:gd name="T28" fmla="*/ 4 w 104"/>
                <a:gd name="T29" fmla="*/ 62 h 176"/>
                <a:gd name="T30" fmla="*/ 10 w 104"/>
                <a:gd name="T31" fmla="*/ 46 h 176"/>
                <a:gd name="T32" fmla="*/ 20 w 104"/>
                <a:gd name="T33" fmla="*/ 32 h 176"/>
                <a:gd name="T34" fmla="*/ 32 w 104"/>
                <a:gd name="T35" fmla="*/ 20 h 176"/>
                <a:gd name="T36" fmla="*/ 32 w 104"/>
                <a:gd name="T37" fmla="*/ 20 h 176"/>
                <a:gd name="T38" fmla="*/ 46 w 104"/>
                <a:gd name="T39" fmla="*/ 10 h 176"/>
                <a:gd name="T40" fmla="*/ 62 w 104"/>
                <a:gd name="T41" fmla="*/ 4 h 176"/>
                <a:gd name="T42" fmla="*/ 80 w 104"/>
                <a:gd name="T43" fmla="*/ 0 h 176"/>
                <a:gd name="T44" fmla="*/ 96 w 104"/>
                <a:gd name="T45" fmla="*/ 0 h 176"/>
                <a:gd name="T46" fmla="*/ 96 w 104"/>
                <a:gd name="T47" fmla="*/ 0 h 176"/>
                <a:gd name="T48" fmla="*/ 100 w 104"/>
                <a:gd name="T49" fmla="*/ 2 h 176"/>
                <a:gd name="T50" fmla="*/ 102 w 104"/>
                <a:gd name="T51" fmla="*/ 4 h 176"/>
                <a:gd name="T52" fmla="*/ 104 w 104"/>
                <a:gd name="T53" fmla="*/ 8 h 176"/>
                <a:gd name="T54" fmla="*/ 104 w 104"/>
                <a:gd name="T55" fmla="*/ 10 h 176"/>
                <a:gd name="T56" fmla="*/ 104 w 104"/>
                <a:gd name="T57" fmla="*/ 10 h 176"/>
                <a:gd name="T58" fmla="*/ 104 w 104"/>
                <a:gd name="T59" fmla="*/ 14 h 176"/>
                <a:gd name="T60" fmla="*/ 102 w 104"/>
                <a:gd name="T61" fmla="*/ 16 h 176"/>
                <a:gd name="T62" fmla="*/ 98 w 104"/>
                <a:gd name="T63" fmla="*/ 18 h 176"/>
                <a:gd name="T64" fmla="*/ 94 w 104"/>
                <a:gd name="T65" fmla="*/ 18 h 176"/>
                <a:gd name="T66" fmla="*/ 94 w 104"/>
                <a:gd name="T67" fmla="*/ 18 h 176"/>
                <a:gd name="T68" fmla="*/ 80 w 104"/>
                <a:gd name="T69" fmla="*/ 18 h 176"/>
                <a:gd name="T70" fmla="*/ 68 w 104"/>
                <a:gd name="T71" fmla="*/ 22 h 176"/>
                <a:gd name="T72" fmla="*/ 54 w 104"/>
                <a:gd name="T73" fmla="*/ 26 h 176"/>
                <a:gd name="T74" fmla="*/ 44 w 104"/>
                <a:gd name="T75" fmla="*/ 34 h 176"/>
                <a:gd name="T76" fmla="*/ 34 w 104"/>
                <a:gd name="T77" fmla="*/ 44 h 176"/>
                <a:gd name="T78" fmla="*/ 26 w 104"/>
                <a:gd name="T79" fmla="*/ 54 h 176"/>
                <a:gd name="T80" fmla="*/ 20 w 104"/>
                <a:gd name="T81" fmla="*/ 66 h 176"/>
                <a:gd name="T82" fmla="*/ 18 w 104"/>
                <a:gd name="T83" fmla="*/ 80 h 176"/>
                <a:gd name="T84" fmla="*/ 18 w 104"/>
                <a:gd name="T85" fmla="*/ 80 h 176"/>
                <a:gd name="T86" fmla="*/ 18 w 104"/>
                <a:gd name="T87" fmla="*/ 94 h 176"/>
                <a:gd name="T88" fmla="*/ 20 w 104"/>
                <a:gd name="T89" fmla="*/ 108 h 176"/>
                <a:gd name="T90" fmla="*/ 24 w 104"/>
                <a:gd name="T91" fmla="*/ 120 h 176"/>
                <a:gd name="T92" fmla="*/ 32 w 104"/>
                <a:gd name="T93" fmla="*/ 132 h 176"/>
                <a:gd name="T94" fmla="*/ 32 w 104"/>
                <a:gd name="T95" fmla="*/ 132 h 176"/>
                <a:gd name="T96" fmla="*/ 42 w 104"/>
                <a:gd name="T97" fmla="*/ 142 h 176"/>
                <a:gd name="T98" fmla="*/ 54 w 104"/>
                <a:gd name="T99" fmla="*/ 150 h 176"/>
                <a:gd name="T100" fmla="*/ 66 w 104"/>
                <a:gd name="T101" fmla="*/ 154 h 176"/>
                <a:gd name="T102" fmla="*/ 80 w 104"/>
                <a:gd name="T103" fmla="*/ 158 h 176"/>
                <a:gd name="T104" fmla="*/ 80 w 104"/>
                <a:gd name="T105" fmla="*/ 158 h 176"/>
                <a:gd name="T106" fmla="*/ 82 w 104"/>
                <a:gd name="T107" fmla="*/ 158 h 176"/>
                <a:gd name="T108" fmla="*/ 86 w 104"/>
                <a:gd name="T109" fmla="*/ 160 h 176"/>
                <a:gd name="T110" fmla="*/ 86 w 104"/>
                <a:gd name="T111" fmla="*/ 164 h 176"/>
                <a:gd name="T112" fmla="*/ 88 w 104"/>
                <a:gd name="T113" fmla="*/ 168 h 176"/>
                <a:gd name="T114" fmla="*/ 88 w 104"/>
                <a:gd name="T115" fmla="*/ 168 h 176"/>
                <a:gd name="T116" fmla="*/ 86 w 104"/>
                <a:gd name="T117" fmla="*/ 170 h 176"/>
                <a:gd name="T118" fmla="*/ 84 w 104"/>
                <a:gd name="T119" fmla="*/ 174 h 176"/>
                <a:gd name="T120" fmla="*/ 82 w 104"/>
                <a:gd name="T121" fmla="*/ 174 h 176"/>
                <a:gd name="T122" fmla="*/ 78 w 104"/>
                <a:gd name="T123" fmla="*/ 176 h 176"/>
                <a:gd name="T124" fmla="*/ 78 w 104"/>
                <a:gd name="T1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 h="176">
                  <a:moveTo>
                    <a:pt x="78" y="176"/>
                  </a:moveTo>
                  <a:lnTo>
                    <a:pt x="78" y="176"/>
                  </a:lnTo>
                  <a:lnTo>
                    <a:pt x="78" y="176"/>
                  </a:lnTo>
                  <a:lnTo>
                    <a:pt x="78" y="176"/>
                  </a:lnTo>
                  <a:lnTo>
                    <a:pt x="60" y="172"/>
                  </a:lnTo>
                  <a:lnTo>
                    <a:pt x="44" y="166"/>
                  </a:lnTo>
                  <a:lnTo>
                    <a:pt x="30" y="156"/>
                  </a:lnTo>
                  <a:lnTo>
                    <a:pt x="18" y="144"/>
                  </a:lnTo>
                  <a:lnTo>
                    <a:pt x="18" y="144"/>
                  </a:lnTo>
                  <a:lnTo>
                    <a:pt x="8" y="128"/>
                  </a:lnTo>
                  <a:lnTo>
                    <a:pt x="2" y="112"/>
                  </a:lnTo>
                  <a:lnTo>
                    <a:pt x="0" y="96"/>
                  </a:lnTo>
                  <a:lnTo>
                    <a:pt x="0" y="78"/>
                  </a:lnTo>
                  <a:lnTo>
                    <a:pt x="0" y="78"/>
                  </a:lnTo>
                  <a:lnTo>
                    <a:pt x="4" y="62"/>
                  </a:lnTo>
                  <a:lnTo>
                    <a:pt x="10" y="46"/>
                  </a:lnTo>
                  <a:lnTo>
                    <a:pt x="20" y="32"/>
                  </a:lnTo>
                  <a:lnTo>
                    <a:pt x="32" y="20"/>
                  </a:lnTo>
                  <a:lnTo>
                    <a:pt x="32" y="20"/>
                  </a:lnTo>
                  <a:lnTo>
                    <a:pt x="46" y="10"/>
                  </a:lnTo>
                  <a:lnTo>
                    <a:pt x="62" y="4"/>
                  </a:lnTo>
                  <a:lnTo>
                    <a:pt x="80" y="0"/>
                  </a:lnTo>
                  <a:lnTo>
                    <a:pt x="96" y="0"/>
                  </a:lnTo>
                  <a:lnTo>
                    <a:pt x="96" y="0"/>
                  </a:lnTo>
                  <a:lnTo>
                    <a:pt x="100" y="2"/>
                  </a:lnTo>
                  <a:lnTo>
                    <a:pt x="102" y="4"/>
                  </a:lnTo>
                  <a:lnTo>
                    <a:pt x="104" y="8"/>
                  </a:lnTo>
                  <a:lnTo>
                    <a:pt x="104" y="10"/>
                  </a:lnTo>
                  <a:lnTo>
                    <a:pt x="104" y="10"/>
                  </a:lnTo>
                  <a:lnTo>
                    <a:pt x="104" y="14"/>
                  </a:lnTo>
                  <a:lnTo>
                    <a:pt x="102" y="16"/>
                  </a:lnTo>
                  <a:lnTo>
                    <a:pt x="98" y="18"/>
                  </a:lnTo>
                  <a:lnTo>
                    <a:pt x="94" y="18"/>
                  </a:lnTo>
                  <a:lnTo>
                    <a:pt x="94" y="18"/>
                  </a:lnTo>
                  <a:lnTo>
                    <a:pt x="80" y="18"/>
                  </a:lnTo>
                  <a:lnTo>
                    <a:pt x="68" y="22"/>
                  </a:lnTo>
                  <a:lnTo>
                    <a:pt x="54" y="26"/>
                  </a:lnTo>
                  <a:lnTo>
                    <a:pt x="44" y="34"/>
                  </a:lnTo>
                  <a:lnTo>
                    <a:pt x="34" y="44"/>
                  </a:lnTo>
                  <a:lnTo>
                    <a:pt x="26" y="54"/>
                  </a:lnTo>
                  <a:lnTo>
                    <a:pt x="20" y="66"/>
                  </a:lnTo>
                  <a:lnTo>
                    <a:pt x="18" y="80"/>
                  </a:lnTo>
                  <a:lnTo>
                    <a:pt x="18" y="80"/>
                  </a:lnTo>
                  <a:lnTo>
                    <a:pt x="18" y="94"/>
                  </a:lnTo>
                  <a:lnTo>
                    <a:pt x="20" y="108"/>
                  </a:lnTo>
                  <a:lnTo>
                    <a:pt x="24" y="120"/>
                  </a:lnTo>
                  <a:lnTo>
                    <a:pt x="32" y="132"/>
                  </a:lnTo>
                  <a:lnTo>
                    <a:pt x="32" y="132"/>
                  </a:lnTo>
                  <a:lnTo>
                    <a:pt x="42" y="142"/>
                  </a:lnTo>
                  <a:lnTo>
                    <a:pt x="54" y="150"/>
                  </a:lnTo>
                  <a:lnTo>
                    <a:pt x="66" y="154"/>
                  </a:lnTo>
                  <a:lnTo>
                    <a:pt x="80" y="158"/>
                  </a:lnTo>
                  <a:lnTo>
                    <a:pt x="80" y="158"/>
                  </a:lnTo>
                  <a:lnTo>
                    <a:pt x="82" y="158"/>
                  </a:lnTo>
                  <a:lnTo>
                    <a:pt x="86" y="160"/>
                  </a:lnTo>
                  <a:lnTo>
                    <a:pt x="86" y="164"/>
                  </a:lnTo>
                  <a:lnTo>
                    <a:pt x="88" y="168"/>
                  </a:lnTo>
                  <a:lnTo>
                    <a:pt x="88" y="168"/>
                  </a:lnTo>
                  <a:lnTo>
                    <a:pt x="86" y="170"/>
                  </a:lnTo>
                  <a:lnTo>
                    <a:pt x="84" y="174"/>
                  </a:lnTo>
                  <a:lnTo>
                    <a:pt x="82" y="174"/>
                  </a:lnTo>
                  <a:lnTo>
                    <a:pt x="78" y="176"/>
                  </a:lnTo>
                  <a:lnTo>
                    <a:pt x="78" y="176"/>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5" name="Freeform 7">
              <a:extLst>
                <a:ext uri="{FF2B5EF4-FFF2-40B4-BE49-F238E27FC236}">
                  <a16:creationId xmlns:a16="http://schemas.microsoft.com/office/drawing/2014/main" id="{A06C6F29-CAD3-03DA-1871-1F37B4B9BE5C}"/>
                </a:ext>
              </a:extLst>
            </p:cNvPr>
            <p:cNvSpPr>
              <a:spLocks/>
            </p:cNvSpPr>
            <p:nvPr/>
          </p:nvSpPr>
          <p:spPr bwMode="auto">
            <a:xfrm>
              <a:off x="1068388" y="3063875"/>
              <a:ext cx="190500" cy="196850"/>
            </a:xfrm>
            <a:custGeom>
              <a:avLst/>
              <a:gdLst>
                <a:gd name="T0" fmla="*/ 28 w 120"/>
                <a:gd name="T1" fmla="*/ 124 h 124"/>
                <a:gd name="T2" fmla="*/ 28 w 120"/>
                <a:gd name="T3" fmla="*/ 124 h 124"/>
                <a:gd name="T4" fmla="*/ 26 w 120"/>
                <a:gd name="T5" fmla="*/ 124 h 124"/>
                <a:gd name="T6" fmla="*/ 22 w 120"/>
                <a:gd name="T7" fmla="*/ 122 h 124"/>
                <a:gd name="T8" fmla="*/ 22 w 120"/>
                <a:gd name="T9" fmla="*/ 122 h 124"/>
                <a:gd name="T10" fmla="*/ 12 w 120"/>
                <a:gd name="T11" fmla="*/ 112 h 124"/>
                <a:gd name="T12" fmla="*/ 6 w 120"/>
                <a:gd name="T13" fmla="*/ 100 h 124"/>
                <a:gd name="T14" fmla="*/ 2 w 120"/>
                <a:gd name="T15" fmla="*/ 88 h 124"/>
                <a:gd name="T16" fmla="*/ 0 w 120"/>
                <a:gd name="T17" fmla="*/ 74 h 124"/>
                <a:gd name="T18" fmla="*/ 0 w 120"/>
                <a:gd name="T19" fmla="*/ 74 h 124"/>
                <a:gd name="T20" fmla="*/ 0 w 120"/>
                <a:gd name="T21" fmla="*/ 60 h 124"/>
                <a:gd name="T22" fmla="*/ 4 w 120"/>
                <a:gd name="T23" fmla="*/ 46 h 124"/>
                <a:gd name="T24" fmla="*/ 8 w 120"/>
                <a:gd name="T25" fmla="*/ 34 h 124"/>
                <a:gd name="T26" fmla="*/ 18 w 120"/>
                <a:gd name="T27" fmla="*/ 24 h 124"/>
                <a:gd name="T28" fmla="*/ 18 w 120"/>
                <a:gd name="T29" fmla="*/ 24 h 124"/>
                <a:gd name="T30" fmla="*/ 28 w 120"/>
                <a:gd name="T31" fmla="*/ 14 h 124"/>
                <a:gd name="T32" fmla="*/ 40 w 120"/>
                <a:gd name="T33" fmla="*/ 8 h 124"/>
                <a:gd name="T34" fmla="*/ 52 w 120"/>
                <a:gd name="T35" fmla="*/ 2 h 124"/>
                <a:gd name="T36" fmla="*/ 66 w 120"/>
                <a:gd name="T37" fmla="*/ 0 h 124"/>
                <a:gd name="T38" fmla="*/ 66 w 120"/>
                <a:gd name="T39" fmla="*/ 0 h 124"/>
                <a:gd name="T40" fmla="*/ 80 w 120"/>
                <a:gd name="T41" fmla="*/ 2 h 124"/>
                <a:gd name="T42" fmla="*/ 92 w 120"/>
                <a:gd name="T43" fmla="*/ 4 h 124"/>
                <a:gd name="T44" fmla="*/ 106 w 120"/>
                <a:gd name="T45" fmla="*/ 10 h 124"/>
                <a:gd name="T46" fmla="*/ 116 w 120"/>
                <a:gd name="T47" fmla="*/ 18 h 124"/>
                <a:gd name="T48" fmla="*/ 116 w 120"/>
                <a:gd name="T49" fmla="*/ 18 h 124"/>
                <a:gd name="T50" fmla="*/ 118 w 120"/>
                <a:gd name="T51" fmla="*/ 22 h 124"/>
                <a:gd name="T52" fmla="*/ 120 w 120"/>
                <a:gd name="T53" fmla="*/ 24 h 124"/>
                <a:gd name="T54" fmla="*/ 118 w 120"/>
                <a:gd name="T55" fmla="*/ 28 h 124"/>
                <a:gd name="T56" fmla="*/ 116 w 120"/>
                <a:gd name="T57" fmla="*/ 32 h 124"/>
                <a:gd name="T58" fmla="*/ 116 w 120"/>
                <a:gd name="T59" fmla="*/ 32 h 124"/>
                <a:gd name="T60" fmla="*/ 114 w 120"/>
                <a:gd name="T61" fmla="*/ 34 h 124"/>
                <a:gd name="T62" fmla="*/ 110 w 120"/>
                <a:gd name="T63" fmla="*/ 34 h 124"/>
                <a:gd name="T64" fmla="*/ 108 w 120"/>
                <a:gd name="T65" fmla="*/ 34 h 124"/>
                <a:gd name="T66" fmla="*/ 104 w 120"/>
                <a:gd name="T67" fmla="*/ 32 h 124"/>
                <a:gd name="T68" fmla="*/ 104 w 120"/>
                <a:gd name="T69" fmla="*/ 32 h 124"/>
                <a:gd name="T70" fmla="*/ 96 w 120"/>
                <a:gd name="T71" fmla="*/ 26 h 124"/>
                <a:gd name="T72" fmla="*/ 86 w 120"/>
                <a:gd name="T73" fmla="*/ 22 h 124"/>
                <a:gd name="T74" fmla="*/ 76 w 120"/>
                <a:gd name="T75" fmla="*/ 18 h 124"/>
                <a:gd name="T76" fmla="*/ 66 w 120"/>
                <a:gd name="T77" fmla="*/ 18 h 124"/>
                <a:gd name="T78" fmla="*/ 66 w 120"/>
                <a:gd name="T79" fmla="*/ 18 h 124"/>
                <a:gd name="T80" fmla="*/ 56 w 120"/>
                <a:gd name="T81" fmla="*/ 20 h 124"/>
                <a:gd name="T82" fmla="*/ 46 w 120"/>
                <a:gd name="T83" fmla="*/ 24 h 124"/>
                <a:gd name="T84" fmla="*/ 38 w 120"/>
                <a:gd name="T85" fmla="*/ 28 h 124"/>
                <a:gd name="T86" fmla="*/ 30 w 120"/>
                <a:gd name="T87" fmla="*/ 36 h 124"/>
                <a:gd name="T88" fmla="*/ 30 w 120"/>
                <a:gd name="T89" fmla="*/ 36 h 124"/>
                <a:gd name="T90" fmla="*/ 24 w 120"/>
                <a:gd name="T91" fmla="*/ 44 h 124"/>
                <a:gd name="T92" fmla="*/ 20 w 120"/>
                <a:gd name="T93" fmla="*/ 52 h 124"/>
                <a:gd name="T94" fmla="*/ 18 w 120"/>
                <a:gd name="T95" fmla="*/ 62 h 124"/>
                <a:gd name="T96" fmla="*/ 18 w 120"/>
                <a:gd name="T97" fmla="*/ 74 h 124"/>
                <a:gd name="T98" fmla="*/ 18 w 120"/>
                <a:gd name="T99" fmla="*/ 74 h 124"/>
                <a:gd name="T100" fmla="*/ 18 w 120"/>
                <a:gd name="T101" fmla="*/ 84 h 124"/>
                <a:gd name="T102" fmla="*/ 22 w 120"/>
                <a:gd name="T103" fmla="*/ 92 h 124"/>
                <a:gd name="T104" fmla="*/ 28 w 120"/>
                <a:gd name="T105" fmla="*/ 102 h 124"/>
                <a:gd name="T106" fmla="*/ 34 w 120"/>
                <a:gd name="T107" fmla="*/ 110 h 124"/>
                <a:gd name="T108" fmla="*/ 34 w 120"/>
                <a:gd name="T109" fmla="*/ 110 h 124"/>
                <a:gd name="T110" fmla="*/ 36 w 120"/>
                <a:gd name="T111" fmla="*/ 112 h 124"/>
                <a:gd name="T112" fmla="*/ 38 w 120"/>
                <a:gd name="T113" fmla="*/ 116 h 124"/>
                <a:gd name="T114" fmla="*/ 36 w 120"/>
                <a:gd name="T115" fmla="*/ 118 h 124"/>
                <a:gd name="T116" fmla="*/ 34 w 120"/>
                <a:gd name="T117" fmla="*/ 122 h 124"/>
                <a:gd name="T118" fmla="*/ 34 w 120"/>
                <a:gd name="T119" fmla="*/ 122 h 124"/>
                <a:gd name="T120" fmla="*/ 32 w 120"/>
                <a:gd name="T121" fmla="*/ 124 h 124"/>
                <a:gd name="T122" fmla="*/ 28 w 120"/>
                <a:gd name="T123" fmla="*/ 124 h 124"/>
                <a:gd name="T124" fmla="*/ 28 w 120"/>
                <a:gd name="T12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 h="124">
                  <a:moveTo>
                    <a:pt x="28" y="124"/>
                  </a:moveTo>
                  <a:lnTo>
                    <a:pt x="28" y="124"/>
                  </a:lnTo>
                  <a:lnTo>
                    <a:pt x="26" y="124"/>
                  </a:lnTo>
                  <a:lnTo>
                    <a:pt x="22" y="122"/>
                  </a:lnTo>
                  <a:lnTo>
                    <a:pt x="22" y="122"/>
                  </a:lnTo>
                  <a:lnTo>
                    <a:pt x="12" y="112"/>
                  </a:lnTo>
                  <a:lnTo>
                    <a:pt x="6" y="100"/>
                  </a:lnTo>
                  <a:lnTo>
                    <a:pt x="2" y="88"/>
                  </a:lnTo>
                  <a:lnTo>
                    <a:pt x="0" y="74"/>
                  </a:lnTo>
                  <a:lnTo>
                    <a:pt x="0" y="74"/>
                  </a:lnTo>
                  <a:lnTo>
                    <a:pt x="0" y="60"/>
                  </a:lnTo>
                  <a:lnTo>
                    <a:pt x="4" y="46"/>
                  </a:lnTo>
                  <a:lnTo>
                    <a:pt x="8" y="34"/>
                  </a:lnTo>
                  <a:lnTo>
                    <a:pt x="18" y="24"/>
                  </a:lnTo>
                  <a:lnTo>
                    <a:pt x="18" y="24"/>
                  </a:lnTo>
                  <a:lnTo>
                    <a:pt x="28" y="14"/>
                  </a:lnTo>
                  <a:lnTo>
                    <a:pt x="40" y="8"/>
                  </a:lnTo>
                  <a:lnTo>
                    <a:pt x="52" y="2"/>
                  </a:lnTo>
                  <a:lnTo>
                    <a:pt x="66" y="0"/>
                  </a:lnTo>
                  <a:lnTo>
                    <a:pt x="66" y="0"/>
                  </a:lnTo>
                  <a:lnTo>
                    <a:pt x="80" y="2"/>
                  </a:lnTo>
                  <a:lnTo>
                    <a:pt x="92" y="4"/>
                  </a:lnTo>
                  <a:lnTo>
                    <a:pt x="106" y="10"/>
                  </a:lnTo>
                  <a:lnTo>
                    <a:pt x="116" y="18"/>
                  </a:lnTo>
                  <a:lnTo>
                    <a:pt x="116" y="18"/>
                  </a:lnTo>
                  <a:lnTo>
                    <a:pt x="118" y="22"/>
                  </a:lnTo>
                  <a:lnTo>
                    <a:pt x="120" y="24"/>
                  </a:lnTo>
                  <a:lnTo>
                    <a:pt x="118" y="28"/>
                  </a:lnTo>
                  <a:lnTo>
                    <a:pt x="116" y="32"/>
                  </a:lnTo>
                  <a:lnTo>
                    <a:pt x="116" y="32"/>
                  </a:lnTo>
                  <a:lnTo>
                    <a:pt x="114" y="34"/>
                  </a:lnTo>
                  <a:lnTo>
                    <a:pt x="110" y="34"/>
                  </a:lnTo>
                  <a:lnTo>
                    <a:pt x="108" y="34"/>
                  </a:lnTo>
                  <a:lnTo>
                    <a:pt x="104" y="32"/>
                  </a:lnTo>
                  <a:lnTo>
                    <a:pt x="104" y="32"/>
                  </a:lnTo>
                  <a:lnTo>
                    <a:pt x="96" y="26"/>
                  </a:lnTo>
                  <a:lnTo>
                    <a:pt x="86" y="22"/>
                  </a:lnTo>
                  <a:lnTo>
                    <a:pt x="76" y="18"/>
                  </a:lnTo>
                  <a:lnTo>
                    <a:pt x="66" y="18"/>
                  </a:lnTo>
                  <a:lnTo>
                    <a:pt x="66" y="18"/>
                  </a:lnTo>
                  <a:lnTo>
                    <a:pt x="56" y="20"/>
                  </a:lnTo>
                  <a:lnTo>
                    <a:pt x="46" y="24"/>
                  </a:lnTo>
                  <a:lnTo>
                    <a:pt x="38" y="28"/>
                  </a:lnTo>
                  <a:lnTo>
                    <a:pt x="30" y="36"/>
                  </a:lnTo>
                  <a:lnTo>
                    <a:pt x="30" y="36"/>
                  </a:lnTo>
                  <a:lnTo>
                    <a:pt x="24" y="44"/>
                  </a:lnTo>
                  <a:lnTo>
                    <a:pt x="20" y="52"/>
                  </a:lnTo>
                  <a:lnTo>
                    <a:pt x="18" y="62"/>
                  </a:lnTo>
                  <a:lnTo>
                    <a:pt x="18" y="74"/>
                  </a:lnTo>
                  <a:lnTo>
                    <a:pt x="18" y="74"/>
                  </a:lnTo>
                  <a:lnTo>
                    <a:pt x="18" y="84"/>
                  </a:lnTo>
                  <a:lnTo>
                    <a:pt x="22" y="92"/>
                  </a:lnTo>
                  <a:lnTo>
                    <a:pt x="28" y="102"/>
                  </a:lnTo>
                  <a:lnTo>
                    <a:pt x="34" y="110"/>
                  </a:lnTo>
                  <a:lnTo>
                    <a:pt x="34" y="110"/>
                  </a:lnTo>
                  <a:lnTo>
                    <a:pt x="36" y="112"/>
                  </a:lnTo>
                  <a:lnTo>
                    <a:pt x="38" y="116"/>
                  </a:lnTo>
                  <a:lnTo>
                    <a:pt x="36" y="118"/>
                  </a:lnTo>
                  <a:lnTo>
                    <a:pt x="34" y="122"/>
                  </a:lnTo>
                  <a:lnTo>
                    <a:pt x="34" y="122"/>
                  </a:lnTo>
                  <a:lnTo>
                    <a:pt x="32" y="124"/>
                  </a:lnTo>
                  <a:lnTo>
                    <a:pt x="28" y="124"/>
                  </a:lnTo>
                  <a:lnTo>
                    <a:pt x="28" y="12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6" name="Freeform 8">
              <a:extLst>
                <a:ext uri="{FF2B5EF4-FFF2-40B4-BE49-F238E27FC236}">
                  <a16:creationId xmlns:a16="http://schemas.microsoft.com/office/drawing/2014/main" id="{2CAAD5F6-D77A-DF4E-792F-83ED1BB95B15}"/>
                </a:ext>
              </a:extLst>
            </p:cNvPr>
            <p:cNvSpPr>
              <a:spLocks/>
            </p:cNvSpPr>
            <p:nvPr/>
          </p:nvSpPr>
          <p:spPr bwMode="auto">
            <a:xfrm>
              <a:off x="1008063" y="3508375"/>
              <a:ext cx="168275" cy="276225"/>
            </a:xfrm>
            <a:custGeom>
              <a:avLst/>
              <a:gdLst>
                <a:gd name="T0" fmla="*/ 80 w 106"/>
                <a:gd name="T1" fmla="*/ 174 h 174"/>
                <a:gd name="T2" fmla="*/ 78 w 106"/>
                <a:gd name="T3" fmla="*/ 174 h 174"/>
                <a:gd name="T4" fmla="*/ 46 w 106"/>
                <a:gd name="T5" fmla="*/ 164 h 174"/>
                <a:gd name="T6" fmla="*/ 20 w 106"/>
                <a:gd name="T7" fmla="*/ 142 h 174"/>
                <a:gd name="T8" fmla="*/ 10 w 106"/>
                <a:gd name="T9" fmla="*/ 128 h 174"/>
                <a:gd name="T10" fmla="*/ 0 w 106"/>
                <a:gd name="T11" fmla="*/ 94 h 174"/>
                <a:gd name="T12" fmla="*/ 0 w 106"/>
                <a:gd name="T13" fmla="*/ 78 h 174"/>
                <a:gd name="T14" fmla="*/ 10 w 106"/>
                <a:gd name="T15" fmla="*/ 44 h 174"/>
                <a:gd name="T16" fmla="*/ 32 w 106"/>
                <a:gd name="T17" fmla="*/ 18 h 174"/>
                <a:gd name="T18" fmla="*/ 48 w 106"/>
                <a:gd name="T19" fmla="*/ 10 h 174"/>
                <a:gd name="T20" fmla="*/ 80 w 106"/>
                <a:gd name="T21" fmla="*/ 0 h 174"/>
                <a:gd name="T22" fmla="*/ 98 w 106"/>
                <a:gd name="T23" fmla="*/ 0 h 174"/>
                <a:gd name="T24" fmla="*/ 104 w 106"/>
                <a:gd name="T25" fmla="*/ 4 h 174"/>
                <a:gd name="T26" fmla="*/ 106 w 106"/>
                <a:gd name="T27" fmla="*/ 10 h 174"/>
                <a:gd name="T28" fmla="*/ 104 w 106"/>
                <a:gd name="T29" fmla="*/ 14 h 174"/>
                <a:gd name="T30" fmla="*/ 98 w 106"/>
                <a:gd name="T31" fmla="*/ 18 h 174"/>
                <a:gd name="T32" fmla="*/ 96 w 106"/>
                <a:gd name="T33" fmla="*/ 18 h 174"/>
                <a:gd name="T34" fmla="*/ 68 w 106"/>
                <a:gd name="T35" fmla="*/ 20 h 174"/>
                <a:gd name="T36" fmla="*/ 44 w 106"/>
                <a:gd name="T37" fmla="*/ 32 h 174"/>
                <a:gd name="T38" fmla="*/ 34 w 106"/>
                <a:gd name="T39" fmla="*/ 42 h 174"/>
                <a:gd name="T40" fmla="*/ 22 w 106"/>
                <a:gd name="T41" fmla="*/ 66 h 174"/>
                <a:gd name="T42" fmla="*/ 18 w 106"/>
                <a:gd name="T43" fmla="*/ 80 h 174"/>
                <a:gd name="T44" fmla="*/ 20 w 106"/>
                <a:gd name="T45" fmla="*/ 106 h 174"/>
                <a:gd name="T46" fmla="*/ 34 w 106"/>
                <a:gd name="T47" fmla="*/ 130 h 174"/>
                <a:gd name="T48" fmla="*/ 42 w 106"/>
                <a:gd name="T49" fmla="*/ 140 h 174"/>
                <a:gd name="T50" fmla="*/ 66 w 106"/>
                <a:gd name="T51" fmla="*/ 154 h 174"/>
                <a:gd name="T52" fmla="*/ 80 w 106"/>
                <a:gd name="T53" fmla="*/ 156 h 174"/>
                <a:gd name="T54" fmla="*/ 86 w 106"/>
                <a:gd name="T55" fmla="*/ 160 h 174"/>
                <a:gd name="T56" fmla="*/ 88 w 106"/>
                <a:gd name="T57" fmla="*/ 166 h 174"/>
                <a:gd name="T58" fmla="*/ 88 w 106"/>
                <a:gd name="T59" fmla="*/ 170 h 174"/>
                <a:gd name="T60" fmla="*/ 82 w 106"/>
                <a:gd name="T61" fmla="*/ 174 h 174"/>
                <a:gd name="T62" fmla="*/ 80 w 106"/>
                <a:gd name="T6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174">
                  <a:moveTo>
                    <a:pt x="80" y="174"/>
                  </a:moveTo>
                  <a:lnTo>
                    <a:pt x="80" y="174"/>
                  </a:lnTo>
                  <a:lnTo>
                    <a:pt x="78" y="174"/>
                  </a:lnTo>
                  <a:lnTo>
                    <a:pt x="78" y="174"/>
                  </a:lnTo>
                  <a:lnTo>
                    <a:pt x="62" y="170"/>
                  </a:lnTo>
                  <a:lnTo>
                    <a:pt x="46" y="164"/>
                  </a:lnTo>
                  <a:lnTo>
                    <a:pt x="32" y="154"/>
                  </a:lnTo>
                  <a:lnTo>
                    <a:pt x="20" y="142"/>
                  </a:lnTo>
                  <a:lnTo>
                    <a:pt x="20" y="142"/>
                  </a:lnTo>
                  <a:lnTo>
                    <a:pt x="10" y="128"/>
                  </a:lnTo>
                  <a:lnTo>
                    <a:pt x="4" y="112"/>
                  </a:lnTo>
                  <a:lnTo>
                    <a:pt x="0" y="94"/>
                  </a:lnTo>
                  <a:lnTo>
                    <a:pt x="0" y="78"/>
                  </a:lnTo>
                  <a:lnTo>
                    <a:pt x="0" y="78"/>
                  </a:lnTo>
                  <a:lnTo>
                    <a:pt x="4" y="60"/>
                  </a:lnTo>
                  <a:lnTo>
                    <a:pt x="10" y="44"/>
                  </a:lnTo>
                  <a:lnTo>
                    <a:pt x="20" y="30"/>
                  </a:lnTo>
                  <a:lnTo>
                    <a:pt x="32" y="18"/>
                  </a:lnTo>
                  <a:lnTo>
                    <a:pt x="32" y="18"/>
                  </a:lnTo>
                  <a:lnTo>
                    <a:pt x="48" y="10"/>
                  </a:lnTo>
                  <a:lnTo>
                    <a:pt x="64" y="2"/>
                  </a:lnTo>
                  <a:lnTo>
                    <a:pt x="80" y="0"/>
                  </a:lnTo>
                  <a:lnTo>
                    <a:pt x="98" y="0"/>
                  </a:lnTo>
                  <a:lnTo>
                    <a:pt x="98" y="0"/>
                  </a:lnTo>
                  <a:lnTo>
                    <a:pt x="100" y="0"/>
                  </a:lnTo>
                  <a:lnTo>
                    <a:pt x="104" y="4"/>
                  </a:lnTo>
                  <a:lnTo>
                    <a:pt x="106" y="6"/>
                  </a:lnTo>
                  <a:lnTo>
                    <a:pt x="106" y="10"/>
                  </a:lnTo>
                  <a:lnTo>
                    <a:pt x="106" y="10"/>
                  </a:lnTo>
                  <a:lnTo>
                    <a:pt x="104" y="14"/>
                  </a:lnTo>
                  <a:lnTo>
                    <a:pt x="102" y="16"/>
                  </a:lnTo>
                  <a:lnTo>
                    <a:pt x="98" y="18"/>
                  </a:lnTo>
                  <a:lnTo>
                    <a:pt x="96" y="18"/>
                  </a:lnTo>
                  <a:lnTo>
                    <a:pt x="96" y="18"/>
                  </a:lnTo>
                  <a:lnTo>
                    <a:pt x="82" y="18"/>
                  </a:lnTo>
                  <a:lnTo>
                    <a:pt x="68" y="20"/>
                  </a:lnTo>
                  <a:lnTo>
                    <a:pt x="56" y="26"/>
                  </a:lnTo>
                  <a:lnTo>
                    <a:pt x="44" y="32"/>
                  </a:lnTo>
                  <a:lnTo>
                    <a:pt x="44" y="32"/>
                  </a:lnTo>
                  <a:lnTo>
                    <a:pt x="34" y="42"/>
                  </a:lnTo>
                  <a:lnTo>
                    <a:pt x="26" y="54"/>
                  </a:lnTo>
                  <a:lnTo>
                    <a:pt x="22" y="66"/>
                  </a:lnTo>
                  <a:lnTo>
                    <a:pt x="18" y="80"/>
                  </a:lnTo>
                  <a:lnTo>
                    <a:pt x="18" y="80"/>
                  </a:lnTo>
                  <a:lnTo>
                    <a:pt x="18" y="94"/>
                  </a:lnTo>
                  <a:lnTo>
                    <a:pt x="20" y="106"/>
                  </a:lnTo>
                  <a:lnTo>
                    <a:pt x="26" y="120"/>
                  </a:lnTo>
                  <a:lnTo>
                    <a:pt x="34" y="130"/>
                  </a:lnTo>
                  <a:lnTo>
                    <a:pt x="34" y="130"/>
                  </a:lnTo>
                  <a:lnTo>
                    <a:pt x="42" y="140"/>
                  </a:lnTo>
                  <a:lnTo>
                    <a:pt x="54" y="148"/>
                  </a:lnTo>
                  <a:lnTo>
                    <a:pt x="66" y="154"/>
                  </a:lnTo>
                  <a:lnTo>
                    <a:pt x="80" y="156"/>
                  </a:lnTo>
                  <a:lnTo>
                    <a:pt x="80" y="156"/>
                  </a:lnTo>
                  <a:lnTo>
                    <a:pt x="84" y="158"/>
                  </a:lnTo>
                  <a:lnTo>
                    <a:pt x="86" y="160"/>
                  </a:lnTo>
                  <a:lnTo>
                    <a:pt x="88" y="162"/>
                  </a:lnTo>
                  <a:lnTo>
                    <a:pt x="88" y="166"/>
                  </a:lnTo>
                  <a:lnTo>
                    <a:pt x="88" y="166"/>
                  </a:lnTo>
                  <a:lnTo>
                    <a:pt x="88" y="170"/>
                  </a:lnTo>
                  <a:lnTo>
                    <a:pt x="86" y="172"/>
                  </a:lnTo>
                  <a:lnTo>
                    <a:pt x="82" y="174"/>
                  </a:lnTo>
                  <a:lnTo>
                    <a:pt x="80" y="174"/>
                  </a:lnTo>
                  <a:lnTo>
                    <a:pt x="80" y="17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7" name="Freeform 9">
              <a:extLst>
                <a:ext uri="{FF2B5EF4-FFF2-40B4-BE49-F238E27FC236}">
                  <a16:creationId xmlns:a16="http://schemas.microsoft.com/office/drawing/2014/main" id="{C3D0C310-92A5-D836-76B0-571912E5BE00}"/>
                </a:ext>
              </a:extLst>
            </p:cNvPr>
            <p:cNvSpPr>
              <a:spLocks/>
            </p:cNvSpPr>
            <p:nvPr/>
          </p:nvSpPr>
          <p:spPr bwMode="auto">
            <a:xfrm>
              <a:off x="1163638" y="3105150"/>
              <a:ext cx="177800" cy="149225"/>
            </a:xfrm>
            <a:custGeom>
              <a:avLst/>
              <a:gdLst>
                <a:gd name="T0" fmla="*/ 52 w 112"/>
                <a:gd name="T1" fmla="*/ 94 h 94"/>
                <a:gd name="T2" fmla="*/ 52 w 112"/>
                <a:gd name="T3" fmla="*/ 94 h 94"/>
                <a:gd name="T4" fmla="*/ 38 w 112"/>
                <a:gd name="T5" fmla="*/ 92 h 94"/>
                <a:gd name="T6" fmla="*/ 22 w 112"/>
                <a:gd name="T7" fmla="*/ 86 h 94"/>
                <a:gd name="T8" fmla="*/ 10 w 112"/>
                <a:gd name="T9" fmla="*/ 76 h 94"/>
                <a:gd name="T10" fmla="*/ 0 w 112"/>
                <a:gd name="T11" fmla="*/ 62 h 94"/>
                <a:gd name="T12" fmla="*/ 0 w 112"/>
                <a:gd name="T13" fmla="*/ 62 h 94"/>
                <a:gd name="T14" fmla="*/ 0 w 112"/>
                <a:gd name="T15" fmla="*/ 58 h 94"/>
                <a:gd name="T16" fmla="*/ 0 w 112"/>
                <a:gd name="T17" fmla="*/ 56 h 94"/>
                <a:gd name="T18" fmla="*/ 2 w 112"/>
                <a:gd name="T19" fmla="*/ 52 h 94"/>
                <a:gd name="T20" fmla="*/ 4 w 112"/>
                <a:gd name="T21" fmla="*/ 50 h 94"/>
                <a:gd name="T22" fmla="*/ 4 w 112"/>
                <a:gd name="T23" fmla="*/ 50 h 94"/>
                <a:gd name="T24" fmla="*/ 8 w 112"/>
                <a:gd name="T25" fmla="*/ 48 h 94"/>
                <a:gd name="T26" fmla="*/ 10 w 112"/>
                <a:gd name="T27" fmla="*/ 50 h 94"/>
                <a:gd name="T28" fmla="*/ 14 w 112"/>
                <a:gd name="T29" fmla="*/ 50 h 94"/>
                <a:gd name="T30" fmla="*/ 16 w 112"/>
                <a:gd name="T31" fmla="*/ 54 h 94"/>
                <a:gd name="T32" fmla="*/ 16 w 112"/>
                <a:gd name="T33" fmla="*/ 54 h 94"/>
                <a:gd name="T34" fmla="*/ 20 w 112"/>
                <a:gd name="T35" fmla="*/ 60 h 94"/>
                <a:gd name="T36" fmla="*/ 26 w 112"/>
                <a:gd name="T37" fmla="*/ 66 h 94"/>
                <a:gd name="T38" fmla="*/ 34 w 112"/>
                <a:gd name="T39" fmla="*/ 70 h 94"/>
                <a:gd name="T40" fmla="*/ 40 w 112"/>
                <a:gd name="T41" fmla="*/ 74 h 94"/>
                <a:gd name="T42" fmla="*/ 48 w 112"/>
                <a:gd name="T43" fmla="*/ 74 h 94"/>
                <a:gd name="T44" fmla="*/ 56 w 112"/>
                <a:gd name="T45" fmla="*/ 74 h 94"/>
                <a:gd name="T46" fmla="*/ 64 w 112"/>
                <a:gd name="T47" fmla="*/ 74 h 94"/>
                <a:gd name="T48" fmla="*/ 72 w 112"/>
                <a:gd name="T49" fmla="*/ 70 h 94"/>
                <a:gd name="T50" fmla="*/ 72 w 112"/>
                <a:gd name="T51" fmla="*/ 70 h 94"/>
                <a:gd name="T52" fmla="*/ 80 w 112"/>
                <a:gd name="T53" fmla="*/ 66 h 94"/>
                <a:gd name="T54" fmla="*/ 86 w 112"/>
                <a:gd name="T55" fmla="*/ 60 h 94"/>
                <a:gd name="T56" fmla="*/ 90 w 112"/>
                <a:gd name="T57" fmla="*/ 52 h 94"/>
                <a:gd name="T58" fmla="*/ 92 w 112"/>
                <a:gd name="T59" fmla="*/ 46 h 94"/>
                <a:gd name="T60" fmla="*/ 92 w 112"/>
                <a:gd name="T61" fmla="*/ 46 h 94"/>
                <a:gd name="T62" fmla="*/ 94 w 112"/>
                <a:gd name="T63" fmla="*/ 38 h 94"/>
                <a:gd name="T64" fmla="*/ 94 w 112"/>
                <a:gd name="T65" fmla="*/ 28 h 94"/>
                <a:gd name="T66" fmla="*/ 92 w 112"/>
                <a:gd name="T67" fmla="*/ 22 h 94"/>
                <a:gd name="T68" fmla="*/ 90 w 112"/>
                <a:gd name="T69" fmla="*/ 14 h 94"/>
                <a:gd name="T70" fmla="*/ 90 w 112"/>
                <a:gd name="T71" fmla="*/ 14 h 94"/>
                <a:gd name="T72" fmla="*/ 88 w 112"/>
                <a:gd name="T73" fmla="*/ 10 h 94"/>
                <a:gd name="T74" fmla="*/ 88 w 112"/>
                <a:gd name="T75" fmla="*/ 6 h 94"/>
                <a:gd name="T76" fmla="*/ 90 w 112"/>
                <a:gd name="T77" fmla="*/ 4 h 94"/>
                <a:gd name="T78" fmla="*/ 92 w 112"/>
                <a:gd name="T79" fmla="*/ 2 h 94"/>
                <a:gd name="T80" fmla="*/ 92 w 112"/>
                <a:gd name="T81" fmla="*/ 2 h 94"/>
                <a:gd name="T82" fmla="*/ 96 w 112"/>
                <a:gd name="T83" fmla="*/ 0 h 94"/>
                <a:gd name="T84" fmla="*/ 100 w 112"/>
                <a:gd name="T85" fmla="*/ 0 h 94"/>
                <a:gd name="T86" fmla="*/ 102 w 112"/>
                <a:gd name="T87" fmla="*/ 2 h 94"/>
                <a:gd name="T88" fmla="*/ 106 w 112"/>
                <a:gd name="T89" fmla="*/ 4 h 94"/>
                <a:gd name="T90" fmla="*/ 106 w 112"/>
                <a:gd name="T91" fmla="*/ 4 h 94"/>
                <a:gd name="T92" fmla="*/ 110 w 112"/>
                <a:gd name="T93" fmla="*/ 16 h 94"/>
                <a:gd name="T94" fmla="*/ 112 w 112"/>
                <a:gd name="T95" fmla="*/ 28 h 94"/>
                <a:gd name="T96" fmla="*/ 112 w 112"/>
                <a:gd name="T97" fmla="*/ 38 h 94"/>
                <a:gd name="T98" fmla="*/ 110 w 112"/>
                <a:gd name="T99" fmla="*/ 50 h 94"/>
                <a:gd name="T100" fmla="*/ 110 w 112"/>
                <a:gd name="T101" fmla="*/ 50 h 94"/>
                <a:gd name="T102" fmla="*/ 106 w 112"/>
                <a:gd name="T103" fmla="*/ 62 h 94"/>
                <a:gd name="T104" fmla="*/ 100 w 112"/>
                <a:gd name="T105" fmla="*/ 70 h 94"/>
                <a:gd name="T106" fmla="*/ 92 w 112"/>
                <a:gd name="T107" fmla="*/ 80 h 94"/>
                <a:gd name="T108" fmla="*/ 82 w 112"/>
                <a:gd name="T109" fmla="*/ 86 h 94"/>
                <a:gd name="T110" fmla="*/ 82 w 112"/>
                <a:gd name="T111" fmla="*/ 86 h 94"/>
                <a:gd name="T112" fmla="*/ 68 w 112"/>
                <a:gd name="T113" fmla="*/ 92 h 94"/>
                <a:gd name="T114" fmla="*/ 52 w 112"/>
                <a:gd name="T115" fmla="*/ 94 h 94"/>
                <a:gd name="T116" fmla="*/ 52 w 112"/>
                <a:gd name="T1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94">
                  <a:moveTo>
                    <a:pt x="52" y="94"/>
                  </a:moveTo>
                  <a:lnTo>
                    <a:pt x="52" y="94"/>
                  </a:lnTo>
                  <a:lnTo>
                    <a:pt x="38" y="92"/>
                  </a:lnTo>
                  <a:lnTo>
                    <a:pt x="22" y="86"/>
                  </a:lnTo>
                  <a:lnTo>
                    <a:pt x="10" y="76"/>
                  </a:lnTo>
                  <a:lnTo>
                    <a:pt x="0" y="62"/>
                  </a:lnTo>
                  <a:lnTo>
                    <a:pt x="0" y="62"/>
                  </a:lnTo>
                  <a:lnTo>
                    <a:pt x="0" y="58"/>
                  </a:lnTo>
                  <a:lnTo>
                    <a:pt x="0" y="56"/>
                  </a:lnTo>
                  <a:lnTo>
                    <a:pt x="2" y="52"/>
                  </a:lnTo>
                  <a:lnTo>
                    <a:pt x="4" y="50"/>
                  </a:lnTo>
                  <a:lnTo>
                    <a:pt x="4" y="50"/>
                  </a:lnTo>
                  <a:lnTo>
                    <a:pt x="8" y="48"/>
                  </a:lnTo>
                  <a:lnTo>
                    <a:pt x="10" y="50"/>
                  </a:lnTo>
                  <a:lnTo>
                    <a:pt x="14" y="50"/>
                  </a:lnTo>
                  <a:lnTo>
                    <a:pt x="16" y="54"/>
                  </a:lnTo>
                  <a:lnTo>
                    <a:pt x="16" y="54"/>
                  </a:lnTo>
                  <a:lnTo>
                    <a:pt x="20" y="60"/>
                  </a:lnTo>
                  <a:lnTo>
                    <a:pt x="26" y="66"/>
                  </a:lnTo>
                  <a:lnTo>
                    <a:pt x="34" y="70"/>
                  </a:lnTo>
                  <a:lnTo>
                    <a:pt x="40" y="74"/>
                  </a:lnTo>
                  <a:lnTo>
                    <a:pt x="48" y="74"/>
                  </a:lnTo>
                  <a:lnTo>
                    <a:pt x="56" y="74"/>
                  </a:lnTo>
                  <a:lnTo>
                    <a:pt x="64" y="74"/>
                  </a:lnTo>
                  <a:lnTo>
                    <a:pt x="72" y="70"/>
                  </a:lnTo>
                  <a:lnTo>
                    <a:pt x="72" y="70"/>
                  </a:lnTo>
                  <a:lnTo>
                    <a:pt x="80" y="66"/>
                  </a:lnTo>
                  <a:lnTo>
                    <a:pt x="86" y="60"/>
                  </a:lnTo>
                  <a:lnTo>
                    <a:pt x="90" y="52"/>
                  </a:lnTo>
                  <a:lnTo>
                    <a:pt x="92" y="46"/>
                  </a:lnTo>
                  <a:lnTo>
                    <a:pt x="92" y="46"/>
                  </a:lnTo>
                  <a:lnTo>
                    <a:pt x="94" y="38"/>
                  </a:lnTo>
                  <a:lnTo>
                    <a:pt x="94" y="28"/>
                  </a:lnTo>
                  <a:lnTo>
                    <a:pt x="92" y="22"/>
                  </a:lnTo>
                  <a:lnTo>
                    <a:pt x="90" y="14"/>
                  </a:lnTo>
                  <a:lnTo>
                    <a:pt x="90" y="14"/>
                  </a:lnTo>
                  <a:lnTo>
                    <a:pt x="88" y="10"/>
                  </a:lnTo>
                  <a:lnTo>
                    <a:pt x="88" y="6"/>
                  </a:lnTo>
                  <a:lnTo>
                    <a:pt x="90" y="4"/>
                  </a:lnTo>
                  <a:lnTo>
                    <a:pt x="92" y="2"/>
                  </a:lnTo>
                  <a:lnTo>
                    <a:pt x="92" y="2"/>
                  </a:lnTo>
                  <a:lnTo>
                    <a:pt x="96" y="0"/>
                  </a:lnTo>
                  <a:lnTo>
                    <a:pt x="100" y="0"/>
                  </a:lnTo>
                  <a:lnTo>
                    <a:pt x="102" y="2"/>
                  </a:lnTo>
                  <a:lnTo>
                    <a:pt x="106" y="4"/>
                  </a:lnTo>
                  <a:lnTo>
                    <a:pt x="106" y="4"/>
                  </a:lnTo>
                  <a:lnTo>
                    <a:pt x="110" y="16"/>
                  </a:lnTo>
                  <a:lnTo>
                    <a:pt x="112" y="28"/>
                  </a:lnTo>
                  <a:lnTo>
                    <a:pt x="112" y="38"/>
                  </a:lnTo>
                  <a:lnTo>
                    <a:pt x="110" y="50"/>
                  </a:lnTo>
                  <a:lnTo>
                    <a:pt x="110" y="50"/>
                  </a:lnTo>
                  <a:lnTo>
                    <a:pt x="106" y="62"/>
                  </a:lnTo>
                  <a:lnTo>
                    <a:pt x="100" y="70"/>
                  </a:lnTo>
                  <a:lnTo>
                    <a:pt x="92" y="80"/>
                  </a:lnTo>
                  <a:lnTo>
                    <a:pt x="82" y="86"/>
                  </a:lnTo>
                  <a:lnTo>
                    <a:pt x="82" y="86"/>
                  </a:lnTo>
                  <a:lnTo>
                    <a:pt x="68" y="92"/>
                  </a:lnTo>
                  <a:lnTo>
                    <a:pt x="52" y="94"/>
                  </a:lnTo>
                  <a:lnTo>
                    <a:pt x="52" y="9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8" name="Freeform 10">
              <a:extLst>
                <a:ext uri="{FF2B5EF4-FFF2-40B4-BE49-F238E27FC236}">
                  <a16:creationId xmlns:a16="http://schemas.microsoft.com/office/drawing/2014/main" id="{2D659203-9061-F670-BB2A-818059DD7F0B}"/>
                </a:ext>
              </a:extLst>
            </p:cNvPr>
            <p:cNvSpPr>
              <a:spLocks/>
            </p:cNvSpPr>
            <p:nvPr/>
          </p:nvSpPr>
          <p:spPr bwMode="auto">
            <a:xfrm>
              <a:off x="1223963" y="3492500"/>
              <a:ext cx="127000" cy="92075"/>
            </a:xfrm>
            <a:custGeom>
              <a:avLst/>
              <a:gdLst>
                <a:gd name="T0" fmla="*/ 40 w 80"/>
                <a:gd name="T1" fmla="*/ 58 h 58"/>
                <a:gd name="T2" fmla="*/ 40 w 80"/>
                <a:gd name="T3" fmla="*/ 58 h 58"/>
                <a:gd name="T4" fmla="*/ 30 w 80"/>
                <a:gd name="T5" fmla="*/ 58 h 58"/>
                <a:gd name="T6" fmla="*/ 22 w 80"/>
                <a:gd name="T7" fmla="*/ 54 h 58"/>
                <a:gd name="T8" fmla="*/ 22 w 80"/>
                <a:gd name="T9" fmla="*/ 54 h 58"/>
                <a:gd name="T10" fmla="*/ 14 w 80"/>
                <a:gd name="T11" fmla="*/ 50 h 58"/>
                <a:gd name="T12" fmla="*/ 8 w 80"/>
                <a:gd name="T13" fmla="*/ 44 h 58"/>
                <a:gd name="T14" fmla="*/ 4 w 80"/>
                <a:gd name="T15" fmla="*/ 38 h 58"/>
                <a:gd name="T16" fmla="*/ 2 w 80"/>
                <a:gd name="T17" fmla="*/ 30 h 58"/>
                <a:gd name="T18" fmla="*/ 2 w 80"/>
                <a:gd name="T19" fmla="*/ 30 h 58"/>
                <a:gd name="T20" fmla="*/ 0 w 80"/>
                <a:gd name="T21" fmla="*/ 26 h 58"/>
                <a:gd name="T22" fmla="*/ 2 w 80"/>
                <a:gd name="T23" fmla="*/ 24 h 58"/>
                <a:gd name="T24" fmla="*/ 4 w 80"/>
                <a:gd name="T25" fmla="*/ 20 h 58"/>
                <a:gd name="T26" fmla="*/ 6 w 80"/>
                <a:gd name="T27" fmla="*/ 20 h 58"/>
                <a:gd name="T28" fmla="*/ 6 w 80"/>
                <a:gd name="T29" fmla="*/ 20 h 58"/>
                <a:gd name="T30" fmla="*/ 10 w 80"/>
                <a:gd name="T31" fmla="*/ 18 h 58"/>
                <a:gd name="T32" fmla="*/ 14 w 80"/>
                <a:gd name="T33" fmla="*/ 20 h 58"/>
                <a:gd name="T34" fmla="*/ 16 w 80"/>
                <a:gd name="T35" fmla="*/ 22 h 58"/>
                <a:gd name="T36" fmla="*/ 18 w 80"/>
                <a:gd name="T37" fmla="*/ 26 h 58"/>
                <a:gd name="T38" fmla="*/ 18 w 80"/>
                <a:gd name="T39" fmla="*/ 26 h 58"/>
                <a:gd name="T40" fmla="*/ 22 w 80"/>
                <a:gd name="T41" fmla="*/ 32 h 58"/>
                <a:gd name="T42" fmla="*/ 30 w 80"/>
                <a:gd name="T43" fmla="*/ 38 h 58"/>
                <a:gd name="T44" fmla="*/ 30 w 80"/>
                <a:gd name="T45" fmla="*/ 38 h 58"/>
                <a:gd name="T46" fmla="*/ 38 w 80"/>
                <a:gd name="T47" fmla="*/ 40 h 58"/>
                <a:gd name="T48" fmla="*/ 46 w 80"/>
                <a:gd name="T49" fmla="*/ 40 h 58"/>
                <a:gd name="T50" fmla="*/ 46 w 80"/>
                <a:gd name="T51" fmla="*/ 40 h 58"/>
                <a:gd name="T52" fmla="*/ 54 w 80"/>
                <a:gd name="T53" fmla="*/ 36 h 58"/>
                <a:gd name="T54" fmla="*/ 60 w 80"/>
                <a:gd name="T55" fmla="*/ 28 h 58"/>
                <a:gd name="T56" fmla="*/ 60 w 80"/>
                <a:gd name="T57" fmla="*/ 28 h 58"/>
                <a:gd name="T58" fmla="*/ 62 w 80"/>
                <a:gd name="T59" fmla="*/ 20 h 58"/>
                <a:gd name="T60" fmla="*/ 62 w 80"/>
                <a:gd name="T61" fmla="*/ 12 h 58"/>
                <a:gd name="T62" fmla="*/ 62 w 80"/>
                <a:gd name="T63" fmla="*/ 12 h 58"/>
                <a:gd name="T64" fmla="*/ 60 w 80"/>
                <a:gd name="T65" fmla="*/ 8 h 58"/>
                <a:gd name="T66" fmla="*/ 62 w 80"/>
                <a:gd name="T67" fmla="*/ 4 h 58"/>
                <a:gd name="T68" fmla="*/ 64 w 80"/>
                <a:gd name="T69" fmla="*/ 2 h 58"/>
                <a:gd name="T70" fmla="*/ 68 w 80"/>
                <a:gd name="T71" fmla="*/ 0 h 58"/>
                <a:gd name="T72" fmla="*/ 68 w 80"/>
                <a:gd name="T73" fmla="*/ 0 h 58"/>
                <a:gd name="T74" fmla="*/ 70 w 80"/>
                <a:gd name="T75" fmla="*/ 0 h 58"/>
                <a:gd name="T76" fmla="*/ 74 w 80"/>
                <a:gd name="T77" fmla="*/ 0 h 58"/>
                <a:gd name="T78" fmla="*/ 76 w 80"/>
                <a:gd name="T79" fmla="*/ 2 h 58"/>
                <a:gd name="T80" fmla="*/ 78 w 80"/>
                <a:gd name="T81" fmla="*/ 6 h 58"/>
                <a:gd name="T82" fmla="*/ 78 w 80"/>
                <a:gd name="T83" fmla="*/ 6 h 58"/>
                <a:gd name="T84" fmla="*/ 80 w 80"/>
                <a:gd name="T85" fmla="*/ 14 h 58"/>
                <a:gd name="T86" fmla="*/ 80 w 80"/>
                <a:gd name="T87" fmla="*/ 22 h 58"/>
                <a:gd name="T88" fmla="*/ 78 w 80"/>
                <a:gd name="T89" fmla="*/ 30 h 58"/>
                <a:gd name="T90" fmla="*/ 76 w 80"/>
                <a:gd name="T91" fmla="*/ 36 h 58"/>
                <a:gd name="T92" fmla="*/ 76 w 80"/>
                <a:gd name="T93" fmla="*/ 36 h 58"/>
                <a:gd name="T94" fmla="*/ 72 w 80"/>
                <a:gd name="T95" fmla="*/ 44 h 58"/>
                <a:gd name="T96" fmla="*/ 66 w 80"/>
                <a:gd name="T97" fmla="*/ 50 h 58"/>
                <a:gd name="T98" fmla="*/ 60 w 80"/>
                <a:gd name="T99" fmla="*/ 54 h 58"/>
                <a:gd name="T100" fmla="*/ 52 w 80"/>
                <a:gd name="T101" fmla="*/ 56 h 58"/>
                <a:gd name="T102" fmla="*/ 52 w 80"/>
                <a:gd name="T103" fmla="*/ 56 h 58"/>
                <a:gd name="T104" fmla="*/ 40 w 80"/>
                <a:gd name="T105" fmla="*/ 58 h 58"/>
                <a:gd name="T106" fmla="*/ 40 w 80"/>
                <a:gd name="T10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58">
                  <a:moveTo>
                    <a:pt x="40" y="58"/>
                  </a:moveTo>
                  <a:lnTo>
                    <a:pt x="40" y="58"/>
                  </a:lnTo>
                  <a:lnTo>
                    <a:pt x="30" y="58"/>
                  </a:lnTo>
                  <a:lnTo>
                    <a:pt x="22" y="54"/>
                  </a:lnTo>
                  <a:lnTo>
                    <a:pt x="22" y="54"/>
                  </a:lnTo>
                  <a:lnTo>
                    <a:pt x="14" y="50"/>
                  </a:lnTo>
                  <a:lnTo>
                    <a:pt x="8" y="44"/>
                  </a:lnTo>
                  <a:lnTo>
                    <a:pt x="4" y="38"/>
                  </a:lnTo>
                  <a:lnTo>
                    <a:pt x="2" y="30"/>
                  </a:lnTo>
                  <a:lnTo>
                    <a:pt x="2" y="30"/>
                  </a:lnTo>
                  <a:lnTo>
                    <a:pt x="0" y="26"/>
                  </a:lnTo>
                  <a:lnTo>
                    <a:pt x="2" y="24"/>
                  </a:lnTo>
                  <a:lnTo>
                    <a:pt x="4" y="20"/>
                  </a:lnTo>
                  <a:lnTo>
                    <a:pt x="6" y="20"/>
                  </a:lnTo>
                  <a:lnTo>
                    <a:pt x="6" y="20"/>
                  </a:lnTo>
                  <a:lnTo>
                    <a:pt x="10" y="18"/>
                  </a:lnTo>
                  <a:lnTo>
                    <a:pt x="14" y="20"/>
                  </a:lnTo>
                  <a:lnTo>
                    <a:pt x="16" y="22"/>
                  </a:lnTo>
                  <a:lnTo>
                    <a:pt x="18" y="26"/>
                  </a:lnTo>
                  <a:lnTo>
                    <a:pt x="18" y="26"/>
                  </a:lnTo>
                  <a:lnTo>
                    <a:pt x="22" y="32"/>
                  </a:lnTo>
                  <a:lnTo>
                    <a:pt x="30" y="38"/>
                  </a:lnTo>
                  <a:lnTo>
                    <a:pt x="30" y="38"/>
                  </a:lnTo>
                  <a:lnTo>
                    <a:pt x="38" y="40"/>
                  </a:lnTo>
                  <a:lnTo>
                    <a:pt x="46" y="40"/>
                  </a:lnTo>
                  <a:lnTo>
                    <a:pt x="46" y="40"/>
                  </a:lnTo>
                  <a:lnTo>
                    <a:pt x="54" y="36"/>
                  </a:lnTo>
                  <a:lnTo>
                    <a:pt x="60" y="28"/>
                  </a:lnTo>
                  <a:lnTo>
                    <a:pt x="60" y="28"/>
                  </a:lnTo>
                  <a:lnTo>
                    <a:pt x="62" y="20"/>
                  </a:lnTo>
                  <a:lnTo>
                    <a:pt x="62" y="12"/>
                  </a:lnTo>
                  <a:lnTo>
                    <a:pt x="62" y="12"/>
                  </a:lnTo>
                  <a:lnTo>
                    <a:pt x="60" y="8"/>
                  </a:lnTo>
                  <a:lnTo>
                    <a:pt x="62" y="4"/>
                  </a:lnTo>
                  <a:lnTo>
                    <a:pt x="64" y="2"/>
                  </a:lnTo>
                  <a:lnTo>
                    <a:pt x="68" y="0"/>
                  </a:lnTo>
                  <a:lnTo>
                    <a:pt x="68" y="0"/>
                  </a:lnTo>
                  <a:lnTo>
                    <a:pt x="70" y="0"/>
                  </a:lnTo>
                  <a:lnTo>
                    <a:pt x="74" y="0"/>
                  </a:lnTo>
                  <a:lnTo>
                    <a:pt x="76" y="2"/>
                  </a:lnTo>
                  <a:lnTo>
                    <a:pt x="78" y="6"/>
                  </a:lnTo>
                  <a:lnTo>
                    <a:pt x="78" y="6"/>
                  </a:lnTo>
                  <a:lnTo>
                    <a:pt x="80" y="14"/>
                  </a:lnTo>
                  <a:lnTo>
                    <a:pt x="80" y="22"/>
                  </a:lnTo>
                  <a:lnTo>
                    <a:pt x="78" y="30"/>
                  </a:lnTo>
                  <a:lnTo>
                    <a:pt x="76" y="36"/>
                  </a:lnTo>
                  <a:lnTo>
                    <a:pt x="76" y="36"/>
                  </a:lnTo>
                  <a:lnTo>
                    <a:pt x="72" y="44"/>
                  </a:lnTo>
                  <a:lnTo>
                    <a:pt x="66" y="50"/>
                  </a:lnTo>
                  <a:lnTo>
                    <a:pt x="60" y="54"/>
                  </a:lnTo>
                  <a:lnTo>
                    <a:pt x="52" y="56"/>
                  </a:lnTo>
                  <a:lnTo>
                    <a:pt x="52" y="56"/>
                  </a:lnTo>
                  <a:lnTo>
                    <a:pt x="40" y="58"/>
                  </a:lnTo>
                  <a:lnTo>
                    <a:pt x="40" y="5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39" name="Freeform 11">
              <a:extLst>
                <a:ext uri="{FF2B5EF4-FFF2-40B4-BE49-F238E27FC236}">
                  <a16:creationId xmlns:a16="http://schemas.microsoft.com/office/drawing/2014/main" id="{2129317F-5600-7B3B-725C-A61A14D6592D}"/>
                </a:ext>
              </a:extLst>
            </p:cNvPr>
            <p:cNvSpPr>
              <a:spLocks/>
            </p:cNvSpPr>
            <p:nvPr/>
          </p:nvSpPr>
          <p:spPr bwMode="auto">
            <a:xfrm>
              <a:off x="1163638" y="3340100"/>
              <a:ext cx="111125" cy="117475"/>
            </a:xfrm>
            <a:custGeom>
              <a:avLst/>
              <a:gdLst>
                <a:gd name="T0" fmla="*/ 40 w 70"/>
                <a:gd name="T1" fmla="*/ 74 h 74"/>
                <a:gd name="T2" fmla="*/ 40 w 70"/>
                <a:gd name="T3" fmla="*/ 74 h 74"/>
                <a:gd name="T4" fmla="*/ 38 w 70"/>
                <a:gd name="T5" fmla="*/ 74 h 74"/>
                <a:gd name="T6" fmla="*/ 38 w 70"/>
                <a:gd name="T7" fmla="*/ 74 h 74"/>
                <a:gd name="T8" fmla="*/ 30 w 70"/>
                <a:gd name="T9" fmla="*/ 72 h 74"/>
                <a:gd name="T10" fmla="*/ 22 w 70"/>
                <a:gd name="T11" fmla="*/ 70 h 74"/>
                <a:gd name="T12" fmla="*/ 16 w 70"/>
                <a:gd name="T13" fmla="*/ 66 h 74"/>
                <a:gd name="T14" fmla="*/ 10 w 70"/>
                <a:gd name="T15" fmla="*/ 60 h 74"/>
                <a:gd name="T16" fmla="*/ 10 w 70"/>
                <a:gd name="T17" fmla="*/ 60 h 74"/>
                <a:gd name="T18" fmla="*/ 4 w 70"/>
                <a:gd name="T19" fmla="*/ 54 h 74"/>
                <a:gd name="T20" fmla="*/ 2 w 70"/>
                <a:gd name="T21" fmla="*/ 46 h 74"/>
                <a:gd name="T22" fmla="*/ 0 w 70"/>
                <a:gd name="T23" fmla="*/ 38 h 74"/>
                <a:gd name="T24" fmla="*/ 0 w 70"/>
                <a:gd name="T25" fmla="*/ 32 h 74"/>
                <a:gd name="T26" fmla="*/ 0 w 70"/>
                <a:gd name="T27" fmla="*/ 24 h 74"/>
                <a:gd name="T28" fmla="*/ 4 w 70"/>
                <a:gd name="T29" fmla="*/ 16 h 74"/>
                <a:gd name="T30" fmla="*/ 8 w 70"/>
                <a:gd name="T31" fmla="*/ 10 h 74"/>
                <a:gd name="T32" fmla="*/ 12 w 70"/>
                <a:gd name="T33" fmla="*/ 4 h 74"/>
                <a:gd name="T34" fmla="*/ 12 w 70"/>
                <a:gd name="T35" fmla="*/ 4 h 74"/>
                <a:gd name="T36" fmla="*/ 16 w 70"/>
                <a:gd name="T37" fmla="*/ 2 h 74"/>
                <a:gd name="T38" fmla="*/ 20 w 70"/>
                <a:gd name="T39" fmla="*/ 0 h 74"/>
                <a:gd name="T40" fmla="*/ 22 w 70"/>
                <a:gd name="T41" fmla="*/ 2 h 74"/>
                <a:gd name="T42" fmla="*/ 26 w 70"/>
                <a:gd name="T43" fmla="*/ 4 h 74"/>
                <a:gd name="T44" fmla="*/ 26 w 70"/>
                <a:gd name="T45" fmla="*/ 4 h 74"/>
                <a:gd name="T46" fmla="*/ 28 w 70"/>
                <a:gd name="T47" fmla="*/ 6 h 74"/>
                <a:gd name="T48" fmla="*/ 28 w 70"/>
                <a:gd name="T49" fmla="*/ 10 h 74"/>
                <a:gd name="T50" fmla="*/ 26 w 70"/>
                <a:gd name="T51" fmla="*/ 14 h 74"/>
                <a:gd name="T52" fmla="*/ 24 w 70"/>
                <a:gd name="T53" fmla="*/ 16 h 74"/>
                <a:gd name="T54" fmla="*/ 24 w 70"/>
                <a:gd name="T55" fmla="*/ 16 h 74"/>
                <a:gd name="T56" fmla="*/ 20 w 70"/>
                <a:gd name="T57" fmla="*/ 24 h 74"/>
                <a:gd name="T58" fmla="*/ 18 w 70"/>
                <a:gd name="T59" fmla="*/ 32 h 74"/>
                <a:gd name="T60" fmla="*/ 18 w 70"/>
                <a:gd name="T61" fmla="*/ 40 h 74"/>
                <a:gd name="T62" fmla="*/ 22 w 70"/>
                <a:gd name="T63" fmla="*/ 48 h 74"/>
                <a:gd name="T64" fmla="*/ 22 w 70"/>
                <a:gd name="T65" fmla="*/ 48 h 74"/>
                <a:gd name="T66" fmla="*/ 30 w 70"/>
                <a:gd name="T67" fmla="*/ 54 h 74"/>
                <a:gd name="T68" fmla="*/ 38 w 70"/>
                <a:gd name="T69" fmla="*/ 56 h 74"/>
                <a:gd name="T70" fmla="*/ 38 w 70"/>
                <a:gd name="T71" fmla="*/ 56 h 74"/>
                <a:gd name="T72" fmla="*/ 48 w 70"/>
                <a:gd name="T73" fmla="*/ 54 h 74"/>
                <a:gd name="T74" fmla="*/ 56 w 70"/>
                <a:gd name="T75" fmla="*/ 50 h 74"/>
                <a:gd name="T76" fmla="*/ 56 w 70"/>
                <a:gd name="T77" fmla="*/ 50 h 74"/>
                <a:gd name="T78" fmla="*/ 58 w 70"/>
                <a:gd name="T79" fmla="*/ 48 h 74"/>
                <a:gd name="T80" fmla="*/ 62 w 70"/>
                <a:gd name="T81" fmla="*/ 48 h 74"/>
                <a:gd name="T82" fmla="*/ 64 w 70"/>
                <a:gd name="T83" fmla="*/ 48 h 74"/>
                <a:gd name="T84" fmla="*/ 68 w 70"/>
                <a:gd name="T85" fmla="*/ 52 h 74"/>
                <a:gd name="T86" fmla="*/ 68 w 70"/>
                <a:gd name="T87" fmla="*/ 52 h 74"/>
                <a:gd name="T88" fmla="*/ 70 w 70"/>
                <a:gd name="T89" fmla="*/ 54 h 74"/>
                <a:gd name="T90" fmla="*/ 70 w 70"/>
                <a:gd name="T91" fmla="*/ 58 h 74"/>
                <a:gd name="T92" fmla="*/ 70 w 70"/>
                <a:gd name="T93" fmla="*/ 60 h 74"/>
                <a:gd name="T94" fmla="*/ 66 w 70"/>
                <a:gd name="T95" fmla="*/ 64 h 74"/>
                <a:gd name="T96" fmla="*/ 66 w 70"/>
                <a:gd name="T97" fmla="*/ 64 h 74"/>
                <a:gd name="T98" fmla="*/ 60 w 70"/>
                <a:gd name="T99" fmla="*/ 68 h 74"/>
                <a:gd name="T100" fmla="*/ 54 w 70"/>
                <a:gd name="T101" fmla="*/ 72 h 74"/>
                <a:gd name="T102" fmla="*/ 48 w 70"/>
                <a:gd name="T103" fmla="*/ 74 h 74"/>
                <a:gd name="T104" fmla="*/ 40 w 70"/>
                <a:gd name="T105" fmla="*/ 74 h 74"/>
                <a:gd name="T106" fmla="*/ 40 w 70"/>
                <a:gd name="T10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4">
                  <a:moveTo>
                    <a:pt x="40" y="74"/>
                  </a:moveTo>
                  <a:lnTo>
                    <a:pt x="40" y="74"/>
                  </a:lnTo>
                  <a:lnTo>
                    <a:pt x="38" y="74"/>
                  </a:lnTo>
                  <a:lnTo>
                    <a:pt x="38" y="74"/>
                  </a:lnTo>
                  <a:lnTo>
                    <a:pt x="30" y="72"/>
                  </a:lnTo>
                  <a:lnTo>
                    <a:pt x="22" y="70"/>
                  </a:lnTo>
                  <a:lnTo>
                    <a:pt x="16" y="66"/>
                  </a:lnTo>
                  <a:lnTo>
                    <a:pt x="10" y="60"/>
                  </a:lnTo>
                  <a:lnTo>
                    <a:pt x="10" y="60"/>
                  </a:lnTo>
                  <a:lnTo>
                    <a:pt x="4" y="54"/>
                  </a:lnTo>
                  <a:lnTo>
                    <a:pt x="2" y="46"/>
                  </a:lnTo>
                  <a:lnTo>
                    <a:pt x="0" y="38"/>
                  </a:lnTo>
                  <a:lnTo>
                    <a:pt x="0" y="32"/>
                  </a:lnTo>
                  <a:lnTo>
                    <a:pt x="0" y="24"/>
                  </a:lnTo>
                  <a:lnTo>
                    <a:pt x="4" y="16"/>
                  </a:lnTo>
                  <a:lnTo>
                    <a:pt x="8" y="10"/>
                  </a:lnTo>
                  <a:lnTo>
                    <a:pt x="12" y="4"/>
                  </a:lnTo>
                  <a:lnTo>
                    <a:pt x="12" y="4"/>
                  </a:lnTo>
                  <a:lnTo>
                    <a:pt x="16" y="2"/>
                  </a:lnTo>
                  <a:lnTo>
                    <a:pt x="20" y="0"/>
                  </a:lnTo>
                  <a:lnTo>
                    <a:pt x="22" y="2"/>
                  </a:lnTo>
                  <a:lnTo>
                    <a:pt x="26" y="4"/>
                  </a:lnTo>
                  <a:lnTo>
                    <a:pt x="26" y="4"/>
                  </a:lnTo>
                  <a:lnTo>
                    <a:pt x="28" y="6"/>
                  </a:lnTo>
                  <a:lnTo>
                    <a:pt x="28" y="10"/>
                  </a:lnTo>
                  <a:lnTo>
                    <a:pt x="26" y="14"/>
                  </a:lnTo>
                  <a:lnTo>
                    <a:pt x="24" y="16"/>
                  </a:lnTo>
                  <a:lnTo>
                    <a:pt x="24" y="16"/>
                  </a:lnTo>
                  <a:lnTo>
                    <a:pt x="20" y="24"/>
                  </a:lnTo>
                  <a:lnTo>
                    <a:pt x="18" y="32"/>
                  </a:lnTo>
                  <a:lnTo>
                    <a:pt x="18" y="40"/>
                  </a:lnTo>
                  <a:lnTo>
                    <a:pt x="22" y="48"/>
                  </a:lnTo>
                  <a:lnTo>
                    <a:pt x="22" y="48"/>
                  </a:lnTo>
                  <a:lnTo>
                    <a:pt x="30" y="54"/>
                  </a:lnTo>
                  <a:lnTo>
                    <a:pt x="38" y="56"/>
                  </a:lnTo>
                  <a:lnTo>
                    <a:pt x="38" y="56"/>
                  </a:lnTo>
                  <a:lnTo>
                    <a:pt x="48" y="54"/>
                  </a:lnTo>
                  <a:lnTo>
                    <a:pt x="56" y="50"/>
                  </a:lnTo>
                  <a:lnTo>
                    <a:pt x="56" y="50"/>
                  </a:lnTo>
                  <a:lnTo>
                    <a:pt x="58" y="48"/>
                  </a:lnTo>
                  <a:lnTo>
                    <a:pt x="62" y="48"/>
                  </a:lnTo>
                  <a:lnTo>
                    <a:pt x="64" y="48"/>
                  </a:lnTo>
                  <a:lnTo>
                    <a:pt x="68" y="52"/>
                  </a:lnTo>
                  <a:lnTo>
                    <a:pt x="68" y="52"/>
                  </a:lnTo>
                  <a:lnTo>
                    <a:pt x="70" y="54"/>
                  </a:lnTo>
                  <a:lnTo>
                    <a:pt x="70" y="58"/>
                  </a:lnTo>
                  <a:lnTo>
                    <a:pt x="70" y="60"/>
                  </a:lnTo>
                  <a:lnTo>
                    <a:pt x="66" y="64"/>
                  </a:lnTo>
                  <a:lnTo>
                    <a:pt x="66" y="64"/>
                  </a:lnTo>
                  <a:lnTo>
                    <a:pt x="60" y="68"/>
                  </a:lnTo>
                  <a:lnTo>
                    <a:pt x="54" y="72"/>
                  </a:lnTo>
                  <a:lnTo>
                    <a:pt x="48" y="74"/>
                  </a:lnTo>
                  <a:lnTo>
                    <a:pt x="40" y="74"/>
                  </a:lnTo>
                  <a:lnTo>
                    <a:pt x="40" y="7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0" name="Freeform 12">
              <a:extLst>
                <a:ext uri="{FF2B5EF4-FFF2-40B4-BE49-F238E27FC236}">
                  <a16:creationId xmlns:a16="http://schemas.microsoft.com/office/drawing/2014/main" id="{0900C1B4-8579-770C-F320-987AF56893CD}"/>
                </a:ext>
              </a:extLst>
            </p:cNvPr>
            <p:cNvSpPr>
              <a:spLocks/>
            </p:cNvSpPr>
            <p:nvPr/>
          </p:nvSpPr>
          <p:spPr bwMode="auto">
            <a:xfrm>
              <a:off x="1287463" y="3270250"/>
              <a:ext cx="127000" cy="98425"/>
            </a:xfrm>
            <a:custGeom>
              <a:avLst/>
              <a:gdLst>
                <a:gd name="T0" fmla="*/ 12 w 80"/>
                <a:gd name="T1" fmla="*/ 62 h 62"/>
                <a:gd name="T2" fmla="*/ 12 w 80"/>
                <a:gd name="T3" fmla="*/ 62 h 62"/>
                <a:gd name="T4" fmla="*/ 8 w 80"/>
                <a:gd name="T5" fmla="*/ 62 h 62"/>
                <a:gd name="T6" fmla="*/ 4 w 80"/>
                <a:gd name="T7" fmla="*/ 58 h 62"/>
                <a:gd name="T8" fmla="*/ 4 w 80"/>
                <a:gd name="T9" fmla="*/ 58 h 62"/>
                <a:gd name="T10" fmla="*/ 2 w 80"/>
                <a:gd name="T11" fmla="*/ 50 h 62"/>
                <a:gd name="T12" fmla="*/ 0 w 80"/>
                <a:gd name="T13" fmla="*/ 42 h 62"/>
                <a:gd name="T14" fmla="*/ 2 w 80"/>
                <a:gd name="T15" fmla="*/ 34 h 62"/>
                <a:gd name="T16" fmla="*/ 4 w 80"/>
                <a:gd name="T17" fmla="*/ 26 h 62"/>
                <a:gd name="T18" fmla="*/ 6 w 80"/>
                <a:gd name="T19" fmla="*/ 20 h 62"/>
                <a:gd name="T20" fmla="*/ 12 w 80"/>
                <a:gd name="T21" fmla="*/ 14 h 62"/>
                <a:gd name="T22" fmla="*/ 18 w 80"/>
                <a:gd name="T23" fmla="*/ 8 h 62"/>
                <a:gd name="T24" fmla="*/ 24 w 80"/>
                <a:gd name="T25" fmla="*/ 4 h 62"/>
                <a:gd name="T26" fmla="*/ 24 w 80"/>
                <a:gd name="T27" fmla="*/ 4 h 62"/>
                <a:gd name="T28" fmla="*/ 32 w 80"/>
                <a:gd name="T29" fmla="*/ 2 h 62"/>
                <a:gd name="T30" fmla="*/ 40 w 80"/>
                <a:gd name="T31" fmla="*/ 0 h 62"/>
                <a:gd name="T32" fmla="*/ 48 w 80"/>
                <a:gd name="T33" fmla="*/ 0 h 62"/>
                <a:gd name="T34" fmla="*/ 56 w 80"/>
                <a:gd name="T35" fmla="*/ 2 h 62"/>
                <a:gd name="T36" fmla="*/ 62 w 80"/>
                <a:gd name="T37" fmla="*/ 6 h 62"/>
                <a:gd name="T38" fmla="*/ 70 w 80"/>
                <a:gd name="T39" fmla="*/ 12 h 62"/>
                <a:gd name="T40" fmla="*/ 74 w 80"/>
                <a:gd name="T41" fmla="*/ 18 h 62"/>
                <a:gd name="T42" fmla="*/ 78 w 80"/>
                <a:gd name="T43" fmla="*/ 24 h 62"/>
                <a:gd name="T44" fmla="*/ 78 w 80"/>
                <a:gd name="T45" fmla="*/ 24 h 62"/>
                <a:gd name="T46" fmla="*/ 80 w 80"/>
                <a:gd name="T47" fmla="*/ 28 h 62"/>
                <a:gd name="T48" fmla="*/ 78 w 80"/>
                <a:gd name="T49" fmla="*/ 32 h 62"/>
                <a:gd name="T50" fmla="*/ 76 w 80"/>
                <a:gd name="T51" fmla="*/ 34 h 62"/>
                <a:gd name="T52" fmla="*/ 74 w 80"/>
                <a:gd name="T53" fmla="*/ 36 h 62"/>
                <a:gd name="T54" fmla="*/ 74 w 80"/>
                <a:gd name="T55" fmla="*/ 36 h 62"/>
                <a:gd name="T56" fmla="*/ 70 w 80"/>
                <a:gd name="T57" fmla="*/ 36 h 62"/>
                <a:gd name="T58" fmla="*/ 68 w 80"/>
                <a:gd name="T59" fmla="*/ 36 h 62"/>
                <a:gd name="T60" fmla="*/ 64 w 80"/>
                <a:gd name="T61" fmla="*/ 34 h 62"/>
                <a:gd name="T62" fmla="*/ 62 w 80"/>
                <a:gd name="T63" fmla="*/ 32 h 62"/>
                <a:gd name="T64" fmla="*/ 62 w 80"/>
                <a:gd name="T65" fmla="*/ 32 h 62"/>
                <a:gd name="T66" fmla="*/ 56 w 80"/>
                <a:gd name="T67" fmla="*/ 24 h 62"/>
                <a:gd name="T68" fmla="*/ 50 w 80"/>
                <a:gd name="T69" fmla="*/ 20 h 62"/>
                <a:gd name="T70" fmla="*/ 40 w 80"/>
                <a:gd name="T71" fmla="*/ 18 h 62"/>
                <a:gd name="T72" fmla="*/ 32 w 80"/>
                <a:gd name="T73" fmla="*/ 20 h 62"/>
                <a:gd name="T74" fmla="*/ 32 w 80"/>
                <a:gd name="T75" fmla="*/ 20 h 62"/>
                <a:gd name="T76" fmla="*/ 24 w 80"/>
                <a:gd name="T77" fmla="*/ 26 h 62"/>
                <a:gd name="T78" fmla="*/ 20 w 80"/>
                <a:gd name="T79" fmla="*/ 32 h 62"/>
                <a:gd name="T80" fmla="*/ 18 w 80"/>
                <a:gd name="T81" fmla="*/ 42 h 62"/>
                <a:gd name="T82" fmla="*/ 20 w 80"/>
                <a:gd name="T83" fmla="*/ 50 h 62"/>
                <a:gd name="T84" fmla="*/ 20 w 80"/>
                <a:gd name="T85" fmla="*/ 50 h 62"/>
                <a:gd name="T86" fmla="*/ 22 w 80"/>
                <a:gd name="T87" fmla="*/ 54 h 62"/>
                <a:gd name="T88" fmla="*/ 20 w 80"/>
                <a:gd name="T89" fmla="*/ 56 h 62"/>
                <a:gd name="T90" fmla="*/ 18 w 80"/>
                <a:gd name="T91" fmla="*/ 60 h 62"/>
                <a:gd name="T92" fmla="*/ 16 w 80"/>
                <a:gd name="T93" fmla="*/ 62 h 62"/>
                <a:gd name="T94" fmla="*/ 16 w 80"/>
                <a:gd name="T95" fmla="*/ 62 h 62"/>
                <a:gd name="T96" fmla="*/ 12 w 80"/>
                <a:gd name="T97" fmla="*/ 62 h 62"/>
                <a:gd name="T98" fmla="*/ 12 w 80"/>
                <a:gd name="T9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0" h="62">
                  <a:moveTo>
                    <a:pt x="12" y="62"/>
                  </a:moveTo>
                  <a:lnTo>
                    <a:pt x="12" y="62"/>
                  </a:lnTo>
                  <a:lnTo>
                    <a:pt x="8" y="62"/>
                  </a:lnTo>
                  <a:lnTo>
                    <a:pt x="4" y="58"/>
                  </a:lnTo>
                  <a:lnTo>
                    <a:pt x="4" y="58"/>
                  </a:lnTo>
                  <a:lnTo>
                    <a:pt x="2" y="50"/>
                  </a:lnTo>
                  <a:lnTo>
                    <a:pt x="0" y="42"/>
                  </a:lnTo>
                  <a:lnTo>
                    <a:pt x="2" y="34"/>
                  </a:lnTo>
                  <a:lnTo>
                    <a:pt x="4" y="26"/>
                  </a:lnTo>
                  <a:lnTo>
                    <a:pt x="6" y="20"/>
                  </a:lnTo>
                  <a:lnTo>
                    <a:pt x="12" y="14"/>
                  </a:lnTo>
                  <a:lnTo>
                    <a:pt x="18" y="8"/>
                  </a:lnTo>
                  <a:lnTo>
                    <a:pt x="24" y="4"/>
                  </a:lnTo>
                  <a:lnTo>
                    <a:pt x="24" y="4"/>
                  </a:lnTo>
                  <a:lnTo>
                    <a:pt x="32" y="2"/>
                  </a:lnTo>
                  <a:lnTo>
                    <a:pt x="40" y="0"/>
                  </a:lnTo>
                  <a:lnTo>
                    <a:pt x="48" y="0"/>
                  </a:lnTo>
                  <a:lnTo>
                    <a:pt x="56" y="2"/>
                  </a:lnTo>
                  <a:lnTo>
                    <a:pt x="62" y="6"/>
                  </a:lnTo>
                  <a:lnTo>
                    <a:pt x="70" y="12"/>
                  </a:lnTo>
                  <a:lnTo>
                    <a:pt x="74" y="18"/>
                  </a:lnTo>
                  <a:lnTo>
                    <a:pt x="78" y="24"/>
                  </a:lnTo>
                  <a:lnTo>
                    <a:pt x="78" y="24"/>
                  </a:lnTo>
                  <a:lnTo>
                    <a:pt x="80" y="28"/>
                  </a:lnTo>
                  <a:lnTo>
                    <a:pt x="78" y="32"/>
                  </a:lnTo>
                  <a:lnTo>
                    <a:pt x="76" y="34"/>
                  </a:lnTo>
                  <a:lnTo>
                    <a:pt x="74" y="36"/>
                  </a:lnTo>
                  <a:lnTo>
                    <a:pt x="74" y="36"/>
                  </a:lnTo>
                  <a:lnTo>
                    <a:pt x="70" y="36"/>
                  </a:lnTo>
                  <a:lnTo>
                    <a:pt x="68" y="36"/>
                  </a:lnTo>
                  <a:lnTo>
                    <a:pt x="64" y="34"/>
                  </a:lnTo>
                  <a:lnTo>
                    <a:pt x="62" y="32"/>
                  </a:lnTo>
                  <a:lnTo>
                    <a:pt x="62" y="32"/>
                  </a:lnTo>
                  <a:lnTo>
                    <a:pt x="56" y="24"/>
                  </a:lnTo>
                  <a:lnTo>
                    <a:pt x="50" y="20"/>
                  </a:lnTo>
                  <a:lnTo>
                    <a:pt x="40" y="18"/>
                  </a:lnTo>
                  <a:lnTo>
                    <a:pt x="32" y="20"/>
                  </a:lnTo>
                  <a:lnTo>
                    <a:pt x="32" y="20"/>
                  </a:lnTo>
                  <a:lnTo>
                    <a:pt x="24" y="26"/>
                  </a:lnTo>
                  <a:lnTo>
                    <a:pt x="20" y="32"/>
                  </a:lnTo>
                  <a:lnTo>
                    <a:pt x="18" y="42"/>
                  </a:lnTo>
                  <a:lnTo>
                    <a:pt x="20" y="50"/>
                  </a:lnTo>
                  <a:lnTo>
                    <a:pt x="20" y="50"/>
                  </a:lnTo>
                  <a:lnTo>
                    <a:pt x="22" y="54"/>
                  </a:lnTo>
                  <a:lnTo>
                    <a:pt x="20" y="56"/>
                  </a:lnTo>
                  <a:lnTo>
                    <a:pt x="18" y="60"/>
                  </a:lnTo>
                  <a:lnTo>
                    <a:pt x="16" y="62"/>
                  </a:lnTo>
                  <a:lnTo>
                    <a:pt x="16" y="62"/>
                  </a:lnTo>
                  <a:lnTo>
                    <a:pt x="12" y="62"/>
                  </a:lnTo>
                  <a:lnTo>
                    <a:pt x="12" y="62"/>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1" name="Freeform 13">
              <a:extLst>
                <a:ext uri="{FF2B5EF4-FFF2-40B4-BE49-F238E27FC236}">
                  <a16:creationId xmlns:a16="http://schemas.microsoft.com/office/drawing/2014/main" id="{B8B6B105-75B2-0710-5957-FDD14147374F}"/>
                </a:ext>
              </a:extLst>
            </p:cNvPr>
            <p:cNvSpPr>
              <a:spLocks/>
            </p:cNvSpPr>
            <p:nvPr/>
          </p:nvSpPr>
          <p:spPr bwMode="auto">
            <a:xfrm>
              <a:off x="1258888" y="3765550"/>
              <a:ext cx="82550" cy="130175"/>
            </a:xfrm>
            <a:custGeom>
              <a:avLst/>
              <a:gdLst>
                <a:gd name="T0" fmla="*/ 40 w 52"/>
                <a:gd name="T1" fmla="*/ 82 h 82"/>
                <a:gd name="T2" fmla="*/ 40 w 52"/>
                <a:gd name="T3" fmla="*/ 82 h 82"/>
                <a:gd name="T4" fmla="*/ 32 w 52"/>
                <a:gd name="T5" fmla="*/ 80 h 82"/>
                <a:gd name="T6" fmla="*/ 26 w 52"/>
                <a:gd name="T7" fmla="*/ 78 h 82"/>
                <a:gd name="T8" fmla="*/ 18 w 52"/>
                <a:gd name="T9" fmla="*/ 76 h 82"/>
                <a:gd name="T10" fmla="*/ 12 w 52"/>
                <a:gd name="T11" fmla="*/ 70 h 82"/>
                <a:gd name="T12" fmla="*/ 8 w 52"/>
                <a:gd name="T13" fmla="*/ 66 h 82"/>
                <a:gd name="T14" fmla="*/ 4 w 52"/>
                <a:gd name="T15" fmla="*/ 60 h 82"/>
                <a:gd name="T16" fmla="*/ 2 w 52"/>
                <a:gd name="T17" fmla="*/ 52 h 82"/>
                <a:gd name="T18" fmla="*/ 0 w 52"/>
                <a:gd name="T19" fmla="*/ 44 h 82"/>
                <a:gd name="T20" fmla="*/ 0 w 52"/>
                <a:gd name="T21" fmla="*/ 44 h 82"/>
                <a:gd name="T22" fmla="*/ 0 w 52"/>
                <a:gd name="T23" fmla="*/ 36 h 82"/>
                <a:gd name="T24" fmla="*/ 2 w 52"/>
                <a:gd name="T25" fmla="*/ 28 h 82"/>
                <a:gd name="T26" fmla="*/ 4 w 52"/>
                <a:gd name="T27" fmla="*/ 22 h 82"/>
                <a:gd name="T28" fmla="*/ 8 w 52"/>
                <a:gd name="T29" fmla="*/ 14 h 82"/>
                <a:gd name="T30" fmla="*/ 14 w 52"/>
                <a:gd name="T31" fmla="*/ 10 h 82"/>
                <a:gd name="T32" fmla="*/ 20 w 52"/>
                <a:gd name="T33" fmla="*/ 4 h 82"/>
                <a:gd name="T34" fmla="*/ 28 w 52"/>
                <a:gd name="T35" fmla="*/ 2 h 82"/>
                <a:gd name="T36" fmla="*/ 36 w 52"/>
                <a:gd name="T37" fmla="*/ 0 h 82"/>
                <a:gd name="T38" fmla="*/ 36 w 52"/>
                <a:gd name="T39" fmla="*/ 0 h 82"/>
                <a:gd name="T40" fmla="*/ 40 w 52"/>
                <a:gd name="T41" fmla="*/ 0 h 82"/>
                <a:gd name="T42" fmla="*/ 42 w 52"/>
                <a:gd name="T43" fmla="*/ 2 h 82"/>
                <a:gd name="T44" fmla="*/ 44 w 52"/>
                <a:gd name="T45" fmla="*/ 4 h 82"/>
                <a:gd name="T46" fmla="*/ 46 w 52"/>
                <a:gd name="T47" fmla="*/ 8 h 82"/>
                <a:gd name="T48" fmla="*/ 46 w 52"/>
                <a:gd name="T49" fmla="*/ 8 h 82"/>
                <a:gd name="T50" fmla="*/ 46 w 52"/>
                <a:gd name="T51" fmla="*/ 12 h 82"/>
                <a:gd name="T52" fmla="*/ 44 w 52"/>
                <a:gd name="T53" fmla="*/ 14 h 82"/>
                <a:gd name="T54" fmla="*/ 42 w 52"/>
                <a:gd name="T55" fmla="*/ 16 h 82"/>
                <a:gd name="T56" fmla="*/ 38 w 52"/>
                <a:gd name="T57" fmla="*/ 18 h 82"/>
                <a:gd name="T58" fmla="*/ 38 w 52"/>
                <a:gd name="T59" fmla="*/ 18 h 82"/>
                <a:gd name="T60" fmla="*/ 30 w 52"/>
                <a:gd name="T61" fmla="*/ 20 h 82"/>
                <a:gd name="T62" fmla="*/ 22 w 52"/>
                <a:gd name="T63" fmla="*/ 26 h 82"/>
                <a:gd name="T64" fmla="*/ 18 w 52"/>
                <a:gd name="T65" fmla="*/ 34 h 82"/>
                <a:gd name="T66" fmla="*/ 18 w 52"/>
                <a:gd name="T67" fmla="*/ 42 h 82"/>
                <a:gd name="T68" fmla="*/ 18 w 52"/>
                <a:gd name="T69" fmla="*/ 42 h 82"/>
                <a:gd name="T70" fmla="*/ 20 w 52"/>
                <a:gd name="T71" fmla="*/ 52 h 82"/>
                <a:gd name="T72" fmla="*/ 26 w 52"/>
                <a:gd name="T73" fmla="*/ 58 h 82"/>
                <a:gd name="T74" fmla="*/ 34 w 52"/>
                <a:gd name="T75" fmla="*/ 62 h 82"/>
                <a:gd name="T76" fmla="*/ 42 w 52"/>
                <a:gd name="T77" fmla="*/ 64 h 82"/>
                <a:gd name="T78" fmla="*/ 42 w 52"/>
                <a:gd name="T79" fmla="*/ 64 h 82"/>
                <a:gd name="T80" fmla="*/ 46 w 52"/>
                <a:gd name="T81" fmla="*/ 64 h 82"/>
                <a:gd name="T82" fmla="*/ 48 w 52"/>
                <a:gd name="T83" fmla="*/ 66 h 82"/>
                <a:gd name="T84" fmla="*/ 52 w 52"/>
                <a:gd name="T85" fmla="*/ 68 h 82"/>
                <a:gd name="T86" fmla="*/ 52 w 52"/>
                <a:gd name="T87" fmla="*/ 72 h 82"/>
                <a:gd name="T88" fmla="*/ 52 w 52"/>
                <a:gd name="T89" fmla="*/ 72 h 82"/>
                <a:gd name="T90" fmla="*/ 52 w 52"/>
                <a:gd name="T91" fmla="*/ 74 h 82"/>
                <a:gd name="T92" fmla="*/ 50 w 52"/>
                <a:gd name="T93" fmla="*/ 78 h 82"/>
                <a:gd name="T94" fmla="*/ 48 w 52"/>
                <a:gd name="T95" fmla="*/ 80 h 82"/>
                <a:gd name="T96" fmla="*/ 44 w 52"/>
                <a:gd name="T97" fmla="*/ 80 h 82"/>
                <a:gd name="T98" fmla="*/ 44 w 52"/>
                <a:gd name="T99" fmla="*/ 80 h 82"/>
                <a:gd name="T100" fmla="*/ 40 w 52"/>
                <a:gd name="T101" fmla="*/ 82 h 82"/>
                <a:gd name="T102" fmla="*/ 40 w 52"/>
                <a:gd name="T10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82">
                  <a:moveTo>
                    <a:pt x="40" y="82"/>
                  </a:moveTo>
                  <a:lnTo>
                    <a:pt x="40" y="82"/>
                  </a:lnTo>
                  <a:lnTo>
                    <a:pt x="32" y="80"/>
                  </a:lnTo>
                  <a:lnTo>
                    <a:pt x="26" y="78"/>
                  </a:lnTo>
                  <a:lnTo>
                    <a:pt x="18" y="76"/>
                  </a:lnTo>
                  <a:lnTo>
                    <a:pt x="12" y="70"/>
                  </a:lnTo>
                  <a:lnTo>
                    <a:pt x="8" y="66"/>
                  </a:lnTo>
                  <a:lnTo>
                    <a:pt x="4" y="60"/>
                  </a:lnTo>
                  <a:lnTo>
                    <a:pt x="2" y="52"/>
                  </a:lnTo>
                  <a:lnTo>
                    <a:pt x="0" y="44"/>
                  </a:lnTo>
                  <a:lnTo>
                    <a:pt x="0" y="44"/>
                  </a:lnTo>
                  <a:lnTo>
                    <a:pt x="0" y="36"/>
                  </a:lnTo>
                  <a:lnTo>
                    <a:pt x="2" y="28"/>
                  </a:lnTo>
                  <a:lnTo>
                    <a:pt x="4" y="22"/>
                  </a:lnTo>
                  <a:lnTo>
                    <a:pt x="8" y="14"/>
                  </a:lnTo>
                  <a:lnTo>
                    <a:pt x="14" y="10"/>
                  </a:lnTo>
                  <a:lnTo>
                    <a:pt x="20" y="4"/>
                  </a:lnTo>
                  <a:lnTo>
                    <a:pt x="28" y="2"/>
                  </a:lnTo>
                  <a:lnTo>
                    <a:pt x="36" y="0"/>
                  </a:lnTo>
                  <a:lnTo>
                    <a:pt x="36" y="0"/>
                  </a:lnTo>
                  <a:lnTo>
                    <a:pt x="40" y="0"/>
                  </a:lnTo>
                  <a:lnTo>
                    <a:pt x="42" y="2"/>
                  </a:lnTo>
                  <a:lnTo>
                    <a:pt x="44" y="4"/>
                  </a:lnTo>
                  <a:lnTo>
                    <a:pt x="46" y="8"/>
                  </a:lnTo>
                  <a:lnTo>
                    <a:pt x="46" y="8"/>
                  </a:lnTo>
                  <a:lnTo>
                    <a:pt x="46" y="12"/>
                  </a:lnTo>
                  <a:lnTo>
                    <a:pt x="44" y="14"/>
                  </a:lnTo>
                  <a:lnTo>
                    <a:pt x="42" y="16"/>
                  </a:lnTo>
                  <a:lnTo>
                    <a:pt x="38" y="18"/>
                  </a:lnTo>
                  <a:lnTo>
                    <a:pt x="38" y="18"/>
                  </a:lnTo>
                  <a:lnTo>
                    <a:pt x="30" y="20"/>
                  </a:lnTo>
                  <a:lnTo>
                    <a:pt x="22" y="26"/>
                  </a:lnTo>
                  <a:lnTo>
                    <a:pt x="18" y="34"/>
                  </a:lnTo>
                  <a:lnTo>
                    <a:pt x="18" y="42"/>
                  </a:lnTo>
                  <a:lnTo>
                    <a:pt x="18" y="42"/>
                  </a:lnTo>
                  <a:lnTo>
                    <a:pt x="20" y="52"/>
                  </a:lnTo>
                  <a:lnTo>
                    <a:pt x="26" y="58"/>
                  </a:lnTo>
                  <a:lnTo>
                    <a:pt x="34" y="62"/>
                  </a:lnTo>
                  <a:lnTo>
                    <a:pt x="42" y="64"/>
                  </a:lnTo>
                  <a:lnTo>
                    <a:pt x="42" y="64"/>
                  </a:lnTo>
                  <a:lnTo>
                    <a:pt x="46" y="64"/>
                  </a:lnTo>
                  <a:lnTo>
                    <a:pt x="48" y="66"/>
                  </a:lnTo>
                  <a:lnTo>
                    <a:pt x="52" y="68"/>
                  </a:lnTo>
                  <a:lnTo>
                    <a:pt x="52" y="72"/>
                  </a:lnTo>
                  <a:lnTo>
                    <a:pt x="52" y="72"/>
                  </a:lnTo>
                  <a:lnTo>
                    <a:pt x="52" y="74"/>
                  </a:lnTo>
                  <a:lnTo>
                    <a:pt x="50" y="78"/>
                  </a:lnTo>
                  <a:lnTo>
                    <a:pt x="48" y="80"/>
                  </a:lnTo>
                  <a:lnTo>
                    <a:pt x="44" y="80"/>
                  </a:lnTo>
                  <a:lnTo>
                    <a:pt x="44" y="80"/>
                  </a:lnTo>
                  <a:lnTo>
                    <a:pt x="40" y="82"/>
                  </a:lnTo>
                  <a:lnTo>
                    <a:pt x="40" y="82"/>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2" name="Freeform 14">
              <a:extLst>
                <a:ext uri="{FF2B5EF4-FFF2-40B4-BE49-F238E27FC236}">
                  <a16:creationId xmlns:a16="http://schemas.microsoft.com/office/drawing/2014/main" id="{3AF7EB39-0E73-A7EF-52B2-1ECD0B0C48A0}"/>
                </a:ext>
              </a:extLst>
            </p:cNvPr>
            <p:cNvSpPr>
              <a:spLocks/>
            </p:cNvSpPr>
            <p:nvPr/>
          </p:nvSpPr>
          <p:spPr bwMode="auto">
            <a:xfrm>
              <a:off x="1138238" y="3606800"/>
              <a:ext cx="114300" cy="142875"/>
            </a:xfrm>
            <a:custGeom>
              <a:avLst/>
              <a:gdLst>
                <a:gd name="T0" fmla="*/ 42 w 72"/>
                <a:gd name="T1" fmla="*/ 90 h 90"/>
                <a:gd name="T2" fmla="*/ 42 w 72"/>
                <a:gd name="T3" fmla="*/ 90 h 90"/>
                <a:gd name="T4" fmla="*/ 36 w 72"/>
                <a:gd name="T5" fmla="*/ 88 h 90"/>
                <a:gd name="T6" fmla="*/ 34 w 72"/>
                <a:gd name="T7" fmla="*/ 86 h 90"/>
                <a:gd name="T8" fmla="*/ 34 w 72"/>
                <a:gd name="T9" fmla="*/ 86 h 90"/>
                <a:gd name="T10" fmla="*/ 32 w 72"/>
                <a:gd name="T11" fmla="*/ 82 h 90"/>
                <a:gd name="T12" fmla="*/ 32 w 72"/>
                <a:gd name="T13" fmla="*/ 78 h 90"/>
                <a:gd name="T14" fmla="*/ 34 w 72"/>
                <a:gd name="T15" fmla="*/ 76 h 90"/>
                <a:gd name="T16" fmla="*/ 38 w 72"/>
                <a:gd name="T17" fmla="*/ 74 h 90"/>
                <a:gd name="T18" fmla="*/ 38 w 72"/>
                <a:gd name="T19" fmla="*/ 74 h 90"/>
                <a:gd name="T20" fmla="*/ 42 w 72"/>
                <a:gd name="T21" fmla="*/ 70 h 90"/>
                <a:gd name="T22" fmla="*/ 46 w 72"/>
                <a:gd name="T23" fmla="*/ 66 h 90"/>
                <a:gd name="T24" fmla="*/ 52 w 72"/>
                <a:gd name="T25" fmla="*/ 56 h 90"/>
                <a:gd name="T26" fmla="*/ 54 w 72"/>
                <a:gd name="T27" fmla="*/ 46 h 90"/>
                <a:gd name="T28" fmla="*/ 54 w 72"/>
                <a:gd name="T29" fmla="*/ 40 h 90"/>
                <a:gd name="T30" fmla="*/ 52 w 72"/>
                <a:gd name="T31" fmla="*/ 34 h 90"/>
                <a:gd name="T32" fmla="*/ 52 w 72"/>
                <a:gd name="T33" fmla="*/ 34 h 90"/>
                <a:gd name="T34" fmla="*/ 44 w 72"/>
                <a:gd name="T35" fmla="*/ 24 h 90"/>
                <a:gd name="T36" fmla="*/ 34 w 72"/>
                <a:gd name="T37" fmla="*/ 18 h 90"/>
                <a:gd name="T38" fmla="*/ 34 w 72"/>
                <a:gd name="T39" fmla="*/ 18 h 90"/>
                <a:gd name="T40" fmla="*/ 24 w 72"/>
                <a:gd name="T41" fmla="*/ 18 h 90"/>
                <a:gd name="T42" fmla="*/ 12 w 72"/>
                <a:gd name="T43" fmla="*/ 20 h 90"/>
                <a:gd name="T44" fmla="*/ 12 w 72"/>
                <a:gd name="T45" fmla="*/ 20 h 90"/>
                <a:gd name="T46" fmla="*/ 8 w 72"/>
                <a:gd name="T47" fmla="*/ 20 h 90"/>
                <a:gd name="T48" fmla="*/ 6 w 72"/>
                <a:gd name="T49" fmla="*/ 20 h 90"/>
                <a:gd name="T50" fmla="*/ 2 w 72"/>
                <a:gd name="T51" fmla="*/ 18 h 90"/>
                <a:gd name="T52" fmla="*/ 0 w 72"/>
                <a:gd name="T53" fmla="*/ 16 h 90"/>
                <a:gd name="T54" fmla="*/ 0 w 72"/>
                <a:gd name="T55" fmla="*/ 16 h 90"/>
                <a:gd name="T56" fmla="*/ 0 w 72"/>
                <a:gd name="T57" fmla="*/ 12 h 90"/>
                <a:gd name="T58" fmla="*/ 0 w 72"/>
                <a:gd name="T59" fmla="*/ 8 h 90"/>
                <a:gd name="T60" fmla="*/ 2 w 72"/>
                <a:gd name="T61" fmla="*/ 6 h 90"/>
                <a:gd name="T62" fmla="*/ 4 w 72"/>
                <a:gd name="T63" fmla="*/ 4 h 90"/>
                <a:gd name="T64" fmla="*/ 4 w 72"/>
                <a:gd name="T65" fmla="*/ 4 h 90"/>
                <a:gd name="T66" fmla="*/ 14 w 72"/>
                <a:gd name="T67" fmla="*/ 0 h 90"/>
                <a:gd name="T68" fmla="*/ 22 w 72"/>
                <a:gd name="T69" fmla="*/ 0 h 90"/>
                <a:gd name="T70" fmla="*/ 32 w 72"/>
                <a:gd name="T71" fmla="*/ 0 h 90"/>
                <a:gd name="T72" fmla="*/ 40 w 72"/>
                <a:gd name="T73" fmla="*/ 2 h 90"/>
                <a:gd name="T74" fmla="*/ 40 w 72"/>
                <a:gd name="T75" fmla="*/ 2 h 90"/>
                <a:gd name="T76" fmla="*/ 50 w 72"/>
                <a:gd name="T77" fmla="*/ 6 h 90"/>
                <a:gd name="T78" fmla="*/ 56 w 72"/>
                <a:gd name="T79" fmla="*/ 12 h 90"/>
                <a:gd name="T80" fmla="*/ 62 w 72"/>
                <a:gd name="T81" fmla="*/ 18 h 90"/>
                <a:gd name="T82" fmla="*/ 68 w 72"/>
                <a:gd name="T83" fmla="*/ 26 h 90"/>
                <a:gd name="T84" fmla="*/ 68 w 72"/>
                <a:gd name="T85" fmla="*/ 26 h 90"/>
                <a:gd name="T86" fmla="*/ 70 w 72"/>
                <a:gd name="T87" fmla="*/ 36 h 90"/>
                <a:gd name="T88" fmla="*/ 72 w 72"/>
                <a:gd name="T89" fmla="*/ 44 h 90"/>
                <a:gd name="T90" fmla="*/ 72 w 72"/>
                <a:gd name="T91" fmla="*/ 54 h 90"/>
                <a:gd name="T92" fmla="*/ 70 w 72"/>
                <a:gd name="T93" fmla="*/ 62 h 90"/>
                <a:gd name="T94" fmla="*/ 66 w 72"/>
                <a:gd name="T95" fmla="*/ 70 h 90"/>
                <a:gd name="T96" fmla="*/ 60 w 72"/>
                <a:gd name="T97" fmla="*/ 78 h 90"/>
                <a:gd name="T98" fmla="*/ 54 w 72"/>
                <a:gd name="T99" fmla="*/ 84 h 90"/>
                <a:gd name="T100" fmla="*/ 46 w 72"/>
                <a:gd name="T101" fmla="*/ 90 h 90"/>
                <a:gd name="T102" fmla="*/ 46 w 72"/>
                <a:gd name="T103" fmla="*/ 90 h 90"/>
                <a:gd name="T104" fmla="*/ 42 w 72"/>
                <a:gd name="T105" fmla="*/ 90 h 90"/>
                <a:gd name="T106" fmla="*/ 42 w 72"/>
                <a:gd name="T10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 h="90">
                  <a:moveTo>
                    <a:pt x="42" y="90"/>
                  </a:moveTo>
                  <a:lnTo>
                    <a:pt x="42" y="90"/>
                  </a:lnTo>
                  <a:lnTo>
                    <a:pt x="36" y="88"/>
                  </a:lnTo>
                  <a:lnTo>
                    <a:pt x="34" y="86"/>
                  </a:lnTo>
                  <a:lnTo>
                    <a:pt x="34" y="86"/>
                  </a:lnTo>
                  <a:lnTo>
                    <a:pt x="32" y="82"/>
                  </a:lnTo>
                  <a:lnTo>
                    <a:pt x="32" y="78"/>
                  </a:lnTo>
                  <a:lnTo>
                    <a:pt x="34" y="76"/>
                  </a:lnTo>
                  <a:lnTo>
                    <a:pt x="38" y="74"/>
                  </a:lnTo>
                  <a:lnTo>
                    <a:pt x="38" y="74"/>
                  </a:lnTo>
                  <a:lnTo>
                    <a:pt x="42" y="70"/>
                  </a:lnTo>
                  <a:lnTo>
                    <a:pt x="46" y="66"/>
                  </a:lnTo>
                  <a:lnTo>
                    <a:pt x="52" y="56"/>
                  </a:lnTo>
                  <a:lnTo>
                    <a:pt x="54" y="46"/>
                  </a:lnTo>
                  <a:lnTo>
                    <a:pt x="54" y="40"/>
                  </a:lnTo>
                  <a:lnTo>
                    <a:pt x="52" y="34"/>
                  </a:lnTo>
                  <a:lnTo>
                    <a:pt x="52" y="34"/>
                  </a:lnTo>
                  <a:lnTo>
                    <a:pt x="44" y="24"/>
                  </a:lnTo>
                  <a:lnTo>
                    <a:pt x="34" y="18"/>
                  </a:lnTo>
                  <a:lnTo>
                    <a:pt x="34" y="18"/>
                  </a:lnTo>
                  <a:lnTo>
                    <a:pt x="24" y="18"/>
                  </a:lnTo>
                  <a:lnTo>
                    <a:pt x="12" y="20"/>
                  </a:lnTo>
                  <a:lnTo>
                    <a:pt x="12" y="20"/>
                  </a:lnTo>
                  <a:lnTo>
                    <a:pt x="8" y="20"/>
                  </a:lnTo>
                  <a:lnTo>
                    <a:pt x="6" y="20"/>
                  </a:lnTo>
                  <a:lnTo>
                    <a:pt x="2" y="18"/>
                  </a:lnTo>
                  <a:lnTo>
                    <a:pt x="0" y="16"/>
                  </a:lnTo>
                  <a:lnTo>
                    <a:pt x="0" y="16"/>
                  </a:lnTo>
                  <a:lnTo>
                    <a:pt x="0" y="12"/>
                  </a:lnTo>
                  <a:lnTo>
                    <a:pt x="0" y="8"/>
                  </a:lnTo>
                  <a:lnTo>
                    <a:pt x="2" y="6"/>
                  </a:lnTo>
                  <a:lnTo>
                    <a:pt x="4" y="4"/>
                  </a:lnTo>
                  <a:lnTo>
                    <a:pt x="4" y="4"/>
                  </a:lnTo>
                  <a:lnTo>
                    <a:pt x="14" y="0"/>
                  </a:lnTo>
                  <a:lnTo>
                    <a:pt x="22" y="0"/>
                  </a:lnTo>
                  <a:lnTo>
                    <a:pt x="32" y="0"/>
                  </a:lnTo>
                  <a:lnTo>
                    <a:pt x="40" y="2"/>
                  </a:lnTo>
                  <a:lnTo>
                    <a:pt x="40" y="2"/>
                  </a:lnTo>
                  <a:lnTo>
                    <a:pt x="50" y="6"/>
                  </a:lnTo>
                  <a:lnTo>
                    <a:pt x="56" y="12"/>
                  </a:lnTo>
                  <a:lnTo>
                    <a:pt x="62" y="18"/>
                  </a:lnTo>
                  <a:lnTo>
                    <a:pt x="68" y="26"/>
                  </a:lnTo>
                  <a:lnTo>
                    <a:pt x="68" y="26"/>
                  </a:lnTo>
                  <a:lnTo>
                    <a:pt x="70" y="36"/>
                  </a:lnTo>
                  <a:lnTo>
                    <a:pt x="72" y="44"/>
                  </a:lnTo>
                  <a:lnTo>
                    <a:pt x="72" y="54"/>
                  </a:lnTo>
                  <a:lnTo>
                    <a:pt x="70" y="62"/>
                  </a:lnTo>
                  <a:lnTo>
                    <a:pt x="66" y="70"/>
                  </a:lnTo>
                  <a:lnTo>
                    <a:pt x="60" y="78"/>
                  </a:lnTo>
                  <a:lnTo>
                    <a:pt x="54" y="84"/>
                  </a:lnTo>
                  <a:lnTo>
                    <a:pt x="46" y="90"/>
                  </a:lnTo>
                  <a:lnTo>
                    <a:pt x="46" y="90"/>
                  </a:lnTo>
                  <a:lnTo>
                    <a:pt x="42" y="90"/>
                  </a:lnTo>
                  <a:lnTo>
                    <a:pt x="42" y="90"/>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3" name="Freeform 15">
              <a:extLst>
                <a:ext uri="{FF2B5EF4-FFF2-40B4-BE49-F238E27FC236}">
                  <a16:creationId xmlns:a16="http://schemas.microsoft.com/office/drawing/2014/main" id="{5766E66D-F5D4-9B6A-7E22-AEA2A0F5DD56}"/>
                </a:ext>
              </a:extLst>
            </p:cNvPr>
            <p:cNvSpPr>
              <a:spLocks/>
            </p:cNvSpPr>
            <p:nvPr/>
          </p:nvSpPr>
          <p:spPr bwMode="auto">
            <a:xfrm>
              <a:off x="1274763" y="3629025"/>
              <a:ext cx="139700" cy="82550"/>
            </a:xfrm>
            <a:custGeom>
              <a:avLst/>
              <a:gdLst>
                <a:gd name="T0" fmla="*/ 44 w 88"/>
                <a:gd name="T1" fmla="*/ 52 h 52"/>
                <a:gd name="T2" fmla="*/ 44 w 88"/>
                <a:gd name="T3" fmla="*/ 52 h 52"/>
                <a:gd name="T4" fmla="*/ 36 w 88"/>
                <a:gd name="T5" fmla="*/ 50 h 52"/>
                <a:gd name="T6" fmla="*/ 26 w 88"/>
                <a:gd name="T7" fmla="*/ 48 h 52"/>
                <a:gd name="T8" fmla="*/ 20 w 88"/>
                <a:gd name="T9" fmla="*/ 44 h 52"/>
                <a:gd name="T10" fmla="*/ 14 w 88"/>
                <a:gd name="T11" fmla="*/ 38 h 52"/>
                <a:gd name="T12" fmla="*/ 8 w 88"/>
                <a:gd name="T13" fmla="*/ 32 h 52"/>
                <a:gd name="T14" fmla="*/ 4 w 88"/>
                <a:gd name="T15" fmla="*/ 26 h 52"/>
                <a:gd name="T16" fmla="*/ 2 w 88"/>
                <a:gd name="T17" fmla="*/ 16 h 52"/>
                <a:gd name="T18" fmla="*/ 0 w 88"/>
                <a:gd name="T19" fmla="*/ 8 h 52"/>
                <a:gd name="T20" fmla="*/ 0 w 88"/>
                <a:gd name="T21" fmla="*/ 8 h 52"/>
                <a:gd name="T22" fmla="*/ 2 w 88"/>
                <a:gd name="T23" fmla="*/ 4 h 52"/>
                <a:gd name="T24" fmla="*/ 2 w 88"/>
                <a:gd name="T25" fmla="*/ 2 h 52"/>
                <a:gd name="T26" fmla="*/ 6 w 88"/>
                <a:gd name="T27" fmla="*/ 0 h 52"/>
                <a:gd name="T28" fmla="*/ 10 w 88"/>
                <a:gd name="T29" fmla="*/ 0 h 52"/>
                <a:gd name="T30" fmla="*/ 10 w 88"/>
                <a:gd name="T31" fmla="*/ 0 h 52"/>
                <a:gd name="T32" fmla="*/ 12 w 88"/>
                <a:gd name="T33" fmla="*/ 0 h 52"/>
                <a:gd name="T34" fmla="*/ 16 w 88"/>
                <a:gd name="T35" fmla="*/ 2 h 52"/>
                <a:gd name="T36" fmla="*/ 18 w 88"/>
                <a:gd name="T37" fmla="*/ 4 h 52"/>
                <a:gd name="T38" fmla="*/ 18 w 88"/>
                <a:gd name="T39" fmla="*/ 8 h 52"/>
                <a:gd name="T40" fmla="*/ 18 w 88"/>
                <a:gd name="T41" fmla="*/ 8 h 52"/>
                <a:gd name="T42" fmla="*/ 20 w 88"/>
                <a:gd name="T43" fmla="*/ 18 h 52"/>
                <a:gd name="T44" fmla="*/ 26 w 88"/>
                <a:gd name="T45" fmla="*/ 26 h 52"/>
                <a:gd name="T46" fmla="*/ 34 w 88"/>
                <a:gd name="T47" fmla="*/ 32 h 52"/>
                <a:gd name="T48" fmla="*/ 44 w 88"/>
                <a:gd name="T49" fmla="*/ 34 h 52"/>
                <a:gd name="T50" fmla="*/ 44 w 88"/>
                <a:gd name="T51" fmla="*/ 34 h 52"/>
                <a:gd name="T52" fmla="*/ 54 w 88"/>
                <a:gd name="T53" fmla="*/ 32 h 52"/>
                <a:gd name="T54" fmla="*/ 62 w 88"/>
                <a:gd name="T55" fmla="*/ 26 h 52"/>
                <a:gd name="T56" fmla="*/ 68 w 88"/>
                <a:gd name="T57" fmla="*/ 18 h 52"/>
                <a:gd name="T58" fmla="*/ 70 w 88"/>
                <a:gd name="T59" fmla="*/ 8 h 52"/>
                <a:gd name="T60" fmla="*/ 70 w 88"/>
                <a:gd name="T61" fmla="*/ 8 h 52"/>
                <a:gd name="T62" fmla="*/ 70 w 88"/>
                <a:gd name="T63" fmla="*/ 4 h 52"/>
                <a:gd name="T64" fmla="*/ 72 w 88"/>
                <a:gd name="T65" fmla="*/ 2 h 52"/>
                <a:gd name="T66" fmla="*/ 74 w 88"/>
                <a:gd name="T67" fmla="*/ 0 h 52"/>
                <a:gd name="T68" fmla="*/ 78 w 88"/>
                <a:gd name="T69" fmla="*/ 0 h 52"/>
                <a:gd name="T70" fmla="*/ 78 w 88"/>
                <a:gd name="T71" fmla="*/ 0 h 52"/>
                <a:gd name="T72" fmla="*/ 82 w 88"/>
                <a:gd name="T73" fmla="*/ 0 h 52"/>
                <a:gd name="T74" fmla="*/ 84 w 88"/>
                <a:gd name="T75" fmla="*/ 2 h 52"/>
                <a:gd name="T76" fmla="*/ 86 w 88"/>
                <a:gd name="T77" fmla="*/ 4 h 52"/>
                <a:gd name="T78" fmla="*/ 88 w 88"/>
                <a:gd name="T79" fmla="*/ 8 h 52"/>
                <a:gd name="T80" fmla="*/ 88 w 88"/>
                <a:gd name="T81" fmla="*/ 8 h 52"/>
                <a:gd name="T82" fmla="*/ 86 w 88"/>
                <a:gd name="T83" fmla="*/ 16 h 52"/>
                <a:gd name="T84" fmla="*/ 84 w 88"/>
                <a:gd name="T85" fmla="*/ 26 h 52"/>
                <a:gd name="T86" fmla="*/ 80 w 88"/>
                <a:gd name="T87" fmla="*/ 32 h 52"/>
                <a:gd name="T88" fmla="*/ 74 w 88"/>
                <a:gd name="T89" fmla="*/ 38 h 52"/>
                <a:gd name="T90" fmla="*/ 68 w 88"/>
                <a:gd name="T91" fmla="*/ 44 h 52"/>
                <a:gd name="T92" fmla="*/ 60 w 88"/>
                <a:gd name="T93" fmla="*/ 48 h 52"/>
                <a:gd name="T94" fmla="*/ 52 w 88"/>
                <a:gd name="T95" fmla="*/ 50 h 52"/>
                <a:gd name="T96" fmla="*/ 44 w 88"/>
                <a:gd name="T97" fmla="*/ 52 h 52"/>
                <a:gd name="T98" fmla="*/ 44 w 88"/>
                <a:gd name="T9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52">
                  <a:moveTo>
                    <a:pt x="44" y="52"/>
                  </a:moveTo>
                  <a:lnTo>
                    <a:pt x="44" y="52"/>
                  </a:lnTo>
                  <a:lnTo>
                    <a:pt x="36" y="50"/>
                  </a:lnTo>
                  <a:lnTo>
                    <a:pt x="26" y="48"/>
                  </a:lnTo>
                  <a:lnTo>
                    <a:pt x="20" y="44"/>
                  </a:lnTo>
                  <a:lnTo>
                    <a:pt x="14" y="38"/>
                  </a:lnTo>
                  <a:lnTo>
                    <a:pt x="8" y="32"/>
                  </a:lnTo>
                  <a:lnTo>
                    <a:pt x="4" y="26"/>
                  </a:lnTo>
                  <a:lnTo>
                    <a:pt x="2" y="16"/>
                  </a:lnTo>
                  <a:lnTo>
                    <a:pt x="0" y="8"/>
                  </a:lnTo>
                  <a:lnTo>
                    <a:pt x="0" y="8"/>
                  </a:lnTo>
                  <a:lnTo>
                    <a:pt x="2" y="4"/>
                  </a:lnTo>
                  <a:lnTo>
                    <a:pt x="2" y="2"/>
                  </a:lnTo>
                  <a:lnTo>
                    <a:pt x="6" y="0"/>
                  </a:lnTo>
                  <a:lnTo>
                    <a:pt x="10" y="0"/>
                  </a:lnTo>
                  <a:lnTo>
                    <a:pt x="10" y="0"/>
                  </a:lnTo>
                  <a:lnTo>
                    <a:pt x="12" y="0"/>
                  </a:lnTo>
                  <a:lnTo>
                    <a:pt x="16" y="2"/>
                  </a:lnTo>
                  <a:lnTo>
                    <a:pt x="18" y="4"/>
                  </a:lnTo>
                  <a:lnTo>
                    <a:pt x="18" y="8"/>
                  </a:lnTo>
                  <a:lnTo>
                    <a:pt x="18" y="8"/>
                  </a:lnTo>
                  <a:lnTo>
                    <a:pt x="20" y="18"/>
                  </a:lnTo>
                  <a:lnTo>
                    <a:pt x="26" y="26"/>
                  </a:lnTo>
                  <a:lnTo>
                    <a:pt x="34" y="32"/>
                  </a:lnTo>
                  <a:lnTo>
                    <a:pt x="44" y="34"/>
                  </a:lnTo>
                  <a:lnTo>
                    <a:pt x="44" y="34"/>
                  </a:lnTo>
                  <a:lnTo>
                    <a:pt x="54" y="32"/>
                  </a:lnTo>
                  <a:lnTo>
                    <a:pt x="62" y="26"/>
                  </a:lnTo>
                  <a:lnTo>
                    <a:pt x="68" y="18"/>
                  </a:lnTo>
                  <a:lnTo>
                    <a:pt x="70" y="8"/>
                  </a:lnTo>
                  <a:lnTo>
                    <a:pt x="70" y="8"/>
                  </a:lnTo>
                  <a:lnTo>
                    <a:pt x="70" y="4"/>
                  </a:lnTo>
                  <a:lnTo>
                    <a:pt x="72" y="2"/>
                  </a:lnTo>
                  <a:lnTo>
                    <a:pt x="74" y="0"/>
                  </a:lnTo>
                  <a:lnTo>
                    <a:pt x="78" y="0"/>
                  </a:lnTo>
                  <a:lnTo>
                    <a:pt x="78" y="0"/>
                  </a:lnTo>
                  <a:lnTo>
                    <a:pt x="82" y="0"/>
                  </a:lnTo>
                  <a:lnTo>
                    <a:pt x="84" y="2"/>
                  </a:lnTo>
                  <a:lnTo>
                    <a:pt x="86" y="4"/>
                  </a:lnTo>
                  <a:lnTo>
                    <a:pt x="88" y="8"/>
                  </a:lnTo>
                  <a:lnTo>
                    <a:pt x="88" y="8"/>
                  </a:lnTo>
                  <a:lnTo>
                    <a:pt x="86" y="16"/>
                  </a:lnTo>
                  <a:lnTo>
                    <a:pt x="84" y="26"/>
                  </a:lnTo>
                  <a:lnTo>
                    <a:pt x="80" y="32"/>
                  </a:lnTo>
                  <a:lnTo>
                    <a:pt x="74" y="38"/>
                  </a:lnTo>
                  <a:lnTo>
                    <a:pt x="68" y="44"/>
                  </a:lnTo>
                  <a:lnTo>
                    <a:pt x="60" y="48"/>
                  </a:lnTo>
                  <a:lnTo>
                    <a:pt x="52" y="50"/>
                  </a:lnTo>
                  <a:lnTo>
                    <a:pt x="44" y="52"/>
                  </a:lnTo>
                  <a:lnTo>
                    <a:pt x="44" y="52"/>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4" name="Freeform 16">
              <a:extLst>
                <a:ext uri="{FF2B5EF4-FFF2-40B4-BE49-F238E27FC236}">
                  <a16:creationId xmlns:a16="http://schemas.microsoft.com/office/drawing/2014/main" id="{CAFA71BE-D79B-7BC1-DD9A-A0C93585B8A7}"/>
                </a:ext>
              </a:extLst>
            </p:cNvPr>
            <p:cNvSpPr>
              <a:spLocks/>
            </p:cNvSpPr>
            <p:nvPr/>
          </p:nvSpPr>
          <p:spPr bwMode="auto">
            <a:xfrm>
              <a:off x="1154113" y="3032125"/>
              <a:ext cx="257175" cy="101600"/>
            </a:xfrm>
            <a:custGeom>
              <a:avLst/>
              <a:gdLst>
                <a:gd name="T0" fmla="*/ 10 w 162"/>
                <a:gd name="T1" fmla="*/ 64 h 64"/>
                <a:gd name="T2" fmla="*/ 10 w 162"/>
                <a:gd name="T3" fmla="*/ 64 h 64"/>
                <a:gd name="T4" fmla="*/ 4 w 162"/>
                <a:gd name="T5" fmla="*/ 62 h 64"/>
                <a:gd name="T6" fmla="*/ 4 w 162"/>
                <a:gd name="T7" fmla="*/ 62 h 64"/>
                <a:gd name="T8" fmla="*/ 2 w 162"/>
                <a:gd name="T9" fmla="*/ 60 h 64"/>
                <a:gd name="T10" fmla="*/ 0 w 162"/>
                <a:gd name="T11" fmla="*/ 56 h 64"/>
                <a:gd name="T12" fmla="*/ 0 w 162"/>
                <a:gd name="T13" fmla="*/ 52 h 64"/>
                <a:gd name="T14" fmla="*/ 2 w 162"/>
                <a:gd name="T15" fmla="*/ 50 h 64"/>
                <a:gd name="T16" fmla="*/ 2 w 162"/>
                <a:gd name="T17" fmla="*/ 50 h 64"/>
                <a:gd name="T18" fmla="*/ 16 w 162"/>
                <a:gd name="T19" fmla="*/ 32 h 64"/>
                <a:gd name="T20" fmla="*/ 34 w 162"/>
                <a:gd name="T21" fmla="*/ 18 h 64"/>
                <a:gd name="T22" fmla="*/ 52 w 162"/>
                <a:gd name="T23" fmla="*/ 8 h 64"/>
                <a:gd name="T24" fmla="*/ 74 w 162"/>
                <a:gd name="T25" fmla="*/ 2 h 64"/>
                <a:gd name="T26" fmla="*/ 94 w 162"/>
                <a:gd name="T27" fmla="*/ 0 h 64"/>
                <a:gd name="T28" fmla="*/ 116 w 162"/>
                <a:gd name="T29" fmla="*/ 2 h 64"/>
                <a:gd name="T30" fmla="*/ 138 w 162"/>
                <a:gd name="T31" fmla="*/ 8 h 64"/>
                <a:gd name="T32" fmla="*/ 158 w 162"/>
                <a:gd name="T33" fmla="*/ 20 h 64"/>
                <a:gd name="T34" fmla="*/ 158 w 162"/>
                <a:gd name="T35" fmla="*/ 20 h 64"/>
                <a:gd name="T36" fmla="*/ 160 w 162"/>
                <a:gd name="T37" fmla="*/ 22 h 64"/>
                <a:gd name="T38" fmla="*/ 162 w 162"/>
                <a:gd name="T39" fmla="*/ 24 h 64"/>
                <a:gd name="T40" fmla="*/ 162 w 162"/>
                <a:gd name="T41" fmla="*/ 28 h 64"/>
                <a:gd name="T42" fmla="*/ 160 w 162"/>
                <a:gd name="T43" fmla="*/ 32 h 64"/>
                <a:gd name="T44" fmla="*/ 160 w 162"/>
                <a:gd name="T45" fmla="*/ 32 h 64"/>
                <a:gd name="T46" fmla="*/ 158 w 162"/>
                <a:gd name="T47" fmla="*/ 34 h 64"/>
                <a:gd name="T48" fmla="*/ 154 w 162"/>
                <a:gd name="T49" fmla="*/ 36 h 64"/>
                <a:gd name="T50" fmla="*/ 150 w 162"/>
                <a:gd name="T51" fmla="*/ 36 h 64"/>
                <a:gd name="T52" fmla="*/ 148 w 162"/>
                <a:gd name="T53" fmla="*/ 34 h 64"/>
                <a:gd name="T54" fmla="*/ 148 w 162"/>
                <a:gd name="T55" fmla="*/ 34 h 64"/>
                <a:gd name="T56" fmla="*/ 130 w 162"/>
                <a:gd name="T57" fmla="*/ 26 h 64"/>
                <a:gd name="T58" fmla="*/ 114 w 162"/>
                <a:gd name="T59" fmla="*/ 20 h 64"/>
                <a:gd name="T60" fmla="*/ 94 w 162"/>
                <a:gd name="T61" fmla="*/ 18 h 64"/>
                <a:gd name="T62" fmla="*/ 78 w 162"/>
                <a:gd name="T63" fmla="*/ 20 h 64"/>
                <a:gd name="T64" fmla="*/ 60 w 162"/>
                <a:gd name="T65" fmla="*/ 24 h 64"/>
                <a:gd name="T66" fmla="*/ 44 w 162"/>
                <a:gd name="T67" fmla="*/ 34 h 64"/>
                <a:gd name="T68" fmla="*/ 30 w 162"/>
                <a:gd name="T69" fmla="*/ 44 h 64"/>
                <a:gd name="T70" fmla="*/ 18 w 162"/>
                <a:gd name="T71" fmla="*/ 60 h 64"/>
                <a:gd name="T72" fmla="*/ 18 w 162"/>
                <a:gd name="T73" fmla="*/ 60 h 64"/>
                <a:gd name="T74" fmla="*/ 14 w 162"/>
                <a:gd name="T75" fmla="*/ 62 h 64"/>
                <a:gd name="T76" fmla="*/ 10 w 162"/>
                <a:gd name="T77" fmla="*/ 64 h 64"/>
                <a:gd name="T78" fmla="*/ 10 w 162"/>
                <a:gd name="T7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 h="64">
                  <a:moveTo>
                    <a:pt x="10" y="64"/>
                  </a:moveTo>
                  <a:lnTo>
                    <a:pt x="10" y="64"/>
                  </a:lnTo>
                  <a:lnTo>
                    <a:pt x="4" y="62"/>
                  </a:lnTo>
                  <a:lnTo>
                    <a:pt x="4" y="62"/>
                  </a:lnTo>
                  <a:lnTo>
                    <a:pt x="2" y="60"/>
                  </a:lnTo>
                  <a:lnTo>
                    <a:pt x="0" y="56"/>
                  </a:lnTo>
                  <a:lnTo>
                    <a:pt x="0" y="52"/>
                  </a:lnTo>
                  <a:lnTo>
                    <a:pt x="2" y="50"/>
                  </a:lnTo>
                  <a:lnTo>
                    <a:pt x="2" y="50"/>
                  </a:lnTo>
                  <a:lnTo>
                    <a:pt x="16" y="32"/>
                  </a:lnTo>
                  <a:lnTo>
                    <a:pt x="34" y="18"/>
                  </a:lnTo>
                  <a:lnTo>
                    <a:pt x="52" y="8"/>
                  </a:lnTo>
                  <a:lnTo>
                    <a:pt x="74" y="2"/>
                  </a:lnTo>
                  <a:lnTo>
                    <a:pt x="94" y="0"/>
                  </a:lnTo>
                  <a:lnTo>
                    <a:pt x="116" y="2"/>
                  </a:lnTo>
                  <a:lnTo>
                    <a:pt x="138" y="8"/>
                  </a:lnTo>
                  <a:lnTo>
                    <a:pt x="158" y="20"/>
                  </a:lnTo>
                  <a:lnTo>
                    <a:pt x="158" y="20"/>
                  </a:lnTo>
                  <a:lnTo>
                    <a:pt x="160" y="22"/>
                  </a:lnTo>
                  <a:lnTo>
                    <a:pt x="162" y="24"/>
                  </a:lnTo>
                  <a:lnTo>
                    <a:pt x="162" y="28"/>
                  </a:lnTo>
                  <a:lnTo>
                    <a:pt x="160" y="32"/>
                  </a:lnTo>
                  <a:lnTo>
                    <a:pt x="160" y="32"/>
                  </a:lnTo>
                  <a:lnTo>
                    <a:pt x="158" y="34"/>
                  </a:lnTo>
                  <a:lnTo>
                    <a:pt x="154" y="36"/>
                  </a:lnTo>
                  <a:lnTo>
                    <a:pt x="150" y="36"/>
                  </a:lnTo>
                  <a:lnTo>
                    <a:pt x="148" y="34"/>
                  </a:lnTo>
                  <a:lnTo>
                    <a:pt x="148" y="34"/>
                  </a:lnTo>
                  <a:lnTo>
                    <a:pt x="130" y="26"/>
                  </a:lnTo>
                  <a:lnTo>
                    <a:pt x="114" y="20"/>
                  </a:lnTo>
                  <a:lnTo>
                    <a:pt x="94" y="18"/>
                  </a:lnTo>
                  <a:lnTo>
                    <a:pt x="78" y="20"/>
                  </a:lnTo>
                  <a:lnTo>
                    <a:pt x="60" y="24"/>
                  </a:lnTo>
                  <a:lnTo>
                    <a:pt x="44" y="34"/>
                  </a:lnTo>
                  <a:lnTo>
                    <a:pt x="30" y="44"/>
                  </a:lnTo>
                  <a:lnTo>
                    <a:pt x="18" y="60"/>
                  </a:lnTo>
                  <a:lnTo>
                    <a:pt x="18" y="60"/>
                  </a:lnTo>
                  <a:lnTo>
                    <a:pt x="14" y="62"/>
                  </a:lnTo>
                  <a:lnTo>
                    <a:pt x="10" y="64"/>
                  </a:lnTo>
                  <a:lnTo>
                    <a:pt x="10" y="6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5" name="Freeform 17">
              <a:extLst>
                <a:ext uri="{FF2B5EF4-FFF2-40B4-BE49-F238E27FC236}">
                  <a16:creationId xmlns:a16="http://schemas.microsoft.com/office/drawing/2014/main" id="{FA63D6A6-61B0-3078-1BC0-9B4C7B7111BC}"/>
                </a:ext>
              </a:extLst>
            </p:cNvPr>
            <p:cNvSpPr>
              <a:spLocks/>
            </p:cNvSpPr>
            <p:nvPr/>
          </p:nvSpPr>
          <p:spPr bwMode="auto">
            <a:xfrm>
              <a:off x="1135063" y="3063875"/>
              <a:ext cx="279400" cy="990600"/>
            </a:xfrm>
            <a:custGeom>
              <a:avLst/>
              <a:gdLst>
                <a:gd name="T0" fmla="*/ 166 w 176"/>
                <a:gd name="T1" fmla="*/ 624 h 624"/>
                <a:gd name="T2" fmla="*/ 48 w 176"/>
                <a:gd name="T3" fmla="*/ 624 h 624"/>
                <a:gd name="T4" fmla="*/ 48 w 176"/>
                <a:gd name="T5" fmla="*/ 624 h 624"/>
                <a:gd name="T6" fmla="*/ 46 w 176"/>
                <a:gd name="T7" fmla="*/ 624 h 624"/>
                <a:gd name="T8" fmla="*/ 42 w 176"/>
                <a:gd name="T9" fmla="*/ 622 h 624"/>
                <a:gd name="T10" fmla="*/ 40 w 176"/>
                <a:gd name="T11" fmla="*/ 618 h 624"/>
                <a:gd name="T12" fmla="*/ 40 w 176"/>
                <a:gd name="T13" fmla="*/ 616 h 624"/>
                <a:gd name="T14" fmla="*/ 40 w 176"/>
                <a:gd name="T15" fmla="*/ 514 h 624"/>
                <a:gd name="T16" fmla="*/ 40 w 176"/>
                <a:gd name="T17" fmla="*/ 514 h 624"/>
                <a:gd name="T18" fmla="*/ 30 w 176"/>
                <a:gd name="T19" fmla="*/ 508 h 624"/>
                <a:gd name="T20" fmla="*/ 22 w 176"/>
                <a:gd name="T21" fmla="*/ 498 h 624"/>
                <a:gd name="T22" fmla="*/ 14 w 176"/>
                <a:gd name="T23" fmla="*/ 488 h 624"/>
                <a:gd name="T24" fmla="*/ 8 w 176"/>
                <a:gd name="T25" fmla="*/ 478 h 624"/>
                <a:gd name="T26" fmla="*/ 4 w 176"/>
                <a:gd name="T27" fmla="*/ 468 h 624"/>
                <a:gd name="T28" fmla="*/ 0 w 176"/>
                <a:gd name="T29" fmla="*/ 456 h 624"/>
                <a:gd name="T30" fmla="*/ 0 w 176"/>
                <a:gd name="T31" fmla="*/ 444 h 624"/>
                <a:gd name="T32" fmla="*/ 0 w 176"/>
                <a:gd name="T33" fmla="*/ 430 h 624"/>
                <a:gd name="T34" fmla="*/ 0 w 176"/>
                <a:gd name="T35" fmla="*/ 430 h 624"/>
                <a:gd name="T36" fmla="*/ 2 w 176"/>
                <a:gd name="T37" fmla="*/ 428 h 624"/>
                <a:gd name="T38" fmla="*/ 4 w 176"/>
                <a:gd name="T39" fmla="*/ 424 h 624"/>
                <a:gd name="T40" fmla="*/ 6 w 176"/>
                <a:gd name="T41" fmla="*/ 424 h 624"/>
                <a:gd name="T42" fmla="*/ 10 w 176"/>
                <a:gd name="T43" fmla="*/ 422 h 624"/>
                <a:gd name="T44" fmla="*/ 10 w 176"/>
                <a:gd name="T45" fmla="*/ 422 h 624"/>
                <a:gd name="T46" fmla="*/ 14 w 176"/>
                <a:gd name="T47" fmla="*/ 424 h 624"/>
                <a:gd name="T48" fmla="*/ 16 w 176"/>
                <a:gd name="T49" fmla="*/ 426 h 624"/>
                <a:gd name="T50" fmla="*/ 18 w 176"/>
                <a:gd name="T51" fmla="*/ 430 h 624"/>
                <a:gd name="T52" fmla="*/ 18 w 176"/>
                <a:gd name="T53" fmla="*/ 432 h 624"/>
                <a:gd name="T54" fmla="*/ 18 w 176"/>
                <a:gd name="T55" fmla="*/ 432 h 624"/>
                <a:gd name="T56" fmla="*/ 18 w 176"/>
                <a:gd name="T57" fmla="*/ 444 h 624"/>
                <a:gd name="T58" fmla="*/ 18 w 176"/>
                <a:gd name="T59" fmla="*/ 454 h 624"/>
                <a:gd name="T60" fmla="*/ 22 w 176"/>
                <a:gd name="T61" fmla="*/ 464 h 624"/>
                <a:gd name="T62" fmla="*/ 26 w 176"/>
                <a:gd name="T63" fmla="*/ 472 h 624"/>
                <a:gd name="T64" fmla="*/ 30 w 176"/>
                <a:gd name="T65" fmla="*/ 482 h 624"/>
                <a:gd name="T66" fmla="*/ 38 w 176"/>
                <a:gd name="T67" fmla="*/ 488 h 624"/>
                <a:gd name="T68" fmla="*/ 44 w 176"/>
                <a:gd name="T69" fmla="*/ 496 h 624"/>
                <a:gd name="T70" fmla="*/ 54 w 176"/>
                <a:gd name="T71" fmla="*/ 502 h 624"/>
                <a:gd name="T72" fmla="*/ 54 w 176"/>
                <a:gd name="T73" fmla="*/ 502 h 624"/>
                <a:gd name="T74" fmla="*/ 56 w 176"/>
                <a:gd name="T75" fmla="*/ 504 h 624"/>
                <a:gd name="T76" fmla="*/ 58 w 176"/>
                <a:gd name="T77" fmla="*/ 510 h 624"/>
                <a:gd name="T78" fmla="*/ 58 w 176"/>
                <a:gd name="T79" fmla="*/ 606 h 624"/>
                <a:gd name="T80" fmla="*/ 158 w 176"/>
                <a:gd name="T81" fmla="*/ 606 h 624"/>
                <a:gd name="T82" fmla="*/ 158 w 176"/>
                <a:gd name="T83" fmla="*/ 10 h 624"/>
                <a:gd name="T84" fmla="*/ 158 w 176"/>
                <a:gd name="T85" fmla="*/ 10 h 624"/>
                <a:gd name="T86" fmla="*/ 158 w 176"/>
                <a:gd name="T87" fmla="*/ 6 h 624"/>
                <a:gd name="T88" fmla="*/ 160 w 176"/>
                <a:gd name="T89" fmla="*/ 4 h 624"/>
                <a:gd name="T90" fmla="*/ 162 w 176"/>
                <a:gd name="T91" fmla="*/ 2 h 624"/>
                <a:gd name="T92" fmla="*/ 166 w 176"/>
                <a:gd name="T93" fmla="*/ 0 h 624"/>
                <a:gd name="T94" fmla="*/ 166 w 176"/>
                <a:gd name="T95" fmla="*/ 0 h 624"/>
                <a:gd name="T96" fmla="*/ 170 w 176"/>
                <a:gd name="T97" fmla="*/ 2 h 624"/>
                <a:gd name="T98" fmla="*/ 172 w 176"/>
                <a:gd name="T99" fmla="*/ 4 h 624"/>
                <a:gd name="T100" fmla="*/ 174 w 176"/>
                <a:gd name="T101" fmla="*/ 6 h 624"/>
                <a:gd name="T102" fmla="*/ 176 w 176"/>
                <a:gd name="T103" fmla="*/ 10 h 624"/>
                <a:gd name="T104" fmla="*/ 176 w 176"/>
                <a:gd name="T105" fmla="*/ 616 h 624"/>
                <a:gd name="T106" fmla="*/ 176 w 176"/>
                <a:gd name="T107" fmla="*/ 616 h 624"/>
                <a:gd name="T108" fmla="*/ 174 w 176"/>
                <a:gd name="T109" fmla="*/ 618 h 624"/>
                <a:gd name="T110" fmla="*/ 172 w 176"/>
                <a:gd name="T111" fmla="*/ 622 h 624"/>
                <a:gd name="T112" fmla="*/ 170 w 176"/>
                <a:gd name="T113" fmla="*/ 624 h 624"/>
                <a:gd name="T114" fmla="*/ 166 w 176"/>
                <a:gd name="T115" fmla="*/ 624 h 624"/>
                <a:gd name="T116" fmla="*/ 166 w 176"/>
                <a:gd name="T117"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624">
                  <a:moveTo>
                    <a:pt x="166" y="624"/>
                  </a:moveTo>
                  <a:lnTo>
                    <a:pt x="48" y="624"/>
                  </a:lnTo>
                  <a:lnTo>
                    <a:pt x="48" y="624"/>
                  </a:lnTo>
                  <a:lnTo>
                    <a:pt x="46" y="624"/>
                  </a:lnTo>
                  <a:lnTo>
                    <a:pt x="42" y="622"/>
                  </a:lnTo>
                  <a:lnTo>
                    <a:pt x="40" y="618"/>
                  </a:lnTo>
                  <a:lnTo>
                    <a:pt x="40" y="616"/>
                  </a:lnTo>
                  <a:lnTo>
                    <a:pt x="40" y="514"/>
                  </a:lnTo>
                  <a:lnTo>
                    <a:pt x="40" y="514"/>
                  </a:lnTo>
                  <a:lnTo>
                    <a:pt x="30" y="508"/>
                  </a:lnTo>
                  <a:lnTo>
                    <a:pt x="22" y="498"/>
                  </a:lnTo>
                  <a:lnTo>
                    <a:pt x="14" y="488"/>
                  </a:lnTo>
                  <a:lnTo>
                    <a:pt x="8" y="478"/>
                  </a:lnTo>
                  <a:lnTo>
                    <a:pt x="4" y="468"/>
                  </a:lnTo>
                  <a:lnTo>
                    <a:pt x="0" y="456"/>
                  </a:lnTo>
                  <a:lnTo>
                    <a:pt x="0" y="444"/>
                  </a:lnTo>
                  <a:lnTo>
                    <a:pt x="0" y="430"/>
                  </a:lnTo>
                  <a:lnTo>
                    <a:pt x="0" y="430"/>
                  </a:lnTo>
                  <a:lnTo>
                    <a:pt x="2" y="428"/>
                  </a:lnTo>
                  <a:lnTo>
                    <a:pt x="4" y="424"/>
                  </a:lnTo>
                  <a:lnTo>
                    <a:pt x="6" y="424"/>
                  </a:lnTo>
                  <a:lnTo>
                    <a:pt x="10" y="422"/>
                  </a:lnTo>
                  <a:lnTo>
                    <a:pt x="10" y="422"/>
                  </a:lnTo>
                  <a:lnTo>
                    <a:pt x="14" y="424"/>
                  </a:lnTo>
                  <a:lnTo>
                    <a:pt x="16" y="426"/>
                  </a:lnTo>
                  <a:lnTo>
                    <a:pt x="18" y="430"/>
                  </a:lnTo>
                  <a:lnTo>
                    <a:pt x="18" y="432"/>
                  </a:lnTo>
                  <a:lnTo>
                    <a:pt x="18" y="432"/>
                  </a:lnTo>
                  <a:lnTo>
                    <a:pt x="18" y="444"/>
                  </a:lnTo>
                  <a:lnTo>
                    <a:pt x="18" y="454"/>
                  </a:lnTo>
                  <a:lnTo>
                    <a:pt x="22" y="464"/>
                  </a:lnTo>
                  <a:lnTo>
                    <a:pt x="26" y="472"/>
                  </a:lnTo>
                  <a:lnTo>
                    <a:pt x="30" y="482"/>
                  </a:lnTo>
                  <a:lnTo>
                    <a:pt x="38" y="488"/>
                  </a:lnTo>
                  <a:lnTo>
                    <a:pt x="44" y="496"/>
                  </a:lnTo>
                  <a:lnTo>
                    <a:pt x="54" y="502"/>
                  </a:lnTo>
                  <a:lnTo>
                    <a:pt x="54" y="502"/>
                  </a:lnTo>
                  <a:lnTo>
                    <a:pt x="56" y="504"/>
                  </a:lnTo>
                  <a:lnTo>
                    <a:pt x="58" y="510"/>
                  </a:lnTo>
                  <a:lnTo>
                    <a:pt x="58" y="606"/>
                  </a:lnTo>
                  <a:lnTo>
                    <a:pt x="158" y="606"/>
                  </a:lnTo>
                  <a:lnTo>
                    <a:pt x="158" y="10"/>
                  </a:lnTo>
                  <a:lnTo>
                    <a:pt x="158" y="10"/>
                  </a:lnTo>
                  <a:lnTo>
                    <a:pt x="158" y="6"/>
                  </a:lnTo>
                  <a:lnTo>
                    <a:pt x="160" y="4"/>
                  </a:lnTo>
                  <a:lnTo>
                    <a:pt x="162" y="2"/>
                  </a:lnTo>
                  <a:lnTo>
                    <a:pt x="166" y="0"/>
                  </a:lnTo>
                  <a:lnTo>
                    <a:pt x="166" y="0"/>
                  </a:lnTo>
                  <a:lnTo>
                    <a:pt x="170" y="2"/>
                  </a:lnTo>
                  <a:lnTo>
                    <a:pt x="172" y="4"/>
                  </a:lnTo>
                  <a:lnTo>
                    <a:pt x="174" y="6"/>
                  </a:lnTo>
                  <a:lnTo>
                    <a:pt x="176" y="10"/>
                  </a:lnTo>
                  <a:lnTo>
                    <a:pt x="176" y="616"/>
                  </a:lnTo>
                  <a:lnTo>
                    <a:pt x="176" y="616"/>
                  </a:lnTo>
                  <a:lnTo>
                    <a:pt x="174" y="618"/>
                  </a:lnTo>
                  <a:lnTo>
                    <a:pt x="172" y="622"/>
                  </a:lnTo>
                  <a:lnTo>
                    <a:pt x="170" y="624"/>
                  </a:lnTo>
                  <a:lnTo>
                    <a:pt x="166" y="624"/>
                  </a:lnTo>
                  <a:lnTo>
                    <a:pt x="166" y="62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6" name="Freeform 18">
              <a:extLst>
                <a:ext uri="{FF2B5EF4-FFF2-40B4-BE49-F238E27FC236}">
                  <a16:creationId xmlns:a16="http://schemas.microsoft.com/office/drawing/2014/main" id="{2872AC00-8397-533C-CF86-6C22DCB6D500}"/>
                </a:ext>
              </a:extLst>
            </p:cNvPr>
            <p:cNvSpPr>
              <a:spLocks/>
            </p:cNvSpPr>
            <p:nvPr/>
          </p:nvSpPr>
          <p:spPr bwMode="auto">
            <a:xfrm>
              <a:off x="1449388" y="3867150"/>
              <a:ext cx="196850" cy="187325"/>
            </a:xfrm>
            <a:custGeom>
              <a:avLst/>
              <a:gdLst>
                <a:gd name="T0" fmla="*/ 116 w 124"/>
                <a:gd name="T1" fmla="*/ 118 h 118"/>
                <a:gd name="T2" fmla="*/ 10 w 124"/>
                <a:gd name="T3" fmla="*/ 118 h 118"/>
                <a:gd name="T4" fmla="*/ 10 w 124"/>
                <a:gd name="T5" fmla="*/ 118 h 118"/>
                <a:gd name="T6" fmla="*/ 6 w 124"/>
                <a:gd name="T7" fmla="*/ 118 h 118"/>
                <a:gd name="T8" fmla="*/ 2 w 124"/>
                <a:gd name="T9" fmla="*/ 116 h 118"/>
                <a:gd name="T10" fmla="*/ 0 w 124"/>
                <a:gd name="T11" fmla="*/ 112 h 118"/>
                <a:gd name="T12" fmla="*/ 0 w 124"/>
                <a:gd name="T13" fmla="*/ 110 h 118"/>
                <a:gd name="T14" fmla="*/ 0 w 124"/>
                <a:gd name="T15" fmla="*/ 32 h 118"/>
                <a:gd name="T16" fmla="*/ 0 w 124"/>
                <a:gd name="T17" fmla="*/ 32 h 118"/>
                <a:gd name="T18" fmla="*/ 0 w 124"/>
                <a:gd name="T19" fmla="*/ 28 h 118"/>
                <a:gd name="T20" fmla="*/ 2 w 124"/>
                <a:gd name="T21" fmla="*/ 26 h 118"/>
                <a:gd name="T22" fmla="*/ 6 w 124"/>
                <a:gd name="T23" fmla="*/ 24 h 118"/>
                <a:gd name="T24" fmla="*/ 10 w 124"/>
                <a:gd name="T25" fmla="*/ 24 h 118"/>
                <a:gd name="T26" fmla="*/ 10 w 124"/>
                <a:gd name="T27" fmla="*/ 24 h 118"/>
                <a:gd name="T28" fmla="*/ 12 w 124"/>
                <a:gd name="T29" fmla="*/ 24 h 118"/>
                <a:gd name="T30" fmla="*/ 16 w 124"/>
                <a:gd name="T31" fmla="*/ 26 h 118"/>
                <a:gd name="T32" fmla="*/ 18 w 124"/>
                <a:gd name="T33" fmla="*/ 28 h 118"/>
                <a:gd name="T34" fmla="*/ 18 w 124"/>
                <a:gd name="T35" fmla="*/ 32 h 118"/>
                <a:gd name="T36" fmla="*/ 18 w 124"/>
                <a:gd name="T37" fmla="*/ 100 h 118"/>
                <a:gd name="T38" fmla="*/ 106 w 124"/>
                <a:gd name="T39" fmla="*/ 100 h 118"/>
                <a:gd name="T40" fmla="*/ 106 w 124"/>
                <a:gd name="T41" fmla="*/ 8 h 118"/>
                <a:gd name="T42" fmla="*/ 106 w 124"/>
                <a:gd name="T43" fmla="*/ 8 h 118"/>
                <a:gd name="T44" fmla="*/ 106 w 124"/>
                <a:gd name="T45" fmla="*/ 4 h 118"/>
                <a:gd name="T46" fmla="*/ 108 w 124"/>
                <a:gd name="T47" fmla="*/ 2 h 118"/>
                <a:gd name="T48" fmla="*/ 112 w 124"/>
                <a:gd name="T49" fmla="*/ 0 h 118"/>
                <a:gd name="T50" fmla="*/ 116 w 124"/>
                <a:gd name="T51" fmla="*/ 0 h 118"/>
                <a:gd name="T52" fmla="*/ 116 w 124"/>
                <a:gd name="T53" fmla="*/ 0 h 118"/>
                <a:gd name="T54" fmla="*/ 118 w 124"/>
                <a:gd name="T55" fmla="*/ 0 h 118"/>
                <a:gd name="T56" fmla="*/ 122 w 124"/>
                <a:gd name="T57" fmla="*/ 2 h 118"/>
                <a:gd name="T58" fmla="*/ 124 w 124"/>
                <a:gd name="T59" fmla="*/ 4 h 118"/>
                <a:gd name="T60" fmla="*/ 124 w 124"/>
                <a:gd name="T61" fmla="*/ 8 h 118"/>
                <a:gd name="T62" fmla="*/ 124 w 124"/>
                <a:gd name="T63" fmla="*/ 110 h 118"/>
                <a:gd name="T64" fmla="*/ 124 w 124"/>
                <a:gd name="T65" fmla="*/ 110 h 118"/>
                <a:gd name="T66" fmla="*/ 124 w 124"/>
                <a:gd name="T67" fmla="*/ 112 h 118"/>
                <a:gd name="T68" fmla="*/ 122 w 124"/>
                <a:gd name="T69" fmla="*/ 116 h 118"/>
                <a:gd name="T70" fmla="*/ 118 w 124"/>
                <a:gd name="T71" fmla="*/ 118 h 118"/>
                <a:gd name="T72" fmla="*/ 116 w 124"/>
                <a:gd name="T73" fmla="*/ 118 h 118"/>
                <a:gd name="T74" fmla="*/ 116 w 124"/>
                <a:gd name="T75"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18">
                  <a:moveTo>
                    <a:pt x="116" y="118"/>
                  </a:moveTo>
                  <a:lnTo>
                    <a:pt x="10" y="118"/>
                  </a:lnTo>
                  <a:lnTo>
                    <a:pt x="10" y="118"/>
                  </a:lnTo>
                  <a:lnTo>
                    <a:pt x="6" y="118"/>
                  </a:lnTo>
                  <a:lnTo>
                    <a:pt x="2" y="116"/>
                  </a:lnTo>
                  <a:lnTo>
                    <a:pt x="0" y="112"/>
                  </a:lnTo>
                  <a:lnTo>
                    <a:pt x="0" y="110"/>
                  </a:lnTo>
                  <a:lnTo>
                    <a:pt x="0" y="32"/>
                  </a:lnTo>
                  <a:lnTo>
                    <a:pt x="0" y="32"/>
                  </a:lnTo>
                  <a:lnTo>
                    <a:pt x="0" y="28"/>
                  </a:lnTo>
                  <a:lnTo>
                    <a:pt x="2" y="26"/>
                  </a:lnTo>
                  <a:lnTo>
                    <a:pt x="6" y="24"/>
                  </a:lnTo>
                  <a:lnTo>
                    <a:pt x="10" y="24"/>
                  </a:lnTo>
                  <a:lnTo>
                    <a:pt x="10" y="24"/>
                  </a:lnTo>
                  <a:lnTo>
                    <a:pt x="12" y="24"/>
                  </a:lnTo>
                  <a:lnTo>
                    <a:pt x="16" y="26"/>
                  </a:lnTo>
                  <a:lnTo>
                    <a:pt x="18" y="28"/>
                  </a:lnTo>
                  <a:lnTo>
                    <a:pt x="18" y="32"/>
                  </a:lnTo>
                  <a:lnTo>
                    <a:pt x="18" y="100"/>
                  </a:lnTo>
                  <a:lnTo>
                    <a:pt x="106" y="100"/>
                  </a:lnTo>
                  <a:lnTo>
                    <a:pt x="106" y="8"/>
                  </a:lnTo>
                  <a:lnTo>
                    <a:pt x="106" y="8"/>
                  </a:lnTo>
                  <a:lnTo>
                    <a:pt x="106" y="4"/>
                  </a:lnTo>
                  <a:lnTo>
                    <a:pt x="108" y="2"/>
                  </a:lnTo>
                  <a:lnTo>
                    <a:pt x="112" y="0"/>
                  </a:lnTo>
                  <a:lnTo>
                    <a:pt x="116" y="0"/>
                  </a:lnTo>
                  <a:lnTo>
                    <a:pt x="116" y="0"/>
                  </a:lnTo>
                  <a:lnTo>
                    <a:pt x="118" y="0"/>
                  </a:lnTo>
                  <a:lnTo>
                    <a:pt x="122" y="2"/>
                  </a:lnTo>
                  <a:lnTo>
                    <a:pt x="124" y="4"/>
                  </a:lnTo>
                  <a:lnTo>
                    <a:pt x="124" y="8"/>
                  </a:lnTo>
                  <a:lnTo>
                    <a:pt x="124" y="110"/>
                  </a:lnTo>
                  <a:lnTo>
                    <a:pt x="124" y="110"/>
                  </a:lnTo>
                  <a:lnTo>
                    <a:pt x="124" y="112"/>
                  </a:lnTo>
                  <a:lnTo>
                    <a:pt x="122" y="116"/>
                  </a:lnTo>
                  <a:lnTo>
                    <a:pt x="118" y="118"/>
                  </a:lnTo>
                  <a:lnTo>
                    <a:pt x="116" y="118"/>
                  </a:lnTo>
                  <a:lnTo>
                    <a:pt x="116" y="11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7" name="Freeform 19">
              <a:extLst>
                <a:ext uri="{FF2B5EF4-FFF2-40B4-BE49-F238E27FC236}">
                  <a16:creationId xmlns:a16="http://schemas.microsoft.com/office/drawing/2014/main" id="{4C48C4C9-3B91-67D0-0F6B-EF77FB0101B7}"/>
                </a:ext>
              </a:extLst>
            </p:cNvPr>
            <p:cNvSpPr>
              <a:spLocks/>
            </p:cNvSpPr>
            <p:nvPr/>
          </p:nvSpPr>
          <p:spPr bwMode="auto">
            <a:xfrm>
              <a:off x="1449388" y="3051175"/>
              <a:ext cx="422275" cy="898525"/>
            </a:xfrm>
            <a:custGeom>
              <a:avLst/>
              <a:gdLst>
                <a:gd name="T0" fmla="*/ 10 w 266"/>
                <a:gd name="T1" fmla="*/ 566 h 566"/>
                <a:gd name="T2" fmla="*/ 2 w 266"/>
                <a:gd name="T3" fmla="*/ 562 h 566"/>
                <a:gd name="T4" fmla="*/ 0 w 266"/>
                <a:gd name="T5" fmla="*/ 556 h 566"/>
                <a:gd name="T6" fmla="*/ 0 w 266"/>
                <a:gd name="T7" fmla="*/ 10 h 566"/>
                <a:gd name="T8" fmla="*/ 4 w 266"/>
                <a:gd name="T9" fmla="*/ 2 h 566"/>
                <a:gd name="T10" fmla="*/ 6 w 266"/>
                <a:gd name="T11" fmla="*/ 2 h 566"/>
                <a:gd name="T12" fmla="*/ 10 w 266"/>
                <a:gd name="T13" fmla="*/ 0 h 566"/>
                <a:gd name="T14" fmla="*/ 62 w 266"/>
                <a:gd name="T15" fmla="*/ 10 h 566"/>
                <a:gd name="T16" fmla="*/ 110 w 266"/>
                <a:gd name="T17" fmla="*/ 30 h 566"/>
                <a:gd name="T18" fmla="*/ 154 w 266"/>
                <a:gd name="T19" fmla="*/ 56 h 566"/>
                <a:gd name="T20" fmla="*/ 192 w 266"/>
                <a:gd name="T21" fmla="*/ 92 h 566"/>
                <a:gd name="T22" fmla="*/ 222 w 266"/>
                <a:gd name="T23" fmla="*/ 132 h 566"/>
                <a:gd name="T24" fmla="*/ 246 w 266"/>
                <a:gd name="T25" fmla="*/ 178 h 566"/>
                <a:gd name="T26" fmla="*/ 260 w 266"/>
                <a:gd name="T27" fmla="*/ 230 h 566"/>
                <a:gd name="T28" fmla="*/ 266 w 266"/>
                <a:gd name="T29" fmla="*/ 282 h 566"/>
                <a:gd name="T30" fmla="*/ 264 w 266"/>
                <a:gd name="T31" fmla="*/ 302 h 566"/>
                <a:gd name="T32" fmla="*/ 260 w 266"/>
                <a:gd name="T33" fmla="*/ 338 h 566"/>
                <a:gd name="T34" fmla="*/ 250 w 266"/>
                <a:gd name="T35" fmla="*/ 374 h 566"/>
                <a:gd name="T36" fmla="*/ 236 w 266"/>
                <a:gd name="T37" fmla="*/ 408 h 566"/>
                <a:gd name="T38" fmla="*/ 216 w 266"/>
                <a:gd name="T39" fmla="*/ 440 h 566"/>
                <a:gd name="T40" fmla="*/ 194 w 266"/>
                <a:gd name="T41" fmla="*/ 470 h 566"/>
                <a:gd name="T42" fmla="*/ 166 w 266"/>
                <a:gd name="T43" fmla="*/ 496 h 566"/>
                <a:gd name="T44" fmla="*/ 136 w 266"/>
                <a:gd name="T45" fmla="*/ 520 h 566"/>
                <a:gd name="T46" fmla="*/ 120 w 266"/>
                <a:gd name="T47" fmla="*/ 530 h 566"/>
                <a:gd name="T48" fmla="*/ 112 w 266"/>
                <a:gd name="T49" fmla="*/ 530 h 566"/>
                <a:gd name="T50" fmla="*/ 108 w 266"/>
                <a:gd name="T51" fmla="*/ 526 h 566"/>
                <a:gd name="T52" fmla="*/ 106 w 266"/>
                <a:gd name="T53" fmla="*/ 524 h 566"/>
                <a:gd name="T54" fmla="*/ 108 w 266"/>
                <a:gd name="T55" fmla="*/ 516 h 566"/>
                <a:gd name="T56" fmla="*/ 110 w 266"/>
                <a:gd name="T57" fmla="*/ 514 h 566"/>
                <a:gd name="T58" fmla="*/ 168 w 266"/>
                <a:gd name="T59" fmla="*/ 472 h 566"/>
                <a:gd name="T60" fmla="*/ 210 w 266"/>
                <a:gd name="T61" fmla="*/ 416 h 566"/>
                <a:gd name="T62" fmla="*/ 238 w 266"/>
                <a:gd name="T63" fmla="*/ 352 h 566"/>
                <a:gd name="T64" fmla="*/ 248 w 266"/>
                <a:gd name="T65" fmla="*/ 300 h 566"/>
                <a:gd name="T66" fmla="*/ 248 w 266"/>
                <a:gd name="T67" fmla="*/ 282 h 566"/>
                <a:gd name="T68" fmla="*/ 244 w 266"/>
                <a:gd name="T69" fmla="*/ 234 h 566"/>
                <a:gd name="T70" fmla="*/ 230 w 266"/>
                <a:gd name="T71" fmla="*/ 188 h 566"/>
                <a:gd name="T72" fmla="*/ 210 w 266"/>
                <a:gd name="T73" fmla="*/ 146 h 566"/>
                <a:gd name="T74" fmla="*/ 182 w 266"/>
                <a:gd name="T75" fmla="*/ 108 h 566"/>
                <a:gd name="T76" fmla="*/ 148 w 266"/>
                <a:gd name="T77" fmla="*/ 74 h 566"/>
                <a:gd name="T78" fmla="*/ 108 w 266"/>
                <a:gd name="T79" fmla="*/ 48 h 566"/>
                <a:gd name="T80" fmla="*/ 66 w 266"/>
                <a:gd name="T81" fmla="*/ 30 h 566"/>
                <a:gd name="T82" fmla="*/ 18 w 266"/>
                <a:gd name="T83" fmla="*/ 20 h 566"/>
                <a:gd name="T84" fmla="*/ 18 w 266"/>
                <a:gd name="T85" fmla="*/ 556 h 566"/>
                <a:gd name="T86" fmla="*/ 16 w 266"/>
                <a:gd name="T87" fmla="*/ 562 h 566"/>
                <a:gd name="T88" fmla="*/ 10 w 266"/>
                <a:gd name="T89" fmla="*/ 56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 h="566">
                  <a:moveTo>
                    <a:pt x="10" y="566"/>
                  </a:moveTo>
                  <a:lnTo>
                    <a:pt x="10" y="566"/>
                  </a:lnTo>
                  <a:lnTo>
                    <a:pt x="6" y="564"/>
                  </a:lnTo>
                  <a:lnTo>
                    <a:pt x="2" y="562"/>
                  </a:lnTo>
                  <a:lnTo>
                    <a:pt x="0" y="560"/>
                  </a:lnTo>
                  <a:lnTo>
                    <a:pt x="0" y="556"/>
                  </a:lnTo>
                  <a:lnTo>
                    <a:pt x="0" y="10"/>
                  </a:lnTo>
                  <a:lnTo>
                    <a:pt x="0" y="10"/>
                  </a:lnTo>
                  <a:lnTo>
                    <a:pt x="0" y="6"/>
                  </a:lnTo>
                  <a:lnTo>
                    <a:pt x="4" y="2"/>
                  </a:lnTo>
                  <a:lnTo>
                    <a:pt x="4" y="2"/>
                  </a:lnTo>
                  <a:lnTo>
                    <a:pt x="6" y="2"/>
                  </a:lnTo>
                  <a:lnTo>
                    <a:pt x="10" y="0"/>
                  </a:lnTo>
                  <a:lnTo>
                    <a:pt x="10" y="0"/>
                  </a:lnTo>
                  <a:lnTo>
                    <a:pt x="36" y="4"/>
                  </a:lnTo>
                  <a:lnTo>
                    <a:pt x="62" y="10"/>
                  </a:lnTo>
                  <a:lnTo>
                    <a:pt x="86" y="18"/>
                  </a:lnTo>
                  <a:lnTo>
                    <a:pt x="110" y="30"/>
                  </a:lnTo>
                  <a:lnTo>
                    <a:pt x="132" y="42"/>
                  </a:lnTo>
                  <a:lnTo>
                    <a:pt x="154" y="56"/>
                  </a:lnTo>
                  <a:lnTo>
                    <a:pt x="174" y="74"/>
                  </a:lnTo>
                  <a:lnTo>
                    <a:pt x="192" y="92"/>
                  </a:lnTo>
                  <a:lnTo>
                    <a:pt x="208" y="112"/>
                  </a:lnTo>
                  <a:lnTo>
                    <a:pt x="222" y="132"/>
                  </a:lnTo>
                  <a:lnTo>
                    <a:pt x="236" y="156"/>
                  </a:lnTo>
                  <a:lnTo>
                    <a:pt x="246" y="178"/>
                  </a:lnTo>
                  <a:lnTo>
                    <a:pt x="254" y="204"/>
                  </a:lnTo>
                  <a:lnTo>
                    <a:pt x="260" y="230"/>
                  </a:lnTo>
                  <a:lnTo>
                    <a:pt x="264" y="256"/>
                  </a:lnTo>
                  <a:lnTo>
                    <a:pt x="266" y="282"/>
                  </a:lnTo>
                  <a:lnTo>
                    <a:pt x="266" y="282"/>
                  </a:lnTo>
                  <a:lnTo>
                    <a:pt x="264" y="302"/>
                  </a:lnTo>
                  <a:lnTo>
                    <a:pt x="264" y="320"/>
                  </a:lnTo>
                  <a:lnTo>
                    <a:pt x="260" y="338"/>
                  </a:lnTo>
                  <a:lnTo>
                    <a:pt x="256" y="358"/>
                  </a:lnTo>
                  <a:lnTo>
                    <a:pt x="250" y="374"/>
                  </a:lnTo>
                  <a:lnTo>
                    <a:pt x="244" y="392"/>
                  </a:lnTo>
                  <a:lnTo>
                    <a:pt x="236" y="408"/>
                  </a:lnTo>
                  <a:lnTo>
                    <a:pt x="226" y="426"/>
                  </a:lnTo>
                  <a:lnTo>
                    <a:pt x="216" y="440"/>
                  </a:lnTo>
                  <a:lnTo>
                    <a:pt x="206" y="456"/>
                  </a:lnTo>
                  <a:lnTo>
                    <a:pt x="194" y="470"/>
                  </a:lnTo>
                  <a:lnTo>
                    <a:pt x="180" y="484"/>
                  </a:lnTo>
                  <a:lnTo>
                    <a:pt x="166" y="496"/>
                  </a:lnTo>
                  <a:lnTo>
                    <a:pt x="152" y="508"/>
                  </a:lnTo>
                  <a:lnTo>
                    <a:pt x="136" y="520"/>
                  </a:lnTo>
                  <a:lnTo>
                    <a:pt x="120" y="530"/>
                  </a:lnTo>
                  <a:lnTo>
                    <a:pt x="120" y="530"/>
                  </a:lnTo>
                  <a:lnTo>
                    <a:pt x="116" y="532"/>
                  </a:lnTo>
                  <a:lnTo>
                    <a:pt x="112" y="530"/>
                  </a:lnTo>
                  <a:lnTo>
                    <a:pt x="110" y="530"/>
                  </a:lnTo>
                  <a:lnTo>
                    <a:pt x="108" y="526"/>
                  </a:lnTo>
                  <a:lnTo>
                    <a:pt x="108" y="526"/>
                  </a:lnTo>
                  <a:lnTo>
                    <a:pt x="106" y="524"/>
                  </a:lnTo>
                  <a:lnTo>
                    <a:pt x="106" y="520"/>
                  </a:lnTo>
                  <a:lnTo>
                    <a:pt x="108" y="516"/>
                  </a:lnTo>
                  <a:lnTo>
                    <a:pt x="110" y="514"/>
                  </a:lnTo>
                  <a:lnTo>
                    <a:pt x="110" y="514"/>
                  </a:lnTo>
                  <a:lnTo>
                    <a:pt x="140" y="494"/>
                  </a:lnTo>
                  <a:lnTo>
                    <a:pt x="168" y="472"/>
                  </a:lnTo>
                  <a:lnTo>
                    <a:pt x="192" y="446"/>
                  </a:lnTo>
                  <a:lnTo>
                    <a:pt x="210" y="416"/>
                  </a:lnTo>
                  <a:lnTo>
                    <a:pt x="226" y="386"/>
                  </a:lnTo>
                  <a:lnTo>
                    <a:pt x="238" y="352"/>
                  </a:lnTo>
                  <a:lnTo>
                    <a:pt x="246" y="318"/>
                  </a:lnTo>
                  <a:lnTo>
                    <a:pt x="248" y="300"/>
                  </a:lnTo>
                  <a:lnTo>
                    <a:pt x="248" y="282"/>
                  </a:lnTo>
                  <a:lnTo>
                    <a:pt x="248" y="282"/>
                  </a:lnTo>
                  <a:lnTo>
                    <a:pt x="246" y="258"/>
                  </a:lnTo>
                  <a:lnTo>
                    <a:pt x="244" y="234"/>
                  </a:lnTo>
                  <a:lnTo>
                    <a:pt x="238" y="210"/>
                  </a:lnTo>
                  <a:lnTo>
                    <a:pt x="230" y="188"/>
                  </a:lnTo>
                  <a:lnTo>
                    <a:pt x="220" y="166"/>
                  </a:lnTo>
                  <a:lnTo>
                    <a:pt x="210" y="146"/>
                  </a:lnTo>
                  <a:lnTo>
                    <a:pt x="196" y="126"/>
                  </a:lnTo>
                  <a:lnTo>
                    <a:pt x="182" y="108"/>
                  </a:lnTo>
                  <a:lnTo>
                    <a:pt x="166" y="90"/>
                  </a:lnTo>
                  <a:lnTo>
                    <a:pt x="148" y="74"/>
                  </a:lnTo>
                  <a:lnTo>
                    <a:pt x="128" y="62"/>
                  </a:lnTo>
                  <a:lnTo>
                    <a:pt x="108" y="48"/>
                  </a:lnTo>
                  <a:lnTo>
                    <a:pt x="88" y="38"/>
                  </a:lnTo>
                  <a:lnTo>
                    <a:pt x="66" y="30"/>
                  </a:lnTo>
                  <a:lnTo>
                    <a:pt x="42" y="24"/>
                  </a:lnTo>
                  <a:lnTo>
                    <a:pt x="18" y="20"/>
                  </a:lnTo>
                  <a:lnTo>
                    <a:pt x="18" y="556"/>
                  </a:lnTo>
                  <a:lnTo>
                    <a:pt x="18" y="556"/>
                  </a:lnTo>
                  <a:lnTo>
                    <a:pt x="18" y="560"/>
                  </a:lnTo>
                  <a:lnTo>
                    <a:pt x="16" y="562"/>
                  </a:lnTo>
                  <a:lnTo>
                    <a:pt x="12" y="564"/>
                  </a:lnTo>
                  <a:lnTo>
                    <a:pt x="10" y="566"/>
                  </a:lnTo>
                  <a:lnTo>
                    <a:pt x="10" y="566"/>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8" name="Freeform 20">
              <a:extLst>
                <a:ext uri="{FF2B5EF4-FFF2-40B4-BE49-F238E27FC236}">
                  <a16:creationId xmlns:a16="http://schemas.microsoft.com/office/drawing/2014/main" id="{E51C515E-A370-F1D6-ABBF-8D8C7D24A4B1}"/>
                </a:ext>
              </a:extLst>
            </p:cNvPr>
            <p:cNvSpPr>
              <a:spLocks/>
            </p:cNvSpPr>
            <p:nvPr/>
          </p:nvSpPr>
          <p:spPr bwMode="auto">
            <a:xfrm>
              <a:off x="1547813" y="3136900"/>
              <a:ext cx="120650" cy="85725"/>
            </a:xfrm>
            <a:custGeom>
              <a:avLst/>
              <a:gdLst>
                <a:gd name="T0" fmla="*/ 68 w 76"/>
                <a:gd name="T1" fmla="*/ 54 h 54"/>
                <a:gd name="T2" fmla="*/ 68 w 76"/>
                <a:gd name="T3" fmla="*/ 54 h 54"/>
                <a:gd name="T4" fmla="*/ 62 w 76"/>
                <a:gd name="T5" fmla="*/ 52 h 54"/>
                <a:gd name="T6" fmla="*/ 62 w 76"/>
                <a:gd name="T7" fmla="*/ 52 h 54"/>
                <a:gd name="T8" fmla="*/ 36 w 76"/>
                <a:gd name="T9" fmla="*/ 32 h 54"/>
                <a:gd name="T10" fmla="*/ 6 w 76"/>
                <a:gd name="T11" fmla="*/ 18 h 54"/>
                <a:gd name="T12" fmla="*/ 6 w 76"/>
                <a:gd name="T13" fmla="*/ 18 h 54"/>
                <a:gd name="T14" fmla="*/ 4 w 76"/>
                <a:gd name="T15" fmla="*/ 16 h 54"/>
                <a:gd name="T16" fmla="*/ 2 w 76"/>
                <a:gd name="T17" fmla="*/ 12 h 54"/>
                <a:gd name="T18" fmla="*/ 0 w 76"/>
                <a:gd name="T19" fmla="*/ 8 h 54"/>
                <a:gd name="T20" fmla="*/ 2 w 76"/>
                <a:gd name="T21" fmla="*/ 6 h 54"/>
                <a:gd name="T22" fmla="*/ 2 w 76"/>
                <a:gd name="T23" fmla="*/ 6 h 54"/>
                <a:gd name="T24" fmla="*/ 4 w 76"/>
                <a:gd name="T25" fmla="*/ 2 h 54"/>
                <a:gd name="T26" fmla="*/ 6 w 76"/>
                <a:gd name="T27" fmla="*/ 0 h 54"/>
                <a:gd name="T28" fmla="*/ 10 w 76"/>
                <a:gd name="T29" fmla="*/ 0 h 54"/>
                <a:gd name="T30" fmla="*/ 14 w 76"/>
                <a:gd name="T31" fmla="*/ 0 h 54"/>
                <a:gd name="T32" fmla="*/ 14 w 76"/>
                <a:gd name="T33" fmla="*/ 0 h 54"/>
                <a:gd name="T34" fmla="*/ 44 w 76"/>
                <a:gd name="T35" fmla="*/ 18 h 54"/>
                <a:gd name="T36" fmla="*/ 74 w 76"/>
                <a:gd name="T37" fmla="*/ 38 h 54"/>
                <a:gd name="T38" fmla="*/ 74 w 76"/>
                <a:gd name="T39" fmla="*/ 38 h 54"/>
                <a:gd name="T40" fmla="*/ 76 w 76"/>
                <a:gd name="T41" fmla="*/ 40 h 54"/>
                <a:gd name="T42" fmla="*/ 76 w 76"/>
                <a:gd name="T43" fmla="*/ 44 h 54"/>
                <a:gd name="T44" fmla="*/ 76 w 76"/>
                <a:gd name="T45" fmla="*/ 46 h 54"/>
                <a:gd name="T46" fmla="*/ 74 w 76"/>
                <a:gd name="T47" fmla="*/ 50 h 54"/>
                <a:gd name="T48" fmla="*/ 74 w 76"/>
                <a:gd name="T49" fmla="*/ 50 h 54"/>
                <a:gd name="T50" fmla="*/ 72 w 76"/>
                <a:gd name="T51" fmla="*/ 52 h 54"/>
                <a:gd name="T52" fmla="*/ 68 w 76"/>
                <a:gd name="T53" fmla="*/ 54 h 54"/>
                <a:gd name="T54" fmla="*/ 68 w 76"/>
                <a:gd name="T5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 h="54">
                  <a:moveTo>
                    <a:pt x="68" y="54"/>
                  </a:moveTo>
                  <a:lnTo>
                    <a:pt x="68" y="54"/>
                  </a:lnTo>
                  <a:lnTo>
                    <a:pt x="62" y="52"/>
                  </a:lnTo>
                  <a:lnTo>
                    <a:pt x="62" y="52"/>
                  </a:lnTo>
                  <a:lnTo>
                    <a:pt x="36" y="32"/>
                  </a:lnTo>
                  <a:lnTo>
                    <a:pt x="6" y="18"/>
                  </a:lnTo>
                  <a:lnTo>
                    <a:pt x="6" y="18"/>
                  </a:lnTo>
                  <a:lnTo>
                    <a:pt x="4" y="16"/>
                  </a:lnTo>
                  <a:lnTo>
                    <a:pt x="2" y="12"/>
                  </a:lnTo>
                  <a:lnTo>
                    <a:pt x="0" y="8"/>
                  </a:lnTo>
                  <a:lnTo>
                    <a:pt x="2" y="6"/>
                  </a:lnTo>
                  <a:lnTo>
                    <a:pt x="2" y="6"/>
                  </a:lnTo>
                  <a:lnTo>
                    <a:pt x="4" y="2"/>
                  </a:lnTo>
                  <a:lnTo>
                    <a:pt x="6" y="0"/>
                  </a:lnTo>
                  <a:lnTo>
                    <a:pt x="10" y="0"/>
                  </a:lnTo>
                  <a:lnTo>
                    <a:pt x="14" y="0"/>
                  </a:lnTo>
                  <a:lnTo>
                    <a:pt x="14" y="0"/>
                  </a:lnTo>
                  <a:lnTo>
                    <a:pt x="44" y="18"/>
                  </a:lnTo>
                  <a:lnTo>
                    <a:pt x="74" y="38"/>
                  </a:lnTo>
                  <a:lnTo>
                    <a:pt x="74" y="38"/>
                  </a:lnTo>
                  <a:lnTo>
                    <a:pt x="76" y="40"/>
                  </a:lnTo>
                  <a:lnTo>
                    <a:pt x="76" y="44"/>
                  </a:lnTo>
                  <a:lnTo>
                    <a:pt x="76" y="46"/>
                  </a:lnTo>
                  <a:lnTo>
                    <a:pt x="74" y="50"/>
                  </a:lnTo>
                  <a:lnTo>
                    <a:pt x="74" y="50"/>
                  </a:lnTo>
                  <a:lnTo>
                    <a:pt x="72" y="52"/>
                  </a:lnTo>
                  <a:lnTo>
                    <a:pt x="68" y="54"/>
                  </a:lnTo>
                  <a:lnTo>
                    <a:pt x="68" y="54"/>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49" name="Freeform 21">
              <a:extLst>
                <a:ext uri="{FF2B5EF4-FFF2-40B4-BE49-F238E27FC236}">
                  <a16:creationId xmlns:a16="http://schemas.microsoft.com/office/drawing/2014/main" id="{F860E1C4-AE83-6C5E-3C58-025C197A1C6E}"/>
                </a:ext>
              </a:extLst>
            </p:cNvPr>
            <p:cNvSpPr>
              <a:spLocks noEditPoints="1"/>
            </p:cNvSpPr>
            <p:nvPr/>
          </p:nvSpPr>
          <p:spPr bwMode="auto">
            <a:xfrm>
              <a:off x="1455738" y="3492500"/>
              <a:ext cx="215900" cy="555625"/>
            </a:xfrm>
            <a:custGeom>
              <a:avLst/>
              <a:gdLst>
                <a:gd name="T0" fmla="*/ 42 w 136"/>
                <a:gd name="T1" fmla="*/ 350 h 350"/>
                <a:gd name="T2" fmla="*/ 36 w 136"/>
                <a:gd name="T3" fmla="*/ 348 h 350"/>
                <a:gd name="T4" fmla="*/ 34 w 136"/>
                <a:gd name="T5" fmla="*/ 342 h 350"/>
                <a:gd name="T6" fmla="*/ 34 w 136"/>
                <a:gd name="T7" fmla="*/ 134 h 350"/>
                <a:gd name="T8" fmla="*/ 36 w 136"/>
                <a:gd name="T9" fmla="*/ 100 h 350"/>
                <a:gd name="T10" fmla="*/ 8 w 136"/>
                <a:gd name="T11" fmla="*/ 80 h 350"/>
                <a:gd name="T12" fmla="*/ 6 w 136"/>
                <a:gd name="T13" fmla="*/ 80 h 350"/>
                <a:gd name="T14" fmla="*/ 0 w 136"/>
                <a:gd name="T15" fmla="*/ 76 h 350"/>
                <a:gd name="T16" fmla="*/ 0 w 136"/>
                <a:gd name="T17" fmla="*/ 72 h 350"/>
                <a:gd name="T18" fmla="*/ 2 w 136"/>
                <a:gd name="T19" fmla="*/ 66 h 350"/>
                <a:gd name="T20" fmla="*/ 8 w 136"/>
                <a:gd name="T21" fmla="*/ 62 h 350"/>
                <a:gd name="T22" fmla="*/ 44 w 136"/>
                <a:gd name="T23" fmla="*/ 62 h 350"/>
                <a:gd name="T24" fmla="*/ 62 w 136"/>
                <a:gd name="T25" fmla="*/ 24 h 350"/>
                <a:gd name="T26" fmla="*/ 74 w 136"/>
                <a:gd name="T27" fmla="*/ 10 h 350"/>
                <a:gd name="T28" fmla="*/ 92 w 136"/>
                <a:gd name="T29" fmla="*/ 2 h 350"/>
                <a:gd name="T30" fmla="*/ 106 w 136"/>
                <a:gd name="T31" fmla="*/ 0 h 350"/>
                <a:gd name="T32" fmla="*/ 126 w 136"/>
                <a:gd name="T33" fmla="*/ 6 h 350"/>
                <a:gd name="T34" fmla="*/ 130 w 136"/>
                <a:gd name="T35" fmla="*/ 10 h 350"/>
                <a:gd name="T36" fmla="*/ 136 w 136"/>
                <a:gd name="T37" fmla="*/ 26 h 350"/>
                <a:gd name="T38" fmla="*/ 132 w 136"/>
                <a:gd name="T39" fmla="*/ 46 h 350"/>
                <a:gd name="T40" fmla="*/ 124 w 136"/>
                <a:gd name="T41" fmla="*/ 58 h 350"/>
                <a:gd name="T42" fmla="*/ 110 w 136"/>
                <a:gd name="T43" fmla="*/ 70 h 350"/>
                <a:gd name="T44" fmla="*/ 94 w 136"/>
                <a:gd name="T45" fmla="*/ 78 h 350"/>
                <a:gd name="T46" fmla="*/ 72 w 136"/>
                <a:gd name="T47" fmla="*/ 80 h 350"/>
                <a:gd name="T48" fmla="*/ 58 w 136"/>
                <a:gd name="T49" fmla="*/ 80 h 350"/>
                <a:gd name="T50" fmla="*/ 52 w 136"/>
                <a:gd name="T51" fmla="*/ 134 h 350"/>
                <a:gd name="T52" fmla="*/ 52 w 136"/>
                <a:gd name="T53" fmla="*/ 342 h 350"/>
                <a:gd name="T54" fmla="*/ 50 w 136"/>
                <a:gd name="T55" fmla="*/ 348 h 350"/>
                <a:gd name="T56" fmla="*/ 42 w 136"/>
                <a:gd name="T57" fmla="*/ 350 h 350"/>
                <a:gd name="T58" fmla="*/ 62 w 136"/>
                <a:gd name="T59" fmla="*/ 62 h 350"/>
                <a:gd name="T60" fmla="*/ 72 w 136"/>
                <a:gd name="T61" fmla="*/ 62 h 350"/>
                <a:gd name="T62" fmla="*/ 100 w 136"/>
                <a:gd name="T63" fmla="*/ 56 h 350"/>
                <a:gd name="T64" fmla="*/ 116 w 136"/>
                <a:gd name="T65" fmla="*/ 38 h 350"/>
                <a:gd name="T66" fmla="*/ 118 w 136"/>
                <a:gd name="T67" fmla="*/ 28 h 350"/>
                <a:gd name="T68" fmla="*/ 116 w 136"/>
                <a:gd name="T69" fmla="*/ 22 h 350"/>
                <a:gd name="T70" fmla="*/ 112 w 136"/>
                <a:gd name="T71" fmla="*/ 20 h 350"/>
                <a:gd name="T72" fmla="*/ 96 w 136"/>
                <a:gd name="T73" fmla="*/ 20 h 350"/>
                <a:gd name="T74" fmla="*/ 90 w 136"/>
                <a:gd name="T75" fmla="*/ 22 h 350"/>
                <a:gd name="T76" fmla="*/ 76 w 136"/>
                <a:gd name="T77" fmla="*/ 36 h 350"/>
                <a:gd name="T78" fmla="*/ 62 w 136"/>
                <a:gd name="T79" fmla="*/ 6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350">
                  <a:moveTo>
                    <a:pt x="42" y="350"/>
                  </a:moveTo>
                  <a:lnTo>
                    <a:pt x="42" y="350"/>
                  </a:lnTo>
                  <a:lnTo>
                    <a:pt x="40" y="350"/>
                  </a:lnTo>
                  <a:lnTo>
                    <a:pt x="36" y="348"/>
                  </a:lnTo>
                  <a:lnTo>
                    <a:pt x="34" y="346"/>
                  </a:lnTo>
                  <a:lnTo>
                    <a:pt x="34" y="342"/>
                  </a:lnTo>
                  <a:lnTo>
                    <a:pt x="34" y="134"/>
                  </a:lnTo>
                  <a:lnTo>
                    <a:pt x="34" y="134"/>
                  </a:lnTo>
                  <a:lnTo>
                    <a:pt x="34" y="118"/>
                  </a:lnTo>
                  <a:lnTo>
                    <a:pt x="36" y="100"/>
                  </a:lnTo>
                  <a:lnTo>
                    <a:pt x="40" y="80"/>
                  </a:lnTo>
                  <a:lnTo>
                    <a:pt x="8" y="80"/>
                  </a:lnTo>
                  <a:lnTo>
                    <a:pt x="8" y="80"/>
                  </a:lnTo>
                  <a:lnTo>
                    <a:pt x="6" y="80"/>
                  </a:lnTo>
                  <a:lnTo>
                    <a:pt x="2" y="78"/>
                  </a:lnTo>
                  <a:lnTo>
                    <a:pt x="0" y="76"/>
                  </a:lnTo>
                  <a:lnTo>
                    <a:pt x="0" y="72"/>
                  </a:lnTo>
                  <a:lnTo>
                    <a:pt x="0" y="72"/>
                  </a:lnTo>
                  <a:lnTo>
                    <a:pt x="0" y="68"/>
                  </a:lnTo>
                  <a:lnTo>
                    <a:pt x="2" y="66"/>
                  </a:lnTo>
                  <a:lnTo>
                    <a:pt x="6" y="64"/>
                  </a:lnTo>
                  <a:lnTo>
                    <a:pt x="8" y="62"/>
                  </a:lnTo>
                  <a:lnTo>
                    <a:pt x="44" y="62"/>
                  </a:lnTo>
                  <a:lnTo>
                    <a:pt x="44" y="62"/>
                  </a:lnTo>
                  <a:lnTo>
                    <a:pt x="52" y="42"/>
                  </a:lnTo>
                  <a:lnTo>
                    <a:pt x="62" y="24"/>
                  </a:lnTo>
                  <a:lnTo>
                    <a:pt x="68" y="18"/>
                  </a:lnTo>
                  <a:lnTo>
                    <a:pt x="74" y="10"/>
                  </a:lnTo>
                  <a:lnTo>
                    <a:pt x="84" y="6"/>
                  </a:lnTo>
                  <a:lnTo>
                    <a:pt x="92" y="2"/>
                  </a:lnTo>
                  <a:lnTo>
                    <a:pt x="92" y="2"/>
                  </a:lnTo>
                  <a:lnTo>
                    <a:pt x="106" y="0"/>
                  </a:lnTo>
                  <a:lnTo>
                    <a:pt x="118" y="2"/>
                  </a:lnTo>
                  <a:lnTo>
                    <a:pt x="126" y="6"/>
                  </a:lnTo>
                  <a:lnTo>
                    <a:pt x="130" y="10"/>
                  </a:lnTo>
                  <a:lnTo>
                    <a:pt x="130" y="10"/>
                  </a:lnTo>
                  <a:lnTo>
                    <a:pt x="134" y="18"/>
                  </a:lnTo>
                  <a:lnTo>
                    <a:pt x="136" y="26"/>
                  </a:lnTo>
                  <a:lnTo>
                    <a:pt x="136" y="36"/>
                  </a:lnTo>
                  <a:lnTo>
                    <a:pt x="132" y="46"/>
                  </a:lnTo>
                  <a:lnTo>
                    <a:pt x="132" y="46"/>
                  </a:lnTo>
                  <a:lnTo>
                    <a:pt x="124" y="58"/>
                  </a:lnTo>
                  <a:lnTo>
                    <a:pt x="118" y="64"/>
                  </a:lnTo>
                  <a:lnTo>
                    <a:pt x="110" y="70"/>
                  </a:lnTo>
                  <a:lnTo>
                    <a:pt x="102" y="74"/>
                  </a:lnTo>
                  <a:lnTo>
                    <a:pt x="94" y="78"/>
                  </a:lnTo>
                  <a:lnTo>
                    <a:pt x="82" y="80"/>
                  </a:lnTo>
                  <a:lnTo>
                    <a:pt x="72" y="80"/>
                  </a:lnTo>
                  <a:lnTo>
                    <a:pt x="58" y="80"/>
                  </a:lnTo>
                  <a:lnTo>
                    <a:pt x="58" y="80"/>
                  </a:lnTo>
                  <a:lnTo>
                    <a:pt x="54" y="110"/>
                  </a:lnTo>
                  <a:lnTo>
                    <a:pt x="52" y="134"/>
                  </a:lnTo>
                  <a:lnTo>
                    <a:pt x="52" y="342"/>
                  </a:lnTo>
                  <a:lnTo>
                    <a:pt x="52" y="342"/>
                  </a:lnTo>
                  <a:lnTo>
                    <a:pt x="50" y="346"/>
                  </a:lnTo>
                  <a:lnTo>
                    <a:pt x="50" y="348"/>
                  </a:lnTo>
                  <a:lnTo>
                    <a:pt x="46" y="350"/>
                  </a:lnTo>
                  <a:lnTo>
                    <a:pt x="42" y="350"/>
                  </a:lnTo>
                  <a:lnTo>
                    <a:pt x="42" y="350"/>
                  </a:lnTo>
                  <a:close/>
                  <a:moveTo>
                    <a:pt x="62" y="62"/>
                  </a:moveTo>
                  <a:lnTo>
                    <a:pt x="72" y="62"/>
                  </a:lnTo>
                  <a:lnTo>
                    <a:pt x="72" y="62"/>
                  </a:lnTo>
                  <a:lnTo>
                    <a:pt x="88" y="60"/>
                  </a:lnTo>
                  <a:lnTo>
                    <a:pt x="100" y="56"/>
                  </a:lnTo>
                  <a:lnTo>
                    <a:pt x="110" y="48"/>
                  </a:lnTo>
                  <a:lnTo>
                    <a:pt x="116" y="38"/>
                  </a:lnTo>
                  <a:lnTo>
                    <a:pt x="116" y="38"/>
                  </a:lnTo>
                  <a:lnTo>
                    <a:pt x="118" y="28"/>
                  </a:lnTo>
                  <a:lnTo>
                    <a:pt x="118" y="24"/>
                  </a:lnTo>
                  <a:lnTo>
                    <a:pt x="116" y="22"/>
                  </a:lnTo>
                  <a:lnTo>
                    <a:pt x="116" y="22"/>
                  </a:lnTo>
                  <a:lnTo>
                    <a:pt x="112" y="20"/>
                  </a:lnTo>
                  <a:lnTo>
                    <a:pt x="108" y="18"/>
                  </a:lnTo>
                  <a:lnTo>
                    <a:pt x="96" y="20"/>
                  </a:lnTo>
                  <a:lnTo>
                    <a:pt x="96" y="20"/>
                  </a:lnTo>
                  <a:lnTo>
                    <a:pt x="90" y="22"/>
                  </a:lnTo>
                  <a:lnTo>
                    <a:pt x="86" y="26"/>
                  </a:lnTo>
                  <a:lnTo>
                    <a:pt x="76" y="36"/>
                  </a:lnTo>
                  <a:lnTo>
                    <a:pt x="68" y="48"/>
                  </a:lnTo>
                  <a:lnTo>
                    <a:pt x="62" y="62"/>
                  </a:lnTo>
                  <a:lnTo>
                    <a:pt x="62" y="62"/>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50" name="Freeform 22">
              <a:extLst>
                <a:ext uri="{FF2B5EF4-FFF2-40B4-BE49-F238E27FC236}">
                  <a16:creationId xmlns:a16="http://schemas.microsoft.com/office/drawing/2014/main" id="{3F0BCD03-C21A-56E8-4365-2E82487DA718}"/>
                </a:ext>
              </a:extLst>
            </p:cNvPr>
            <p:cNvSpPr>
              <a:spLocks noEditPoints="1"/>
            </p:cNvSpPr>
            <p:nvPr/>
          </p:nvSpPr>
          <p:spPr bwMode="auto">
            <a:xfrm>
              <a:off x="1230313" y="4083050"/>
              <a:ext cx="352425" cy="215900"/>
            </a:xfrm>
            <a:custGeom>
              <a:avLst/>
              <a:gdLst>
                <a:gd name="T0" fmla="*/ 188 w 222"/>
                <a:gd name="T1" fmla="*/ 136 h 136"/>
                <a:gd name="T2" fmla="*/ 34 w 222"/>
                <a:gd name="T3" fmla="*/ 136 h 136"/>
                <a:gd name="T4" fmla="*/ 34 w 222"/>
                <a:gd name="T5" fmla="*/ 136 h 136"/>
                <a:gd name="T6" fmla="*/ 28 w 222"/>
                <a:gd name="T7" fmla="*/ 134 h 136"/>
                <a:gd name="T8" fmla="*/ 22 w 222"/>
                <a:gd name="T9" fmla="*/ 132 h 136"/>
                <a:gd name="T10" fmla="*/ 16 w 222"/>
                <a:gd name="T11" fmla="*/ 130 h 136"/>
                <a:gd name="T12" fmla="*/ 10 w 222"/>
                <a:gd name="T13" fmla="*/ 126 h 136"/>
                <a:gd name="T14" fmla="*/ 6 w 222"/>
                <a:gd name="T15" fmla="*/ 120 h 136"/>
                <a:gd name="T16" fmla="*/ 2 w 222"/>
                <a:gd name="T17" fmla="*/ 114 h 136"/>
                <a:gd name="T18" fmla="*/ 0 w 222"/>
                <a:gd name="T19" fmla="*/ 108 h 136"/>
                <a:gd name="T20" fmla="*/ 0 w 222"/>
                <a:gd name="T21" fmla="*/ 100 h 136"/>
                <a:gd name="T22" fmla="*/ 0 w 222"/>
                <a:gd name="T23" fmla="*/ 8 h 136"/>
                <a:gd name="T24" fmla="*/ 0 w 222"/>
                <a:gd name="T25" fmla="*/ 8 h 136"/>
                <a:gd name="T26" fmla="*/ 0 w 222"/>
                <a:gd name="T27" fmla="*/ 4 h 136"/>
                <a:gd name="T28" fmla="*/ 2 w 222"/>
                <a:gd name="T29" fmla="*/ 2 h 136"/>
                <a:gd name="T30" fmla="*/ 6 w 222"/>
                <a:gd name="T31" fmla="*/ 0 h 136"/>
                <a:gd name="T32" fmla="*/ 10 w 222"/>
                <a:gd name="T33" fmla="*/ 0 h 136"/>
                <a:gd name="T34" fmla="*/ 214 w 222"/>
                <a:gd name="T35" fmla="*/ 0 h 136"/>
                <a:gd name="T36" fmla="*/ 214 w 222"/>
                <a:gd name="T37" fmla="*/ 0 h 136"/>
                <a:gd name="T38" fmla="*/ 218 w 222"/>
                <a:gd name="T39" fmla="*/ 0 h 136"/>
                <a:gd name="T40" fmla="*/ 220 w 222"/>
                <a:gd name="T41" fmla="*/ 2 h 136"/>
                <a:gd name="T42" fmla="*/ 222 w 222"/>
                <a:gd name="T43" fmla="*/ 4 h 136"/>
                <a:gd name="T44" fmla="*/ 222 w 222"/>
                <a:gd name="T45" fmla="*/ 8 h 136"/>
                <a:gd name="T46" fmla="*/ 222 w 222"/>
                <a:gd name="T47" fmla="*/ 100 h 136"/>
                <a:gd name="T48" fmla="*/ 222 w 222"/>
                <a:gd name="T49" fmla="*/ 100 h 136"/>
                <a:gd name="T50" fmla="*/ 222 w 222"/>
                <a:gd name="T51" fmla="*/ 108 h 136"/>
                <a:gd name="T52" fmla="*/ 220 w 222"/>
                <a:gd name="T53" fmla="*/ 114 h 136"/>
                <a:gd name="T54" fmla="*/ 216 w 222"/>
                <a:gd name="T55" fmla="*/ 120 h 136"/>
                <a:gd name="T56" fmla="*/ 212 w 222"/>
                <a:gd name="T57" fmla="*/ 126 h 136"/>
                <a:gd name="T58" fmla="*/ 208 w 222"/>
                <a:gd name="T59" fmla="*/ 130 h 136"/>
                <a:gd name="T60" fmla="*/ 202 w 222"/>
                <a:gd name="T61" fmla="*/ 132 h 136"/>
                <a:gd name="T62" fmla="*/ 194 w 222"/>
                <a:gd name="T63" fmla="*/ 134 h 136"/>
                <a:gd name="T64" fmla="*/ 188 w 222"/>
                <a:gd name="T65" fmla="*/ 136 h 136"/>
                <a:gd name="T66" fmla="*/ 188 w 222"/>
                <a:gd name="T67" fmla="*/ 136 h 136"/>
                <a:gd name="T68" fmla="*/ 18 w 222"/>
                <a:gd name="T69" fmla="*/ 18 h 136"/>
                <a:gd name="T70" fmla="*/ 18 w 222"/>
                <a:gd name="T71" fmla="*/ 100 h 136"/>
                <a:gd name="T72" fmla="*/ 18 w 222"/>
                <a:gd name="T73" fmla="*/ 100 h 136"/>
                <a:gd name="T74" fmla="*/ 20 w 222"/>
                <a:gd name="T75" fmla="*/ 108 h 136"/>
                <a:gd name="T76" fmla="*/ 22 w 222"/>
                <a:gd name="T77" fmla="*/ 112 h 136"/>
                <a:gd name="T78" fmla="*/ 28 w 222"/>
                <a:gd name="T79" fmla="*/ 116 h 136"/>
                <a:gd name="T80" fmla="*/ 34 w 222"/>
                <a:gd name="T81" fmla="*/ 118 h 136"/>
                <a:gd name="T82" fmla="*/ 188 w 222"/>
                <a:gd name="T83" fmla="*/ 118 h 136"/>
                <a:gd name="T84" fmla="*/ 188 w 222"/>
                <a:gd name="T85" fmla="*/ 118 h 136"/>
                <a:gd name="T86" fmla="*/ 194 w 222"/>
                <a:gd name="T87" fmla="*/ 116 h 136"/>
                <a:gd name="T88" fmla="*/ 200 w 222"/>
                <a:gd name="T89" fmla="*/ 112 h 136"/>
                <a:gd name="T90" fmla="*/ 204 w 222"/>
                <a:gd name="T91" fmla="*/ 108 h 136"/>
                <a:gd name="T92" fmla="*/ 204 w 222"/>
                <a:gd name="T93" fmla="*/ 100 h 136"/>
                <a:gd name="T94" fmla="*/ 204 w 222"/>
                <a:gd name="T95" fmla="*/ 18 h 136"/>
                <a:gd name="T96" fmla="*/ 18 w 222"/>
                <a:gd name="T9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6">
                  <a:moveTo>
                    <a:pt x="188" y="136"/>
                  </a:moveTo>
                  <a:lnTo>
                    <a:pt x="34" y="136"/>
                  </a:lnTo>
                  <a:lnTo>
                    <a:pt x="34" y="136"/>
                  </a:lnTo>
                  <a:lnTo>
                    <a:pt x="28" y="134"/>
                  </a:lnTo>
                  <a:lnTo>
                    <a:pt x="22" y="132"/>
                  </a:lnTo>
                  <a:lnTo>
                    <a:pt x="16" y="130"/>
                  </a:lnTo>
                  <a:lnTo>
                    <a:pt x="10" y="126"/>
                  </a:lnTo>
                  <a:lnTo>
                    <a:pt x="6" y="120"/>
                  </a:lnTo>
                  <a:lnTo>
                    <a:pt x="2" y="114"/>
                  </a:lnTo>
                  <a:lnTo>
                    <a:pt x="0" y="108"/>
                  </a:lnTo>
                  <a:lnTo>
                    <a:pt x="0" y="100"/>
                  </a:lnTo>
                  <a:lnTo>
                    <a:pt x="0" y="8"/>
                  </a:lnTo>
                  <a:lnTo>
                    <a:pt x="0" y="8"/>
                  </a:lnTo>
                  <a:lnTo>
                    <a:pt x="0" y="4"/>
                  </a:lnTo>
                  <a:lnTo>
                    <a:pt x="2" y="2"/>
                  </a:lnTo>
                  <a:lnTo>
                    <a:pt x="6" y="0"/>
                  </a:lnTo>
                  <a:lnTo>
                    <a:pt x="10" y="0"/>
                  </a:lnTo>
                  <a:lnTo>
                    <a:pt x="214" y="0"/>
                  </a:lnTo>
                  <a:lnTo>
                    <a:pt x="214" y="0"/>
                  </a:lnTo>
                  <a:lnTo>
                    <a:pt x="218" y="0"/>
                  </a:lnTo>
                  <a:lnTo>
                    <a:pt x="220" y="2"/>
                  </a:lnTo>
                  <a:lnTo>
                    <a:pt x="222" y="4"/>
                  </a:lnTo>
                  <a:lnTo>
                    <a:pt x="222" y="8"/>
                  </a:lnTo>
                  <a:lnTo>
                    <a:pt x="222" y="100"/>
                  </a:lnTo>
                  <a:lnTo>
                    <a:pt x="222" y="100"/>
                  </a:lnTo>
                  <a:lnTo>
                    <a:pt x="222" y="108"/>
                  </a:lnTo>
                  <a:lnTo>
                    <a:pt x="220" y="114"/>
                  </a:lnTo>
                  <a:lnTo>
                    <a:pt x="216" y="120"/>
                  </a:lnTo>
                  <a:lnTo>
                    <a:pt x="212" y="126"/>
                  </a:lnTo>
                  <a:lnTo>
                    <a:pt x="208" y="130"/>
                  </a:lnTo>
                  <a:lnTo>
                    <a:pt x="202" y="132"/>
                  </a:lnTo>
                  <a:lnTo>
                    <a:pt x="194" y="134"/>
                  </a:lnTo>
                  <a:lnTo>
                    <a:pt x="188" y="136"/>
                  </a:lnTo>
                  <a:lnTo>
                    <a:pt x="188" y="136"/>
                  </a:lnTo>
                  <a:close/>
                  <a:moveTo>
                    <a:pt x="18" y="18"/>
                  </a:moveTo>
                  <a:lnTo>
                    <a:pt x="18" y="100"/>
                  </a:lnTo>
                  <a:lnTo>
                    <a:pt x="18" y="100"/>
                  </a:lnTo>
                  <a:lnTo>
                    <a:pt x="20" y="108"/>
                  </a:lnTo>
                  <a:lnTo>
                    <a:pt x="22" y="112"/>
                  </a:lnTo>
                  <a:lnTo>
                    <a:pt x="28" y="116"/>
                  </a:lnTo>
                  <a:lnTo>
                    <a:pt x="34" y="118"/>
                  </a:lnTo>
                  <a:lnTo>
                    <a:pt x="188" y="118"/>
                  </a:lnTo>
                  <a:lnTo>
                    <a:pt x="188" y="118"/>
                  </a:lnTo>
                  <a:lnTo>
                    <a:pt x="194" y="116"/>
                  </a:lnTo>
                  <a:lnTo>
                    <a:pt x="200" y="112"/>
                  </a:lnTo>
                  <a:lnTo>
                    <a:pt x="204" y="108"/>
                  </a:lnTo>
                  <a:lnTo>
                    <a:pt x="204" y="100"/>
                  </a:lnTo>
                  <a:lnTo>
                    <a:pt x="204" y="18"/>
                  </a:lnTo>
                  <a:lnTo>
                    <a:pt x="18" y="1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51" name="Freeform 23">
              <a:extLst>
                <a:ext uri="{FF2B5EF4-FFF2-40B4-BE49-F238E27FC236}">
                  <a16:creationId xmlns:a16="http://schemas.microsoft.com/office/drawing/2014/main" id="{DB559FD0-6201-9DCD-D8BF-4155317C58D6}"/>
                </a:ext>
              </a:extLst>
            </p:cNvPr>
            <p:cNvSpPr>
              <a:spLocks noEditPoints="1"/>
            </p:cNvSpPr>
            <p:nvPr/>
          </p:nvSpPr>
          <p:spPr bwMode="auto">
            <a:xfrm>
              <a:off x="1325563" y="4270375"/>
              <a:ext cx="165100" cy="82550"/>
            </a:xfrm>
            <a:custGeom>
              <a:avLst/>
              <a:gdLst>
                <a:gd name="T0" fmla="*/ 60 w 104"/>
                <a:gd name="T1" fmla="*/ 52 h 52"/>
                <a:gd name="T2" fmla="*/ 42 w 104"/>
                <a:gd name="T3" fmla="*/ 52 h 52"/>
                <a:gd name="T4" fmla="*/ 42 w 104"/>
                <a:gd name="T5" fmla="*/ 52 h 52"/>
                <a:gd name="T6" fmla="*/ 34 w 104"/>
                <a:gd name="T7" fmla="*/ 50 h 52"/>
                <a:gd name="T8" fmla="*/ 26 w 104"/>
                <a:gd name="T9" fmla="*/ 48 h 52"/>
                <a:gd name="T10" fmla="*/ 18 w 104"/>
                <a:gd name="T11" fmla="*/ 44 h 52"/>
                <a:gd name="T12" fmla="*/ 12 w 104"/>
                <a:gd name="T13" fmla="*/ 38 h 52"/>
                <a:gd name="T14" fmla="*/ 6 w 104"/>
                <a:gd name="T15" fmla="*/ 32 h 52"/>
                <a:gd name="T16" fmla="*/ 2 w 104"/>
                <a:gd name="T17" fmla="*/ 26 h 52"/>
                <a:gd name="T18" fmla="*/ 0 w 104"/>
                <a:gd name="T19" fmla="*/ 18 h 52"/>
                <a:gd name="T20" fmla="*/ 0 w 104"/>
                <a:gd name="T21" fmla="*/ 8 h 52"/>
                <a:gd name="T22" fmla="*/ 0 w 104"/>
                <a:gd name="T23" fmla="*/ 8 h 52"/>
                <a:gd name="T24" fmla="*/ 0 w 104"/>
                <a:gd name="T25" fmla="*/ 6 h 52"/>
                <a:gd name="T26" fmla="*/ 2 w 104"/>
                <a:gd name="T27" fmla="*/ 2 h 52"/>
                <a:gd name="T28" fmla="*/ 4 w 104"/>
                <a:gd name="T29" fmla="*/ 0 h 52"/>
                <a:gd name="T30" fmla="*/ 8 w 104"/>
                <a:gd name="T31" fmla="*/ 0 h 52"/>
                <a:gd name="T32" fmla="*/ 94 w 104"/>
                <a:gd name="T33" fmla="*/ 0 h 52"/>
                <a:gd name="T34" fmla="*/ 94 w 104"/>
                <a:gd name="T35" fmla="*/ 0 h 52"/>
                <a:gd name="T36" fmla="*/ 98 w 104"/>
                <a:gd name="T37" fmla="*/ 0 h 52"/>
                <a:gd name="T38" fmla="*/ 100 w 104"/>
                <a:gd name="T39" fmla="*/ 2 h 52"/>
                <a:gd name="T40" fmla="*/ 102 w 104"/>
                <a:gd name="T41" fmla="*/ 6 h 52"/>
                <a:gd name="T42" fmla="*/ 104 w 104"/>
                <a:gd name="T43" fmla="*/ 8 h 52"/>
                <a:gd name="T44" fmla="*/ 104 w 104"/>
                <a:gd name="T45" fmla="*/ 8 h 52"/>
                <a:gd name="T46" fmla="*/ 102 w 104"/>
                <a:gd name="T47" fmla="*/ 18 h 52"/>
                <a:gd name="T48" fmla="*/ 100 w 104"/>
                <a:gd name="T49" fmla="*/ 26 h 52"/>
                <a:gd name="T50" fmla="*/ 96 w 104"/>
                <a:gd name="T51" fmla="*/ 32 h 52"/>
                <a:gd name="T52" fmla="*/ 90 w 104"/>
                <a:gd name="T53" fmla="*/ 38 h 52"/>
                <a:gd name="T54" fmla="*/ 84 w 104"/>
                <a:gd name="T55" fmla="*/ 44 h 52"/>
                <a:gd name="T56" fmla="*/ 78 w 104"/>
                <a:gd name="T57" fmla="*/ 48 h 52"/>
                <a:gd name="T58" fmla="*/ 70 w 104"/>
                <a:gd name="T59" fmla="*/ 50 h 52"/>
                <a:gd name="T60" fmla="*/ 60 w 104"/>
                <a:gd name="T61" fmla="*/ 52 h 52"/>
                <a:gd name="T62" fmla="*/ 60 w 104"/>
                <a:gd name="T63" fmla="*/ 52 h 52"/>
                <a:gd name="T64" fmla="*/ 20 w 104"/>
                <a:gd name="T65" fmla="*/ 18 h 52"/>
                <a:gd name="T66" fmla="*/ 20 w 104"/>
                <a:gd name="T67" fmla="*/ 18 h 52"/>
                <a:gd name="T68" fmla="*/ 22 w 104"/>
                <a:gd name="T69" fmla="*/ 24 h 52"/>
                <a:gd name="T70" fmla="*/ 28 w 104"/>
                <a:gd name="T71" fmla="*/ 28 h 52"/>
                <a:gd name="T72" fmla="*/ 34 w 104"/>
                <a:gd name="T73" fmla="*/ 32 h 52"/>
                <a:gd name="T74" fmla="*/ 42 w 104"/>
                <a:gd name="T75" fmla="*/ 34 h 52"/>
                <a:gd name="T76" fmla="*/ 60 w 104"/>
                <a:gd name="T77" fmla="*/ 34 h 52"/>
                <a:gd name="T78" fmla="*/ 60 w 104"/>
                <a:gd name="T79" fmla="*/ 34 h 52"/>
                <a:gd name="T80" fmla="*/ 68 w 104"/>
                <a:gd name="T81" fmla="*/ 32 h 52"/>
                <a:gd name="T82" fmla="*/ 74 w 104"/>
                <a:gd name="T83" fmla="*/ 28 h 52"/>
                <a:gd name="T84" fmla="*/ 80 w 104"/>
                <a:gd name="T85" fmla="*/ 24 h 52"/>
                <a:gd name="T86" fmla="*/ 84 w 104"/>
                <a:gd name="T87" fmla="*/ 18 h 52"/>
                <a:gd name="T88" fmla="*/ 20 w 104"/>
                <a:gd name="T89" fmla="*/ 1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 h="52">
                  <a:moveTo>
                    <a:pt x="60" y="52"/>
                  </a:moveTo>
                  <a:lnTo>
                    <a:pt x="42" y="52"/>
                  </a:lnTo>
                  <a:lnTo>
                    <a:pt x="42" y="52"/>
                  </a:lnTo>
                  <a:lnTo>
                    <a:pt x="34" y="50"/>
                  </a:lnTo>
                  <a:lnTo>
                    <a:pt x="26" y="48"/>
                  </a:lnTo>
                  <a:lnTo>
                    <a:pt x="18" y="44"/>
                  </a:lnTo>
                  <a:lnTo>
                    <a:pt x="12" y="38"/>
                  </a:lnTo>
                  <a:lnTo>
                    <a:pt x="6" y="32"/>
                  </a:lnTo>
                  <a:lnTo>
                    <a:pt x="2" y="26"/>
                  </a:lnTo>
                  <a:lnTo>
                    <a:pt x="0" y="18"/>
                  </a:lnTo>
                  <a:lnTo>
                    <a:pt x="0" y="8"/>
                  </a:lnTo>
                  <a:lnTo>
                    <a:pt x="0" y="8"/>
                  </a:lnTo>
                  <a:lnTo>
                    <a:pt x="0" y="6"/>
                  </a:lnTo>
                  <a:lnTo>
                    <a:pt x="2" y="2"/>
                  </a:lnTo>
                  <a:lnTo>
                    <a:pt x="4" y="0"/>
                  </a:lnTo>
                  <a:lnTo>
                    <a:pt x="8" y="0"/>
                  </a:lnTo>
                  <a:lnTo>
                    <a:pt x="94" y="0"/>
                  </a:lnTo>
                  <a:lnTo>
                    <a:pt x="94" y="0"/>
                  </a:lnTo>
                  <a:lnTo>
                    <a:pt x="98" y="0"/>
                  </a:lnTo>
                  <a:lnTo>
                    <a:pt x="100" y="2"/>
                  </a:lnTo>
                  <a:lnTo>
                    <a:pt x="102" y="6"/>
                  </a:lnTo>
                  <a:lnTo>
                    <a:pt x="104" y="8"/>
                  </a:lnTo>
                  <a:lnTo>
                    <a:pt x="104" y="8"/>
                  </a:lnTo>
                  <a:lnTo>
                    <a:pt x="102" y="18"/>
                  </a:lnTo>
                  <a:lnTo>
                    <a:pt x="100" y="26"/>
                  </a:lnTo>
                  <a:lnTo>
                    <a:pt x="96" y="32"/>
                  </a:lnTo>
                  <a:lnTo>
                    <a:pt x="90" y="38"/>
                  </a:lnTo>
                  <a:lnTo>
                    <a:pt x="84" y="44"/>
                  </a:lnTo>
                  <a:lnTo>
                    <a:pt x="78" y="48"/>
                  </a:lnTo>
                  <a:lnTo>
                    <a:pt x="70" y="50"/>
                  </a:lnTo>
                  <a:lnTo>
                    <a:pt x="60" y="52"/>
                  </a:lnTo>
                  <a:lnTo>
                    <a:pt x="60" y="52"/>
                  </a:lnTo>
                  <a:close/>
                  <a:moveTo>
                    <a:pt x="20" y="18"/>
                  </a:moveTo>
                  <a:lnTo>
                    <a:pt x="20" y="18"/>
                  </a:lnTo>
                  <a:lnTo>
                    <a:pt x="22" y="24"/>
                  </a:lnTo>
                  <a:lnTo>
                    <a:pt x="28" y="28"/>
                  </a:lnTo>
                  <a:lnTo>
                    <a:pt x="34" y="32"/>
                  </a:lnTo>
                  <a:lnTo>
                    <a:pt x="42" y="34"/>
                  </a:lnTo>
                  <a:lnTo>
                    <a:pt x="60" y="34"/>
                  </a:lnTo>
                  <a:lnTo>
                    <a:pt x="60" y="34"/>
                  </a:lnTo>
                  <a:lnTo>
                    <a:pt x="68" y="32"/>
                  </a:lnTo>
                  <a:lnTo>
                    <a:pt x="74" y="28"/>
                  </a:lnTo>
                  <a:lnTo>
                    <a:pt x="80" y="24"/>
                  </a:lnTo>
                  <a:lnTo>
                    <a:pt x="84" y="18"/>
                  </a:lnTo>
                  <a:lnTo>
                    <a:pt x="20" y="1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52" name="Freeform 24">
              <a:extLst>
                <a:ext uri="{FF2B5EF4-FFF2-40B4-BE49-F238E27FC236}">
                  <a16:creationId xmlns:a16="http://schemas.microsoft.com/office/drawing/2014/main" id="{FA799125-05B3-722D-A90F-64E70E8BB014}"/>
                </a:ext>
              </a:extLst>
            </p:cNvPr>
            <p:cNvSpPr>
              <a:spLocks/>
            </p:cNvSpPr>
            <p:nvPr/>
          </p:nvSpPr>
          <p:spPr bwMode="auto">
            <a:xfrm>
              <a:off x="1230313" y="4143375"/>
              <a:ext cx="352425" cy="28575"/>
            </a:xfrm>
            <a:custGeom>
              <a:avLst/>
              <a:gdLst>
                <a:gd name="T0" fmla="*/ 214 w 222"/>
                <a:gd name="T1" fmla="*/ 18 h 18"/>
                <a:gd name="T2" fmla="*/ 10 w 222"/>
                <a:gd name="T3" fmla="*/ 18 h 18"/>
                <a:gd name="T4" fmla="*/ 10 w 222"/>
                <a:gd name="T5" fmla="*/ 18 h 18"/>
                <a:gd name="T6" fmla="*/ 6 w 222"/>
                <a:gd name="T7" fmla="*/ 16 h 18"/>
                <a:gd name="T8" fmla="*/ 2 w 222"/>
                <a:gd name="T9" fmla="*/ 14 h 18"/>
                <a:gd name="T10" fmla="*/ 0 w 222"/>
                <a:gd name="T11" fmla="*/ 12 h 18"/>
                <a:gd name="T12" fmla="*/ 0 w 222"/>
                <a:gd name="T13" fmla="*/ 8 h 18"/>
                <a:gd name="T14" fmla="*/ 0 w 222"/>
                <a:gd name="T15" fmla="*/ 8 h 18"/>
                <a:gd name="T16" fmla="*/ 0 w 222"/>
                <a:gd name="T17" fmla="*/ 6 h 18"/>
                <a:gd name="T18" fmla="*/ 2 w 222"/>
                <a:gd name="T19" fmla="*/ 2 h 18"/>
                <a:gd name="T20" fmla="*/ 6 w 222"/>
                <a:gd name="T21" fmla="*/ 0 h 18"/>
                <a:gd name="T22" fmla="*/ 10 w 222"/>
                <a:gd name="T23" fmla="*/ 0 h 18"/>
                <a:gd name="T24" fmla="*/ 214 w 222"/>
                <a:gd name="T25" fmla="*/ 0 h 18"/>
                <a:gd name="T26" fmla="*/ 214 w 222"/>
                <a:gd name="T27" fmla="*/ 0 h 18"/>
                <a:gd name="T28" fmla="*/ 218 w 222"/>
                <a:gd name="T29" fmla="*/ 0 h 18"/>
                <a:gd name="T30" fmla="*/ 220 w 222"/>
                <a:gd name="T31" fmla="*/ 2 h 18"/>
                <a:gd name="T32" fmla="*/ 222 w 222"/>
                <a:gd name="T33" fmla="*/ 6 h 18"/>
                <a:gd name="T34" fmla="*/ 222 w 222"/>
                <a:gd name="T35" fmla="*/ 8 h 18"/>
                <a:gd name="T36" fmla="*/ 222 w 222"/>
                <a:gd name="T37" fmla="*/ 8 h 18"/>
                <a:gd name="T38" fmla="*/ 222 w 222"/>
                <a:gd name="T39" fmla="*/ 12 h 18"/>
                <a:gd name="T40" fmla="*/ 220 w 222"/>
                <a:gd name="T41" fmla="*/ 14 h 18"/>
                <a:gd name="T42" fmla="*/ 218 w 222"/>
                <a:gd name="T43" fmla="*/ 16 h 18"/>
                <a:gd name="T44" fmla="*/ 214 w 222"/>
                <a:gd name="T45" fmla="*/ 18 h 18"/>
                <a:gd name="T46" fmla="*/ 214 w 22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8">
                  <a:moveTo>
                    <a:pt x="214" y="18"/>
                  </a:moveTo>
                  <a:lnTo>
                    <a:pt x="10" y="18"/>
                  </a:lnTo>
                  <a:lnTo>
                    <a:pt x="10" y="18"/>
                  </a:lnTo>
                  <a:lnTo>
                    <a:pt x="6" y="16"/>
                  </a:lnTo>
                  <a:lnTo>
                    <a:pt x="2" y="14"/>
                  </a:lnTo>
                  <a:lnTo>
                    <a:pt x="0" y="12"/>
                  </a:lnTo>
                  <a:lnTo>
                    <a:pt x="0" y="8"/>
                  </a:lnTo>
                  <a:lnTo>
                    <a:pt x="0" y="8"/>
                  </a:lnTo>
                  <a:lnTo>
                    <a:pt x="0" y="6"/>
                  </a:lnTo>
                  <a:lnTo>
                    <a:pt x="2" y="2"/>
                  </a:lnTo>
                  <a:lnTo>
                    <a:pt x="6" y="0"/>
                  </a:lnTo>
                  <a:lnTo>
                    <a:pt x="10" y="0"/>
                  </a:lnTo>
                  <a:lnTo>
                    <a:pt x="214" y="0"/>
                  </a:lnTo>
                  <a:lnTo>
                    <a:pt x="214" y="0"/>
                  </a:lnTo>
                  <a:lnTo>
                    <a:pt x="218" y="0"/>
                  </a:lnTo>
                  <a:lnTo>
                    <a:pt x="220" y="2"/>
                  </a:lnTo>
                  <a:lnTo>
                    <a:pt x="222" y="6"/>
                  </a:lnTo>
                  <a:lnTo>
                    <a:pt x="222" y="8"/>
                  </a:lnTo>
                  <a:lnTo>
                    <a:pt x="222" y="8"/>
                  </a:lnTo>
                  <a:lnTo>
                    <a:pt x="222" y="12"/>
                  </a:lnTo>
                  <a:lnTo>
                    <a:pt x="220" y="14"/>
                  </a:lnTo>
                  <a:lnTo>
                    <a:pt x="218" y="16"/>
                  </a:lnTo>
                  <a:lnTo>
                    <a:pt x="214" y="18"/>
                  </a:lnTo>
                  <a:lnTo>
                    <a:pt x="214" y="1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53" name="Freeform 25">
              <a:extLst>
                <a:ext uri="{FF2B5EF4-FFF2-40B4-BE49-F238E27FC236}">
                  <a16:creationId xmlns:a16="http://schemas.microsoft.com/office/drawing/2014/main" id="{CE416F5B-FAA4-63B3-6A8A-9BDF11E44314}"/>
                </a:ext>
              </a:extLst>
            </p:cNvPr>
            <p:cNvSpPr>
              <a:spLocks/>
            </p:cNvSpPr>
            <p:nvPr/>
          </p:nvSpPr>
          <p:spPr bwMode="auto">
            <a:xfrm>
              <a:off x="1230313" y="4206875"/>
              <a:ext cx="352425" cy="28575"/>
            </a:xfrm>
            <a:custGeom>
              <a:avLst/>
              <a:gdLst>
                <a:gd name="T0" fmla="*/ 214 w 222"/>
                <a:gd name="T1" fmla="*/ 18 h 18"/>
                <a:gd name="T2" fmla="*/ 10 w 222"/>
                <a:gd name="T3" fmla="*/ 18 h 18"/>
                <a:gd name="T4" fmla="*/ 10 w 222"/>
                <a:gd name="T5" fmla="*/ 18 h 18"/>
                <a:gd name="T6" fmla="*/ 6 w 222"/>
                <a:gd name="T7" fmla="*/ 16 h 18"/>
                <a:gd name="T8" fmla="*/ 2 w 222"/>
                <a:gd name="T9" fmla="*/ 14 h 18"/>
                <a:gd name="T10" fmla="*/ 0 w 222"/>
                <a:gd name="T11" fmla="*/ 12 h 18"/>
                <a:gd name="T12" fmla="*/ 0 w 222"/>
                <a:gd name="T13" fmla="*/ 8 h 18"/>
                <a:gd name="T14" fmla="*/ 0 w 222"/>
                <a:gd name="T15" fmla="*/ 8 h 18"/>
                <a:gd name="T16" fmla="*/ 0 w 222"/>
                <a:gd name="T17" fmla="*/ 6 h 18"/>
                <a:gd name="T18" fmla="*/ 2 w 222"/>
                <a:gd name="T19" fmla="*/ 2 h 18"/>
                <a:gd name="T20" fmla="*/ 6 w 222"/>
                <a:gd name="T21" fmla="*/ 0 h 18"/>
                <a:gd name="T22" fmla="*/ 10 w 222"/>
                <a:gd name="T23" fmla="*/ 0 h 18"/>
                <a:gd name="T24" fmla="*/ 214 w 222"/>
                <a:gd name="T25" fmla="*/ 0 h 18"/>
                <a:gd name="T26" fmla="*/ 214 w 222"/>
                <a:gd name="T27" fmla="*/ 0 h 18"/>
                <a:gd name="T28" fmla="*/ 218 w 222"/>
                <a:gd name="T29" fmla="*/ 0 h 18"/>
                <a:gd name="T30" fmla="*/ 220 w 222"/>
                <a:gd name="T31" fmla="*/ 2 h 18"/>
                <a:gd name="T32" fmla="*/ 222 w 222"/>
                <a:gd name="T33" fmla="*/ 6 h 18"/>
                <a:gd name="T34" fmla="*/ 222 w 222"/>
                <a:gd name="T35" fmla="*/ 8 h 18"/>
                <a:gd name="T36" fmla="*/ 222 w 222"/>
                <a:gd name="T37" fmla="*/ 8 h 18"/>
                <a:gd name="T38" fmla="*/ 222 w 222"/>
                <a:gd name="T39" fmla="*/ 12 h 18"/>
                <a:gd name="T40" fmla="*/ 220 w 222"/>
                <a:gd name="T41" fmla="*/ 14 h 18"/>
                <a:gd name="T42" fmla="*/ 218 w 222"/>
                <a:gd name="T43" fmla="*/ 16 h 18"/>
                <a:gd name="T44" fmla="*/ 214 w 222"/>
                <a:gd name="T45" fmla="*/ 18 h 18"/>
                <a:gd name="T46" fmla="*/ 214 w 22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8">
                  <a:moveTo>
                    <a:pt x="214" y="18"/>
                  </a:moveTo>
                  <a:lnTo>
                    <a:pt x="10" y="18"/>
                  </a:lnTo>
                  <a:lnTo>
                    <a:pt x="10" y="18"/>
                  </a:lnTo>
                  <a:lnTo>
                    <a:pt x="6" y="16"/>
                  </a:lnTo>
                  <a:lnTo>
                    <a:pt x="2" y="14"/>
                  </a:lnTo>
                  <a:lnTo>
                    <a:pt x="0" y="12"/>
                  </a:lnTo>
                  <a:lnTo>
                    <a:pt x="0" y="8"/>
                  </a:lnTo>
                  <a:lnTo>
                    <a:pt x="0" y="8"/>
                  </a:lnTo>
                  <a:lnTo>
                    <a:pt x="0" y="6"/>
                  </a:lnTo>
                  <a:lnTo>
                    <a:pt x="2" y="2"/>
                  </a:lnTo>
                  <a:lnTo>
                    <a:pt x="6" y="0"/>
                  </a:lnTo>
                  <a:lnTo>
                    <a:pt x="10" y="0"/>
                  </a:lnTo>
                  <a:lnTo>
                    <a:pt x="214" y="0"/>
                  </a:lnTo>
                  <a:lnTo>
                    <a:pt x="214" y="0"/>
                  </a:lnTo>
                  <a:lnTo>
                    <a:pt x="218" y="0"/>
                  </a:lnTo>
                  <a:lnTo>
                    <a:pt x="220" y="2"/>
                  </a:lnTo>
                  <a:lnTo>
                    <a:pt x="222" y="6"/>
                  </a:lnTo>
                  <a:lnTo>
                    <a:pt x="222" y="8"/>
                  </a:lnTo>
                  <a:lnTo>
                    <a:pt x="222" y="8"/>
                  </a:lnTo>
                  <a:lnTo>
                    <a:pt x="222" y="12"/>
                  </a:lnTo>
                  <a:lnTo>
                    <a:pt x="220" y="14"/>
                  </a:lnTo>
                  <a:lnTo>
                    <a:pt x="218" y="16"/>
                  </a:lnTo>
                  <a:lnTo>
                    <a:pt x="214" y="18"/>
                  </a:lnTo>
                  <a:lnTo>
                    <a:pt x="214" y="18"/>
                  </a:lnTo>
                  <a:close/>
                </a:path>
              </a:pathLst>
            </a:custGeom>
            <a:grpFill/>
            <a:ln>
              <a:solidFill>
                <a:schemeClr val="bg1"/>
              </a:solidFill>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grpSp>
      <p:grpSp>
        <p:nvGrpSpPr>
          <p:cNvPr id="354" name="Group 16">
            <a:extLst>
              <a:ext uri="{FF2B5EF4-FFF2-40B4-BE49-F238E27FC236}">
                <a16:creationId xmlns:a16="http://schemas.microsoft.com/office/drawing/2014/main" id="{07F91CD8-0ADB-4931-FBF2-345F90FA33E7}"/>
              </a:ext>
            </a:extLst>
          </p:cNvPr>
          <p:cNvGrpSpPr>
            <a:grpSpLocks noChangeAspect="1"/>
          </p:cNvGrpSpPr>
          <p:nvPr/>
        </p:nvGrpSpPr>
        <p:grpSpPr bwMode="auto">
          <a:xfrm>
            <a:off x="3699498" y="3796291"/>
            <a:ext cx="392138" cy="503999"/>
            <a:chOff x="1912" y="1886"/>
            <a:chExt cx="638" cy="820"/>
          </a:xfrm>
          <a:solidFill>
            <a:schemeClr val="bg1"/>
          </a:solidFill>
        </p:grpSpPr>
        <p:sp>
          <p:nvSpPr>
            <p:cNvPr id="355" name="Freeform 17">
              <a:extLst>
                <a:ext uri="{FF2B5EF4-FFF2-40B4-BE49-F238E27FC236}">
                  <a16:creationId xmlns:a16="http://schemas.microsoft.com/office/drawing/2014/main" id="{80752D40-D6BC-29E4-CB23-5A8F8D1891F3}"/>
                </a:ext>
              </a:extLst>
            </p:cNvPr>
            <p:cNvSpPr>
              <a:spLocks noEditPoints="1"/>
            </p:cNvSpPr>
            <p:nvPr/>
          </p:nvSpPr>
          <p:spPr bwMode="auto">
            <a:xfrm>
              <a:off x="2062" y="1886"/>
              <a:ext cx="338" cy="136"/>
            </a:xfrm>
            <a:custGeom>
              <a:avLst/>
              <a:gdLst>
                <a:gd name="T0" fmla="*/ 338 w 338"/>
                <a:gd name="T1" fmla="*/ 136 h 136"/>
                <a:gd name="T2" fmla="*/ 0 w 338"/>
                <a:gd name="T3" fmla="*/ 136 h 136"/>
                <a:gd name="T4" fmla="*/ 0 w 338"/>
                <a:gd name="T5" fmla="*/ 0 h 136"/>
                <a:gd name="T6" fmla="*/ 338 w 338"/>
                <a:gd name="T7" fmla="*/ 0 h 136"/>
                <a:gd name="T8" fmla="*/ 338 w 338"/>
                <a:gd name="T9" fmla="*/ 136 h 136"/>
                <a:gd name="T10" fmla="*/ 18 w 338"/>
                <a:gd name="T11" fmla="*/ 118 h 136"/>
                <a:gd name="T12" fmla="*/ 320 w 338"/>
                <a:gd name="T13" fmla="*/ 118 h 136"/>
                <a:gd name="T14" fmla="*/ 320 w 338"/>
                <a:gd name="T15" fmla="*/ 18 h 136"/>
                <a:gd name="T16" fmla="*/ 18 w 338"/>
                <a:gd name="T17" fmla="*/ 18 h 136"/>
                <a:gd name="T18" fmla="*/ 18 w 338"/>
                <a:gd name="T19" fmla="*/ 1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36">
                  <a:moveTo>
                    <a:pt x="338" y="136"/>
                  </a:moveTo>
                  <a:lnTo>
                    <a:pt x="0" y="136"/>
                  </a:lnTo>
                  <a:lnTo>
                    <a:pt x="0" y="0"/>
                  </a:lnTo>
                  <a:lnTo>
                    <a:pt x="338" y="0"/>
                  </a:lnTo>
                  <a:lnTo>
                    <a:pt x="338" y="136"/>
                  </a:lnTo>
                  <a:close/>
                  <a:moveTo>
                    <a:pt x="18" y="118"/>
                  </a:moveTo>
                  <a:lnTo>
                    <a:pt x="320" y="118"/>
                  </a:lnTo>
                  <a:lnTo>
                    <a:pt x="320" y="18"/>
                  </a:lnTo>
                  <a:lnTo>
                    <a:pt x="18" y="18"/>
                  </a:lnTo>
                  <a:lnTo>
                    <a:pt x="18" y="11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56" name="Freeform 18">
              <a:extLst>
                <a:ext uri="{FF2B5EF4-FFF2-40B4-BE49-F238E27FC236}">
                  <a16:creationId xmlns:a16="http://schemas.microsoft.com/office/drawing/2014/main" id="{F4ADB3B0-4E63-3B14-E448-9D4F21EB73F1}"/>
                </a:ext>
              </a:extLst>
            </p:cNvPr>
            <p:cNvSpPr>
              <a:spLocks/>
            </p:cNvSpPr>
            <p:nvPr/>
          </p:nvSpPr>
          <p:spPr bwMode="auto">
            <a:xfrm>
              <a:off x="1912" y="1944"/>
              <a:ext cx="638" cy="762"/>
            </a:xfrm>
            <a:custGeom>
              <a:avLst/>
              <a:gdLst>
                <a:gd name="T0" fmla="*/ 638 w 638"/>
                <a:gd name="T1" fmla="*/ 762 h 762"/>
                <a:gd name="T2" fmla="*/ 0 w 638"/>
                <a:gd name="T3" fmla="*/ 762 h 762"/>
                <a:gd name="T4" fmla="*/ 0 w 638"/>
                <a:gd name="T5" fmla="*/ 0 h 762"/>
                <a:gd name="T6" fmla="*/ 158 w 638"/>
                <a:gd name="T7" fmla="*/ 0 h 762"/>
                <a:gd name="T8" fmla="*/ 158 w 638"/>
                <a:gd name="T9" fmla="*/ 18 h 762"/>
                <a:gd name="T10" fmla="*/ 18 w 638"/>
                <a:gd name="T11" fmla="*/ 18 h 762"/>
                <a:gd name="T12" fmla="*/ 18 w 638"/>
                <a:gd name="T13" fmla="*/ 744 h 762"/>
                <a:gd name="T14" fmla="*/ 620 w 638"/>
                <a:gd name="T15" fmla="*/ 744 h 762"/>
                <a:gd name="T16" fmla="*/ 620 w 638"/>
                <a:gd name="T17" fmla="*/ 18 h 762"/>
                <a:gd name="T18" fmla="*/ 478 w 638"/>
                <a:gd name="T19" fmla="*/ 18 h 762"/>
                <a:gd name="T20" fmla="*/ 478 w 638"/>
                <a:gd name="T21" fmla="*/ 0 h 762"/>
                <a:gd name="T22" fmla="*/ 638 w 638"/>
                <a:gd name="T23" fmla="*/ 0 h 762"/>
                <a:gd name="T24" fmla="*/ 638 w 638"/>
                <a:gd name="T25" fmla="*/ 762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8" h="762">
                  <a:moveTo>
                    <a:pt x="638" y="762"/>
                  </a:moveTo>
                  <a:lnTo>
                    <a:pt x="0" y="762"/>
                  </a:lnTo>
                  <a:lnTo>
                    <a:pt x="0" y="0"/>
                  </a:lnTo>
                  <a:lnTo>
                    <a:pt x="158" y="0"/>
                  </a:lnTo>
                  <a:lnTo>
                    <a:pt x="158" y="18"/>
                  </a:lnTo>
                  <a:lnTo>
                    <a:pt x="18" y="18"/>
                  </a:lnTo>
                  <a:lnTo>
                    <a:pt x="18" y="744"/>
                  </a:lnTo>
                  <a:lnTo>
                    <a:pt x="620" y="744"/>
                  </a:lnTo>
                  <a:lnTo>
                    <a:pt x="620" y="18"/>
                  </a:lnTo>
                  <a:lnTo>
                    <a:pt x="478" y="18"/>
                  </a:lnTo>
                  <a:lnTo>
                    <a:pt x="478" y="0"/>
                  </a:lnTo>
                  <a:lnTo>
                    <a:pt x="638" y="0"/>
                  </a:lnTo>
                  <a:lnTo>
                    <a:pt x="638" y="762"/>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57" name="Rectangle 19">
              <a:extLst>
                <a:ext uri="{FF2B5EF4-FFF2-40B4-BE49-F238E27FC236}">
                  <a16:creationId xmlns:a16="http://schemas.microsoft.com/office/drawing/2014/main" id="{0BFE3B76-1655-1413-4EE4-9A4D59F6D0D2}"/>
                </a:ext>
              </a:extLst>
            </p:cNvPr>
            <p:cNvSpPr>
              <a:spLocks noChangeArrowheads="1"/>
            </p:cNvSpPr>
            <p:nvPr/>
          </p:nvSpPr>
          <p:spPr bwMode="auto">
            <a:xfrm>
              <a:off x="2156" y="1944"/>
              <a:ext cx="150" cy="18"/>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58" name="Freeform 20">
              <a:extLst>
                <a:ext uri="{FF2B5EF4-FFF2-40B4-BE49-F238E27FC236}">
                  <a16:creationId xmlns:a16="http://schemas.microsoft.com/office/drawing/2014/main" id="{1A75468A-4B27-1B11-1E58-918BB760948E}"/>
                </a:ext>
              </a:extLst>
            </p:cNvPr>
            <p:cNvSpPr>
              <a:spLocks noEditPoints="1"/>
            </p:cNvSpPr>
            <p:nvPr/>
          </p:nvSpPr>
          <p:spPr bwMode="auto">
            <a:xfrm>
              <a:off x="2040" y="2154"/>
              <a:ext cx="96" cy="98"/>
            </a:xfrm>
            <a:custGeom>
              <a:avLst/>
              <a:gdLst>
                <a:gd name="T0" fmla="*/ 48 w 96"/>
                <a:gd name="T1" fmla="*/ 98 h 98"/>
                <a:gd name="T2" fmla="*/ 28 w 96"/>
                <a:gd name="T3" fmla="*/ 94 h 98"/>
                <a:gd name="T4" fmla="*/ 14 w 96"/>
                <a:gd name="T5" fmla="*/ 84 h 98"/>
                <a:gd name="T6" fmla="*/ 2 w 96"/>
                <a:gd name="T7" fmla="*/ 68 h 98"/>
                <a:gd name="T8" fmla="*/ 0 w 96"/>
                <a:gd name="T9" fmla="*/ 50 h 98"/>
                <a:gd name="T10" fmla="*/ 0 w 96"/>
                <a:gd name="T11" fmla="*/ 40 h 98"/>
                <a:gd name="T12" fmla="*/ 8 w 96"/>
                <a:gd name="T13" fmla="*/ 22 h 98"/>
                <a:gd name="T14" fmla="*/ 20 w 96"/>
                <a:gd name="T15" fmla="*/ 8 h 98"/>
                <a:gd name="T16" fmla="*/ 38 w 96"/>
                <a:gd name="T17" fmla="*/ 2 h 98"/>
                <a:gd name="T18" fmla="*/ 48 w 96"/>
                <a:gd name="T19" fmla="*/ 0 h 98"/>
                <a:gd name="T20" fmla="*/ 66 w 96"/>
                <a:gd name="T21" fmla="*/ 4 h 98"/>
                <a:gd name="T22" fmla="*/ 82 w 96"/>
                <a:gd name="T23" fmla="*/ 14 h 98"/>
                <a:gd name="T24" fmla="*/ 92 w 96"/>
                <a:gd name="T25" fmla="*/ 30 h 98"/>
                <a:gd name="T26" fmla="*/ 96 w 96"/>
                <a:gd name="T27" fmla="*/ 50 h 98"/>
                <a:gd name="T28" fmla="*/ 96 w 96"/>
                <a:gd name="T29" fmla="*/ 60 h 98"/>
                <a:gd name="T30" fmla="*/ 88 w 96"/>
                <a:gd name="T31" fmla="*/ 76 h 98"/>
                <a:gd name="T32" fmla="*/ 74 w 96"/>
                <a:gd name="T33" fmla="*/ 90 h 98"/>
                <a:gd name="T34" fmla="*/ 58 w 96"/>
                <a:gd name="T35" fmla="*/ 96 h 98"/>
                <a:gd name="T36" fmla="*/ 48 w 96"/>
                <a:gd name="T37" fmla="*/ 98 h 98"/>
                <a:gd name="T38" fmla="*/ 48 w 96"/>
                <a:gd name="T39" fmla="*/ 18 h 98"/>
                <a:gd name="T40" fmla="*/ 36 w 96"/>
                <a:gd name="T41" fmla="*/ 20 h 98"/>
                <a:gd name="T42" fmla="*/ 20 w 96"/>
                <a:gd name="T43" fmla="*/ 38 h 98"/>
                <a:gd name="T44" fmla="*/ 18 w 96"/>
                <a:gd name="T45" fmla="*/ 50 h 98"/>
                <a:gd name="T46" fmla="*/ 18 w 96"/>
                <a:gd name="T47" fmla="*/ 56 h 98"/>
                <a:gd name="T48" fmla="*/ 26 w 96"/>
                <a:gd name="T49" fmla="*/ 70 h 98"/>
                <a:gd name="T50" fmla="*/ 42 w 96"/>
                <a:gd name="T51" fmla="*/ 80 h 98"/>
                <a:gd name="T52" fmla="*/ 48 w 96"/>
                <a:gd name="T53" fmla="*/ 80 h 98"/>
                <a:gd name="T54" fmla="*/ 60 w 96"/>
                <a:gd name="T55" fmla="*/ 78 h 98"/>
                <a:gd name="T56" fmla="*/ 76 w 96"/>
                <a:gd name="T57" fmla="*/ 62 h 98"/>
                <a:gd name="T58" fmla="*/ 78 w 96"/>
                <a:gd name="T59" fmla="*/ 50 h 98"/>
                <a:gd name="T60" fmla="*/ 78 w 96"/>
                <a:gd name="T61" fmla="*/ 44 h 98"/>
                <a:gd name="T62" fmla="*/ 70 w 96"/>
                <a:gd name="T63" fmla="*/ 28 h 98"/>
                <a:gd name="T64" fmla="*/ 54 w 96"/>
                <a:gd name="T65" fmla="*/ 20 h 98"/>
                <a:gd name="T66" fmla="*/ 48 w 96"/>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8">
                  <a:moveTo>
                    <a:pt x="48" y="98"/>
                  </a:moveTo>
                  <a:lnTo>
                    <a:pt x="48" y="98"/>
                  </a:lnTo>
                  <a:lnTo>
                    <a:pt x="38" y="96"/>
                  </a:lnTo>
                  <a:lnTo>
                    <a:pt x="28" y="94"/>
                  </a:lnTo>
                  <a:lnTo>
                    <a:pt x="20" y="90"/>
                  </a:lnTo>
                  <a:lnTo>
                    <a:pt x="14" y="84"/>
                  </a:lnTo>
                  <a:lnTo>
                    <a:pt x="8" y="76"/>
                  </a:lnTo>
                  <a:lnTo>
                    <a:pt x="2" y="68"/>
                  </a:lnTo>
                  <a:lnTo>
                    <a:pt x="0" y="60"/>
                  </a:lnTo>
                  <a:lnTo>
                    <a:pt x="0" y="50"/>
                  </a:lnTo>
                  <a:lnTo>
                    <a:pt x="0" y="50"/>
                  </a:lnTo>
                  <a:lnTo>
                    <a:pt x="0" y="40"/>
                  </a:lnTo>
                  <a:lnTo>
                    <a:pt x="2" y="30"/>
                  </a:lnTo>
                  <a:lnTo>
                    <a:pt x="8" y="22"/>
                  </a:lnTo>
                  <a:lnTo>
                    <a:pt x="14" y="14"/>
                  </a:lnTo>
                  <a:lnTo>
                    <a:pt x="20" y="8"/>
                  </a:lnTo>
                  <a:lnTo>
                    <a:pt x="28" y="4"/>
                  </a:lnTo>
                  <a:lnTo>
                    <a:pt x="38" y="2"/>
                  </a:lnTo>
                  <a:lnTo>
                    <a:pt x="48" y="0"/>
                  </a:lnTo>
                  <a:lnTo>
                    <a:pt x="48" y="0"/>
                  </a:lnTo>
                  <a:lnTo>
                    <a:pt x="58" y="2"/>
                  </a:lnTo>
                  <a:lnTo>
                    <a:pt x="66" y="4"/>
                  </a:lnTo>
                  <a:lnTo>
                    <a:pt x="74" y="8"/>
                  </a:lnTo>
                  <a:lnTo>
                    <a:pt x="82" y="14"/>
                  </a:lnTo>
                  <a:lnTo>
                    <a:pt x="88" y="22"/>
                  </a:lnTo>
                  <a:lnTo>
                    <a:pt x="92" y="30"/>
                  </a:lnTo>
                  <a:lnTo>
                    <a:pt x="96" y="40"/>
                  </a:lnTo>
                  <a:lnTo>
                    <a:pt x="96" y="50"/>
                  </a:lnTo>
                  <a:lnTo>
                    <a:pt x="96" y="50"/>
                  </a:lnTo>
                  <a:lnTo>
                    <a:pt x="96" y="60"/>
                  </a:lnTo>
                  <a:lnTo>
                    <a:pt x="92" y="68"/>
                  </a:lnTo>
                  <a:lnTo>
                    <a:pt x="88" y="76"/>
                  </a:lnTo>
                  <a:lnTo>
                    <a:pt x="82" y="84"/>
                  </a:lnTo>
                  <a:lnTo>
                    <a:pt x="74" y="90"/>
                  </a:lnTo>
                  <a:lnTo>
                    <a:pt x="66" y="94"/>
                  </a:lnTo>
                  <a:lnTo>
                    <a:pt x="58" y="96"/>
                  </a:lnTo>
                  <a:lnTo>
                    <a:pt x="48" y="98"/>
                  </a:lnTo>
                  <a:lnTo>
                    <a:pt x="48" y="98"/>
                  </a:lnTo>
                  <a:close/>
                  <a:moveTo>
                    <a:pt x="48" y="18"/>
                  </a:moveTo>
                  <a:lnTo>
                    <a:pt x="48" y="18"/>
                  </a:lnTo>
                  <a:lnTo>
                    <a:pt x="42" y="20"/>
                  </a:lnTo>
                  <a:lnTo>
                    <a:pt x="36" y="20"/>
                  </a:lnTo>
                  <a:lnTo>
                    <a:pt x="26" y="28"/>
                  </a:lnTo>
                  <a:lnTo>
                    <a:pt x="20" y="38"/>
                  </a:lnTo>
                  <a:lnTo>
                    <a:pt x="18" y="44"/>
                  </a:lnTo>
                  <a:lnTo>
                    <a:pt x="18" y="50"/>
                  </a:lnTo>
                  <a:lnTo>
                    <a:pt x="18" y="50"/>
                  </a:lnTo>
                  <a:lnTo>
                    <a:pt x="18" y="56"/>
                  </a:lnTo>
                  <a:lnTo>
                    <a:pt x="20" y="62"/>
                  </a:lnTo>
                  <a:lnTo>
                    <a:pt x="26" y="70"/>
                  </a:lnTo>
                  <a:lnTo>
                    <a:pt x="36" y="78"/>
                  </a:lnTo>
                  <a:lnTo>
                    <a:pt x="42" y="80"/>
                  </a:lnTo>
                  <a:lnTo>
                    <a:pt x="48" y="80"/>
                  </a:lnTo>
                  <a:lnTo>
                    <a:pt x="48" y="80"/>
                  </a:lnTo>
                  <a:lnTo>
                    <a:pt x="54" y="80"/>
                  </a:lnTo>
                  <a:lnTo>
                    <a:pt x="60" y="78"/>
                  </a:lnTo>
                  <a:lnTo>
                    <a:pt x="70" y="70"/>
                  </a:lnTo>
                  <a:lnTo>
                    <a:pt x="76" y="62"/>
                  </a:lnTo>
                  <a:lnTo>
                    <a:pt x="78" y="56"/>
                  </a:lnTo>
                  <a:lnTo>
                    <a:pt x="78" y="50"/>
                  </a:lnTo>
                  <a:lnTo>
                    <a:pt x="78" y="50"/>
                  </a:lnTo>
                  <a:lnTo>
                    <a:pt x="78" y="44"/>
                  </a:lnTo>
                  <a:lnTo>
                    <a:pt x="76" y="38"/>
                  </a:lnTo>
                  <a:lnTo>
                    <a:pt x="70" y="28"/>
                  </a:lnTo>
                  <a:lnTo>
                    <a:pt x="60" y="20"/>
                  </a:lnTo>
                  <a:lnTo>
                    <a:pt x="54" y="20"/>
                  </a:lnTo>
                  <a:lnTo>
                    <a:pt x="48" y="18"/>
                  </a:lnTo>
                  <a:lnTo>
                    <a:pt x="48" y="1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59" name="Freeform 21">
              <a:extLst>
                <a:ext uri="{FF2B5EF4-FFF2-40B4-BE49-F238E27FC236}">
                  <a16:creationId xmlns:a16="http://schemas.microsoft.com/office/drawing/2014/main" id="{E7D1566E-1319-F0B9-C7A9-41DADFF51EA8}"/>
                </a:ext>
              </a:extLst>
            </p:cNvPr>
            <p:cNvSpPr>
              <a:spLocks noEditPoints="1"/>
            </p:cNvSpPr>
            <p:nvPr/>
          </p:nvSpPr>
          <p:spPr bwMode="auto">
            <a:xfrm>
              <a:off x="2106" y="2436"/>
              <a:ext cx="98" cy="98"/>
            </a:xfrm>
            <a:custGeom>
              <a:avLst/>
              <a:gdLst>
                <a:gd name="T0" fmla="*/ 48 w 98"/>
                <a:gd name="T1" fmla="*/ 98 h 98"/>
                <a:gd name="T2" fmla="*/ 30 w 98"/>
                <a:gd name="T3" fmla="*/ 94 h 98"/>
                <a:gd name="T4" fmla="*/ 14 w 98"/>
                <a:gd name="T5" fmla="*/ 84 h 98"/>
                <a:gd name="T6" fmla="*/ 4 w 98"/>
                <a:gd name="T7" fmla="*/ 68 h 98"/>
                <a:gd name="T8" fmla="*/ 0 w 98"/>
                <a:gd name="T9" fmla="*/ 50 h 98"/>
                <a:gd name="T10" fmla="*/ 2 w 98"/>
                <a:gd name="T11" fmla="*/ 40 h 98"/>
                <a:gd name="T12" fmla="*/ 8 w 98"/>
                <a:gd name="T13" fmla="*/ 22 h 98"/>
                <a:gd name="T14" fmla="*/ 22 w 98"/>
                <a:gd name="T15" fmla="*/ 10 h 98"/>
                <a:gd name="T16" fmla="*/ 40 w 98"/>
                <a:gd name="T17" fmla="*/ 2 h 98"/>
                <a:gd name="T18" fmla="*/ 48 w 98"/>
                <a:gd name="T19" fmla="*/ 0 h 98"/>
                <a:gd name="T20" fmla="*/ 68 w 98"/>
                <a:gd name="T21" fmla="*/ 4 h 98"/>
                <a:gd name="T22" fmla="*/ 84 w 98"/>
                <a:gd name="T23" fmla="*/ 14 h 98"/>
                <a:gd name="T24" fmla="*/ 94 w 98"/>
                <a:gd name="T25" fmla="*/ 30 h 98"/>
                <a:gd name="T26" fmla="*/ 98 w 98"/>
                <a:gd name="T27" fmla="*/ 50 h 98"/>
                <a:gd name="T28" fmla="*/ 96 w 98"/>
                <a:gd name="T29" fmla="*/ 60 h 98"/>
                <a:gd name="T30" fmla="*/ 90 w 98"/>
                <a:gd name="T31" fmla="*/ 76 h 98"/>
                <a:gd name="T32" fmla="*/ 76 w 98"/>
                <a:gd name="T33" fmla="*/ 90 h 98"/>
                <a:gd name="T34" fmla="*/ 58 w 98"/>
                <a:gd name="T35" fmla="*/ 98 h 98"/>
                <a:gd name="T36" fmla="*/ 48 w 98"/>
                <a:gd name="T37" fmla="*/ 98 h 98"/>
                <a:gd name="T38" fmla="*/ 48 w 98"/>
                <a:gd name="T39" fmla="*/ 18 h 98"/>
                <a:gd name="T40" fmla="*/ 36 w 98"/>
                <a:gd name="T41" fmla="*/ 22 h 98"/>
                <a:gd name="T42" fmla="*/ 20 w 98"/>
                <a:gd name="T43" fmla="*/ 38 h 98"/>
                <a:gd name="T44" fmla="*/ 18 w 98"/>
                <a:gd name="T45" fmla="*/ 50 h 98"/>
                <a:gd name="T46" fmla="*/ 18 w 98"/>
                <a:gd name="T47" fmla="*/ 56 h 98"/>
                <a:gd name="T48" fmla="*/ 28 w 98"/>
                <a:gd name="T49" fmla="*/ 72 h 98"/>
                <a:gd name="T50" fmla="*/ 42 w 98"/>
                <a:gd name="T51" fmla="*/ 80 h 98"/>
                <a:gd name="T52" fmla="*/ 48 w 98"/>
                <a:gd name="T53" fmla="*/ 80 h 98"/>
                <a:gd name="T54" fmla="*/ 60 w 98"/>
                <a:gd name="T55" fmla="*/ 78 h 98"/>
                <a:gd name="T56" fmla="*/ 78 w 98"/>
                <a:gd name="T57" fmla="*/ 62 h 98"/>
                <a:gd name="T58" fmla="*/ 80 w 98"/>
                <a:gd name="T59" fmla="*/ 50 h 98"/>
                <a:gd name="T60" fmla="*/ 78 w 98"/>
                <a:gd name="T61" fmla="*/ 44 h 98"/>
                <a:gd name="T62" fmla="*/ 70 w 98"/>
                <a:gd name="T63" fmla="*/ 28 h 98"/>
                <a:gd name="T64" fmla="*/ 56 w 98"/>
                <a:gd name="T65" fmla="*/ 20 h 98"/>
                <a:gd name="T66" fmla="*/ 48 w 98"/>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8">
                  <a:moveTo>
                    <a:pt x="48" y="98"/>
                  </a:moveTo>
                  <a:lnTo>
                    <a:pt x="48" y="98"/>
                  </a:lnTo>
                  <a:lnTo>
                    <a:pt x="40" y="98"/>
                  </a:lnTo>
                  <a:lnTo>
                    <a:pt x="30" y="94"/>
                  </a:lnTo>
                  <a:lnTo>
                    <a:pt x="22" y="90"/>
                  </a:lnTo>
                  <a:lnTo>
                    <a:pt x="14" y="84"/>
                  </a:lnTo>
                  <a:lnTo>
                    <a:pt x="8" y="76"/>
                  </a:lnTo>
                  <a:lnTo>
                    <a:pt x="4" y="68"/>
                  </a:lnTo>
                  <a:lnTo>
                    <a:pt x="2" y="60"/>
                  </a:lnTo>
                  <a:lnTo>
                    <a:pt x="0" y="50"/>
                  </a:lnTo>
                  <a:lnTo>
                    <a:pt x="0" y="50"/>
                  </a:lnTo>
                  <a:lnTo>
                    <a:pt x="2" y="40"/>
                  </a:lnTo>
                  <a:lnTo>
                    <a:pt x="4" y="30"/>
                  </a:lnTo>
                  <a:lnTo>
                    <a:pt x="8" y="22"/>
                  </a:lnTo>
                  <a:lnTo>
                    <a:pt x="14" y="14"/>
                  </a:lnTo>
                  <a:lnTo>
                    <a:pt x="22" y="10"/>
                  </a:lnTo>
                  <a:lnTo>
                    <a:pt x="30" y="4"/>
                  </a:lnTo>
                  <a:lnTo>
                    <a:pt x="40" y="2"/>
                  </a:lnTo>
                  <a:lnTo>
                    <a:pt x="48" y="0"/>
                  </a:lnTo>
                  <a:lnTo>
                    <a:pt x="48" y="0"/>
                  </a:lnTo>
                  <a:lnTo>
                    <a:pt x="58" y="2"/>
                  </a:lnTo>
                  <a:lnTo>
                    <a:pt x="68" y="4"/>
                  </a:lnTo>
                  <a:lnTo>
                    <a:pt x="76" y="10"/>
                  </a:lnTo>
                  <a:lnTo>
                    <a:pt x="84" y="14"/>
                  </a:lnTo>
                  <a:lnTo>
                    <a:pt x="90" y="22"/>
                  </a:lnTo>
                  <a:lnTo>
                    <a:pt x="94" y="30"/>
                  </a:lnTo>
                  <a:lnTo>
                    <a:pt x="96" y="40"/>
                  </a:lnTo>
                  <a:lnTo>
                    <a:pt x="98" y="50"/>
                  </a:lnTo>
                  <a:lnTo>
                    <a:pt x="98" y="50"/>
                  </a:lnTo>
                  <a:lnTo>
                    <a:pt x="96" y="60"/>
                  </a:lnTo>
                  <a:lnTo>
                    <a:pt x="94" y="68"/>
                  </a:lnTo>
                  <a:lnTo>
                    <a:pt x="90" y="76"/>
                  </a:lnTo>
                  <a:lnTo>
                    <a:pt x="84" y="84"/>
                  </a:lnTo>
                  <a:lnTo>
                    <a:pt x="76" y="90"/>
                  </a:lnTo>
                  <a:lnTo>
                    <a:pt x="68" y="94"/>
                  </a:lnTo>
                  <a:lnTo>
                    <a:pt x="58" y="98"/>
                  </a:lnTo>
                  <a:lnTo>
                    <a:pt x="48" y="98"/>
                  </a:lnTo>
                  <a:lnTo>
                    <a:pt x="48" y="98"/>
                  </a:lnTo>
                  <a:close/>
                  <a:moveTo>
                    <a:pt x="48" y="18"/>
                  </a:moveTo>
                  <a:lnTo>
                    <a:pt x="48" y="18"/>
                  </a:lnTo>
                  <a:lnTo>
                    <a:pt x="42" y="20"/>
                  </a:lnTo>
                  <a:lnTo>
                    <a:pt x="36" y="22"/>
                  </a:lnTo>
                  <a:lnTo>
                    <a:pt x="28" y="28"/>
                  </a:lnTo>
                  <a:lnTo>
                    <a:pt x="20" y="38"/>
                  </a:lnTo>
                  <a:lnTo>
                    <a:pt x="18" y="44"/>
                  </a:lnTo>
                  <a:lnTo>
                    <a:pt x="18" y="50"/>
                  </a:lnTo>
                  <a:lnTo>
                    <a:pt x="18" y="50"/>
                  </a:lnTo>
                  <a:lnTo>
                    <a:pt x="18" y="56"/>
                  </a:lnTo>
                  <a:lnTo>
                    <a:pt x="20" y="62"/>
                  </a:lnTo>
                  <a:lnTo>
                    <a:pt x="28" y="72"/>
                  </a:lnTo>
                  <a:lnTo>
                    <a:pt x="36" y="78"/>
                  </a:lnTo>
                  <a:lnTo>
                    <a:pt x="42" y="80"/>
                  </a:lnTo>
                  <a:lnTo>
                    <a:pt x="48" y="80"/>
                  </a:lnTo>
                  <a:lnTo>
                    <a:pt x="48" y="80"/>
                  </a:lnTo>
                  <a:lnTo>
                    <a:pt x="56" y="80"/>
                  </a:lnTo>
                  <a:lnTo>
                    <a:pt x="60" y="78"/>
                  </a:lnTo>
                  <a:lnTo>
                    <a:pt x="70" y="72"/>
                  </a:lnTo>
                  <a:lnTo>
                    <a:pt x="78" y="62"/>
                  </a:lnTo>
                  <a:lnTo>
                    <a:pt x="78" y="56"/>
                  </a:lnTo>
                  <a:lnTo>
                    <a:pt x="80" y="50"/>
                  </a:lnTo>
                  <a:lnTo>
                    <a:pt x="80" y="50"/>
                  </a:lnTo>
                  <a:lnTo>
                    <a:pt x="78" y="44"/>
                  </a:lnTo>
                  <a:lnTo>
                    <a:pt x="78" y="38"/>
                  </a:lnTo>
                  <a:lnTo>
                    <a:pt x="70" y="28"/>
                  </a:lnTo>
                  <a:lnTo>
                    <a:pt x="60" y="22"/>
                  </a:lnTo>
                  <a:lnTo>
                    <a:pt x="56" y="20"/>
                  </a:lnTo>
                  <a:lnTo>
                    <a:pt x="48" y="18"/>
                  </a:lnTo>
                  <a:lnTo>
                    <a:pt x="48" y="18"/>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60" name="Freeform 22">
              <a:extLst>
                <a:ext uri="{FF2B5EF4-FFF2-40B4-BE49-F238E27FC236}">
                  <a16:creationId xmlns:a16="http://schemas.microsoft.com/office/drawing/2014/main" id="{CBC47DC6-EC0F-1B09-30DC-24AABB6DCEF8}"/>
                </a:ext>
              </a:extLst>
            </p:cNvPr>
            <p:cNvSpPr>
              <a:spLocks/>
            </p:cNvSpPr>
            <p:nvPr/>
          </p:nvSpPr>
          <p:spPr bwMode="auto">
            <a:xfrm>
              <a:off x="2332" y="2404"/>
              <a:ext cx="88" cy="86"/>
            </a:xfrm>
            <a:custGeom>
              <a:avLst/>
              <a:gdLst>
                <a:gd name="T0" fmla="*/ 74 w 88"/>
                <a:gd name="T1" fmla="*/ 86 h 86"/>
                <a:gd name="T2" fmla="*/ 0 w 88"/>
                <a:gd name="T3" fmla="*/ 12 h 86"/>
                <a:gd name="T4" fmla="*/ 14 w 88"/>
                <a:gd name="T5" fmla="*/ 0 h 86"/>
                <a:gd name="T6" fmla="*/ 88 w 88"/>
                <a:gd name="T7" fmla="*/ 74 h 86"/>
                <a:gd name="T8" fmla="*/ 74 w 88"/>
                <a:gd name="T9" fmla="*/ 86 h 86"/>
              </a:gdLst>
              <a:ahLst/>
              <a:cxnLst>
                <a:cxn ang="0">
                  <a:pos x="T0" y="T1"/>
                </a:cxn>
                <a:cxn ang="0">
                  <a:pos x="T2" y="T3"/>
                </a:cxn>
                <a:cxn ang="0">
                  <a:pos x="T4" y="T5"/>
                </a:cxn>
                <a:cxn ang="0">
                  <a:pos x="T6" y="T7"/>
                </a:cxn>
                <a:cxn ang="0">
                  <a:pos x="T8" y="T9"/>
                </a:cxn>
              </a:cxnLst>
              <a:rect l="0" t="0" r="r" b="b"/>
              <a:pathLst>
                <a:path w="88" h="86">
                  <a:moveTo>
                    <a:pt x="74" y="86"/>
                  </a:moveTo>
                  <a:lnTo>
                    <a:pt x="0" y="12"/>
                  </a:lnTo>
                  <a:lnTo>
                    <a:pt x="14" y="0"/>
                  </a:lnTo>
                  <a:lnTo>
                    <a:pt x="88" y="74"/>
                  </a:lnTo>
                  <a:lnTo>
                    <a:pt x="74" y="8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61" name="Freeform 23">
              <a:extLst>
                <a:ext uri="{FF2B5EF4-FFF2-40B4-BE49-F238E27FC236}">
                  <a16:creationId xmlns:a16="http://schemas.microsoft.com/office/drawing/2014/main" id="{66E7851B-3964-432F-7C36-A7D9124E8746}"/>
                </a:ext>
              </a:extLst>
            </p:cNvPr>
            <p:cNvSpPr>
              <a:spLocks/>
            </p:cNvSpPr>
            <p:nvPr/>
          </p:nvSpPr>
          <p:spPr bwMode="auto">
            <a:xfrm>
              <a:off x="2332" y="2404"/>
              <a:ext cx="88" cy="86"/>
            </a:xfrm>
            <a:custGeom>
              <a:avLst/>
              <a:gdLst>
                <a:gd name="T0" fmla="*/ 14 w 88"/>
                <a:gd name="T1" fmla="*/ 86 h 86"/>
                <a:gd name="T2" fmla="*/ 0 w 88"/>
                <a:gd name="T3" fmla="*/ 74 h 86"/>
                <a:gd name="T4" fmla="*/ 74 w 88"/>
                <a:gd name="T5" fmla="*/ 0 h 86"/>
                <a:gd name="T6" fmla="*/ 88 w 88"/>
                <a:gd name="T7" fmla="*/ 12 h 86"/>
                <a:gd name="T8" fmla="*/ 14 w 88"/>
                <a:gd name="T9" fmla="*/ 86 h 86"/>
              </a:gdLst>
              <a:ahLst/>
              <a:cxnLst>
                <a:cxn ang="0">
                  <a:pos x="T0" y="T1"/>
                </a:cxn>
                <a:cxn ang="0">
                  <a:pos x="T2" y="T3"/>
                </a:cxn>
                <a:cxn ang="0">
                  <a:pos x="T4" y="T5"/>
                </a:cxn>
                <a:cxn ang="0">
                  <a:pos x="T6" y="T7"/>
                </a:cxn>
                <a:cxn ang="0">
                  <a:pos x="T8" y="T9"/>
                </a:cxn>
              </a:cxnLst>
              <a:rect l="0" t="0" r="r" b="b"/>
              <a:pathLst>
                <a:path w="88" h="86">
                  <a:moveTo>
                    <a:pt x="14" y="86"/>
                  </a:moveTo>
                  <a:lnTo>
                    <a:pt x="0" y="74"/>
                  </a:lnTo>
                  <a:lnTo>
                    <a:pt x="74" y="0"/>
                  </a:lnTo>
                  <a:lnTo>
                    <a:pt x="88" y="12"/>
                  </a:lnTo>
                  <a:lnTo>
                    <a:pt x="14" y="8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62" name="Freeform 24">
              <a:extLst>
                <a:ext uri="{FF2B5EF4-FFF2-40B4-BE49-F238E27FC236}">
                  <a16:creationId xmlns:a16="http://schemas.microsoft.com/office/drawing/2014/main" id="{7006FC47-ED6A-5BCA-3A2A-72D21F85AD39}"/>
                </a:ext>
              </a:extLst>
            </p:cNvPr>
            <p:cNvSpPr>
              <a:spLocks/>
            </p:cNvSpPr>
            <p:nvPr/>
          </p:nvSpPr>
          <p:spPr bwMode="auto">
            <a:xfrm>
              <a:off x="2146" y="2156"/>
              <a:ext cx="178" cy="290"/>
            </a:xfrm>
            <a:custGeom>
              <a:avLst/>
              <a:gdLst>
                <a:gd name="T0" fmla="*/ 18 w 178"/>
                <a:gd name="T1" fmla="*/ 290 h 290"/>
                <a:gd name="T2" fmla="*/ 0 w 178"/>
                <a:gd name="T3" fmla="*/ 290 h 290"/>
                <a:gd name="T4" fmla="*/ 0 w 178"/>
                <a:gd name="T5" fmla="*/ 140 h 290"/>
                <a:gd name="T6" fmla="*/ 160 w 178"/>
                <a:gd name="T7" fmla="*/ 140 h 290"/>
                <a:gd name="T8" fmla="*/ 160 w 178"/>
                <a:gd name="T9" fmla="*/ 0 h 290"/>
                <a:gd name="T10" fmla="*/ 178 w 178"/>
                <a:gd name="T11" fmla="*/ 0 h 290"/>
                <a:gd name="T12" fmla="*/ 178 w 178"/>
                <a:gd name="T13" fmla="*/ 158 h 290"/>
                <a:gd name="T14" fmla="*/ 18 w 178"/>
                <a:gd name="T15" fmla="*/ 158 h 290"/>
                <a:gd name="T16" fmla="*/ 18 w 178"/>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290">
                  <a:moveTo>
                    <a:pt x="18" y="290"/>
                  </a:moveTo>
                  <a:lnTo>
                    <a:pt x="0" y="290"/>
                  </a:lnTo>
                  <a:lnTo>
                    <a:pt x="0" y="140"/>
                  </a:lnTo>
                  <a:lnTo>
                    <a:pt x="160" y="140"/>
                  </a:lnTo>
                  <a:lnTo>
                    <a:pt x="160" y="0"/>
                  </a:lnTo>
                  <a:lnTo>
                    <a:pt x="178" y="0"/>
                  </a:lnTo>
                  <a:lnTo>
                    <a:pt x="178" y="158"/>
                  </a:lnTo>
                  <a:lnTo>
                    <a:pt x="18" y="158"/>
                  </a:lnTo>
                  <a:lnTo>
                    <a:pt x="18" y="290"/>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sp>
          <p:nvSpPr>
            <p:cNvPr id="363" name="Freeform 25">
              <a:extLst>
                <a:ext uri="{FF2B5EF4-FFF2-40B4-BE49-F238E27FC236}">
                  <a16:creationId xmlns:a16="http://schemas.microsoft.com/office/drawing/2014/main" id="{8AAAA1EB-2BC5-5135-C23C-B2A7749BF220}"/>
                </a:ext>
              </a:extLst>
            </p:cNvPr>
            <p:cNvSpPr>
              <a:spLocks/>
            </p:cNvSpPr>
            <p:nvPr/>
          </p:nvSpPr>
          <p:spPr bwMode="auto">
            <a:xfrm>
              <a:off x="2272" y="2132"/>
              <a:ext cx="86" cy="56"/>
            </a:xfrm>
            <a:custGeom>
              <a:avLst/>
              <a:gdLst>
                <a:gd name="T0" fmla="*/ 74 w 86"/>
                <a:gd name="T1" fmla="*/ 56 h 56"/>
                <a:gd name="T2" fmla="*/ 42 w 86"/>
                <a:gd name="T3" fmla="*/ 26 h 56"/>
                <a:gd name="T4" fmla="*/ 12 w 86"/>
                <a:gd name="T5" fmla="*/ 56 h 56"/>
                <a:gd name="T6" fmla="*/ 0 w 86"/>
                <a:gd name="T7" fmla="*/ 44 h 56"/>
                <a:gd name="T8" fmla="*/ 42 w 86"/>
                <a:gd name="T9" fmla="*/ 0 h 56"/>
                <a:gd name="T10" fmla="*/ 86 w 86"/>
                <a:gd name="T11" fmla="*/ 44 h 56"/>
                <a:gd name="T12" fmla="*/ 74 w 86"/>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6" h="56">
                  <a:moveTo>
                    <a:pt x="74" y="56"/>
                  </a:moveTo>
                  <a:lnTo>
                    <a:pt x="42" y="26"/>
                  </a:lnTo>
                  <a:lnTo>
                    <a:pt x="12" y="56"/>
                  </a:lnTo>
                  <a:lnTo>
                    <a:pt x="0" y="44"/>
                  </a:lnTo>
                  <a:lnTo>
                    <a:pt x="42" y="0"/>
                  </a:lnTo>
                  <a:lnTo>
                    <a:pt x="86" y="44"/>
                  </a:lnTo>
                  <a:lnTo>
                    <a:pt x="74" y="56"/>
                  </a:ln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US" sz="2520">
                <a:solidFill>
                  <a:srgbClr val="000000"/>
                </a:solidFill>
                <a:latin typeface="Avenir"/>
              </a:endParaRPr>
            </a:p>
          </p:txBody>
        </p:sp>
      </p:grpSp>
      <p:grpSp>
        <p:nvGrpSpPr>
          <p:cNvPr id="364" name="Group 4">
            <a:extLst>
              <a:ext uri="{FF2B5EF4-FFF2-40B4-BE49-F238E27FC236}">
                <a16:creationId xmlns:a16="http://schemas.microsoft.com/office/drawing/2014/main" id="{F686A4C2-0B7E-97CF-8979-FF2FD9BEF79C}"/>
              </a:ext>
            </a:extLst>
          </p:cNvPr>
          <p:cNvGrpSpPr>
            <a:grpSpLocks noChangeAspect="1"/>
          </p:cNvGrpSpPr>
          <p:nvPr/>
        </p:nvGrpSpPr>
        <p:grpSpPr bwMode="auto">
          <a:xfrm>
            <a:off x="3563758" y="1807029"/>
            <a:ext cx="582198" cy="560735"/>
            <a:chOff x="-2004" y="2044"/>
            <a:chExt cx="1058" cy="1019"/>
          </a:xfrm>
          <a:solidFill>
            <a:schemeClr val="bg1"/>
          </a:solidFill>
        </p:grpSpPr>
        <p:sp>
          <p:nvSpPr>
            <p:cNvPr id="365" name="Freeform 5">
              <a:extLst>
                <a:ext uri="{FF2B5EF4-FFF2-40B4-BE49-F238E27FC236}">
                  <a16:creationId xmlns:a16="http://schemas.microsoft.com/office/drawing/2014/main" id="{9748BF4A-9ABD-068D-9393-6D3575BD1E8C}"/>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66" name="Freeform 6">
              <a:extLst>
                <a:ext uri="{FF2B5EF4-FFF2-40B4-BE49-F238E27FC236}">
                  <a16:creationId xmlns:a16="http://schemas.microsoft.com/office/drawing/2014/main" id="{367CF6B2-C579-2B85-69B1-F6B2999144A7}"/>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67" name="Freeform 7">
              <a:extLst>
                <a:ext uri="{FF2B5EF4-FFF2-40B4-BE49-F238E27FC236}">
                  <a16:creationId xmlns:a16="http://schemas.microsoft.com/office/drawing/2014/main" id="{43D95645-B28D-C87B-4A48-75D1508592EB}"/>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68" name="Freeform 8">
              <a:extLst>
                <a:ext uri="{FF2B5EF4-FFF2-40B4-BE49-F238E27FC236}">
                  <a16:creationId xmlns:a16="http://schemas.microsoft.com/office/drawing/2014/main" id="{E46D2810-F765-942C-4F90-C6CFFCCCA566}"/>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69" name="Freeform 9">
              <a:extLst>
                <a:ext uri="{FF2B5EF4-FFF2-40B4-BE49-F238E27FC236}">
                  <a16:creationId xmlns:a16="http://schemas.microsoft.com/office/drawing/2014/main" id="{7C6853DD-7A9B-A9E5-F5D6-E1F8B913D145}"/>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0" name="Freeform 10">
              <a:extLst>
                <a:ext uri="{FF2B5EF4-FFF2-40B4-BE49-F238E27FC236}">
                  <a16:creationId xmlns:a16="http://schemas.microsoft.com/office/drawing/2014/main" id="{E47109A5-7393-DB81-0549-FB2BEDBC768C}"/>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1" name="Freeform 11">
              <a:extLst>
                <a:ext uri="{FF2B5EF4-FFF2-40B4-BE49-F238E27FC236}">
                  <a16:creationId xmlns:a16="http://schemas.microsoft.com/office/drawing/2014/main" id="{1068B0C6-CC9D-6AB9-3A7B-592FEEFB37E0}"/>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2" name="Freeform 12">
              <a:extLst>
                <a:ext uri="{FF2B5EF4-FFF2-40B4-BE49-F238E27FC236}">
                  <a16:creationId xmlns:a16="http://schemas.microsoft.com/office/drawing/2014/main" id="{FF4AE478-C9D8-AAC2-9F04-3276448DE9BB}"/>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3" name="Freeform 13">
              <a:extLst>
                <a:ext uri="{FF2B5EF4-FFF2-40B4-BE49-F238E27FC236}">
                  <a16:creationId xmlns:a16="http://schemas.microsoft.com/office/drawing/2014/main" id="{515DB752-2000-8DCF-4779-1168E9705A8E}"/>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4" name="Freeform 14">
              <a:extLst>
                <a:ext uri="{FF2B5EF4-FFF2-40B4-BE49-F238E27FC236}">
                  <a16:creationId xmlns:a16="http://schemas.microsoft.com/office/drawing/2014/main" id="{014EA917-4AC3-84CF-A7EC-CEB9361EB9FA}"/>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5" name="Freeform 15">
              <a:extLst>
                <a:ext uri="{FF2B5EF4-FFF2-40B4-BE49-F238E27FC236}">
                  <a16:creationId xmlns:a16="http://schemas.microsoft.com/office/drawing/2014/main" id="{ADF2DC20-034C-A777-59D9-3BCE0E42F7D6}"/>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6" name="Freeform 16">
              <a:extLst>
                <a:ext uri="{FF2B5EF4-FFF2-40B4-BE49-F238E27FC236}">
                  <a16:creationId xmlns:a16="http://schemas.microsoft.com/office/drawing/2014/main" id="{08EE1986-BFAC-2D9C-3A61-D214FFE9C646}"/>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w="9525">
              <a:solidFill>
                <a:schemeClr val="bg1"/>
              </a:solidFill>
              <a:round/>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7" name="Rectangle 17">
              <a:extLst>
                <a:ext uri="{FF2B5EF4-FFF2-40B4-BE49-F238E27FC236}">
                  <a16:creationId xmlns:a16="http://schemas.microsoft.com/office/drawing/2014/main" id="{AABA5C05-9674-7218-72DE-89C009951B88}"/>
                </a:ext>
              </a:extLst>
            </p:cNvPr>
            <p:cNvSpPr>
              <a:spLocks noChangeArrowheads="1"/>
            </p:cNvSpPr>
            <p:nvPr/>
          </p:nvSpPr>
          <p:spPr bwMode="auto">
            <a:xfrm>
              <a:off x="-1328" y="2963"/>
              <a:ext cx="23" cy="82"/>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8" name="Rectangle 18">
              <a:extLst>
                <a:ext uri="{FF2B5EF4-FFF2-40B4-BE49-F238E27FC236}">
                  <a16:creationId xmlns:a16="http://schemas.microsoft.com/office/drawing/2014/main" id="{E882A66C-253B-2208-EE02-D5339AB3967E}"/>
                </a:ext>
              </a:extLst>
            </p:cNvPr>
            <p:cNvSpPr>
              <a:spLocks noChangeArrowheads="1"/>
            </p:cNvSpPr>
            <p:nvPr/>
          </p:nvSpPr>
          <p:spPr bwMode="auto">
            <a:xfrm>
              <a:off x="-1090" y="2963"/>
              <a:ext cx="24" cy="82"/>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79" name="Rectangle 19">
              <a:extLst>
                <a:ext uri="{FF2B5EF4-FFF2-40B4-BE49-F238E27FC236}">
                  <a16:creationId xmlns:a16="http://schemas.microsoft.com/office/drawing/2014/main" id="{4351D780-67C7-26A7-3672-639A0D9FE099}"/>
                </a:ext>
              </a:extLst>
            </p:cNvPr>
            <p:cNvSpPr>
              <a:spLocks noChangeArrowheads="1"/>
            </p:cNvSpPr>
            <p:nvPr/>
          </p:nvSpPr>
          <p:spPr bwMode="auto">
            <a:xfrm>
              <a:off x="-1050" y="2395"/>
              <a:ext cx="82" cy="24"/>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80" name="Rectangle 20">
              <a:extLst>
                <a:ext uri="{FF2B5EF4-FFF2-40B4-BE49-F238E27FC236}">
                  <a16:creationId xmlns:a16="http://schemas.microsoft.com/office/drawing/2014/main" id="{40C6E5E9-7E45-66FC-6CF9-4985204FF7EC}"/>
                </a:ext>
              </a:extLst>
            </p:cNvPr>
            <p:cNvSpPr>
              <a:spLocks noChangeArrowheads="1"/>
            </p:cNvSpPr>
            <p:nvPr/>
          </p:nvSpPr>
          <p:spPr bwMode="auto">
            <a:xfrm>
              <a:off x="-1050" y="2158"/>
              <a:ext cx="82" cy="24"/>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81" name="Rectangle 21">
              <a:extLst>
                <a:ext uri="{FF2B5EF4-FFF2-40B4-BE49-F238E27FC236}">
                  <a16:creationId xmlns:a16="http://schemas.microsoft.com/office/drawing/2014/main" id="{4A18061C-B7A9-D8A6-BDB8-ED1AC80CBE02}"/>
                </a:ext>
              </a:extLst>
            </p:cNvPr>
            <p:cNvSpPr>
              <a:spLocks noChangeArrowheads="1"/>
            </p:cNvSpPr>
            <p:nvPr/>
          </p:nvSpPr>
          <p:spPr bwMode="auto">
            <a:xfrm>
              <a:off x="-1631" y="2062"/>
              <a:ext cx="23" cy="82"/>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82" name="Rectangle 22">
              <a:extLst>
                <a:ext uri="{FF2B5EF4-FFF2-40B4-BE49-F238E27FC236}">
                  <a16:creationId xmlns:a16="http://schemas.microsoft.com/office/drawing/2014/main" id="{A042B1FA-8E62-4E61-4470-14BD8F97B5FC}"/>
                </a:ext>
              </a:extLst>
            </p:cNvPr>
            <p:cNvSpPr>
              <a:spLocks noChangeArrowheads="1"/>
            </p:cNvSpPr>
            <p:nvPr/>
          </p:nvSpPr>
          <p:spPr bwMode="auto">
            <a:xfrm>
              <a:off x="-1870" y="2062"/>
              <a:ext cx="24" cy="82"/>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83" name="Rectangle 23">
              <a:extLst>
                <a:ext uri="{FF2B5EF4-FFF2-40B4-BE49-F238E27FC236}">
                  <a16:creationId xmlns:a16="http://schemas.microsoft.com/office/drawing/2014/main" id="{429C8E62-29DA-1F1C-3814-57771BCF1F11}"/>
                </a:ext>
              </a:extLst>
            </p:cNvPr>
            <p:cNvSpPr>
              <a:spLocks noChangeArrowheads="1"/>
            </p:cNvSpPr>
            <p:nvPr/>
          </p:nvSpPr>
          <p:spPr bwMode="auto">
            <a:xfrm>
              <a:off x="-1967" y="2920"/>
              <a:ext cx="83" cy="24"/>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sp>
          <p:nvSpPr>
            <p:cNvPr id="384" name="Rectangle 24">
              <a:extLst>
                <a:ext uri="{FF2B5EF4-FFF2-40B4-BE49-F238E27FC236}">
                  <a16:creationId xmlns:a16="http://schemas.microsoft.com/office/drawing/2014/main" id="{471E0F27-34FB-CF01-F520-17724C72BF71}"/>
                </a:ext>
              </a:extLst>
            </p:cNvPr>
            <p:cNvSpPr>
              <a:spLocks noChangeArrowheads="1"/>
            </p:cNvSpPr>
            <p:nvPr/>
          </p:nvSpPr>
          <p:spPr bwMode="auto">
            <a:xfrm>
              <a:off x="-1967" y="2682"/>
              <a:ext cx="83" cy="24"/>
            </a:xfrm>
            <a:prstGeom prst="rect">
              <a:avLst/>
            </a:prstGeom>
            <a:grpFill/>
            <a:ln w="9525">
              <a:solidFill>
                <a:schemeClr val="bg1"/>
              </a:solidFill>
              <a:miter lim="800000"/>
              <a:headEnd/>
              <a:tailEnd/>
            </a:ln>
          </p:spPr>
          <p:txBody>
            <a:bodyPr vert="horz" wrap="square" lIns="128016" tIns="64008" rIns="128016" bIns="64008" numCol="1" anchor="t" anchorCtr="0" compatLnSpc="1">
              <a:prstTxWarp prst="textNoShape">
                <a:avLst/>
              </a:prstTxWarp>
            </a:bodyPr>
            <a:lstStyle/>
            <a:p>
              <a:pPr defTabSz="1280160"/>
              <a:endParaRPr lang="en-IN" sz="2520">
                <a:solidFill>
                  <a:srgbClr val="000000"/>
                </a:solidFill>
                <a:latin typeface="Avenir"/>
              </a:endParaRPr>
            </a:p>
          </p:txBody>
        </p:sp>
      </p:grpSp>
      <p:pic>
        <p:nvPicPr>
          <p:cNvPr id="385" name="Graphic 384" descr="Chess pieces with solid fill">
            <a:extLst>
              <a:ext uri="{FF2B5EF4-FFF2-40B4-BE49-F238E27FC236}">
                <a16:creationId xmlns:a16="http://schemas.microsoft.com/office/drawing/2014/main" id="{B3F7F9FC-2D73-119C-8EE9-7B326892CA1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293604" y="643557"/>
            <a:ext cx="717044" cy="717044"/>
          </a:xfrm>
          <a:prstGeom prst="rect">
            <a:avLst/>
          </a:prstGeom>
        </p:spPr>
      </p:pic>
    </p:spTree>
    <p:extLst>
      <p:ext uri="{BB962C8B-B14F-4D97-AF65-F5344CB8AC3E}">
        <p14:creationId xmlns:p14="http://schemas.microsoft.com/office/powerpoint/2010/main" val="711416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3DE51-4C2D-34BA-8EA1-B87DC8128279}"/>
              </a:ext>
            </a:extLst>
          </p:cNvPr>
          <p:cNvSpPr>
            <a:spLocks noGrp="1"/>
          </p:cNvSpPr>
          <p:nvPr>
            <p:ph type="title"/>
          </p:nvPr>
        </p:nvSpPr>
        <p:spPr>
          <a:xfrm>
            <a:off x="378562" y="217439"/>
            <a:ext cx="10972800" cy="864000"/>
          </a:xfrm>
        </p:spPr>
        <p:txBody>
          <a:bodyPr anchor="ctr"/>
          <a:lstStyle/>
          <a:p>
            <a:r>
              <a:rPr lang="en-US"/>
              <a:t>What is </a:t>
            </a:r>
            <a:r>
              <a:rPr lang="en-US" err="1"/>
              <a:t>IS</a:t>
            </a:r>
            <a:r>
              <a:rPr lang="en-US"/>
              <a:t> policy, procedure and standard?</a:t>
            </a:r>
          </a:p>
        </p:txBody>
      </p:sp>
      <p:sp>
        <p:nvSpPr>
          <p:cNvPr id="3" name="Date Placeholder 2">
            <a:extLst>
              <a:ext uri="{FF2B5EF4-FFF2-40B4-BE49-F238E27FC236}">
                <a16:creationId xmlns:a16="http://schemas.microsoft.com/office/drawing/2014/main" id="{1D5C627C-5A38-1005-554C-27E528B3700B}"/>
              </a:ext>
            </a:extLst>
          </p:cNvPr>
          <p:cNvSpPr>
            <a:spLocks noGrp="1"/>
          </p:cNvSpPr>
          <p:nvPr>
            <p:ph type="dt" sz="half" idx="10"/>
          </p:nvPr>
        </p:nvSpPr>
        <p:spPr/>
        <p:txBody>
          <a:bodyPr/>
          <a:lstStyle/>
          <a:p>
            <a:fld id="{39B7AB89-215A-4D3E-9494-49745A20B597}" type="datetime3">
              <a:rPr lang="en-US" smtClean="0"/>
              <a:t>19 November 2025</a:t>
            </a:fld>
            <a:endParaRPr lang="en-US"/>
          </a:p>
        </p:txBody>
      </p:sp>
      <p:sp>
        <p:nvSpPr>
          <p:cNvPr id="4" name="Footer Placeholder 3">
            <a:extLst>
              <a:ext uri="{FF2B5EF4-FFF2-40B4-BE49-F238E27FC236}">
                <a16:creationId xmlns:a16="http://schemas.microsoft.com/office/drawing/2014/main" id="{6597C76F-DFC0-5E65-3381-448E29C1C7C5}"/>
              </a:ext>
            </a:extLst>
          </p:cNvPr>
          <p:cNvSpPr>
            <a:spLocks noGrp="1"/>
          </p:cNvSpPr>
          <p:nvPr>
            <p:ph type="ftr" sz="quarter" idx="11"/>
          </p:nvPr>
        </p:nvSpPr>
        <p:spPr/>
        <p:txBody>
          <a:bodyPr/>
          <a:lstStyle/>
          <a:p>
            <a:r>
              <a:rPr lang="en-ZA"/>
              <a:t>BankOne - NIST Cyber Security Training </a:t>
            </a:r>
            <a:endParaRPr lang="en-US"/>
          </a:p>
        </p:txBody>
      </p:sp>
      <p:sp>
        <p:nvSpPr>
          <p:cNvPr id="5" name="Forme libre 3">
            <a:extLst>
              <a:ext uri="{FF2B5EF4-FFF2-40B4-BE49-F238E27FC236}">
                <a16:creationId xmlns:a16="http://schemas.microsoft.com/office/drawing/2014/main" id="{C28927CF-8AEC-AB09-3C76-3636CF43ACF6}"/>
              </a:ext>
            </a:extLst>
          </p:cNvPr>
          <p:cNvSpPr/>
          <p:nvPr/>
        </p:nvSpPr>
        <p:spPr>
          <a:xfrm>
            <a:off x="3866313" y="4587895"/>
            <a:ext cx="3796878" cy="1041351"/>
          </a:xfrm>
          <a:custGeom>
            <a:avLst/>
            <a:gdLst>
              <a:gd name="connsiteX0" fmla="*/ 4357629 w 5065141"/>
              <a:gd name="connsiteY0" fmla="*/ 46379 h 1389190"/>
              <a:gd name="connsiteX1" fmla="*/ 4277254 w 5065141"/>
              <a:gd name="connsiteY1" fmla="*/ 0 h 1389190"/>
              <a:gd name="connsiteX2" fmla="*/ 787645 w 5065141"/>
              <a:gd name="connsiteY2" fmla="*/ 0 h 1389190"/>
              <a:gd name="connsiteX3" fmla="*/ 707271 w 5065141"/>
              <a:gd name="connsiteY3" fmla="*/ 46379 h 1389190"/>
              <a:gd name="connsiteX4" fmla="*/ 12554 w 5065141"/>
              <a:gd name="connsiteY4" fmla="*/ 1249810 h 1389190"/>
              <a:gd name="connsiteX5" fmla="*/ 92928 w 5065141"/>
              <a:gd name="connsiteY5" fmla="*/ 1389190 h 1389190"/>
              <a:gd name="connsiteX6" fmla="*/ 4972214 w 5065141"/>
              <a:gd name="connsiteY6" fmla="*/ 1389190 h 1389190"/>
              <a:gd name="connsiteX7" fmla="*/ 5052588 w 5065141"/>
              <a:gd name="connsiteY7" fmla="*/ 1249810 h 1389190"/>
              <a:gd name="connsiteX8" fmla="*/ 4357871 w 5065141"/>
              <a:gd name="connsiteY8" fmla="*/ 46379 h 138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5141" h="1389190">
                <a:moveTo>
                  <a:pt x="4357629" y="46379"/>
                </a:moveTo>
                <a:cubicBezTo>
                  <a:pt x="4341117" y="17726"/>
                  <a:pt x="4310278" y="0"/>
                  <a:pt x="4277254" y="0"/>
                </a:cubicBezTo>
                <a:lnTo>
                  <a:pt x="787645" y="0"/>
                </a:lnTo>
                <a:cubicBezTo>
                  <a:pt x="754378" y="0"/>
                  <a:pt x="723783" y="17726"/>
                  <a:pt x="707271" y="46379"/>
                </a:cubicBezTo>
                <a:lnTo>
                  <a:pt x="12554" y="1249810"/>
                </a:lnTo>
                <a:cubicBezTo>
                  <a:pt x="-23141" y="1311730"/>
                  <a:pt x="21538" y="1389190"/>
                  <a:pt x="92928" y="1389190"/>
                </a:cubicBezTo>
                <a:lnTo>
                  <a:pt x="4972214" y="1389190"/>
                </a:lnTo>
                <a:cubicBezTo>
                  <a:pt x="5043604" y="1389190"/>
                  <a:pt x="5088283" y="1311730"/>
                  <a:pt x="5052588" y="1249810"/>
                </a:cubicBezTo>
                <a:lnTo>
                  <a:pt x="4357871" y="46379"/>
                </a:lnTo>
                <a:close/>
              </a:path>
            </a:pathLst>
          </a:custGeom>
          <a:solidFill>
            <a:srgbClr val="A8658A"/>
          </a:solidFill>
          <a:ln w="24279" cap="flat">
            <a:noFill/>
            <a:prstDash val="solid"/>
            <a:miter/>
          </a:ln>
        </p:spPr>
        <p:txBody>
          <a:bodyPr tIns="0" bIns="0" rtlCol="0" anchor="ctr"/>
          <a:lstStyle/>
          <a:p>
            <a:pPr algn="ctr" defTabSz="913943">
              <a:defRPr/>
            </a:pPr>
            <a:r>
              <a:rPr lang="fr-FR" sz="4048" b="1">
                <a:solidFill>
                  <a:srgbClr val="FFFFFF"/>
                </a:solidFill>
                <a:effectLst>
                  <a:outerShdw blurRad="38100" dist="38100" dir="2700000" algn="tl">
                    <a:srgbClr val="000000">
                      <a:alpha val="43137"/>
                    </a:srgbClr>
                  </a:outerShdw>
                </a:effectLst>
                <a:latin typeface="EYInterstate-Light" panose="020B0604020202020204" charset="0"/>
              </a:rPr>
              <a:t>03</a:t>
            </a:r>
          </a:p>
        </p:txBody>
      </p:sp>
      <p:sp>
        <p:nvSpPr>
          <p:cNvPr id="6" name="Forme libre 4">
            <a:extLst>
              <a:ext uri="{FF2B5EF4-FFF2-40B4-BE49-F238E27FC236}">
                <a16:creationId xmlns:a16="http://schemas.microsoft.com/office/drawing/2014/main" id="{3BD04947-AAF4-5191-5159-AB6A23AC4D92}"/>
              </a:ext>
            </a:extLst>
          </p:cNvPr>
          <p:cNvSpPr/>
          <p:nvPr/>
        </p:nvSpPr>
        <p:spPr>
          <a:xfrm>
            <a:off x="5215463" y="2322216"/>
            <a:ext cx="1098579" cy="970225"/>
          </a:xfrm>
          <a:custGeom>
            <a:avLst/>
            <a:gdLst>
              <a:gd name="connsiteX0" fmla="*/ 92686 w 1465534"/>
              <a:gd name="connsiteY0" fmla="*/ 1294307 h 1294306"/>
              <a:gd name="connsiteX1" fmla="*/ 1372606 w 1465534"/>
              <a:gd name="connsiteY1" fmla="*/ 1294307 h 1294306"/>
              <a:gd name="connsiteX2" fmla="*/ 1452980 w 1465534"/>
              <a:gd name="connsiteY2" fmla="*/ 1154926 h 1294306"/>
              <a:gd name="connsiteX3" fmla="*/ 813141 w 1465534"/>
              <a:gd name="connsiteY3" fmla="*/ 46440 h 1294306"/>
              <a:gd name="connsiteX4" fmla="*/ 652393 w 1465534"/>
              <a:gd name="connsiteY4" fmla="*/ 46440 h 1294306"/>
              <a:gd name="connsiteX5" fmla="*/ 12554 w 1465534"/>
              <a:gd name="connsiteY5" fmla="*/ 1154926 h 1294306"/>
              <a:gd name="connsiteX6" fmla="*/ 92928 w 1465534"/>
              <a:gd name="connsiteY6" fmla="*/ 1294307 h 129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5534" h="1294306">
                <a:moveTo>
                  <a:pt x="92686" y="1294307"/>
                </a:moveTo>
                <a:lnTo>
                  <a:pt x="1372606" y="1294307"/>
                </a:lnTo>
                <a:cubicBezTo>
                  <a:pt x="1443995" y="1294307"/>
                  <a:pt x="1488675" y="1216847"/>
                  <a:pt x="1452980" y="1154926"/>
                </a:cubicBezTo>
                <a:lnTo>
                  <a:pt x="813141" y="46440"/>
                </a:lnTo>
                <a:cubicBezTo>
                  <a:pt x="777446" y="-15480"/>
                  <a:pt x="688088" y="-15480"/>
                  <a:pt x="652393" y="46440"/>
                </a:cubicBezTo>
                <a:lnTo>
                  <a:pt x="12554" y="1154926"/>
                </a:lnTo>
                <a:cubicBezTo>
                  <a:pt x="-23141" y="1216847"/>
                  <a:pt x="21538" y="1294307"/>
                  <a:pt x="92928" y="1294307"/>
                </a:cubicBezTo>
                <a:close/>
              </a:path>
            </a:pathLst>
          </a:custGeom>
          <a:solidFill>
            <a:srgbClr val="5B8F6C"/>
          </a:solidFill>
          <a:ln w="24279" cap="flat">
            <a:noFill/>
            <a:prstDash val="solid"/>
            <a:miter/>
          </a:ln>
        </p:spPr>
        <p:txBody>
          <a:bodyPr tIns="0" bIns="68544" rtlCol="0" anchor="b"/>
          <a:lstStyle/>
          <a:p>
            <a:pPr algn="ctr" defTabSz="913943">
              <a:defRPr/>
            </a:pPr>
            <a:r>
              <a:rPr lang="fr-FR" sz="2399" b="1">
                <a:solidFill>
                  <a:srgbClr val="FFFFFF"/>
                </a:solidFill>
                <a:effectLst>
                  <a:outerShdw blurRad="38100" dist="38100" dir="2700000" algn="tl">
                    <a:srgbClr val="000000">
                      <a:alpha val="43137"/>
                    </a:srgbClr>
                  </a:outerShdw>
                </a:effectLst>
                <a:latin typeface="EYInterstate-Light" panose="020B0604020202020204" charset="0"/>
              </a:rPr>
              <a:t>01</a:t>
            </a:r>
          </a:p>
        </p:txBody>
      </p:sp>
      <p:sp>
        <p:nvSpPr>
          <p:cNvPr id="7" name="Forme libre 5">
            <a:extLst>
              <a:ext uri="{FF2B5EF4-FFF2-40B4-BE49-F238E27FC236}">
                <a16:creationId xmlns:a16="http://schemas.microsoft.com/office/drawing/2014/main" id="{9B175168-D60E-4D20-F79B-774B5EA51FBC}"/>
              </a:ext>
            </a:extLst>
          </p:cNvPr>
          <p:cNvSpPr/>
          <p:nvPr/>
        </p:nvSpPr>
        <p:spPr>
          <a:xfrm>
            <a:off x="4542527" y="3422405"/>
            <a:ext cx="2444452" cy="1035526"/>
          </a:xfrm>
          <a:custGeom>
            <a:avLst/>
            <a:gdLst>
              <a:gd name="connsiteX0" fmla="*/ 92928 w 3260967"/>
              <a:gd name="connsiteY0" fmla="*/ 1381420 h 1381420"/>
              <a:gd name="connsiteX1" fmla="*/ 3168039 w 3260967"/>
              <a:gd name="connsiteY1" fmla="*/ 1381420 h 1381420"/>
              <a:gd name="connsiteX2" fmla="*/ 3248413 w 3260967"/>
              <a:gd name="connsiteY2" fmla="*/ 1242039 h 1381420"/>
              <a:gd name="connsiteX3" fmla="*/ 2558067 w 3260967"/>
              <a:gd name="connsiteY3" fmla="*/ 46379 h 1381420"/>
              <a:gd name="connsiteX4" fmla="*/ 2477693 w 3260967"/>
              <a:gd name="connsiteY4" fmla="*/ 0 h 1381420"/>
              <a:gd name="connsiteX5" fmla="*/ 783274 w 3260967"/>
              <a:gd name="connsiteY5" fmla="*/ 0 h 1381420"/>
              <a:gd name="connsiteX6" fmla="*/ 702900 w 3260967"/>
              <a:gd name="connsiteY6" fmla="*/ 46379 h 1381420"/>
              <a:gd name="connsiteX7" fmla="*/ 12554 w 3260967"/>
              <a:gd name="connsiteY7" fmla="*/ 1242039 h 1381420"/>
              <a:gd name="connsiteX8" fmla="*/ 92928 w 3260967"/>
              <a:gd name="connsiteY8" fmla="*/ 1381420 h 138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0967" h="1381420">
                <a:moveTo>
                  <a:pt x="92928" y="1381420"/>
                </a:moveTo>
                <a:lnTo>
                  <a:pt x="3168039" y="1381420"/>
                </a:lnTo>
                <a:cubicBezTo>
                  <a:pt x="3239429" y="1381420"/>
                  <a:pt x="3284108" y="1303960"/>
                  <a:pt x="3248413" y="1242039"/>
                </a:cubicBezTo>
                <a:lnTo>
                  <a:pt x="2558067" y="46379"/>
                </a:lnTo>
                <a:cubicBezTo>
                  <a:pt x="2541556" y="17726"/>
                  <a:pt x="2510717" y="0"/>
                  <a:pt x="2477693" y="0"/>
                </a:cubicBezTo>
                <a:lnTo>
                  <a:pt x="783274" y="0"/>
                </a:lnTo>
                <a:cubicBezTo>
                  <a:pt x="750007" y="0"/>
                  <a:pt x="719412" y="17726"/>
                  <a:pt x="702900" y="46379"/>
                </a:cubicBezTo>
                <a:lnTo>
                  <a:pt x="12554" y="1242039"/>
                </a:lnTo>
                <a:cubicBezTo>
                  <a:pt x="-23141" y="1303960"/>
                  <a:pt x="21538" y="1381420"/>
                  <a:pt x="92928" y="1381420"/>
                </a:cubicBezTo>
                <a:close/>
              </a:path>
            </a:pathLst>
          </a:custGeom>
          <a:solidFill>
            <a:srgbClr val="D6AA02"/>
          </a:solidFill>
          <a:ln w="24279" cap="flat">
            <a:noFill/>
            <a:prstDash val="solid"/>
            <a:miter/>
          </a:ln>
        </p:spPr>
        <p:txBody>
          <a:bodyPr tIns="0" bIns="0" rtlCol="0" anchor="ctr"/>
          <a:lstStyle/>
          <a:p>
            <a:pPr algn="ctr" defTabSz="913943">
              <a:defRPr/>
            </a:pPr>
            <a:r>
              <a:rPr lang="fr-FR" sz="2999" b="1">
                <a:solidFill>
                  <a:srgbClr val="FFFFFF"/>
                </a:solidFill>
                <a:effectLst>
                  <a:outerShdw blurRad="38100" dist="38100" dir="2700000" algn="tl">
                    <a:srgbClr val="000000">
                      <a:alpha val="43137"/>
                    </a:srgbClr>
                  </a:outerShdw>
                </a:effectLst>
                <a:latin typeface="EYInterstate-Light" panose="020B0604020202020204" charset="0"/>
              </a:rPr>
              <a:t>02</a:t>
            </a:r>
          </a:p>
        </p:txBody>
      </p:sp>
      <p:sp>
        <p:nvSpPr>
          <p:cNvPr id="8" name="Freeform: Shape 7">
            <a:extLst>
              <a:ext uri="{FF2B5EF4-FFF2-40B4-BE49-F238E27FC236}">
                <a16:creationId xmlns:a16="http://schemas.microsoft.com/office/drawing/2014/main" id="{5E8D2664-D150-8DF9-0E77-B5456078E65C}"/>
              </a:ext>
            </a:extLst>
          </p:cNvPr>
          <p:cNvSpPr/>
          <p:nvPr/>
        </p:nvSpPr>
        <p:spPr>
          <a:xfrm>
            <a:off x="5215462" y="2348161"/>
            <a:ext cx="497994" cy="944282"/>
          </a:xfrm>
          <a:custGeom>
            <a:avLst/>
            <a:gdLst>
              <a:gd name="connsiteX0" fmla="*/ 664337 w 664337"/>
              <a:gd name="connsiteY0" fmla="*/ 0 h 1259699"/>
              <a:gd name="connsiteX1" fmla="*/ 98322 w 664337"/>
              <a:gd name="connsiteY1" fmla="*/ 1259699 h 1259699"/>
              <a:gd name="connsiteX2" fmla="*/ 92929 w 664337"/>
              <a:gd name="connsiteY2" fmla="*/ 1259699 h 1259699"/>
              <a:gd name="connsiteX3" fmla="*/ 12555 w 664337"/>
              <a:gd name="connsiteY3" fmla="*/ 1120318 h 1259699"/>
              <a:gd name="connsiteX4" fmla="*/ 652394 w 664337"/>
              <a:gd name="connsiteY4" fmla="*/ 11832 h 1259699"/>
              <a:gd name="connsiteX5" fmla="*/ 664337 w 664337"/>
              <a:gd name="connsiteY5" fmla="*/ 0 h 125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337" h="1259699">
                <a:moveTo>
                  <a:pt x="664337" y="0"/>
                </a:moveTo>
                <a:lnTo>
                  <a:pt x="98322" y="1259699"/>
                </a:lnTo>
                <a:lnTo>
                  <a:pt x="92929" y="1259699"/>
                </a:lnTo>
                <a:cubicBezTo>
                  <a:pt x="21539" y="1259699"/>
                  <a:pt x="-23140" y="1182239"/>
                  <a:pt x="12555" y="1120318"/>
                </a:cubicBezTo>
                <a:lnTo>
                  <a:pt x="652394" y="11832"/>
                </a:lnTo>
                <a:lnTo>
                  <a:pt x="664337"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9" name="Freeform: Shape 8">
            <a:extLst>
              <a:ext uri="{FF2B5EF4-FFF2-40B4-BE49-F238E27FC236}">
                <a16:creationId xmlns:a16="http://schemas.microsoft.com/office/drawing/2014/main" id="{9CC5D5CF-0055-2D35-E1BC-1CF5DB9D5EE0}"/>
              </a:ext>
            </a:extLst>
          </p:cNvPr>
          <p:cNvSpPr/>
          <p:nvPr/>
        </p:nvSpPr>
        <p:spPr>
          <a:xfrm>
            <a:off x="5864962" y="2426260"/>
            <a:ext cx="449078" cy="863796"/>
          </a:xfrm>
          <a:custGeom>
            <a:avLst/>
            <a:gdLst>
              <a:gd name="connsiteX0" fmla="*/ 0 w 599082"/>
              <a:gd name="connsiteY0" fmla="*/ 0 h 1152328"/>
              <a:gd name="connsiteX1" fmla="*/ 586529 w 599082"/>
              <a:gd name="connsiteY1" fmla="*/ 1016130 h 1152328"/>
              <a:gd name="connsiteX2" fmla="*/ 553850 w 599082"/>
              <a:gd name="connsiteY2" fmla="*/ 1142440 h 1152328"/>
              <a:gd name="connsiteX3" fmla="*/ 517771 w 599082"/>
              <a:gd name="connsiteY3" fmla="*/ 1152328 h 1152328"/>
              <a:gd name="connsiteX4" fmla="*/ 0 w 599082"/>
              <a:gd name="connsiteY4" fmla="*/ 0 h 115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082" h="1152328">
                <a:moveTo>
                  <a:pt x="0" y="0"/>
                </a:moveTo>
                <a:lnTo>
                  <a:pt x="586529" y="1016130"/>
                </a:lnTo>
                <a:cubicBezTo>
                  <a:pt x="613300" y="1062571"/>
                  <a:pt x="594861" y="1117752"/>
                  <a:pt x="553850" y="1142440"/>
                </a:cubicBezTo>
                <a:lnTo>
                  <a:pt x="517771" y="1152328"/>
                </a:lnTo>
                <a:lnTo>
                  <a:pt x="0"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0" name="Freeform: Shape 9">
            <a:extLst>
              <a:ext uri="{FF2B5EF4-FFF2-40B4-BE49-F238E27FC236}">
                <a16:creationId xmlns:a16="http://schemas.microsoft.com/office/drawing/2014/main" id="{82C59F22-F024-FAB4-04F2-2736D9CB200B}"/>
              </a:ext>
            </a:extLst>
          </p:cNvPr>
          <p:cNvSpPr/>
          <p:nvPr/>
        </p:nvSpPr>
        <p:spPr>
          <a:xfrm>
            <a:off x="4542525" y="3422405"/>
            <a:ext cx="688244" cy="1035526"/>
          </a:xfrm>
          <a:custGeom>
            <a:avLst/>
            <a:gdLst>
              <a:gd name="connsiteX0" fmla="*/ 783275 w 918136"/>
              <a:gd name="connsiteY0" fmla="*/ 0 h 1381420"/>
              <a:gd name="connsiteX1" fmla="*/ 918136 w 918136"/>
              <a:gd name="connsiteY1" fmla="*/ 0 h 1381420"/>
              <a:gd name="connsiteX2" fmla="*/ 297428 w 918136"/>
              <a:gd name="connsiteY2" fmla="*/ 1381420 h 1381420"/>
              <a:gd name="connsiteX3" fmla="*/ 92929 w 918136"/>
              <a:gd name="connsiteY3" fmla="*/ 1381420 h 1381420"/>
              <a:gd name="connsiteX4" fmla="*/ 12555 w 918136"/>
              <a:gd name="connsiteY4" fmla="*/ 1242039 h 1381420"/>
              <a:gd name="connsiteX5" fmla="*/ 702901 w 918136"/>
              <a:gd name="connsiteY5" fmla="*/ 46379 h 1381420"/>
              <a:gd name="connsiteX6" fmla="*/ 783275 w 918136"/>
              <a:gd name="connsiteY6" fmla="*/ 0 h 138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136" h="1381420">
                <a:moveTo>
                  <a:pt x="783275" y="0"/>
                </a:moveTo>
                <a:lnTo>
                  <a:pt x="918136" y="0"/>
                </a:lnTo>
                <a:lnTo>
                  <a:pt x="297428" y="1381420"/>
                </a:lnTo>
                <a:lnTo>
                  <a:pt x="92929" y="1381420"/>
                </a:lnTo>
                <a:cubicBezTo>
                  <a:pt x="21539" y="1381420"/>
                  <a:pt x="-23140" y="1303960"/>
                  <a:pt x="12555" y="1242039"/>
                </a:cubicBezTo>
                <a:lnTo>
                  <a:pt x="702901" y="46379"/>
                </a:lnTo>
                <a:cubicBezTo>
                  <a:pt x="719413" y="17726"/>
                  <a:pt x="750008" y="0"/>
                  <a:pt x="783275" y="0"/>
                </a:cubicBez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1" name="Freeform: Shape 10">
            <a:extLst>
              <a:ext uri="{FF2B5EF4-FFF2-40B4-BE49-F238E27FC236}">
                <a16:creationId xmlns:a16="http://schemas.microsoft.com/office/drawing/2014/main" id="{9D2AE98B-FF3D-FE15-AD28-CE8090E55B51}"/>
              </a:ext>
            </a:extLst>
          </p:cNvPr>
          <p:cNvSpPr/>
          <p:nvPr/>
        </p:nvSpPr>
        <p:spPr>
          <a:xfrm>
            <a:off x="6312555" y="3422405"/>
            <a:ext cx="674423" cy="1035526"/>
          </a:xfrm>
          <a:custGeom>
            <a:avLst/>
            <a:gdLst>
              <a:gd name="connsiteX0" fmla="*/ 0 w 899698"/>
              <a:gd name="connsiteY0" fmla="*/ 0 h 1381420"/>
              <a:gd name="connsiteX1" fmla="*/ 116424 w 899698"/>
              <a:gd name="connsiteY1" fmla="*/ 0 h 1381420"/>
              <a:gd name="connsiteX2" fmla="*/ 196798 w 899698"/>
              <a:gd name="connsiteY2" fmla="*/ 46379 h 1381420"/>
              <a:gd name="connsiteX3" fmla="*/ 887144 w 899698"/>
              <a:gd name="connsiteY3" fmla="*/ 1242039 h 1381420"/>
              <a:gd name="connsiteX4" fmla="*/ 806770 w 899698"/>
              <a:gd name="connsiteY4" fmla="*/ 1381420 h 1381420"/>
              <a:gd name="connsiteX5" fmla="*/ 620708 w 899698"/>
              <a:gd name="connsiteY5" fmla="*/ 1381420 h 1381420"/>
              <a:gd name="connsiteX6" fmla="*/ 0 w 899698"/>
              <a:gd name="connsiteY6" fmla="*/ 0 h 138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698" h="1381420">
                <a:moveTo>
                  <a:pt x="0" y="0"/>
                </a:moveTo>
                <a:lnTo>
                  <a:pt x="116424" y="0"/>
                </a:lnTo>
                <a:cubicBezTo>
                  <a:pt x="149448" y="0"/>
                  <a:pt x="180287" y="17726"/>
                  <a:pt x="196798" y="46379"/>
                </a:cubicBezTo>
                <a:lnTo>
                  <a:pt x="887144" y="1242039"/>
                </a:lnTo>
                <a:cubicBezTo>
                  <a:pt x="922839" y="1303960"/>
                  <a:pt x="878160" y="1381420"/>
                  <a:pt x="806770" y="1381420"/>
                </a:cubicBezTo>
                <a:lnTo>
                  <a:pt x="620708" y="1381420"/>
                </a:lnTo>
                <a:lnTo>
                  <a:pt x="0"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2" name="Freeform: Shape 11">
            <a:extLst>
              <a:ext uri="{FF2B5EF4-FFF2-40B4-BE49-F238E27FC236}">
                <a16:creationId xmlns:a16="http://schemas.microsoft.com/office/drawing/2014/main" id="{EE454AC6-1CA4-2FFF-8079-B214ED3FB2D1}"/>
              </a:ext>
            </a:extLst>
          </p:cNvPr>
          <p:cNvSpPr/>
          <p:nvPr/>
        </p:nvSpPr>
        <p:spPr>
          <a:xfrm>
            <a:off x="3866312" y="4587895"/>
            <a:ext cx="840772" cy="1041351"/>
          </a:xfrm>
          <a:custGeom>
            <a:avLst/>
            <a:gdLst>
              <a:gd name="connsiteX0" fmla="*/ 787645 w 1121613"/>
              <a:gd name="connsiteY0" fmla="*/ 0 h 1389190"/>
              <a:gd name="connsiteX1" fmla="*/ 1121613 w 1121613"/>
              <a:gd name="connsiteY1" fmla="*/ 0 h 1389190"/>
              <a:gd name="connsiteX2" fmla="*/ 497414 w 1121613"/>
              <a:gd name="connsiteY2" fmla="*/ 1389190 h 1389190"/>
              <a:gd name="connsiteX3" fmla="*/ 92928 w 1121613"/>
              <a:gd name="connsiteY3" fmla="*/ 1389190 h 1389190"/>
              <a:gd name="connsiteX4" fmla="*/ 12554 w 1121613"/>
              <a:gd name="connsiteY4" fmla="*/ 1249810 h 1389190"/>
              <a:gd name="connsiteX5" fmla="*/ 707271 w 1121613"/>
              <a:gd name="connsiteY5" fmla="*/ 46379 h 1389190"/>
              <a:gd name="connsiteX6" fmla="*/ 787645 w 1121613"/>
              <a:gd name="connsiteY6" fmla="*/ 0 h 138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1613" h="1389190">
                <a:moveTo>
                  <a:pt x="787645" y="0"/>
                </a:moveTo>
                <a:lnTo>
                  <a:pt x="1121613" y="0"/>
                </a:lnTo>
                <a:lnTo>
                  <a:pt x="497414" y="1389190"/>
                </a:lnTo>
                <a:lnTo>
                  <a:pt x="92928" y="1389190"/>
                </a:lnTo>
                <a:cubicBezTo>
                  <a:pt x="21538" y="1389190"/>
                  <a:pt x="-23141" y="1311730"/>
                  <a:pt x="12554" y="1249810"/>
                </a:cubicBezTo>
                <a:lnTo>
                  <a:pt x="707271" y="46379"/>
                </a:lnTo>
                <a:cubicBezTo>
                  <a:pt x="723783" y="17726"/>
                  <a:pt x="754378" y="0"/>
                  <a:pt x="787645" y="0"/>
                </a:cubicBez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3" name="Freeform: Shape 12">
            <a:extLst>
              <a:ext uri="{FF2B5EF4-FFF2-40B4-BE49-F238E27FC236}">
                <a16:creationId xmlns:a16="http://schemas.microsoft.com/office/drawing/2014/main" id="{862C1634-ACB2-1E52-1E2C-3F97B05FF325}"/>
              </a:ext>
            </a:extLst>
          </p:cNvPr>
          <p:cNvSpPr/>
          <p:nvPr/>
        </p:nvSpPr>
        <p:spPr>
          <a:xfrm>
            <a:off x="6836242" y="4587895"/>
            <a:ext cx="826950" cy="1041351"/>
          </a:xfrm>
          <a:custGeom>
            <a:avLst/>
            <a:gdLst>
              <a:gd name="connsiteX0" fmla="*/ 0 w 1103175"/>
              <a:gd name="connsiteY0" fmla="*/ 0 h 1389190"/>
              <a:gd name="connsiteX1" fmla="*/ 315287 w 1103175"/>
              <a:gd name="connsiteY1" fmla="*/ 0 h 1389190"/>
              <a:gd name="connsiteX2" fmla="*/ 395662 w 1103175"/>
              <a:gd name="connsiteY2" fmla="*/ 46379 h 1389190"/>
              <a:gd name="connsiteX3" fmla="*/ 395904 w 1103175"/>
              <a:gd name="connsiteY3" fmla="*/ 46379 h 1389190"/>
              <a:gd name="connsiteX4" fmla="*/ 1090621 w 1103175"/>
              <a:gd name="connsiteY4" fmla="*/ 1249810 h 1389190"/>
              <a:gd name="connsiteX5" fmla="*/ 1010247 w 1103175"/>
              <a:gd name="connsiteY5" fmla="*/ 1389190 h 1389190"/>
              <a:gd name="connsiteX6" fmla="*/ 624200 w 1103175"/>
              <a:gd name="connsiteY6" fmla="*/ 1389190 h 1389190"/>
              <a:gd name="connsiteX7" fmla="*/ 0 w 1103175"/>
              <a:gd name="connsiteY7" fmla="*/ 0 h 138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175" h="1389190">
                <a:moveTo>
                  <a:pt x="0" y="0"/>
                </a:moveTo>
                <a:lnTo>
                  <a:pt x="315287" y="0"/>
                </a:lnTo>
                <a:cubicBezTo>
                  <a:pt x="348311" y="0"/>
                  <a:pt x="379150" y="17726"/>
                  <a:pt x="395662" y="46379"/>
                </a:cubicBezTo>
                <a:lnTo>
                  <a:pt x="395904" y="46379"/>
                </a:lnTo>
                <a:lnTo>
                  <a:pt x="1090621" y="1249810"/>
                </a:lnTo>
                <a:cubicBezTo>
                  <a:pt x="1126316" y="1311730"/>
                  <a:pt x="1081637" y="1389190"/>
                  <a:pt x="1010247" y="1389190"/>
                </a:cubicBezTo>
                <a:lnTo>
                  <a:pt x="624200" y="1389190"/>
                </a:lnTo>
                <a:lnTo>
                  <a:pt x="0"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4" name="Freeform: Shape 13">
            <a:extLst>
              <a:ext uri="{FF2B5EF4-FFF2-40B4-BE49-F238E27FC236}">
                <a16:creationId xmlns:a16="http://schemas.microsoft.com/office/drawing/2014/main" id="{5FD4F107-9876-64F5-A446-02938D136AE1}"/>
              </a:ext>
            </a:extLst>
          </p:cNvPr>
          <p:cNvSpPr/>
          <p:nvPr/>
        </p:nvSpPr>
        <p:spPr>
          <a:xfrm>
            <a:off x="5230769" y="3290057"/>
            <a:ext cx="1081788" cy="132349"/>
          </a:xfrm>
          <a:custGeom>
            <a:avLst/>
            <a:gdLst>
              <a:gd name="connsiteX0" fmla="*/ 1363803 w 1443134"/>
              <a:gd name="connsiteY0" fmla="*/ 0 h 176557"/>
              <a:gd name="connsiteX1" fmla="*/ 1443134 w 1443134"/>
              <a:gd name="connsiteY1" fmla="*/ 176557 h 176557"/>
              <a:gd name="connsiteX2" fmla="*/ 0 w 1443134"/>
              <a:gd name="connsiteY2" fmla="*/ 176557 h 176557"/>
              <a:gd name="connsiteX3" fmla="*/ 77902 w 1443134"/>
              <a:gd name="connsiteY3" fmla="*/ 3183 h 176557"/>
              <a:gd name="connsiteX4" fmla="*/ 1352187 w 1443134"/>
              <a:gd name="connsiteY4" fmla="*/ 3183 h 176557"/>
              <a:gd name="connsiteX5" fmla="*/ 1363803 w 1443134"/>
              <a:gd name="connsiteY5" fmla="*/ 0 h 1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3134" h="176557">
                <a:moveTo>
                  <a:pt x="1363803" y="0"/>
                </a:moveTo>
                <a:lnTo>
                  <a:pt x="1443134" y="176557"/>
                </a:lnTo>
                <a:lnTo>
                  <a:pt x="0" y="176557"/>
                </a:lnTo>
                <a:lnTo>
                  <a:pt x="77902" y="3183"/>
                </a:lnTo>
                <a:lnTo>
                  <a:pt x="1352187" y="3183"/>
                </a:lnTo>
                <a:lnTo>
                  <a:pt x="1363803"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5" name="Freeform: Shape 14">
            <a:extLst>
              <a:ext uri="{FF2B5EF4-FFF2-40B4-BE49-F238E27FC236}">
                <a16:creationId xmlns:a16="http://schemas.microsoft.com/office/drawing/2014/main" id="{AC26DE18-771B-2E20-F622-EC8DCA178C1D}"/>
              </a:ext>
            </a:extLst>
          </p:cNvPr>
          <p:cNvSpPr/>
          <p:nvPr/>
        </p:nvSpPr>
        <p:spPr>
          <a:xfrm>
            <a:off x="4707083" y="4457930"/>
            <a:ext cx="2129157" cy="129964"/>
          </a:xfrm>
          <a:custGeom>
            <a:avLst/>
            <a:gdLst>
              <a:gd name="connsiteX0" fmla="*/ 77902 w 2840354"/>
              <a:gd name="connsiteY0" fmla="*/ 0 h 173376"/>
              <a:gd name="connsiteX1" fmla="*/ 2762452 w 2840354"/>
              <a:gd name="connsiteY1" fmla="*/ 0 h 173376"/>
              <a:gd name="connsiteX2" fmla="*/ 2840354 w 2840354"/>
              <a:gd name="connsiteY2" fmla="*/ 173376 h 173376"/>
              <a:gd name="connsiteX3" fmla="*/ 0 w 2840354"/>
              <a:gd name="connsiteY3" fmla="*/ 173376 h 173376"/>
              <a:gd name="connsiteX4" fmla="*/ 77902 w 2840354"/>
              <a:gd name="connsiteY4" fmla="*/ 0 h 17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0354" h="173376">
                <a:moveTo>
                  <a:pt x="77902" y="0"/>
                </a:moveTo>
                <a:lnTo>
                  <a:pt x="2762452" y="0"/>
                </a:lnTo>
                <a:lnTo>
                  <a:pt x="2840354" y="173376"/>
                </a:lnTo>
                <a:lnTo>
                  <a:pt x="0" y="173376"/>
                </a:lnTo>
                <a:lnTo>
                  <a:pt x="77902" y="0"/>
                </a:lnTo>
                <a:close/>
              </a:path>
            </a:pathLst>
          </a:custGeom>
          <a:solidFill>
            <a:srgbClr val="1D1D1B">
              <a:alpha val="15000"/>
            </a:srgbClr>
          </a:solidFill>
          <a:ln w="24279" cap="flat">
            <a:noFill/>
            <a:prstDash val="solid"/>
            <a:miter/>
          </a:ln>
        </p:spPr>
        <p:txBody>
          <a:bodyPr wrap="square" rtlCol="0" anchor="ctr">
            <a:noAutofit/>
          </a:bodyPr>
          <a:lstStyle/>
          <a:p>
            <a:pPr algn="l" rtl="0"/>
            <a:endParaRPr lang="fr-FR" sz="1349">
              <a:solidFill>
                <a:srgbClr val="000000"/>
              </a:solidFill>
              <a:latin typeface="EYInterstate-Light" panose="020B0604020202020204" charset="0"/>
            </a:endParaRPr>
          </a:p>
        </p:txBody>
      </p:sp>
      <p:sp>
        <p:nvSpPr>
          <p:cNvPr id="16" name="Rectangle 15">
            <a:extLst>
              <a:ext uri="{FF2B5EF4-FFF2-40B4-BE49-F238E27FC236}">
                <a16:creationId xmlns:a16="http://schemas.microsoft.com/office/drawing/2014/main" id="{F894480E-CED2-DACC-6DAD-3DB5C11E85B1}"/>
              </a:ext>
            </a:extLst>
          </p:cNvPr>
          <p:cNvSpPr/>
          <p:nvPr/>
        </p:nvSpPr>
        <p:spPr>
          <a:xfrm>
            <a:off x="7904465" y="4566464"/>
            <a:ext cx="68544" cy="1096709"/>
          </a:xfrm>
          <a:prstGeom prst="rect">
            <a:avLst/>
          </a:prstGeom>
          <a:solidFill>
            <a:srgbClr val="A8658A"/>
          </a:solidFill>
          <a:ln w="12700" cap="flat" cmpd="sng" algn="ctr">
            <a:noFill/>
            <a:prstDash val="solid"/>
            <a:miter lim="800000"/>
          </a:ln>
          <a:effectLst/>
        </p:spPr>
        <p:txBody>
          <a:bodyPr rtlCol="0" anchor="ctr"/>
          <a:lstStyle/>
          <a:p>
            <a:pPr algn="ctr" defTabSz="913943">
              <a:defRPr/>
            </a:pPr>
            <a:endParaRPr lang="en-US" sz="1349">
              <a:solidFill>
                <a:srgbClr val="FFFFFF"/>
              </a:solidFill>
              <a:latin typeface="EYInterstate-Light" panose="020B0604020202020204" charset="0"/>
            </a:endParaRPr>
          </a:p>
        </p:txBody>
      </p:sp>
      <p:grpSp>
        <p:nvGrpSpPr>
          <p:cNvPr id="17" name="Group 16">
            <a:extLst>
              <a:ext uri="{FF2B5EF4-FFF2-40B4-BE49-F238E27FC236}">
                <a16:creationId xmlns:a16="http://schemas.microsoft.com/office/drawing/2014/main" id="{0EA31D32-8EBC-9443-3A76-92424AB7E195}"/>
              </a:ext>
            </a:extLst>
          </p:cNvPr>
          <p:cNvGrpSpPr/>
          <p:nvPr/>
        </p:nvGrpSpPr>
        <p:grpSpPr>
          <a:xfrm>
            <a:off x="8118666" y="4577432"/>
            <a:ext cx="3764102" cy="1259347"/>
            <a:chOff x="8921977" y="4580523"/>
            <a:chExt cx="2926080" cy="1680002"/>
          </a:xfrm>
        </p:grpSpPr>
        <p:sp>
          <p:nvSpPr>
            <p:cNvPr id="18" name="TextBox 17">
              <a:extLst>
                <a:ext uri="{FF2B5EF4-FFF2-40B4-BE49-F238E27FC236}">
                  <a16:creationId xmlns:a16="http://schemas.microsoft.com/office/drawing/2014/main" id="{82EC55A9-CAD3-03CD-8D0F-D3A273AD115A}"/>
                </a:ext>
              </a:extLst>
            </p:cNvPr>
            <p:cNvSpPr txBox="1"/>
            <p:nvPr/>
          </p:nvSpPr>
          <p:spPr>
            <a:xfrm>
              <a:off x="8921977" y="4580523"/>
              <a:ext cx="2926080" cy="533480"/>
            </a:xfrm>
            <a:prstGeom prst="rect">
              <a:avLst/>
            </a:prstGeom>
            <a:noFill/>
          </p:spPr>
          <p:txBody>
            <a:bodyPr wrap="square" lIns="0" rIns="0" rtlCol="0" anchor="b">
              <a:spAutoFit/>
            </a:bodyPr>
            <a:lstStyle/>
            <a:p>
              <a:pPr algn="l" rtl="0"/>
              <a:r>
                <a:rPr lang="en-US" sz="1999" b="1" noProof="1">
                  <a:solidFill>
                    <a:srgbClr val="A8658A"/>
                  </a:solidFill>
                  <a:latin typeface="EYInterstate-Light" panose="020B0604020202020204" charset="0"/>
                </a:rPr>
                <a:t>IS Standard</a:t>
              </a:r>
            </a:p>
          </p:txBody>
        </p:sp>
        <p:sp>
          <p:nvSpPr>
            <p:cNvPr id="19" name="TextBox 18">
              <a:extLst>
                <a:ext uri="{FF2B5EF4-FFF2-40B4-BE49-F238E27FC236}">
                  <a16:creationId xmlns:a16="http://schemas.microsoft.com/office/drawing/2014/main" id="{376D4645-C110-589E-7249-B103F122ED8D}"/>
                </a:ext>
              </a:extLst>
            </p:cNvPr>
            <p:cNvSpPr txBox="1"/>
            <p:nvPr/>
          </p:nvSpPr>
          <p:spPr>
            <a:xfrm>
              <a:off x="8921977" y="5111494"/>
              <a:ext cx="2797056" cy="1149031"/>
            </a:xfrm>
            <a:prstGeom prst="rect">
              <a:avLst/>
            </a:prstGeom>
            <a:noFill/>
          </p:spPr>
          <p:txBody>
            <a:bodyPr wrap="square" lIns="0" rIns="0" rtlCol="0" anchor="t">
              <a:spAutoFit/>
            </a:bodyPr>
            <a:lstStyle/>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Document, mandatory rules or controls that support and enforce the policy</a:t>
              </a:r>
            </a:p>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Provide specific, measurable requirements (e.g. password length, encryption strength, access control baselines) to ensure uniform implementation across the organisation</a:t>
              </a:r>
            </a:p>
          </p:txBody>
        </p:sp>
      </p:grpSp>
      <p:sp>
        <p:nvSpPr>
          <p:cNvPr id="20" name="Rectangle 19">
            <a:extLst>
              <a:ext uri="{FF2B5EF4-FFF2-40B4-BE49-F238E27FC236}">
                <a16:creationId xmlns:a16="http://schemas.microsoft.com/office/drawing/2014/main" id="{C8210B36-991D-1376-6AEA-4707DE55B0BE}"/>
              </a:ext>
            </a:extLst>
          </p:cNvPr>
          <p:cNvSpPr/>
          <p:nvPr/>
        </p:nvSpPr>
        <p:spPr>
          <a:xfrm>
            <a:off x="3970791" y="3426203"/>
            <a:ext cx="68544" cy="1096709"/>
          </a:xfrm>
          <a:prstGeom prst="rect">
            <a:avLst/>
          </a:prstGeom>
          <a:solidFill>
            <a:srgbClr val="D6AA02"/>
          </a:solidFill>
          <a:ln w="12700" cap="flat" cmpd="sng" algn="ctr">
            <a:noFill/>
            <a:prstDash val="solid"/>
            <a:miter lim="800000"/>
          </a:ln>
          <a:effectLst/>
        </p:spPr>
        <p:txBody>
          <a:bodyPr rtlCol="0" anchor="ctr"/>
          <a:lstStyle/>
          <a:p>
            <a:pPr algn="ctr" defTabSz="913943">
              <a:defRPr/>
            </a:pPr>
            <a:endParaRPr lang="en-US" sz="1349">
              <a:solidFill>
                <a:srgbClr val="FFFFFF"/>
              </a:solidFill>
              <a:latin typeface="EYInterstate-Light" panose="020B0604020202020204" charset="0"/>
            </a:endParaRPr>
          </a:p>
        </p:txBody>
      </p:sp>
      <p:grpSp>
        <p:nvGrpSpPr>
          <p:cNvPr id="21" name="Group 20">
            <a:extLst>
              <a:ext uri="{FF2B5EF4-FFF2-40B4-BE49-F238E27FC236}">
                <a16:creationId xmlns:a16="http://schemas.microsoft.com/office/drawing/2014/main" id="{7D31B2DB-E242-1C4B-AB4E-55ED6E8541FF}"/>
              </a:ext>
            </a:extLst>
          </p:cNvPr>
          <p:cNvGrpSpPr/>
          <p:nvPr/>
        </p:nvGrpSpPr>
        <p:grpSpPr>
          <a:xfrm>
            <a:off x="679584" y="3437170"/>
            <a:ext cx="3145551" cy="1259346"/>
            <a:chOff x="332936" y="4580523"/>
            <a:chExt cx="2926080" cy="1680001"/>
          </a:xfrm>
        </p:grpSpPr>
        <p:sp>
          <p:nvSpPr>
            <p:cNvPr id="22" name="TextBox 21">
              <a:extLst>
                <a:ext uri="{FF2B5EF4-FFF2-40B4-BE49-F238E27FC236}">
                  <a16:creationId xmlns:a16="http://schemas.microsoft.com/office/drawing/2014/main" id="{5D5D129D-665D-7E38-817C-2BE5F8E6B405}"/>
                </a:ext>
              </a:extLst>
            </p:cNvPr>
            <p:cNvSpPr txBox="1"/>
            <p:nvPr/>
          </p:nvSpPr>
          <p:spPr>
            <a:xfrm>
              <a:off x="332936" y="4580523"/>
              <a:ext cx="2926080" cy="533480"/>
            </a:xfrm>
            <a:prstGeom prst="rect">
              <a:avLst/>
            </a:prstGeom>
            <a:noFill/>
          </p:spPr>
          <p:txBody>
            <a:bodyPr wrap="square" lIns="0" rIns="0" rtlCol="0" anchor="b">
              <a:spAutoFit/>
            </a:bodyPr>
            <a:lstStyle/>
            <a:p>
              <a:pPr algn="r" rtl="0"/>
              <a:r>
                <a:rPr lang="en-US" sz="1999" b="1">
                  <a:solidFill>
                    <a:srgbClr val="D6AA02"/>
                  </a:solidFill>
                  <a:latin typeface="EYInterstate-Light" panose="020B0604020202020204" charset="0"/>
                </a:rPr>
                <a:t>IS Procedure</a:t>
              </a:r>
            </a:p>
          </p:txBody>
        </p:sp>
        <p:sp>
          <p:nvSpPr>
            <p:cNvPr id="23" name="TextBox 22">
              <a:extLst>
                <a:ext uri="{FF2B5EF4-FFF2-40B4-BE49-F238E27FC236}">
                  <a16:creationId xmlns:a16="http://schemas.microsoft.com/office/drawing/2014/main" id="{3D09884E-8910-DA95-38FC-62698682190C}"/>
                </a:ext>
              </a:extLst>
            </p:cNvPr>
            <p:cNvSpPr txBox="1"/>
            <p:nvPr/>
          </p:nvSpPr>
          <p:spPr>
            <a:xfrm>
              <a:off x="332936" y="5111494"/>
              <a:ext cx="2926080" cy="1149030"/>
            </a:xfrm>
            <a:prstGeom prst="rect">
              <a:avLst/>
            </a:prstGeom>
            <a:noFill/>
          </p:spPr>
          <p:txBody>
            <a:bodyPr wrap="square" lIns="0" rIns="0" rtlCol="0" anchor="t">
              <a:spAutoFit/>
            </a:bodyPr>
            <a:lstStyle/>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Documented processes that describe the steps, responsibilities, and methods to implement standards and controls in place</a:t>
              </a:r>
            </a:p>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They ensure operational consistency and accountability in the ISMS</a:t>
              </a:r>
            </a:p>
          </p:txBody>
        </p:sp>
      </p:grpSp>
      <p:sp>
        <p:nvSpPr>
          <p:cNvPr id="24" name="Rectangle 23">
            <a:extLst>
              <a:ext uri="{FF2B5EF4-FFF2-40B4-BE49-F238E27FC236}">
                <a16:creationId xmlns:a16="http://schemas.microsoft.com/office/drawing/2014/main" id="{F68DAEA2-E958-767A-CAB9-F5249749001C}"/>
              </a:ext>
            </a:extLst>
          </p:cNvPr>
          <p:cNvSpPr/>
          <p:nvPr/>
        </p:nvSpPr>
        <p:spPr>
          <a:xfrm>
            <a:off x="6789481" y="2265698"/>
            <a:ext cx="68544" cy="1096709"/>
          </a:xfrm>
          <a:prstGeom prst="rect">
            <a:avLst/>
          </a:prstGeom>
          <a:solidFill>
            <a:srgbClr val="5B8F6C"/>
          </a:solidFill>
          <a:ln w="12700" cap="flat" cmpd="sng" algn="ctr">
            <a:noFill/>
            <a:prstDash val="solid"/>
            <a:miter lim="800000"/>
          </a:ln>
          <a:effectLst/>
        </p:spPr>
        <p:txBody>
          <a:bodyPr rtlCol="0" anchor="ctr"/>
          <a:lstStyle/>
          <a:p>
            <a:pPr algn="ctr" defTabSz="913943">
              <a:defRPr/>
            </a:pPr>
            <a:endParaRPr lang="en-US" sz="1349">
              <a:solidFill>
                <a:srgbClr val="FFFFFF"/>
              </a:solidFill>
              <a:latin typeface="EYInterstate-Light" panose="020B0604020202020204" charset="0"/>
            </a:endParaRPr>
          </a:p>
        </p:txBody>
      </p:sp>
      <p:grpSp>
        <p:nvGrpSpPr>
          <p:cNvPr id="25" name="Group 24">
            <a:extLst>
              <a:ext uri="{FF2B5EF4-FFF2-40B4-BE49-F238E27FC236}">
                <a16:creationId xmlns:a16="http://schemas.microsoft.com/office/drawing/2014/main" id="{0CDE3A06-1E0A-71C8-9949-3D580B9B9A32}"/>
              </a:ext>
            </a:extLst>
          </p:cNvPr>
          <p:cNvGrpSpPr/>
          <p:nvPr/>
        </p:nvGrpSpPr>
        <p:grpSpPr>
          <a:xfrm>
            <a:off x="7003682" y="2276666"/>
            <a:ext cx="4326632" cy="1105539"/>
            <a:chOff x="8921977" y="4580523"/>
            <a:chExt cx="2926080" cy="1474818"/>
          </a:xfrm>
        </p:grpSpPr>
        <p:sp>
          <p:nvSpPr>
            <p:cNvPr id="26" name="TextBox 25">
              <a:extLst>
                <a:ext uri="{FF2B5EF4-FFF2-40B4-BE49-F238E27FC236}">
                  <a16:creationId xmlns:a16="http://schemas.microsoft.com/office/drawing/2014/main" id="{0ED854B5-6160-E0C7-2228-4C876F5A0516}"/>
                </a:ext>
              </a:extLst>
            </p:cNvPr>
            <p:cNvSpPr txBox="1"/>
            <p:nvPr/>
          </p:nvSpPr>
          <p:spPr>
            <a:xfrm>
              <a:off x="8921977" y="4580523"/>
              <a:ext cx="2926080" cy="533480"/>
            </a:xfrm>
            <a:prstGeom prst="rect">
              <a:avLst/>
            </a:prstGeom>
            <a:noFill/>
          </p:spPr>
          <p:txBody>
            <a:bodyPr wrap="square" lIns="0" rIns="0" rtlCol="0" anchor="b">
              <a:spAutoFit/>
            </a:bodyPr>
            <a:lstStyle/>
            <a:p>
              <a:pPr algn="l" rtl="0"/>
              <a:r>
                <a:rPr lang="en-US" sz="1999" b="1" noProof="1">
                  <a:solidFill>
                    <a:srgbClr val="5B8F6C"/>
                  </a:solidFill>
                  <a:latin typeface="EYInterstate-Light" panose="020B0604020202020204" charset="0"/>
                </a:rPr>
                <a:t>IS Policy</a:t>
              </a:r>
            </a:p>
          </p:txBody>
        </p:sp>
        <p:sp>
          <p:nvSpPr>
            <p:cNvPr id="27" name="TextBox 26">
              <a:extLst>
                <a:ext uri="{FF2B5EF4-FFF2-40B4-BE49-F238E27FC236}">
                  <a16:creationId xmlns:a16="http://schemas.microsoft.com/office/drawing/2014/main" id="{28B186F8-685C-130E-5C6F-F59AFB9A103E}"/>
                </a:ext>
              </a:extLst>
            </p:cNvPr>
            <p:cNvSpPr txBox="1"/>
            <p:nvPr/>
          </p:nvSpPr>
          <p:spPr>
            <a:xfrm>
              <a:off x="8921977" y="5111494"/>
              <a:ext cx="2926080" cy="943847"/>
            </a:xfrm>
            <a:prstGeom prst="rect">
              <a:avLst/>
            </a:prstGeom>
            <a:noFill/>
          </p:spPr>
          <p:txBody>
            <a:bodyPr wrap="square" lIns="0" rIns="0" rtlCol="0" anchor="t">
              <a:spAutoFit/>
            </a:bodyPr>
            <a:lstStyle/>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A management-approved statement of intent and direction for information security</a:t>
              </a:r>
            </a:p>
            <a:p>
              <a:pPr marL="171364" indent="-171364" algn="just">
                <a:buFont typeface="Arial" panose="020B0604020202020204" pitchFamily="34" charset="0"/>
                <a:buChar char="•"/>
              </a:pPr>
              <a:r>
                <a:rPr lang="en-US" sz="999" noProof="1">
                  <a:solidFill>
                    <a:schemeClr val="bg1"/>
                  </a:solidFill>
                  <a:latin typeface="EYInterstate-Light" panose="020B0604020202020204" charset="0"/>
                </a:rPr>
                <a:t>It sets the objectives, principles and commitment to protect information in line with business needs and applicable requirements</a:t>
              </a:r>
            </a:p>
          </p:txBody>
        </p:sp>
      </p:grpSp>
      <p:sp>
        <p:nvSpPr>
          <p:cNvPr id="30" name="Content Placeholder 1">
            <a:extLst>
              <a:ext uri="{FF2B5EF4-FFF2-40B4-BE49-F238E27FC236}">
                <a16:creationId xmlns:a16="http://schemas.microsoft.com/office/drawing/2014/main" id="{DA582809-FCDB-2E8D-A399-790D601F5E2F}"/>
              </a:ext>
            </a:extLst>
          </p:cNvPr>
          <p:cNvSpPr txBox="1">
            <a:spLocks/>
          </p:cNvSpPr>
          <p:nvPr/>
        </p:nvSpPr>
        <p:spPr>
          <a:xfrm>
            <a:off x="488443" y="970597"/>
            <a:ext cx="11054311" cy="677841"/>
          </a:xfrm>
          <a:prstGeom prst="rect">
            <a:avLst/>
          </a:prstGeom>
        </p:spPr>
        <p:txBody>
          <a:bodyPr vert="horz" lIns="0" tIns="0" rIns="0" bIns="0" rtlCol="0" anchor="t"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Tx/>
              <a:buNone/>
              <a:defRPr/>
            </a:pPr>
            <a:r>
              <a:rPr lang="en-GB" sz="1199">
                <a:latin typeface="EYInterstate-Light" panose="020B0604020202020204" charset="0"/>
              </a:rPr>
              <a:t>Information security documentation is structured to guide decision-making, operational execution, and technical enforcement. Policies define the organization’s intent and direction, procedures describe how those intentions are carried out, and standards set specific rules to ensure consistency and control.</a:t>
            </a:r>
            <a:endParaRPr lang="en-IN" sz="1199">
              <a:latin typeface="EYInterstate-Light" panose="020B0604020202020204" charset="0"/>
            </a:endParaRPr>
          </a:p>
        </p:txBody>
      </p:sp>
    </p:spTree>
    <p:extLst>
      <p:ext uri="{BB962C8B-B14F-4D97-AF65-F5344CB8AC3E}">
        <p14:creationId xmlns:p14="http://schemas.microsoft.com/office/powerpoint/2010/main" val="38091910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86186-B5BB-C609-ADE7-40A9C19ADB95}"/>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56F42586-C8D4-FBE5-2E67-09D885CEFB90}"/>
              </a:ext>
            </a:extLst>
          </p:cNvPr>
          <p:cNvSpPr/>
          <p:nvPr/>
        </p:nvSpPr>
        <p:spPr>
          <a:xfrm>
            <a:off x="5254432" y="2820867"/>
            <a:ext cx="1503762" cy="416668"/>
          </a:xfrm>
          <a:prstGeom prst="roundRect">
            <a:avLst>
              <a:gd name="adj" fmla="val 50000"/>
            </a:avLst>
          </a:prstGeom>
          <a:solidFill>
            <a:srgbClr val="FFE600"/>
          </a:solidFill>
          <a:ln w="9525" cap="flat" cmpd="sng" algn="ctr">
            <a:solidFill>
              <a:srgbClr val="FFE600">
                <a:shade val="95000"/>
                <a:satMod val="105000"/>
              </a:srgbClr>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64417" tIns="64417" rIns="64417" bIns="3341519" numCol="1" spcCol="1270" anchor="ctr" anchorCtr="0">
            <a:noAutofit/>
          </a:bodyPr>
          <a:lstStyle/>
          <a:p>
            <a:pPr algn="ctr" defTabSz="399850">
              <a:lnSpc>
                <a:spcPct val="90000"/>
              </a:lnSpc>
              <a:spcBef>
                <a:spcPct val="0"/>
              </a:spcBef>
            </a:pPr>
            <a:endParaRPr lang="en-US" sz="900">
              <a:solidFill>
                <a:srgbClr val="002060"/>
              </a:solidFill>
              <a:latin typeface="EYInterstate" panose="02000503020000020004" pitchFamily="2" charset="0"/>
            </a:endParaRPr>
          </a:p>
        </p:txBody>
      </p:sp>
      <p:grpSp>
        <p:nvGrpSpPr>
          <p:cNvPr id="9" name="Group 8">
            <a:extLst>
              <a:ext uri="{FF2B5EF4-FFF2-40B4-BE49-F238E27FC236}">
                <a16:creationId xmlns:a16="http://schemas.microsoft.com/office/drawing/2014/main" id="{89ABAAC9-0063-EFD4-E4D1-EE8265289E56}"/>
              </a:ext>
            </a:extLst>
          </p:cNvPr>
          <p:cNvGrpSpPr/>
          <p:nvPr/>
        </p:nvGrpSpPr>
        <p:grpSpPr>
          <a:xfrm>
            <a:off x="391202" y="3880579"/>
            <a:ext cx="3295270" cy="1320229"/>
            <a:chOff x="332936" y="2781654"/>
            <a:chExt cx="3560073" cy="1320917"/>
          </a:xfrm>
        </p:grpSpPr>
        <p:sp>
          <p:nvSpPr>
            <p:cNvPr id="10" name="TextBox 9">
              <a:extLst>
                <a:ext uri="{FF2B5EF4-FFF2-40B4-BE49-F238E27FC236}">
                  <a16:creationId xmlns:a16="http://schemas.microsoft.com/office/drawing/2014/main" id="{1D5B7FCC-A880-CDD1-D4A9-95983648A0B8}"/>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sz="1399" b="1" noProof="1">
                  <a:solidFill>
                    <a:schemeClr val="bg1"/>
                  </a:solidFill>
                </a:rPr>
                <a:t>Plan</a:t>
              </a:r>
            </a:p>
          </p:txBody>
        </p:sp>
        <p:sp>
          <p:nvSpPr>
            <p:cNvPr id="11" name="TextBox 10">
              <a:extLst>
                <a:ext uri="{FF2B5EF4-FFF2-40B4-BE49-F238E27FC236}">
                  <a16:creationId xmlns:a16="http://schemas.microsoft.com/office/drawing/2014/main" id="{41B447B8-9AE3-DA4C-8BC2-858C95B3E82F}"/>
                </a:ext>
              </a:extLst>
            </p:cNvPr>
            <p:cNvSpPr txBox="1"/>
            <p:nvPr/>
          </p:nvSpPr>
          <p:spPr>
            <a:xfrm>
              <a:off x="966929" y="3158723"/>
              <a:ext cx="2926080" cy="943848"/>
            </a:xfrm>
            <a:prstGeom prst="rect">
              <a:avLst/>
            </a:prstGeom>
            <a:noFill/>
          </p:spPr>
          <p:txBody>
            <a:bodyPr wrap="square" lIns="0" rIns="0" rtlCol="0" anchor="t">
              <a:spAutoFit/>
            </a:bodyPr>
            <a:lstStyle/>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4 (Context)</a:t>
              </a:r>
            </a:p>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5 (Leadership)</a:t>
              </a:r>
            </a:p>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6 (Planning)</a:t>
              </a:r>
            </a:p>
          </p:txBody>
        </p:sp>
      </p:grpSp>
      <p:sp>
        <p:nvSpPr>
          <p:cNvPr id="23" name="Freeform: Shape 22">
            <a:extLst>
              <a:ext uri="{FF2B5EF4-FFF2-40B4-BE49-F238E27FC236}">
                <a16:creationId xmlns:a16="http://schemas.microsoft.com/office/drawing/2014/main" id="{55D46B62-619D-D811-5A0F-B49563B7CA30}"/>
              </a:ext>
            </a:extLst>
          </p:cNvPr>
          <p:cNvSpPr/>
          <p:nvPr/>
        </p:nvSpPr>
        <p:spPr>
          <a:xfrm>
            <a:off x="636834" y="2181303"/>
            <a:ext cx="2429997" cy="1613950"/>
          </a:xfrm>
          <a:custGeom>
            <a:avLst/>
            <a:gdLst>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2788812 w 3035029"/>
              <a:gd name="connsiteY4" fmla="*/ 486384 h 1614791"/>
              <a:gd name="connsiteX5" fmla="*/ 2788812 w 3035029"/>
              <a:gd name="connsiteY5" fmla="*/ 475412 h 1614791"/>
              <a:gd name="connsiteX6" fmla="*/ 2788812 w 3035029"/>
              <a:gd name="connsiteY6" fmla="*/ 430013 h 1614791"/>
              <a:gd name="connsiteX7" fmla="*/ 2788812 w 3035029"/>
              <a:gd name="connsiteY7" fmla="*/ 378137 h 1614791"/>
              <a:gd name="connsiteX8" fmla="*/ 2656890 w 3035029"/>
              <a:gd name="connsiteY8" fmla="*/ 246215 h 1614791"/>
              <a:gd name="connsiteX9" fmla="*/ 2605014 w 3035029"/>
              <a:gd name="connsiteY9" fmla="*/ 246215 h 1614791"/>
              <a:gd name="connsiteX10" fmla="*/ 2559615 w 3035029"/>
              <a:gd name="connsiteY10" fmla="*/ 246215 h 1614791"/>
              <a:gd name="connsiteX11" fmla="*/ 475414 w 3035029"/>
              <a:gd name="connsiteY11" fmla="*/ 246215 h 1614791"/>
              <a:gd name="connsiteX12" fmla="*/ 430015 w 3035029"/>
              <a:gd name="connsiteY12" fmla="*/ 246215 h 1614791"/>
              <a:gd name="connsiteX13" fmla="*/ 378139 w 3035029"/>
              <a:gd name="connsiteY13" fmla="*/ 246215 h 1614791"/>
              <a:gd name="connsiteX14" fmla="*/ 246217 w 3035029"/>
              <a:gd name="connsiteY14" fmla="*/ 378137 h 1614791"/>
              <a:gd name="connsiteX15" fmla="*/ 246217 w 3035029"/>
              <a:gd name="connsiteY15" fmla="*/ 430013 h 1614791"/>
              <a:gd name="connsiteX16" fmla="*/ 246217 w 3035029"/>
              <a:gd name="connsiteY16" fmla="*/ 475412 h 1614791"/>
              <a:gd name="connsiteX17" fmla="*/ 246217 w 3035029"/>
              <a:gd name="connsiteY17" fmla="*/ 1139377 h 1614791"/>
              <a:gd name="connsiteX18" fmla="*/ 246217 w 3035029"/>
              <a:gd name="connsiteY18" fmla="*/ 1184776 h 1614791"/>
              <a:gd name="connsiteX19" fmla="*/ 246217 w 3035029"/>
              <a:gd name="connsiteY19" fmla="*/ 1236652 h 1614791"/>
              <a:gd name="connsiteX20" fmla="*/ 378139 w 3035029"/>
              <a:gd name="connsiteY20" fmla="*/ 1368574 h 1614791"/>
              <a:gd name="connsiteX21" fmla="*/ 430015 w 3035029"/>
              <a:gd name="connsiteY21" fmla="*/ 1368574 h 1614791"/>
              <a:gd name="connsiteX22" fmla="*/ 475414 w 3035029"/>
              <a:gd name="connsiteY22" fmla="*/ 1368574 h 1614791"/>
              <a:gd name="connsiteX23" fmla="*/ 2559615 w 3035029"/>
              <a:gd name="connsiteY23" fmla="*/ 1368574 h 1614791"/>
              <a:gd name="connsiteX24" fmla="*/ 2605014 w 3035029"/>
              <a:gd name="connsiteY24" fmla="*/ 1368574 h 1614791"/>
              <a:gd name="connsiteX25" fmla="*/ 2656890 w 3035029"/>
              <a:gd name="connsiteY25" fmla="*/ 1368574 h 1614791"/>
              <a:gd name="connsiteX26" fmla="*/ 2788812 w 3035029"/>
              <a:gd name="connsiteY26" fmla="*/ 1236652 h 1614791"/>
              <a:gd name="connsiteX27" fmla="*/ 2788812 w 3035029"/>
              <a:gd name="connsiteY27" fmla="*/ 1184776 h 1614791"/>
              <a:gd name="connsiteX28" fmla="*/ 2788812 w 3035029"/>
              <a:gd name="connsiteY28" fmla="*/ 1139377 h 1614791"/>
              <a:gd name="connsiteX29" fmla="*/ 2788812 w 3035029"/>
              <a:gd name="connsiteY29" fmla="*/ 1134894 h 1614791"/>
              <a:gd name="connsiteX30" fmla="*/ 3035029 w 3035029"/>
              <a:gd name="connsiteY30" fmla="*/ 1134894 h 1614791"/>
              <a:gd name="connsiteX31" fmla="*/ 3035029 w 3035029"/>
              <a:gd name="connsiteY31" fmla="*/ 1313229 h 1614791"/>
              <a:gd name="connsiteX32" fmla="*/ 2733467 w 3035029"/>
              <a:gd name="connsiteY32" fmla="*/ 1614791 h 1614791"/>
              <a:gd name="connsiteX33" fmla="*/ 301562 w 3035029"/>
              <a:gd name="connsiteY33" fmla="*/ 1614791 h 1614791"/>
              <a:gd name="connsiteX34" fmla="*/ 0 w 3035029"/>
              <a:gd name="connsiteY34" fmla="*/ 1313229 h 1614791"/>
              <a:gd name="connsiteX35" fmla="*/ 0 w 3035029"/>
              <a:gd name="connsiteY35" fmla="*/ 301562 h 1614791"/>
              <a:gd name="connsiteX36" fmla="*/ 301562 w 3035029"/>
              <a:gd name="connsiteY36"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35029" h="1614791">
                <a:moveTo>
                  <a:pt x="301562" y="0"/>
                </a:moveTo>
                <a:lnTo>
                  <a:pt x="2733467" y="0"/>
                </a:lnTo>
                <a:cubicBezTo>
                  <a:pt x="2900015" y="0"/>
                  <a:pt x="3035029" y="135014"/>
                  <a:pt x="3035029" y="301562"/>
                </a:cubicBezTo>
                <a:lnTo>
                  <a:pt x="3035029" y="486384"/>
                </a:lnTo>
                <a:lnTo>
                  <a:pt x="2788812" y="486384"/>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lnTo>
                  <a:pt x="0" y="301562"/>
                </a:lnTo>
                <a:cubicBezTo>
                  <a:pt x="0" y="135014"/>
                  <a:pt x="135014" y="0"/>
                  <a:pt x="301562" y="0"/>
                </a:cubicBezTo>
                <a:close/>
              </a:path>
            </a:pathLst>
          </a:custGeom>
          <a:gradFill>
            <a:gsLst>
              <a:gs pos="46000">
                <a:srgbClr val="B76184"/>
              </a:gs>
              <a:gs pos="0">
                <a:srgbClr val="008DCA"/>
              </a:gs>
              <a:gs pos="100000">
                <a:srgbClr val="DCAF00"/>
              </a:gs>
            </a:gsLst>
            <a:lin ang="5400000" scaled="1"/>
          </a:gradFill>
          <a:ln w="9525" cap="flat" cmpd="sng" algn="ctr">
            <a:solidFill>
              <a:srgbClr val="1488C2"/>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77767" tIns="77767" rIns="77767" bIns="3354869" numCol="1" spcCol="1270" anchor="ctr" anchorCtr="0">
            <a:noAutofit/>
          </a:bodyPr>
          <a:lstStyle/>
          <a:p>
            <a:pPr algn="ctr" defTabSz="533133">
              <a:lnSpc>
                <a:spcPct val="90000"/>
              </a:lnSpc>
              <a:spcBef>
                <a:spcPct val="0"/>
              </a:spcBef>
            </a:pPr>
            <a:endParaRPr lang="en-US" sz="1199">
              <a:solidFill>
                <a:schemeClr val="bg1"/>
              </a:solidFill>
              <a:latin typeface="EYInterstate" panose="02000503020000020004" pitchFamily="2" charset="0"/>
            </a:endParaRPr>
          </a:p>
        </p:txBody>
      </p:sp>
      <p:sp>
        <p:nvSpPr>
          <p:cNvPr id="24" name="Rectangle: Rounded Corners 23">
            <a:extLst>
              <a:ext uri="{FF2B5EF4-FFF2-40B4-BE49-F238E27FC236}">
                <a16:creationId xmlns:a16="http://schemas.microsoft.com/office/drawing/2014/main" id="{BE600967-E36E-198F-8B55-92DCB2BFAF59}"/>
              </a:ext>
            </a:extLst>
          </p:cNvPr>
          <p:cNvSpPr/>
          <p:nvPr/>
        </p:nvSpPr>
        <p:spPr>
          <a:xfrm>
            <a:off x="2548280" y="2807226"/>
            <a:ext cx="1503762" cy="416668"/>
          </a:xfrm>
          <a:prstGeom prst="roundRect">
            <a:avLst>
              <a:gd name="adj" fmla="val 50000"/>
            </a:avLst>
          </a:prstGeom>
          <a:solidFill>
            <a:srgbClr val="FFE600"/>
          </a:solidFill>
          <a:ln w="9525" cap="flat" cmpd="sng" algn="ctr">
            <a:solidFill>
              <a:srgbClr val="FFE600">
                <a:shade val="95000"/>
                <a:satMod val="105000"/>
              </a:srgbClr>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64417" tIns="64417" rIns="64417" bIns="3341519" numCol="1" spcCol="1270" anchor="ctr" anchorCtr="0">
            <a:noAutofit/>
          </a:bodyPr>
          <a:lstStyle/>
          <a:p>
            <a:pPr algn="ctr" defTabSz="399850">
              <a:lnSpc>
                <a:spcPct val="90000"/>
              </a:lnSpc>
              <a:spcBef>
                <a:spcPct val="0"/>
              </a:spcBef>
            </a:pPr>
            <a:endParaRPr lang="en-US" sz="900">
              <a:solidFill>
                <a:srgbClr val="002060"/>
              </a:solidFill>
              <a:latin typeface="EYInterstate" panose="02000503020000020004" pitchFamily="2" charset="0"/>
            </a:endParaRPr>
          </a:p>
        </p:txBody>
      </p:sp>
      <p:sp>
        <p:nvSpPr>
          <p:cNvPr id="25" name="Freeform: Shape 24">
            <a:extLst>
              <a:ext uri="{FF2B5EF4-FFF2-40B4-BE49-F238E27FC236}">
                <a16:creationId xmlns:a16="http://schemas.microsoft.com/office/drawing/2014/main" id="{9C89E0FB-E77E-FF29-CA4E-A60D7F9D9105}"/>
              </a:ext>
            </a:extLst>
          </p:cNvPr>
          <p:cNvSpPr/>
          <p:nvPr/>
        </p:nvSpPr>
        <p:spPr>
          <a:xfrm>
            <a:off x="3356675" y="2208586"/>
            <a:ext cx="2429996" cy="1613950"/>
          </a:xfrm>
          <a:custGeom>
            <a:avLst/>
            <a:gdLst>
              <a:gd name="connsiteX0" fmla="*/ 0 w 3035029"/>
              <a:gd name="connsiteY0" fmla="*/ 1131647 h 1614791"/>
              <a:gd name="connsiteX1" fmla="*/ 246217 w 3035029"/>
              <a:gd name="connsiteY1" fmla="*/ 1131647 h 1614791"/>
              <a:gd name="connsiteX2" fmla="*/ 246217 w 3035029"/>
              <a:gd name="connsiteY2" fmla="*/ 1139377 h 1614791"/>
              <a:gd name="connsiteX3" fmla="*/ 246217 w 3035029"/>
              <a:gd name="connsiteY3" fmla="*/ 1184776 h 1614791"/>
              <a:gd name="connsiteX4" fmla="*/ 246217 w 3035029"/>
              <a:gd name="connsiteY4" fmla="*/ 1236652 h 1614791"/>
              <a:gd name="connsiteX5" fmla="*/ 378139 w 3035029"/>
              <a:gd name="connsiteY5" fmla="*/ 1368574 h 1614791"/>
              <a:gd name="connsiteX6" fmla="*/ 430015 w 3035029"/>
              <a:gd name="connsiteY6" fmla="*/ 1368574 h 1614791"/>
              <a:gd name="connsiteX7" fmla="*/ 475414 w 3035029"/>
              <a:gd name="connsiteY7" fmla="*/ 1368574 h 1614791"/>
              <a:gd name="connsiteX8" fmla="*/ 2559615 w 3035029"/>
              <a:gd name="connsiteY8" fmla="*/ 1368574 h 1614791"/>
              <a:gd name="connsiteX9" fmla="*/ 2605014 w 3035029"/>
              <a:gd name="connsiteY9" fmla="*/ 1368574 h 1614791"/>
              <a:gd name="connsiteX10" fmla="*/ 2656890 w 3035029"/>
              <a:gd name="connsiteY10" fmla="*/ 1368574 h 1614791"/>
              <a:gd name="connsiteX11" fmla="*/ 2788812 w 3035029"/>
              <a:gd name="connsiteY11" fmla="*/ 1236652 h 1614791"/>
              <a:gd name="connsiteX12" fmla="*/ 2788812 w 3035029"/>
              <a:gd name="connsiteY12" fmla="*/ 1184776 h 1614791"/>
              <a:gd name="connsiteX13" fmla="*/ 2788812 w 3035029"/>
              <a:gd name="connsiteY13" fmla="*/ 1139377 h 1614791"/>
              <a:gd name="connsiteX14" fmla="*/ 2788812 w 3035029"/>
              <a:gd name="connsiteY14" fmla="*/ 1134894 h 1614791"/>
              <a:gd name="connsiteX15" fmla="*/ 3035029 w 3035029"/>
              <a:gd name="connsiteY15" fmla="*/ 1134894 h 1614791"/>
              <a:gd name="connsiteX16" fmla="*/ 3035029 w 3035029"/>
              <a:gd name="connsiteY16" fmla="*/ 1313229 h 1614791"/>
              <a:gd name="connsiteX17" fmla="*/ 2733467 w 3035029"/>
              <a:gd name="connsiteY17" fmla="*/ 1614791 h 1614791"/>
              <a:gd name="connsiteX18" fmla="*/ 301562 w 3035029"/>
              <a:gd name="connsiteY18" fmla="*/ 1614791 h 1614791"/>
              <a:gd name="connsiteX19" fmla="*/ 0 w 3035029"/>
              <a:gd name="connsiteY19" fmla="*/ 1313229 h 1614791"/>
              <a:gd name="connsiteX20" fmla="*/ 301562 w 3035029"/>
              <a:gd name="connsiteY20" fmla="*/ 0 h 1614791"/>
              <a:gd name="connsiteX21" fmla="*/ 2733467 w 3035029"/>
              <a:gd name="connsiteY21" fmla="*/ 0 h 1614791"/>
              <a:gd name="connsiteX22" fmla="*/ 3035029 w 3035029"/>
              <a:gd name="connsiteY22" fmla="*/ 301562 h 1614791"/>
              <a:gd name="connsiteX23" fmla="*/ 3035029 w 3035029"/>
              <a:gd name="connsiteY23" fmla="*/ 483137 h 1614791"/>
              <a:gd name="connsiteX24" fmla="*/ 2788812 w 3035029"/>
              <a:gd name="connsiteY24" fmla="*/ 483137 h 1614791"/>
              <a:gd name="connsiteX25" fmla="*/ 2788812 w 3035029"/>
              <a:gd name="connsiteY25" fmla="*/ 475412 h 1614791"/>
              <a:gd name="connsiteX26" fmla="*/ 2788812 w 3035029"/>
              <a:gd name="connsiteY26" fmla="*/ 430013 h 1614791"/>
              <a:gd name="connsiteX27" fmla="*/ 2788812 w 3035029"/>
              <a:gd name="connsiteY27" fmla="*/ 378137 h 1614791"/>
              <a:gd name="connsiteX28" fmla="*/ 2656890 w 3035029"/>
              <a:gd name="connsiteY28" fmla="*/ 246215 h 1614791"/>
              <a:gd name="connsiteX29" fmla="*/ 2605014 w 3035029"/>
              <a:gd name="connsiteY29" fmla="*/ 246215 h 1614791"/>
              <a:gd name="connsiteX30" fmla="*/ 2559615 w 3035029"/>
              <a:gd name="connsiteY30" fmla="*/ 246215 h 1614791"/>
              <a:gd name="connsiteX31" fmla="*/ 475414 w 3035029"/>
              <a:gd name="connsiteY31" fmla="*/ 246215 h 1614791"/>
              <a:gd name="connsiteX32" fmla="*/ 430015 w 3035029"/>
              <a:gd name="connsiteY32" fmla="*/ 246215 h 1614791"/>
              <a:gd name="connsiteX33" fmla="*/ 378139 w 3035029"/>
              <a:gd name="connsiteY33" fmla="*/ 246215 h 1614791"/>
              <a:gd name="connsiteX34" fmla="*/ 246217 w 3035029"/>
              <a:gd name="connsiteY34" fmla="*/ 378137 h 1614791"/>
              <a:gd name="connsiteX35" fmla="*/ 246217 w 3035029"/>
              <a:gd name="connsiteY35" fmla="*/ 430013 h 1614791"/>
              <a:gd name="connsiteX36" fmla="*/ 246217 w 3035029"/>
              <a:gd name="connsiteY36" fmla="*/ 475412 h 1614791"/>
              <a:gd name="connsiteX37" fmla="*/ 246217 w 3035029"/>
              <a:gd name="connsiteY37" fmla="*/ 483137 h 1614791"/>
              <a:gd name="connsiteX38" fmla="*/ 0 w 3035029"/>
              <a:gd name="connsiteY38" fmla="*/ 483137 h 1614791"/>
              <a:gd name="connsiteX39" fmla="*/ 0 w 3035029"/>
              <a:gd name="connsiteY39" fmla="*/ 301562 h 1614791"/>
              <a:gd name="connsiteX40" fmla="*/ 301562 w 3035029"/>
              <a:gd name="connsiteY40"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35029" h="1614791">
                <a:moveTo>
                  <a:pt x="0" y="1131647"/>
                </a:moveTo>
                <a:lnTo>
                  <a:pt x="246217" y="1131647"/>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close/>
                <a:moveTo>
                  <a:pt x="301562" y="0"/>
                </a:moveTo>
                <a:lnTo>
                  <a:pt x="2733467" y="0"/>
                </a:lnTo>
                <a:cubicBezTo>
                  <a:pt x="2900015" y="0"/>
                  <a:pt x="3035029" y="135014"/>
                  <a:pt x="3035029" y="301562"/>
                </a:cubicBezTo>
                <a:lnTo>
                  <a:pt x="3035029" y="483137"/>
                </a:lnTo>
                <a:lnTo>
                  <a:pt x="2788812" y="483137"/>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483137"/>
                </a:lnTo>
                <a:lnTo>
                  <a:pt x="0" y="483137"/>
                </a:lnTo>
                <a:lnTo>
                  <a:pt x="0" y="301562"/>
                </a:lnTo>
                <a:cubicBezTo>
                  <a:pt x="0" y="135014"/>
                  <a:pt x="135014" y="0"/>
                  <a:pt x="301562" y="0"/>
                </a:cubicBezTo>
                <a:close/>
              </a:path>
            </a:pathLst>
          </a:custGeom>
          <a:gradFill>
            <a:gsLst>
              <a:gs pos="46000">
                <a:srgbClr val="B76184"/>
              </a:gs>
              <a:gs pos="0">
                <a:srgbClr val="008DCA"/>
              </a:gs>
              <a:gs pos="100000">
                <a:srgbClr val="DCAF00"/>
              </a:gs>
            </a:gsLst>
            <a:lin ang="5400000" scaled="1"/>
          </a:gradFill>
          <a:ln w="9525" cap="flat" cmpd="sng" algn="ctr">
            <a:solidFill>
              <a:srgbClr val="1488C2"/>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77767" tIns="77767" rIns="77767" bIns="3354869" numCol="1" spcCol="1270" anchor="ctr" anchorCtr="0">
            <a:noAutofit/>
          </a:bodyPr>
          <a:lstStyle/>
          <a:p>
            <a:pPr algn="ctr" defTabSz="533133">
              <a:lnSpc>
                <a:spcPct val="90000"/>
              </a:lnSpc>
              <a:spcBef>
                <a:spcPct val="0"/>
              </a:spcBef>
            </a:pPr>
            <a:endParaRPr lang="en-US" sz="1199">
              <a:solidFill>
                <a:schemeClr val="bg1"/>
              </a:solidFill>
              <a:latin typeface="EYInterstate" panose="02000503020000020004" pitchFamily="2" charset="0"/>
            </a:endParaRPr>
          </a:p>
        </p:txBody>
      </p:sp>
      <p:sp>
        <p:nvSpPr>
          <p:cNvPr id="26" name="Freeform: Shape 25">
            <a:extLst>
              <a:ext uri="{FF2B5EF4-FFF2-40B4-BE49-F238E27FC236}">
                <a16:creationId xmlns:a16="http://schemas.microsoft.com/office/drawing/2014/main" id="{8E60CC49-1C5D-E25F-5F27-914E3A550A56}"/>
              </a:ext>
            </a:extLst>
          </p:cNvPr>
          <p:cNvSpPr/>
          <p:nvPr/>
        </p:nvSpPr>
        <p:spPr>
          <a:xfrm>
            <a:off x="8972136" y="2208583"/>
            <a:ext cx="2429997" cy="1613950"/>
          </a:xfrm>
          <a:custGeom>
            <a:avLst/>
            <a:gdLst>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852854 w 3035029"/>
              <a:gd name="connsiteY26" fmla="*/ 1134894 h 1614791"/>
              <a:gd name="connsiteX27" fmla="*/ 2852854 w 3035029"/>
              <a:gd name="connsiteY27" fmla="*/ 486384 h 1614791"/>
              <a:gd name="connsiteX28" fmla="*/ 2788812 w 3035029"/>
              <a:gd name="connsiteY28" fmla="*/ 486384 h 1614791"/>
              <a:gd name="connsiteX29" fmla="*/ 2788812 w 3035029"/>
              <a:gd name="connsiteY29" fmla="*/ 475412 h 1614791"/>
              <a:gd name="connsiteX30" fmla="*/ 2788812 w 3035029"/>
              <a:gd name="connsiteY30" fmla="*/ 430013 h 1614791"/>
              <a:gd name="connsiteX31" fmla="*/ 2788812 w 3035029"/>
              <a:gd name="connsiteY31" fmla="*/ 378137 h 1614791"/>
              <a:gd name="connsiteX32" fmla="*/ 2656890 w 3035029"/>
              <a:gd name="connsiteY32" fmla="*/ 246215 h 1614791"/>
              <a:gd name="connsiteX33" fmla="*/ 2605014 w 3035029"/>
              <a:gd name="connsiteY33" fmla="*/ 246215 h 1614791"/>
              <a:gd name="connsiteX34" fmla="*/ 2559615 w 3035029"/>
              <a:gd name="connsiteY34" fmla="*/ 246215 h 1614791"/>
              <a:gd name="connsiteX35" fmla="*/ 475414 w 3035029"/>
              <a:gd name="connsiteY35" fmla="*/ 246215 h 1614791"/>
              <a:gd name="connsiteX36" fmla="*/ 430015 w 3035029"/>
              <a:gd name="connsiteY36" fmla="*/ 246215 h 1614791"/>
              <a:gd name="connsiteX37" fmla="*/ 378139 w 3035029"/>
              <a:gd name="connsiteY37" fmla="*/ 246215 h 1614791"/>
              <a:gd name="connsiteX38" fmla="*/ 246217 w 3035029"/>
              <a:gd name="connsiteY38" fmla="*/ 378137 h 1614791"/>
              <a:gd name="connsiteX39" fmla="*/ 246217 w 3035029"/>
              <a:gd name="connsiteY39" fmla="*/ 430013 h 1614791"/>
              <a:gd name="connsiteX40" fmla="*/ 246217 w 3035029"/>
              <a:gd name="connsiteY40" fmla="*/ 475412 h 1614791"/>
              <a:gd name="connsiteX41" fmla="*/ 246217 w 3035029"/>
              <a:gd name="connsiteY41" fmla="*/ 483137 h 1614791"/>
              <a:gd name="connsiteX42" fmla="*/ 0 w 3035029"/>
              <a:gd name="connsiteY42" fmla="*/ 483137 h 1614791"/>
              <a:gd name="connsiteX43" fmla="*/ 0 w 3035029"/>
              <a:gd name="connsiteY43" fmla="*/ 301562 h 1614791"/>
              <a:gd name="connsiteX44" fmla="*/ 301562 w 3035029"/>
              <a:gd name="connsiteY44" fmla="*/ 0 h 1614791"/>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852854 w 3035029"/>
              <a:gd name="connsiteY26" fmla="*/ 486384 h 1614791"/>
              <a:gd name="connsiteX27" fmla="*/ 2788812 w 3035029"/>
              <a:gd name="connsiteY27" fmla="*/ 486384 h 1614791"/>
              <a:gd name="connsiteX28" fmla="*/ 2788812 w 3035029"/>
              <a:gd name="connsiteY28" fmla="*/ 475412 h 1614791"/>
              <a:gd name="connsiteX29" fmla="*/ 2788812 w 3035029"/>
              <a:gd name="connsiteY29" fmla="*/ 430013 h 1614791"/>
              <a:gd name="connsiteX30" fmla="*/ 2788812 w 3035029"/>
              <a:gd name="connsiteY30" fmla="*/ 378137 h 1614791"/>
              <a:gd name="connsiteX31" fmla="*/ 2656890 w 3035029"/>
              <a:gd name="connsiteY31" fmla="*/ 246215 h 1614791"/>
              <a:gd name="connsiteX32" fmla="*/ 2605014 w 3035029"/>
              <a:gd name="connsiteY32" fmla="*/ 246215 h 1614791"/>
              <a:gd name="connsiteX33" fmla="*/ 2559615 w 3035029"/>
              <a:gd name="connsiteY33" fmla="*/ 246215 h 1614791"/>
              <a:gd name="connsiteX34" fmla="*/ 475414 w 3035029"/>
              <a:gd name="connsiteY34" fmla="*/ 246215 h 1614791"/>
              <a:gd name="connsiteX35" fmla="*/ 430015 w 3035029"/>
              <a:gd name="connsiteY35" fmla="*/ 246215 h 1614791"/>
              <a:gd name="connsiteX36" fmla="*/ 378139 w 3035029"/>
              <a:gd name="connsiteY36" fmla="*/ 246215 h 1614791"/>
              <a:gd name="connsiteX37" fmla="*/ 246217 w 3035029"/>
              <a:gd name="connsiteY37" fmla="*/ 378137 h 1614791"/>
              <a:gd name="connsiteX38" fmla="*/ 246217 w 3035029"/>
              <a:gd name="connsiteY38" fmla="*/ 430013 h 1614791"/>
              <a:gd name="connsiteX39" fmla="*/ 246217 w 3035029"/>
              <a:gd name="connsiteY39" fmla="*/ 475412 h 1614791"/>
              <a:gd name="connsiteX40" fmla="*/ 246217 w 3035029"/>
              <a:gd name="connsiteY40" fmla="*/ 483137 h 1614791"/>
              <a:gd name="connsiteX41" fmla="*/ 0 w 3035029"/>
              <a:gd name="connsiteY41" fmla="*/ 483137 h 1614791"/>
              <a:gd name="connsiteX42" fmla="*/ 0 w 3035029"/>
              <a:gd name="connsiteY42" fmla="*/ 301562 h 1614791"/>
              <a:gd name="connsiteX43" fmla="*/ 301562 w 3035029"/>
              <a:gd name="connsiteY43" fmla="*/ 0 h 1614791"/>
              <a:gd name="connsiteX0" fmla="*/ 301562 w 3035029"/>
              <a:gd name="connsiteY0" fmla="*/ 0 h 1614791"/>
              <a:gd name="connsiteX1" fmla="*/ 2733467 w 3035029"/>
              <a:gd name="connsiteY1" fmla="*/ 0 h 1614791"/>
              <a:gd name="connsiteX2" fmla="*/ 3035029 w 3035029"/>
              <a:gd name="connsiteY2" fmla="*/ 301562 h 1614791"/>
              <a:gd name="connsiteX3" fmla="*/ 3035029 w 3035029"/>
              <a:gd name="connsiteY3" fmla="*/ 486384 h 1614791"/>
              <a:gd name="connsiteX4" fmla="*/ 3035028 w 3035029"/>
              <a:gd name="connsiteY4" fmla="*/ 486384 h 1614791"/>
              <a:gd name="connsiteX5" fmla="*/ 3035028 w 3035029"/>
              <a:gd name="connsiteY5" fmla="*/ 1134894 h 1614791"/>
              <a:gd name="connsiteX6" fmla="*/ 3035029 w 3035029"/>
              <a:gd name="connsiteY6" fmla="*/ 1134894 h 1614791"/>
              <a:gd name="connsiteX7" fmla="*/ 3035029 w 3035029"/>
              <a:gd name="connsiteY7" fmla="*/ 1313229 h 1614791"/>
              <a:gd name="connsiteX8" fmla="*/ 2733467 w 3035029"/>
              <a:gd name="connsiteY8" fmla="*/ 1614791 h 1614791"/>
              <a:gd name="connsiteX9" fmla="*/ 301562 w 3035029"/>
              <a:gd name="connsiteY9" fmla="*/ 1614791 h 1614791"/>
              <a:gd name="connsiteX10" fmla="*/ 0 w 3035029"/>
              <a:gd name="connsiteY10" fmla="*/ 1313229 h 1614791"/>
              <a:gd name="connsiteX11" fmla="*/ 0 w 3035029"/>
              <a:gd name="connsiteY11" fmla="*/ 1131647 h 1614791"/>
              <a:gd name="connsiteX12" fmla="*/ 246217 w 3035029"/>
              <a:gd name="connsiteY12" fmla="*/ 1131647 h 1614791"/>
              <a:gd name="connsiteX13" fmla="*/ 246217 w 3035029"/>
              <a:gd name="connsiteY13" fmla="*/ 1139377 h 1614791"/>
              <a:gd name="connsiteX14" fmla="*/ 246217 w 3035029"/>
              <a:gd name="connsiteY14" fmla="*/ 1184776 h 1614791"/>
              <a:gd name="connsiteX15" fmla="*/ 246217 w 3035029"/>
              <a:gd name="connsiteY15" fmla="*/ 1236652 h 1614791"/>
              <a:gd name="connsiteX16" fmla="*/ 378139 w 3035029"/>
              <a:gd name="connsiteY16" fmla="*/ 1368574 h 1614791"/>
              <a:gd name="connsiteX17" fmla="*/ 430015 w 3035029"/>
              <a:gd name="connsiteY17" fmla="*/ 1368574 h 1614791"/>
              <a:gd name="connsiteX18" fmla="*/ 475414 w 3035029"/>
              <a:gd name="connsiteY18" fmla="*/ 1368574 h 1614791"/>
              <a:gd name="connsiteX19" fmla="*/ 2559615 w 3035029"/>
              <a:gd name="connsiteY19" fmla="*/ 1368574 h 1614791"/>
              <a:gd name="connsiteX20" fmla="*/ 2605014 w 3035029"/>
              <a:gd name="connsiteY20" fmla="*/ 1368574 h 1614791"/>
              <a:gd name="connsiteX21" fmla="*/ 2656890 w 3035029"/>
              <a:gd name="connsiteY21" fmla="*/ 1368574 h 1614791"/>
              <a:gd name="connsiteX22" fmla="*/ 2788812 w 3035029"/>
              <a:gd name="connsiteY22" fmla="*/ 1236652 h 1614791"/>
              <a:gd name="connsiteX23" fmla="*/ 2788812 w 3035029"/>
              <a:gd name="connsiteY23" fmla="*/ 1184776 h 1614791"/>
              <a:gd name="connsiteX24" fmla="*/ 2788812 w 3035029"/>
              <a:gd name="connsiteY24" fmla="*/ 1139377 h 1614791"/>
              <a:gd name="connsiteX25" fmla="*/ 2788812 w 3035029"/>
              <a:gd name="connsiteY25" fmla="*/ 1134894 h 1614791"/>
              <a:gd name="connsiteX26" fmla="*/ 2788812 w 3035029"/>
              <a:gd name="connsiteY26" fmla="*/ 486384 h 1614791"/>
              <a:gd name="connsiteX27" fmla="*/ 2788812 w 3035029"/>
              <a:gd name="connsiteY27" fmla="*/ 475412 h 1614791"/>
              <a:gd name="connsiteX28" fmla="*/ 2788812 w 3035029"/>
              <a:gd name="connsiteY28" fmla="*/ 430013 h 1614791"/>
              <a:gd name="connsiteX29" fmla="*/ 2788812 w 3035029"/>
              <a:gd name="connsiteY29" fmla="*/ 378137 h 1614791"/>
              <a:gd name="connsiteX30" fmla="*/ 2656890 w 3035029"/>
              <a:gd name="connsiteY30" fmla="*/ 246215 h 1614791"/>
              <a:gd name="connsiteX31" fmla="*/ 2605014 w 3035029"/>
              <a:gd name="connsiteY31" fmla="*/ 246215 h 1614791"/>
              <a:gd name="connsiteX32" fmla="*/ 2559615 w 3035029"/>
              <a:gd name="connsiteY32" fmla="*/ 246215 h 1614791"/>
              <a:gd name="connsiteX33" fmla="*/ 475414 w 3035029"/>
              <a:gd name="connsiteY33" fmla="*/ 246215 h 1614791"/>
              <a:gd name="connsiteX34" fmla="*/ 430015 w 3035029"/>
              <a:gd name="connsiteY34" fmla="*/ 246215 h 1614791"/>
              <a:gd name="connsiteX35" fmla="*/ 378139 w 3035029"/>
              <a:gd name="connsiteY35" fmla="*/ 246215 h 1614791"/>
              <a:gd name="connsiteX36" fmla="*/ 246217 w 3035029"/>
              <a:gd name="connsiteY36" fmla="*/ 378137 h 1614791"/>
              <a:gd name="connsiteX37" fmla="*/ 246217 w 3035029"/>
              <a:gd name="connsiteY37" fmla="*/ 430013 h 1614791"/>
              <a:gd name="connsiteX38" fmla="*/ 246217 w 3035029"/>
              <a:gd name="connsiteY38" fmla="*/ 475412 h 1614791"/>
              <a:gd name="connsiteX39" fmla="*/ 246217 w 3035029"/>
              <a:gd name="connsiteY39" fmla="*/ 483137 h 1614791"/>
              <a:gd name="connsiteX40" fmla="*/ 0 w 3035029"/>
              <a:gd name="connsiteY40" fmla="*/ 483137 h 1614791"/>
              <a:gd name="connsiteX41" fmla="*/ 0 w 3035029"/>
              <a:gd name="connsiteY41" fmla="*/ 301562 h 1614791"/>
              <a:gd name="connsiteX42" fmla="*/ 301562 w 3035029"/>
              <a:gd name="connsiteY42"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35029" h="1614791">
                <a:moveTo>
                  <a:pt x="301562" y="0"/>
                </a:moveTo>
                <a:lnTo>
                  <a:pt x="2733467" y="0"/>
                </a:lnTo>
                <a:cubicBezTo>
                  <a:pt x="2900015" y="0"/>
                  <a:pt x="3035029" y="135014"/>
                  <a:pt x="3035029" y="301562"/>
                </a:cubicBezTo>
                <a:lnTo>
                  <a:pt x="3035029" y="486384"/>
                </a:lnTo>
                <a:lnTo>
                  <a:pt x="3035028" y="486384"/>
                </a:lnTo>
                <a:lnTo>
                  <a:pt x="3035028"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lnTo>
                  <a:pt x="0" y="1131647"/>
                </a:lnTo>
                <a:lnTo>
                  <a:pt x="246217" y="1131647"/>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2788812" y="486384"/>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483137"/>
                </a:lnTo>
                <a:lnTo>
                  <a:pt x="0" y="483137"/>
                </a:lnTo>
                <a:lnTo>
                  <a:pt x="0" y="301562"/>
                </a:lnTo>
                <a:cubicBezTo>
                  <a:pt x="0" y="135014"/>
                  <a:pt x="135014" y="0"/>
                  <a:pt x="301562" y="0"/>
                </a:cubicBezTo>
                <a:close/>
              </a:path>
            </a:pathLst>
          </a:custGeom>
          <a:gradFill>
            <a:gsLst>
              <a:gs pos="46000">
                <a:srgbClr val="B76184"/>
              </a:gs>
              <a:gs pos="0">
                <a:srgbClr val="008DCA"/>
              </a:gs>
              <a:gs pos="100000">
                <a:srgbClr val="DCAF00"/>
              </a:gs>
            </a:gsLst>
            <a:lin ang="5400000" scaled="1"/>
          </a:gradFill>
          <a:ln w="9525" cap="flat" cmpd="sng" algn="ctr">
            <a:solidFill>
              <a:srgbClr val="1488C2"/>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77767" tIns="77767" rIns="77767" bIns="3354869" numCol="1" spcCol="1270" anchor="ctr" anchorCtr="0">
            <a:noAutofit/>
          </a:bodyPr>
          <a:lstStyle/>
          <a:p>
            <a:pPr algn="ctr" defTabSz="533133">
              <a:lnSpc>
                <a:spcPct val="90000"/>
              </a:lnSpc>
              <a:spcBef>
                <a:spcPct val="0"/>
              </a:spcBef>
            </a:pPr>
            <a:endParaRPr lang="en-US" sz="1199">
              <a:solidFill>
                <a:schemeClr val="bg1"/>
              </a:solidFill>
              <a:latin typeface="EYInterstate" panose="02000503020000020004" pitchFamily="2" charset="0"/>
            </a:endParaRPr>
          </a:p>
        </p:txBody>
      </p:sp>
      <p:sp>
        <p:nvSpPr>
          <p:cNvPr id="2" name="Freeform: Shape 1">
            <a:extLst>
              <a:ext uri="{FF2B5EF4-FFF2-40B4-BE49-F238E27FC236}">
                <a16:creationId xmlns:a16="http://schemas.microsoft.com/office/drawing/2014/main" id="{B78B144E-618B-FE6F-7FBA-EB95A0172AFA}"/>
              </a:ext>
            </a:extLst>
          </p:cNvPr>
          <p:cNvSpPr/>
          <p:nvPr/>
        </p:nvSpPr>
        <p:spPr>
          <a:xfrm>
            <a:off x="6157995" y="2208584"/>
            <a:ext cx="2429996" cy="1613950"/>
          </a:xfrm>
          <a:custGeom>
            <a:avLst/>
            <a:gdLst>
              <a:gd name="connsiteX0" fmla="*/ 0 w 3035029"/>
              <a:gd name="connsiteY0" fmla="*/ 1131647 h 1614791"/>
              <a:gd name="connsiteX1" fmla="*/ 246217 w 3035029"/>
              <a:gd name="connsiteY1" fmla="*/ 1131647 h 1614791"/>
              <a:gd name="connsiteX2" fmla="*/ 246217 w 3035029"/>
              <a:gd name="connsiteY2" fmla="*/ 1139377 h 1614791"/>
              <a:gd name="connsiteX3" fmla="*/ 246217 w 3035029"/>
              <a:gd name="connsiteY3" fmla="*/ 1184776 h 1614791"/>
              <a:gd name="connsiteX4" fmla="*/ 246217 w 3035029"/>
              <a:gd name="connsiteY4" fmla="*/ 1236652 h 1614791"/>
              <a:gd name="connsiteX5" fmla="*/ 378139 w 3035029"/>
              <a:gd name="connsiteY5" fmla="*/ 1368574 h 1614791"/>
              <a:gd name="connsiteX6" fmla="*/ 430015 w 3035029"/>
              <a:gd name="connsiteY6" fmla="*/ 1368574 h 1614791"/>
              <a:gd name="connsiteX7" fmla="*/ 475414 w 3035029"/>
              <a:gd name="connsiteY7" fmla="*/ 1368574 h 1614791"/>
              <a:gd name="connsiteX8" fmla="*/ 2559615 w 3035029"/>
              <a:gd name="connsiteY8" fmla="*/ 1368574 h 1614791"/>
              <a:gd name="connsiteX9" fmla="*/ 2605014 w 3035029"/>
              <a:gd name="connsiteY9" fmla="*/ 1368574 h 1614791"/>
              <a:gd name="connsiteX10" fmla="*/ 2656890 w 3035029"/>
              <a:gd name="connsiteY10" fmla="*/ 1368574 h 1614791"/>
              <a:gd name="connsiteX11" fmla="*/ 2788812 w 3035029"/>
              <a:gd name="connsiteY11" fmla="*/ 1236652 h 1614791"/>
              <a:gd name="connsiteX12" fmla="*/ 2788812 w 3035029"/>
              <a:gd name="connsiteY12" fmla="*/ 1184776 h 1614791"/>
              <a:gd name="connsiteX13" fmla="*/ 2788812 w 3035029"/>
              <a:gd name="connsiteY13" fmla="*/ 1139377 h 1614791"/>
              <a:gd name="connsiteX14" fmla="*/ 2788812 w 3035029"/>
              <a:gd name="connsiteY14" fmla="*/ 1134894 h 1614791"/>
              <a:gd name="connsiteX15" fmla="*/ 3035029 w 3035029"/>
              <a:gd name="connsiteY15" fmla="*/ 1134894 h 1614791"/>
              <a:gd name="connsiteX16" fmla="*/ 3035029 w 3035029"/>
              <a:gd name="connsiteY16" fmla="*/ 1313229 h 1614791"/>
              <a:gd name="connsiteX17" fmla="*/ 2733467 w 3035029"/>
              <a:gd name="connsiteY17" fmla="*/ 1614791 h 1614791"/>
              <a:gd name="connsiteX18" fmla="*/ 301562 w 3035029"/>
              <a:gd name="connsiteY18" fmla="*/ 1614791 h 1614791"/>
              <a:gd name="connsiteX19" fmla="*/ 0 w 3035029"/>
              <a:gd name="connsiteY19" fmla="*/ 1313229 h 1614791"/>
              <a:gd name="connsiteX20" fmla="*/ 301562 w 3035029"/>
              <a:gd name="connsiteY20" fmla="*/ 0 h 1614791"/>
              <a:gd name="connsiteX21" fmla="*/ 2733467 w 3035029"/>
              <a:gd name="connsiteY21" fmla="*/ 0 h 1614791"/>
              <a:gd name="connsiteX22" fmla="*/ 3035029 w 3035029"/>
              <a:gd name="connsiteY22" fmla="*/ 301562 h 1614791"/>
              <a:gd name="connsiteX23" fmla="*/ 3035029 w 3035029"/>
              <a:gd name="connsiteY23" fmla="*/ 483137 h 1614791"/>
              <a:gd name="connsiteX24" fmla="*/ 2788812 w 3035029"/>
              <a:gd name="connsiteY24" fmla="*/ 483137 h 1614791"/>
              <a:gd name="connsiteX25" fmla="*/ 2788812 w 3035029"/>
              <a:gd name="connsiteY25" fmla="*/ 475412 h 1614791"/>
              <a:gd name="connsiteX26" fmla="*/ 2788812 w 3035029"/>
              <a:gd name="connsiteY26" fmla="*/ 430013 h 1614791"/>
              <a:gd name="connsiteX27" fmla="*/ 2788812 w 3035029"/>
              <a:gd name="connsiteY27" fmla="*/ 378137 h 1614791"/>
              <a:gd name="connsiteX28" fmla="*/ 2656890 w 3035029"/>
              <a:gd name="connsiteY28" fmla="*/ 246215 h 1614791"/>
              <a:gd name="connsiteX29" fmla="*/ 2605014 w 3035029"/>
              <a:gd name="connsiteY29" fmla="*/ 246215 h 1614791"/>
              <a:gd name="connsiteX30" fmla="*/ 2559615 w 3035029"/>
              <a:gd name="connsiteY30" fmla="*/ 246215 h 1614791"/>
              <a:gd name="connsiteX31" fmla="*/ 475414 w 3035029"/>
              <a:gd name="connsiteY31" fmla="*/ 246215 h 1614791"/>
              <a:gd name="connsiteX32" fmla="*/ 430015 w 3035029"/>
              <a:gd name="connsiteY32" fmla="*/ 246215 h 1614791"/>
              <a:gd name="connsiteX33" fmla="*/ 378139 w 3035029"/>
              <a:gd name="connsiteY33" fmla="*/ 246215 h 1614791"/>
              <a:gd name="connsiteX34" fmla="*/ 246217 w 3035029"/>
              <a:gd name="connsiteY34" fmla="*/ 378137 h 1614791"/>
              <a:gd name="connsiteX35" fmla="*/ 246217 w 3035029"/>
              <a:gd name="connsiteY35" fmla="*/ 430013 h 1614791"/>
              <a:gd name="connsiteX36" fmla="*/ 246217 w 3035029"/>
              <a:gd name="connsiteY36" fmla="*/ 475412 h 1614791"/>
              <a:gd name="connsiteX37" fmla="*/ 246217 w 3035029"/>
              <a:gd name="connsiteY37" fmla="*/ 483137 h 1614791"/>
              <a:gd name="connsiteX38" fmla="*/ 0 w 3035029"/>
              <a:gd name="connsiteY38" fmla="*/ 483137 h 1614791"/>
              <a:gd name="connsiteX39" fmla="*/ 0 w 3035029"/>
              <a:gd name="connsiteY39" fmla="*/ 301562 h 1614791"/>
              <a:gd name="connsiteX40" fmla="*/ 301562 w 3035029"/>
              <a:gd name="connsiteY40" fmla="*/ 0 h 16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35029" h="1614791">
                <a:moveTo>
                  <a:pt x="0" y="1131647"/>
                </a:moveTo>
                <a:lnTo>
                  <a:pt x="246217" y="1131647"/>
                </a:lnTo>
                <a:lnTo>
                  <a:pt x="246217" y="1139377"/>
                </a:lnTo>
                <a:lnTo>
                  <a:pt x="246217" y="1184776"/>
                </a:lnTo>
                <a:lnTo>
                  <a:pt x="246217" y="1236652"/>
                </a:lnTo>
                <a:cubicBezTo>
                  <a:pt x="246217" y="1309511"/>
                  <a:pt x="305280" y="1368574"/>
                  <a:pt x="378139" y="1368574"/>
                </a:cubicBezTo>
                <a:lnTo>
                  <a:pt x="430015" y="1368574"/>
                </a:lnTo>
                <a:lnTo>
                  <a:pt x="475414" y="1368574"/>
                </a:lnTo>
                <a:lnTo>
                  <a:pt x="2559615" y="1368574"/>
                </a:lnTo>
                <a:lnTo>
                  <a:pt x="2605014" y="1368574"/>
                </a:lnTo>
                <a:lnTo>
                  <a:pt x="2656890" y="1368574"/>
                </a:lnTo>
                <a:cubicBezTo>
                  <a:pt x="2729749" y="1368574"/>
                  <a:pt x="2788812" y="1309511"/>
                  <a:pt x="2788812" y="1236652"/>
                </a:cubicBezTo>
                <a:lnTo>
                  <a:pt x="2788812" y="1184776"/>
                </a:lnTo>
                <a:lnTo>
                  <a:pt x="2788812" y="1139377"/>
                </a:lnTo>
                <a:lnTo>
                  <a:pt x="2788812" y="1134894"/>
                </a:lnTo>
                <a:lnTo>
                  <a:pt x="3035029" y="1134894"/>
                </a:lnTo>
                <a:lnTo>
                  <a:pt x="3035029" y="1313229"/>
                </a:lnTo>
                <a:cubicBezTo>
                  <a:pt x="3035029" y="1479777"/>
                  <a:pt x="2900015" y="1614791"/>
                  <a:pt x="2733467" y="1614791"/>
                </a:cubicBezTo>
                <a:lnTo>
                  <a:pt x="301562" y="1614791"/>
                </a:lnTo>
                <a:cubicBezTo>
                  <a:pt x="135014" y="1614791"/>
                  <a:pt x="0" y="1479777"/>
                  <a:pt x="0" y="1313229"/>
                </a:cubicBezTo>
                <a:close/>
                <a:moveTo>
                  <a:pt x="301562" y="0"/>
                </a:moveTo>
                <a:lnTo>
                  <a:pt x="2733467" y="0"/>
                </a:lnTo>
                <a:cubicBezTo>
                  <a:pt x="2900015" y="0"/>
                  <a:pt x="3035029" y="135014"/>
                  <a:pt x="3035029" y="301562"/>
                </a:cubicBezTo>
                <a:lnTo>
                  <a:pt x="3035029" y="483137"/>
                </a:lnTo>
                <a:lnTo>
                  <a:pt x="2788812" y="483137"/>
                </a:lnTo>
                <a:lnTo>
                  <a:pt x="2788812" y="475412"/>
                </a:lnTo>
                <a:lnTo>
                  <a:pt x="2788812" y="430013"/>
                </a:lnTo>
                <a:lnTo>
                  <a:pt x="2788812" y="378137"/>
                </a:lnTo>
                <a:cubicBezTo>
                  <a:pt x="2788812" y="305278"/>
                  <a:pt x="2729749" y="246215"/>
                  <a:pt x="2656890" y="246215"/>
                </a:cubicBezTo>
                <a:lnTo>
                  <a:pt x="2605014" y="246215"/>
                </a:lnTo>
                <a:lnTo>
                  <a:pt x="2559615" y="246215"/>
                </a:lnTo>
                <a:lnTo>
                  <a:pt x="475414" y="246215"/>
                </a:lnTo>
                <a:lnTo>
                  <a:pt x="430015" y="246215"/>
                </a:lnTo>
                <a:lnTo>
                  <a:pt x="378139" y="246215"/>
                </a:lnTo>
                <a:cubicBezTo>
                  <a:pt x="305280" y="246215"/>
                  <a:pt x="246217" y="305278"/>
                  <a:pt x="246217" y="378137"/>
                </a:cubicBezTo>
                <a:lnTo>
                  <a:pt x="246217" y="430013"/>
                </a:lnTo>
                <a:lnTo>
                  <a:pt x="246217" y="475412"/>
                </a:lnTo>
                <a:lnTo>
                  <a:pt x="246217" y="483137"/>
                </a:lnTo>
                <a:lnTo>
                  <a:pt x="0" y="483137"/>
                </a:lnTo>
                <a:lnTo>
                  <a:pt x="0" y="301562"/>
                </a:lnTo>
                <a:cubicBezTo>
                  <a:pt x="0" y="135014"/>
                  <a:pt x="135014" y="0"/>
                  <a:pt x="301562" y="0"/>
                </a:cubicBezTo>
                <a:close/>
              </a:path>
            </a:pathLst>
          </a:custGeom>
          <a:gradFill>
            <a:gsLst>
              <a:gs pos="46000">
                <a:srgbClr val="B76184"/>
              </a:gs>
              <a:gs pos="0">
                <a:srgbClr val="008DCA"/>
              </a:gs>
              <a:gs pos="100000">
                <a:srgbClr val="DCAF00"/>
              </a:gs>
            </a:gsLst>
            <a:lin ang="5400000" scaled="1"/>
          </a:gradFill>
          <a:ln w="9525" cap="flat" cmpd="sng" algn="ctr">
            <a:solidFill>
              <a:srgbClr val="1488C2"/>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77767" tIns="77767" rIns="77767" bIns="3354869" numCol="1" spcCol="1270" anchor="ctr" anchorCtr="0">
            <a:noAutofit/>
          </a:bodyPr>
          <a:lstStyle/>
          <a:p>
            <a:pPr algn="ctr" defTabSz="533133">
              <a:lnSpc>
                <a:spcPct val="90000"/>
              </a:lnSpc>
              <a:spcBef>
                <a:spcPct val="0"/>
              </a:spcBef>
            </a:pPr>
            <a:endParaRPr lang="en-US" sz="1199">
              <a:solidFill>
                <a:schemeClr val="bg1"/>
              </a:solidFill>
              <a:latin typeface="EYInterstate" panose="02000503020000020004" pitchFamily="2" charset="0"/>
            </a:endParaRPr>
          </a:p>
        </p:txBody>
      </p:sp>
      <p:sp>
        <p:nvSpPr>
          <p:cNvPr id="3" name="Rectangle: Rounded Corners 2">
            <a:extLst>
              <a:ext uri="{FF2B5EF4-FFF2-40B4-BE49-F238E27FC236}">
                <a16:creationId xmlns:a16="http://schemas.microsoft.com/office/drawing/2014/main" id="{A5D9FEB2-6555-816E-CBCC-79362B855EEE}"/>
              </a:ext>
            </a:extLst>
          </p:cNvPr>
          <p:cNvSpPr/>
          <p:nvPr/>
        </p:nvSpPr>
        <p:spPr>
          <a:xfrm>
            <a:off x="8139917" y="2807226"/>
            <a:ext cx="1503762" cy="416668"/>
          </a:xfrm>
          <a:prstGeom prst="roundRect">
            <a:avLst>
              <a:gd name="adj" fmla="val 50000"/>
            </a:avLst>
          </a:prstGeom>
          <a:solidFill>
            <a:srgbClr val="FFE600"/>
          </a:solidFill>
          <a:ln w="9525" cap="flat" cmpd="sng" algn="ctr">
            <a:solidFill>
              <a:srgbClr val="FFE600">
                <a:shade val="95000"/>
                <a:satMod val="105000"/>
              </a:srgbClr>
            </a:solidFill>
            <a:prstDash val="solid"/>
          </a:ln>
          <a:effectLst>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hueOff val="0"/>
              <a:satOff val="0"/>
              <a:lumOff val="0"/>
              <a:alphaOff val="0"/>
            </a:schemeClr>
          </a:fontRef>
        </p:style>
        <p:txBody>
          <a:bodyPr spcFirstLastPara="0" vert="horz" wrap="square" lIns="64417" tIns="64417" rIns="64417" bIns="3341519" numCol="1" spcCol="1270" anchor="ctr" anchorCtr="0">
            <a:noAutofit/>
          </a:bodyPr>
          <a:lstStyle/>
          <a:p>
            <a:pPr algn="ctr" defTabSz="399850">
              <a:lnSpc>
                <a:spcPct val="90000"/>
              </a:lnSpc>
              <a:spcBef>
                <a:spcPct val="0"/>
              </a:spcBef>
            </a:pPr>
            <a:endParaRPr lang="en-US" sz="900">
              <a:solidFill>
                <a:srgbClr val="002060"/>
              </a:solidFill>
              <a:latin typeface="EYInterstate" panose="02000503020000020004" pitchFamily="2" charset="0"/>
            </a:endParaRPr>
          </a:p>
        </p:txBody>
      </p:sp>
      <p:grpSp>
        <p:nvGrpSpPr>
          <p:cNvPr id="12" name="Group 11">
            <a:extLst>
              <a:ext uri="{FF2B5EF4-FFF2-40B4-BE49-F238E27FC236}">
                <a16:creationId xmlns:a16="http://schemas.microsoft.com/office/drawing/2014/main" id="{4F8F6C1D-0894-3312-6AC6-6CEF419005C1}"/>
              </a:ext>
            </a:extLst>
          </p:cNvPr>
          <p:cNvGrpSpPr/>
          <p:nvPr/>
        </p:nvGrpSpPr>
        <p:grpSpPr>
          <a:xfrm>
            <a:off x="6096000" y="3931701"/>
            <a:ext cx="2973351" cy="871741"/>
            <a:chOff x="332936" y="2781654"/>
            <a:chExt cx="3212286" cy="872195"/>
          </a:xfrm>
        </p:grpSpPr>
        <p:sp>
          <p:nvSpPr>
            <p:cNvPr id="13" name="TextBox 12">
              <a:extLst>
                <a:ext uri="{FF2B5EF4-FFF2-40B4-BE49-F238E27FC236}">
                  <a16:creationId xmlns:a16="http://schemas.microsoft.com/office/drawing/2014/main" id="{FFF86512-62A4-F38E-A2A7-C791F4087E60}"/>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sz="1399" b="1" noProof="1">
                  <a:solidFill>
                    <a:schemeClr val="bg1"/>
                  </a:solidFill>
                </a:rPr>
                <a:t>Check</a:t>
              </a:r>
            </a:p>
          </p:txBody>
        </p:sp>
        <p:sp>
          <p:nvSpPr>
            <p:cNvPr id="14" name="TextBox 13">
              <a:extLst>
                <a:ext uri="{FF2B5EF4-FFF2-40B4-BE49-F238E27FC236}">
                  <a16:creationId xmlns:a16="http://schemas.microsoft.com/office/drawing/2014/main" id="{1E7CCBBA-6BAC-9240-25B1-B36AE458D8E7}"/>
                </a:ext>
              </a:extLst>
            </p:cNvPr>
            <p:cNvSpPr txBox="1"/>
            <p:nvPr/>
          </p:nvSpPr>
          <p:spPr>
            <a:xfrm>
              <a:off x="619142" y="3130629"/>
              <a:ext cx="2926080" cy="523220"/>
            </a:xfrm>
            <a:prstGeom prst="rect">
              <a:avLst/>
            </a:prstGeom>
            <a:noFill/>
          </p:spPr>
          <p:txBody>
            <a:bodyPr wrap="square" lIns="0" rIns="0" rtlCol="0" anchor="t">
              <a:spAutoFit/>
            </a:bodyPr>
            <a:lstStyle/>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9 (Performance Evaluation)</a:t>
              </a:r>
            </a:p>
          </p:txBody>
        </p:sp>
      </p:grpSp>
      <p:grpSp>
        <p:nvGrpSpPr>
          <p:cNvPr id="15" name="Group 14">
            <a:extLst>
              <a:ext uri="{FF2B5EF4-FFF2-40B4-BE49-F238E27FC236}">
                <a16:creationId xmlns:a16="http://schemas.microsoft.com/office/drawing/2014/main" id="{EEE8C592-4C23-1041-CC97-D724B2A92099}"/>
              </a:ext>
            </a:extLst>
          </p:cNvPr>
          <p:cNvGrpSpPr/>
          <p:nvPr/>
        </p:nvGrpSpPr>
        <p:grpSpPr>
          <a:xfrm>
            <a:off x="3263794" y="3921528"/>
            <a:ext cx="3295270" cy="1320229"/>
            <a:chOff x="332936" y="2781654"/>
            <a:chExt cx="3560073" cy="1320917"/>
          </a:xfrm>
        </p:grpSpPr>
        <p:sp>
          <p:nvSpPr>
            <p:cNvPr id="16" name="TextBox 15">
              <a:extLst>
                <a:ext uri="{FF2B5EF4-FFF2-40B4-BE49-F238E27FC236}">
                  <a16:creationId xmlns:a16="http://schemas.microsoft.com/office/drawing/2014/main" id="{6359E5AF-959C-0126-FA00-B417F4D5F077}"/>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sz="1399" b="1" noProof="1">
                  <a:solidFill>
                    <a:schemeClr val="bg1"/>
                  </a:solidFill>
                </a:rPr>
                <a:t>Do</a:t>
              </a:r>
            </a:p>
          </p:txBody>
        </p:sp>
        <p:sp>
          <p:nvSpPr>
            <p:cNvPr id="17" name="TextBox 16">
              <a:extLst>
                <a:ext uri="{FF2B5EF4-FFF2-40B4-BE49-F238E27FC236}">
                  <a16:creationId xmlns:a16="http://schemas.microsoft.com/office/drawing/2014/main" id="{799B8336-39C8-244A-EBFB-2162100FE892}"/>
                </a:ext>
              </a:extLst>
            </p:cNvPr>
            <p:cNvSpPr txBox="1"/>
            <p:nvPr/>
          </p:nvSpPr>
          <p:spPr>
            <a:xfrm>
              <a:off x="966929" y="3158723"/>
              <a:ext cx="2926080" cy="943848"/>
            </a:xfrm>
            <a:prstGeom prst="rect">
              <a:avLst/>
            </a:prstGeom>
            <a:noFill/>
          </p:spPr>
          <p:txBody>
            <a:bodyPr wrap="square" lIns="0" rIns="0" rtlCol="0" anchor="t">
              <a:spAutoFit/>
            </a:bodyPr>
            <a:lstStyle/>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7 (Support)</a:t>
              </a:r>
            </a:p>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8 (Operation) </a:t>
              </a:r>
            </a:p>
            <a:p>
              <a:pPr>
                <a:spcBef>
                  <a:spcPts val="400"/>
                </a:spcBef>
                <a:spcAft>
                  <a:spcPts val="400"/>
                </a:spcAft>
                <a:buClr>
                  <a:schemeClr val="tx2"/>
                </a:buClr>
                <a:buSzPct val="100000"/>
              </a:pPr>
              <a:endParaRPr lang="en-GB" sz="1399">
                <a:solidFill>
                  <a:srgbClr val="FFFFFF"/>
                </a:solidFill>
                <a:latin typeface="EYInterstate-Light"/>
              </a:endParaRPr>
            </a:p>
          </p:txBody>
        </p:sp>
      </p:grpSp>
      <p:grpSp>
        <p:nvGrpSpPr>
          <p:cNvPr id="21" name="Group 20">
            <a:extLst>
              <a:ext uri="{FF2B5EF4-FFF2-40B4-BE49-F238E27FC236}">
                <a16:creationId xmlns:a16="http://schemas.microsoft.com/office/drawing/2014/main" id="{361A66AA-FCF1-2FA3-7672-C9939EBB42C6}"/>
              </a:ext>
            </a:extLst>
          </p:cNvPr>
          <p:cNvGrpSpPr/>
          <p:nvPr/>
        </p:nvGrpSpPr>
        <p:grpSpPr>
          <a:xfrm>
            <a:off x="8891797" y="3941954"/>
            <a:ext cx="3144747" cy="664063"/>
            <a:chOff x="332936" y="2781654"/>
            <a:chExt cx="3397455" cy="664409"/>
          </a:xfrm>
        </p:grpSpPr>
        <p:sp>
          <p:nvSpPr>
            <p:cNvPr id="27" name="TextBox 26">
              <a:extLst>
                <a:ext uri="{FF2B5EF4-FFF2-40B4-BE49-F238E27FC236}">
                  <a16:creationId xmlns:a16="http://schemas.microsoft.com/office/drawing/2014/main" id="{2AFE9E54-8E94-C5AC-686E-BD1FED49C871}"/>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sz="1399" b="1" noProof="1">
                  <a:solidFill>
                    <a:schemeClr val="bg1"/>
                  </a:solidFill>
                </a:rPr>
                <a:t>Act</a:t>
              </a:r>
            </a:p>
          </p:txBody>
        </p:sp>
        <p:sp>
          <p:nvSpPr>
            <p:cNvPr id="28" name="TextBox 27">
              <a:extLst>
                <a:ext uri="{FF2B5EF4-FFF2-40B4-BE49-F238E27FC236}">
                  <a16:creationId xmlns:a16="http://schemas.microsoft.com/office/drawing/2014/main" id="{B2A7BC0B-EF52-838C-87D9-6D0F4307CB74}"/>
                </a:ext>
              </a:extLst>
            </p:cNvPr>
            <p:cNvSpPr txBox="1"/>
            <p:nvPr/>
          </p:nvSpPr>
          <p:spPr>
            <a:xfrm>
              <a:off x="804311" y="3138286"/>
              <a:ext cx="2926080" cy="307777"/>
            </a:xfrm>
            <a:prstGeom prst="rect">
              <a:avLst/>
            </a:prstGeom>
            <a:noFill/>
          </p:spPr>
          <p:txBody>
            <a:bodyPr wrap="square" lIns="0" rIns="0" rtlCol="0" anchor="t">
              <a:spAutoFit/>
            </a:bodyPr>
            <a:lstStyle/>
            <a:p>
              <a:pPr marL="285607" indent="-285607">
                <a:spcBef>
                  <a:spcPts val="400"/>
                </a:spcBef>
                <a:spcAft>
                  <a:spcPts val="400"/>
                </a:spcAft>
                <a:buClr>
                  <a:schemeClr val="tx2"/>
                </a:buClr>
                <a:buSzPct val="100000"/>
                <a:buFont typeface="Wingdings" panose="05000000000000000000" pitchFamily="2" charset="2"/>
                <a:buChar char="§"/>
              </a:pPr>
              <a:r>
                <a:rPr lang="en-GB" sz="1399">
                  <a:solidFill>
                    <a:srgbClr val="FFFFFF"/>
                  </a:solidFill>
                  <a:latin typeface="EYInterstate-Light"/>
                </a:rPr>
                <a:t>Clause 10 (Improvement) </a:t>
              </a:r>
            </a:p>
          </p:txBody>
        </p:sp>
      </p:grpSp>
      <p:grpSp>
        <p:nvGrpSpPr>
          <p:cNvPr id="29" name="Group 28">
            <a:extLst>
              <a:ext uri="{FF2B5EF4-FFF2-40B4-BE49-F238E27FC236}">
                <a16:creationId xmlns:a16="http://schemas.microsoft.com/office/drawing/2014/main" id="{7A0D5D86-30A4-1700-BE20-325F708380A7}"/>
              </a:ext>
            </a:extLst>
          </p:cNvPr>
          <p:cNvGrpSpPr/>
          <p:nvPr/>
        </p:nvGrpSpPr>
        <p:grpSpPr>
          <a:xfrm>
            <a:off x="7104892" y="2600349"/>
            <a:ext cx="719442" cy="825068"/>
            <a:chOff x="5153025" y="1336675"/>
            <a:chExt cx="1162050" cy="1241425"/>
          </a:xfrm>
          <a:solidFill>
            <a:srgbClr val="F6F6FA"/>
          </a:solidFill>
        </p:grpSpPr>
        <p:sp>
          <p:nvSpPr>
            <p:cNvPr id="36" name="Freeform 33">
              <a:extLst>
                <a:ext uri="{FF2B5EF4-FFF2-40B4-BE49-F238E27FC236}">
                  <a16:creationId xmlns:a16="http://schemas.microsoft.com/office/drawing/2014/main" id="{EA0EDFE4-E114-65D2-F62B-049BFF04F0E5}"/>
                </a:ext>
              </a:extLst>
            </p:cNvPr>
            <p:cNvSpPr>
              <a:spLocks noEditPoints="1"/>
            </p:cNvSpPr>
            <p:nvPr/>
          </p:nvSpPr>
          <p:spPr bwMode="auto">
            <a:xfrm>
              <a:off x="5895975" y="1504950"/>
              <a:ext cx="419100" cy="419100"/>
            </a:xfrm>
            <a:custGeom>
              <a:avLst/>
              <a:gdLst>
                <a:gd name="T0" fmla="*/ 132 w 264"/>
                <a:gd name="T1" fmla="*/ 264 h 264"/>
                <a:gd name="T2" fmla="*/ 104 w 264"/>
                <a:gd name="T3" fmla="*/ 260 h 264"/>
                <a:gd name="T4" fmla="*/ 80 w 264"/>
                <a:gd name="T5" fmla="*/ 252 h 264"/>
                <a:gd name="T6" fmla="*/ 58 w 264"/>
                <a:gd name="T7" fmla="*/ 240 h 264"/>
                <a:gd name="T8" fmla="*/ 38 w 264"/>
                <a:gd name="T9" fmla="*/ 224 h 264"/>
                <a:gd name="T10" fmla="*/ 22 w 264"/>
                <a:gd name="T11" fmla="*/ 204 h 264"/>
                <a:gd name="T12" fmla="*/ 10 w 264"/>
                <a:gd name="T13" fmla="*/ 182 h 264"/>
                <a:gd name="T14" fmla="*/ 2 w 264"/>
                <a:gd name="T15" fmla="*/ 158 h 264"/>
                <a:gd name="T16" fmla="*/ 0 w 264"/>
                <a:gd name="T17" fmla="*/ 132 h 264"/>
                <a:gd name="T18" fmla="*/ 0 w 264"/>
                <a:gd name="T19" fmla="*/ 118 h 264"/>
                <a:gd name="T20" fmla="*/ 6 w 264"/>
                <a:gd name="T21" fmla="*/ 92 h 264"/>
                <a:gd name="T22" fmla="*/ 16 w 264"/>
                <a:gd name="T23" fmla="*/ 68 h 264"/>
                <a:gd name="T24" fmla="*/ 30 w 264"/>
                <a:gd name="T25" fmla="*/ 48 h 264"/>
                <a:gd name="T26" fmla="*/ 48 w 264"/>
                <a:gd name="T27" fmla="*/ 30 h 264"/>
                <a:gd name="T28" fmla="*/ 68 w 264"/>
                <a:gd name="T29" fmla="*/ 14 h 264"/>
                <a:gd name="T30" fmla="*/ 92 w 264"/>
                <a:gd name="T31" fmla="*/ 4 h 264"/>
                <a:gd name="T32" fmla="*/ 118 w 264"/>
                <a:gd name="T33" fmla="*/ 0 h 264"/>
                <a:gd name="T34" fmla="*/ 132 w 264"/>
                <a:gd name="T35" fmla="*/ 0 h 264"/>
                <a:gd name="T36" fmla="*/ 158 w 264"/>
                <a:gd name="T37" fmla="*/ 2 h 264"/>
                <a:gd name="T38" fmla="*/ 182 w 264"/>
                <a:gd name="T39" fmla="*/ 10 h 264"/>
                <a:gd name="T40" fmla="*/ 206 w 264"/>
                <a:gd name="T41" fmla="*/ 22 h 264"/>
                <a:gd name="T42" fmla="*/ 224 w 264"/>
                <a:gd name="T43" fmla="*/ 38 h 264"/>
                <a:gd name="T44" fmla="*/ 240 w 264"/>
                <a:gd name="T45" fmla="*/ 58 h 264"/>
                <a:gd name="T46" fmla="*/ 252 w 264"/>
                <a:gd name="T47" fmla="*/ 80 h 264"/>
                <a:gd name="T48" fmla="*/ 260 w 264"/>
                <a:gd name="T49" fmla="*/ 104 h 264"/>
                <a:gd name="T50" fmla="*/ 264 w 264"/>
                <a:gd name="T51" fmla="*/ 132 h 264"/>
                <a:gd name="T52" fmla="*/ 262 w 264"/>
                <a:gd name="T53" fmla="*/ 144 h 264"/>
                <a:gd name="T54" fmla="*/ 258 w 264"/>
                <a:gd name="T55" fmla="*/ 170 h 264"/>
                <a:gd name="T56" fmla="*/ 248 w 264"/>
                <a:gd name="T57" fmla="*/ 194 h 264"/>
                <a:gd name="T58" fmla="*/ 234 w 264"/>
                <a:gd name="T59" fmla="*/ 214 h 264"/>
                <a:gd name="T60" fmla="*/ 216 w 264"/>
                <a:gd name="T61" fmla="*/ 232 h 264"/>
                <a:gd name="T62" fmla="*/ 194 w 264"/>
                <a:gd name="T63" fmla="*/ 248 h 264"/>
                <a:gd name="T64" fmla="*/ 170 w 264"/>
                <a:gd name="T65" fmla="*/ 258 h 264"/>
                <a:gd name="T66" fmla="*/ 144 w 264"/>
                <a:gd name="T67" fmla="*/ 262 h 264"/>
                <a:gd name="T68" fmla="*/ 132 w 264"/>
                <a:gd name="T69" fmla="*/ 264 h 264"/>
                <a:gd name="T70" fmla="*/ 132 w 264"/>
                <a:gd name="T71" fmla="*/ 18 h 264"/>
                <a:gd name="T72" fmla="*/ 86 w 264"/>
                <a:gd name="T73" fmla="*/ 26 h 264"/>
                <a:gd name="T74" fmla="*/ 50 w 264"/>
                <a:gd name="T75" fmla="*/ 50 h 264"/>
                <a:gd name="T76" fmla="*/ 26 w 264"/>
                <a:gd name="T77" fmla="*/ 86 h 264"/>
                <a:gd name="T78" fmla="*/ 18 w 264"/>
                <a:gd name="T79" fmla="*/ 132 h 264"/>
                <a:gd name="T80" fmla="*/ 20 w 264"/>
                <a:gd name="T81" fmla="*/ 154 h 264"/>
                <a:gd name="T82" fmla="*/ 36 w 264"/>
                <a:gd name="T83" fmla="*/ 194 h 264"/>
                <a:gd name="T84" fmla="*/ 68 w 264"/>
                <a:gd name="T85" fmla="*/ 226 h 264"/>
                <a:gd name="T86" fmla="*/ 108 w 264"/>
                <a:gd name="T87" fmla="*/ 242 h 264"/>
                <a:gd name="T88" fmla="*/ 132 w 264"/>
                <a:gd name="T89" fmla="*/ 246 h 264"/>
                <a:gd name="T90" fmla="*/ 176 w 264"/>
                <a:gd name="T91" fmla="*/ 236 h 264"/>
                <a:gd name="T92" fmla="*/ 212 w 264"/>
                <a:gd name="T93" fmla="*/ 212 h 264"/>
                <a:gd name="T94" fmla="*/ 236 w 264"/>
                <a:gd name="T95" fmla="*/ 176 h 264"/>
                <a:gd name="T96" fmla="*/ 246 w 264"/>
                <a:gd name="T97" fmla="*/ 132 h 264"/>
                <a:gd name="T98" fmla="*/ 242 w 264"/>
                <a:gd name="T99" fmla="*/ 108 h 264"/>
                <a:gd name="T100" fmla="*/ 226 w 264"/>
                <a:gd name="T101" fmla="*/ 68 h 264"/>
                <a:gd name="T102" fmla="*/ 194 w 264"/>
                <a:gd name="T103" fmla="*/ 36 h 264"/>
                <a:gd name="T104" fmla="*/ 154 w 264"/>
                <a:gd name="T105" fmla="*/ 20 h 264"/>
                <a:gd name="T106" fmla="*/ 132 w 264"/>
                <a:gd name="T107"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4" h="264">
                  <a:moveTo>
                    <a:pt x="132" y="264"/>
                  </a:moveTo>
                  <a:lnTo>
                    <a:pt x="132" y="264"/>
                  </a:lnTo>
                  <a:lnTo>
                    <a:pt x="118" y="262"/>
                  </a:lnTo>
                  <a:lnTo>
                    <a:pt x="104" y="260"/>
                  </a:lnTo>
                  <a:lnTo>
                    <a:pt x="92" y="258"/>
                  </a:lnTo>
                  <a:lnTo>
                    <a:pt x="80" y="252"/>
                  </a:lnTo>
                  <a:lnTo>
                    <a:pt x="68" y="248"/>
                  </a:lnTo>
                  <a:lnTo>
                    <a:pt x="58" y="240"/>
                  </a:lnTo>
                  <a:lnTo>
                    <a:pt x="48" y="232"/>
                  </a:lnTo>
                  <a:lnTo>
                    <a:pt x="38" y="224"/>
                  </a:lnTo>
                  <a:lnTo>
                    <a:pt x="30" y="214"/>
                  </a:lnTo>
                  <a:lnTo>
                    <a:pt x="22" y="204"/>
                  </a:lnTo>
                  <a:lnTo>
                    <a:pt x="16" y="194"/>
                  </a:lnTo>
                  <a:lnTo>
                    <a:pt x="10" y="182"/>
                  </a:lnTo>
                  <a:lnTo>
                    <a:pt x="6" y="170"/>
                  </a:lnTo>
                  <a:lnTo>
                    <a:pt x="2" y="158"/>
                  </a:lnTo>
                  <a:lnTo>
                    <a:pt x="0" y="144"/>
                  </a:lnTo>
                  <a:lnTo>
                    <a:pt x="0" y="132"/>
                  </a:lnTo>
                  <a:lnTo>
                    <a:pt x="0" y="132"/>
                  </a:lnTo>
                  <a:lnTo>
                    <a:pt x="0" y="118"/>
                  </a:lnTo>
                  <a:lnTo>
                    <a:pt x="2" y="104"/>
                  </a:lnTo>
                  <a:lnTo>
                    <a:pt x="6" y="92"/>
                  </a:lnTo>
                  <a:lnTo>
                    <a:pt x="10" y="80"/>
                  </a:lnTo>
                  <a:lnTo>
                    <a:pt x="16" y="68"/>
                  </a:lnTo>
                  <a:lnTo>
                    <a:pt x="22" y="58"/>
                  </a:lnTo>
                  <a:lnTo>
                    <a:pt x="30" y="48"/>
                  </a:lnTo>
                  <a:lnTo>
                    <a:pt x="38" y="38"/>
                  </a:lnTo>
                  <a:lnTo>
                    <a:pt x="48" y="30"/>
                  </a:lnTo>
                  <a:lnTo>
                    <a:pt x="58" y="22"/>
                  </a:lnTo>
                  <a:lnTo>
                    <a:pt x="68" y="14"/>
                  </a:lnTo>
                  <a:lnTo>
                    <a:pt x="80" y="10"/>
                  </a:lnTo>
                  <a:lnTo>
                    <a:pt x="92" y="4"/>
                  </a:lnTo>
                  <a:lnTo>
                    <a:pt x="104" y="2"/>
                  </a:lnTo>
                  <a:lnTo>
                    <a:pt x="118" y="0"/>
                  </a:lnTo>
                  <a:lnTo>
                    <a:pt x="132" y="0"/>
                  </a:lnTo>
                  <a:lnTo>
                    <a:pt x="132" y="0"/>
                  </a:lnTo>
                  <a:lnTo>
                    <a:pt x="144" y="0"/>
                  </a:lnTo>
                  <a:lnTo>
                    <a:pt x="158" y="2"/>
                  </a:lnTo>
                  <a:lnTo>
                    <a:pt x="170" y="4"/>
                  </a:lnTo>
                  <a:lnTo>
                    <a:pt x="182" y="10"/>
                  </a:lnTo>
                  <a:lnTo>
                    <a:pt x="194" y="14"/>
                  </a:lnTo>
                  <a:lnTo>
                    <a:pt x="206" y="22"/>
                  </a:lnTo>
                  <a:lnTo>
                    <a:pt x="216" y="30"/>
                  </a:lnTo>
                  <a:lnTo>
                    <a:pt x="224" y="38"/>
                  </a:lnTo>
                  <a:lnTo>
                    <a:pt x="234" y="48"/>
                  </a:lnTo>
                  <a:lnTo>
                    <a:pt x="240" y="58"/>
                  </a:lnTo>
                  <a:lnTo>
                    <a:pt x="248" y="68"/>
                  </a:lnTo>
                  <a:lnTo>
                    <a:pt x="252" y="80"/>
                  </a:lnTo>
                  <a:lnTo>
                    <a:pt x="258" y="92"/>
                  </a:lnTo>
                  <a:lnTo>
                    <a:pt x="260" y="104"/>
                  </a:lnTo>
                  <a:lnTo>
                    <a:pt x="262" y="118"/>
                  </a:lnTo>
                  <a:lnTo>
                    <a:pt x="264" y="132"/>
                  </a:lnTo>
                  <a:lnTo>
                    <a:pt x="264" y="132"/>
                  </a:lnTo>
                  <a:lnTo>
                    <a:pt x="262" y="144"/>
                  </a:lnTo>
                  <a:lnTo>
                    <a:pt x="260" y="158"/>
                  </a:lnTo>
                  <a:lnTo>
                    <a:pt x="258" y="170"/>
                  </a:lnTo>
                  <a:lnTo>
                    <a:pt x="252" y="182"/>
                  </a:lnTo>
                  <a:lnTo>
                    <a:pt x="248" y="194"/>
                  </a:lnTo>
                  <a:lnTo>
                    <a:pt x="240" y="204"/>
                  </a:lnTo>
                  <a:lnTo>
                    <a:pt x="234" y="214"/>
                  </a:lnTo>
                  <a:lnTo>
                    <a:pt x="224" y="224"/>
                  </a:lnTo>
                  <a:lnTo>
                    <a:pt x="216" y="232"/>
                  </a:lnTo>
                  <a:lnTo>
                    <a:pt x="206" y="240"/>
                  </a:lnTo>
                  <a:lnTo>
                    <a:pt x="194" y="248"/>
                  </a:lnTo>
                  <a:lnTo>
                    <a:pt x="182" y="252"/>
                  </a:lnTo>
                  <a:lnTo>
                    <a:pt x="170" y="258"/>
                  </a:lnTo>
                  <a:lnTo>
                    <a:pt x="158" y="260"/>
                  </a:lnTo>
                  <a:lnTo>
                    <a:pt x="144" y="262"/>
                  </a:lnTo>
                  <a:lnTo>
                    <a:pt x="132" y="264"/>
                  </a:lnTo>
                  <a:lnTo>
                    <a:pt x="132" y="264"/>
                  </a:lnTo>
                  <a:close/>
                  <a:moveTo>
                    <a:pt x="132" y="18"/>
                  </a:moveTo>
                  <a:lnTo>
                    <a:pt x="132" y="18"/>
                  </a:lnTo>
                  <a:lnTo>
                    <a:pt x="108" y="20"/>
                  </a:lnTo>
                  <a:lnTo>
                    <a:pt x="86" y="26"/>
                  </a:lnTo>
                  <a:lnTo>
                    <a:pt x="68" y="36"/>
                  </a:lnTo>
                  <a:lnTo>
                    <a:pt x="50" y="50"/>
                  </a:lnTo>
                  <a:lnTo>
                    <a:pt x="36" y="68"/>
                  </a:lnTo>
                  <a:lnTo>
                    <a:pt x="26" y="86"/>
                  </a:lnTo>
                  <a:lnTo>
                    <a:pt x="20" y="108"/>
                  </a:lnTo>
                  <a:lnTo>
                    <a:pt x="18" y="132"/>
                  </a:lnTo>
                  <a:lnTo>
                    <a:pt x="18" y="132"/>
                  </a:lnTo>
                  <a:lnTo>
                    <a:pt x="20" y="154"/>
                  </a:lnTo>
                  <a:lnTo>
                    <a:pt x="26" y="176"/>
                  </a:lnTo>
                  <a:lnTo>
                    <a:pt x="36" y="194"/>
                  </a:lnTo>
                  <a:lnTo>
                    <a:pt x="50" y="212"/>
                  </a:lnTo>
                  <a:lnTo>
                    <a:pt x="68" y="226"/>
                  </a:lnTo>
                  <a:lnTo>
                    <a:pt x="86" y="236"/>
                  </a:lnTo>
                  <a:lnTo>
                    <a:pt x="108" y="242"/>
                  </a:lnTo>
                  <a:lnTo>
                    <a:pt x="132" y="246"/>
                  </a:lnTo>
                  <a:lnTo>
                    <a:pt x="132" y="246"/>
                  </a:lnTo>
                  <a:lnTo>
                    <a:pt x="154" y="242"/>
                  </a:lnTo>
                  <a:lnTo>
                    <a:pt x="176" y="236"/>
                  </a:lnTo>
                  <a:lnTo>
                    <a:pt x="194" y="226"/>
                  </a:lnTo>
                  <a:lnTo>
                    <a:pt x="212" y="212"/>
                  </a:lnTo>
                  <a:lnTo>
                    <a:pt x="226" y="194"/>
                  </a:lnTo>
                  <a:lnTo>
                    <a:pt x="236" y="176"/>
                  </a:lnTo>
                  <a:lnTo>
                    <a:pt x="242" y="154"/>
                  </a:lnTo>
                  <a:lnTo>
                    <a:pt x="246" y="132"/>
                  </a:lnTo>
                  <a:lnTo>
                    <a:pt x="246" y="132"/>
                  </a:lnTo>
                  <a:lnTo>
                    <a:pt x="242" y="108"/>
                  </a:lnTo>
                  <a:lnTo>
                    <a:pt x="236" y="86"/>
                  </a:lnTo>
                  <a:lnTo>
                    <a:pt x="226" y="68"/>
                  </a:lnTo>
                  <a:lnTo>
                    <a:pt x="212" y="50"/>
                  </a:lnTo>
                  <a:lnTo>
                    <a:pt x="194" y="36"/>
                  </a:lnTo>
                  <a:lnTo>
                    <a:pt x="176" y="26"/>
                  </a:lnTo>
                  <a:lnTo>
                    <a:pt x="154" y="20"/>
                  </a:lnTo>
                  <a:lnTo>
                    <a:pt x="132" y="18"/>
                  </a:lnTo>
                  <a:lnTo>
                    <a:pt x="132" y="1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37" name="Rectangle 34">
              <a:extLst>
                <a:ext uri="{FF2B5EF4-FFF2-40B4-BE49-F238E27FC236}">
                  <a16:creationId xmlns:a16="http://schemas.microsoft.com/office/drawing/2014/main" id="{C68DAC08-8CBA-263A-3FB5-A686CF8B416F}"/>
                </a:ext>
              </a:extLst>
            </p:cNvPr>
            <p:cNvSpPr>
              <a:spLocks noChangeArrowheads="1"/>
            </p:cNvSpPr>
            <p:nvPr/>
          </p:nvSpPr>
          <p:spPr bwMode="auto">
            <a:xfrm>
              <a:off x="6089650" y="2333625"/>
              <a:ext cx="28575" cy="889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38" name="Freeform 35">
              <a:extLst>
                <a:ext uri="{FF2B5EF4-FFF2-40B4-BE49-F238E27FC236}">
                  <a16:creationId xmlns:a16="http://schemas.microsoft.com/office/drawing/2014/main" id="{C0CE362C-6F95-EEAD-C5A8-7363C8A49BC7}"/>
                </a:ext>
              </a:extLst>
            </p:cNvPr>
            <p:cNvSpPr>
              <a:spLocks/>
            </p:cNvSpPr>
            <p:nvPr/>
          </p:nvSpPr>
          <p:spPr bwMode="auto">
            <a:xfrm>
              <a:off x="5156200" y="1336675"/>
              <a:ext cx="962025" cy="1165225"/>
            </a:xfrm>
            <a:custGeom>
              <a:avLst/>
              <a:gdLst>
                <a:gd name="T0" fmla="*/ 18 w 606"/>
                <a:gd name="T1" fmla="*/ 734 h 734"/>
                <a:gd name="T2" fmla="*/ 0 w 606"/>
                <a:gd name="T3" fmla="*/ 734 h 734"/>
                <a:gd name="T4" fmla="*/ 0 w 606"/>
                <a:gd name="T5" fmla="*/ 82 h 734"/>
                <a:gd name="T6" fmla="*/ 0 w 606"/>
                <a:gd name="T7" fmla="*/ 82 h 734"/>
                <a:gd name="T8" fmla="*/ 2 w 606"/>
                <a:gd name="T9" fmla="*/ 66 h 734"/>
                <a:gd name="T10" fmla="*/ 6 w 606"/>
                <a:gd name="T11" fmla="*/ 50 h 734"/>
                <a:gd name="T12" fmla="*/ 14 w 606"/>
                <a:gd name="T13" fmla="*/ 36 h 734"/>
                <a:gd name="T14" fmla="*/ 24 w 606"/>
                <a:gd name="T15" fmla="*/ 24 h 734"/>
                <a:gd name="T16" fmla="*/ 36 w 606"/>
                <a:gd name="T17" fmla="*/ 14 h 734"/>
                <a:gd name="T18" fmla="*/ 50 w 606"/>
                <a:gd name="T19" fmla="*/ 6 h 734"/>
                <a:gd name="T20" fmla="*/ 64 w 606"/>
                <a:gd name="T21" fmla="*/ 2 h 734"/>
                <a:gd name="T22" fmla="*/ 82 w 606"/>
                <a:gd name="T23" fmla="*/ 0 h 734"/>
                <a:gd name="T24" fmla="*/ 606 w 606"/>
                <a:gd name="T25" fmla="*/ 0 h 734"/>
                <a:gd name="T26" fmla="*/ 606 w 606"/>
                <a:gd name="T27" fmla="*/ 90 h 734"/>
                <a:gd name="T28" fmla="*/ 588 w 606"/>
                <a:gd name="T29" fmla="*/ 90 h 734"/>
                <a:gd name="T30" fmla="*/ 588 w 606"/>
                <a:gd name="T31" fmla="*/ 18 h 734"/>
                <a:gd name="T32" fmla="*/ 82 w 606"/>
                <a:gd name="T33" fmla="*/ 18 h 734"/>
                <a:gd name="T34" fmla="*/ 82 w 606"/>
                <a:gd name="T35" fmla="*/ 18 h 734"/>
                <a:gd name="T36" fmla="*/ 68 w 606"/>
                <a:gd name="T37" fmla="*/ 20 h 734"/>
                <a:gd name="T38" fmla="*/ 56 w 606"/>
                <a:gd name="T39" fmla="*/ 24 h 734"/>
                <a:gd name="T40" fmla="*/ 46 w 606"/>
                <a:gd name="T41" fmla="*/ 30 h 734"/>
                <a:gd name="T42" fmla="*/ 36 w 606"/>
                <a:gd name="T43" fmla="*/ 38 h 734"/>
                <a:gd name="T44" fmla="*/ 28 w 606"/>
                <a:gd name="T45" fmla="*/ 46 h 734"/>
                <a:gd name="T46" fmla="*/ 22 w 606"/>
                <a:gd name="T47" fmla="*/ 58 h 734"/>
                <a:gd name="T48" fmla="*/ 20 w 606"/>
                <a:gd name="T49" fmla="*/ 70 h 734"/>
                <a:gd name="T50" fmla="*/ 18 w 606"/>
                <a:gd name="T51" fmla="*/ 82 h 734"/>
                <a:gd name="T52" fmla="*/ 18 w 606"/>
                <a:gd name="T53" fmla="*/ 73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6" h="734">
                  <a:moveTo>
                    <a:pt x="18" y="734"/>
                  </a:moveTo>
                  <a:lnTo>
                    <a:pt x="0" y="734"/>
                  </a:lnTo>
                  <a:lnTo>
                    <a:pt x="0" y="82"/>
                  </a:lnTo>
                  <a:lnTo>
                    <a:pt x="0" y="82"/>
                  </a:lnTo>
                  <a:lnTo>
                    <a:pt x="2" y="66"/>
                  </a:lnTo>
                  <a:lnTo>
                    <a:pt x="6" y="50"/>
                  </a:lnTo>
                  <a:lnTo>
                    <a:pt x="14" y="36"/>
                  </a:lnTo>
                  <a:lnTo>
                    <a:pt x="24" y="24"/>
                  </a:lnTo>
                  <a:lnTo>
                    <a:pt x="36" y="14"/>
                  </a:lnTo>
                  <a:lnTo>
                    <a:pt x="50" y="6"/>
                  </a:lnTo>
                  <a:lnTo>
                    <a:pt x="64" y="2"/>
                  </a:lnTo>
                  <a:lnTo>
                    <a:pt x="82" y="0"/>
                  </a:lnTo>
                  <a:lnTo>
                    <a:pt x="606" y="0"/>
                  </a:lnTo>
                  <a:lnTo>
                    <a:pt x="606" y="90"/>
                  </a:lnTo>
                  <a:lnTo>
                    <a:pt x="588" y="90"/>
                  </a:lnTo>
                  <a:lnTo>
                    <a:pt x="588" y="18"/>
                  </a:lnTo>
                  <a:lnTo>
                    <a:pt x="82" y="18"/>
                  </a:lnTo>
                  <a:lnTo>
                    <a:pt x="82" y="18"/>
                  </a:lnTo>
                  <a:lnTo>
                    <a:pt x="68" y="20"/>
                  </a:lnTo>
                  <a:lnTo>
                    <a:pt x="56" y="24"/>
                  </a:lnTo>
                  <a:lnTo>
                    <a:pt x="46" y="30"/>
                  </a:lnTo>
                  <a:lnTo>
                    <a:pt x="36" y="38"/>
                  </a:lnTo>
                  <a:lnTo>
                    <a:pt x="28" y="46"/>
                  </a:lnTo>
                  <a:lnTo>
                    <a:pt x="22" y="58"/>
                  </a:lnTo>
                  <a:lnTo>
                    <a:pt x="20" y="70"/>
                  </a:lnTo>
                  <a:lnTo>
                    <a:pt x="18" y="82"/>
                  </a:lnTo>
                  <a:lnTo>
                    <a:pt x="18" y="734"/>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39" name="Freeform 36">
              <a:extLst>
                <a:ext uri="{FF2B5EF4-FFF2-40B4-BE49-F238E27FC236}">
                  <a16:creationId xmlns:a16="http://schemas.microsoft.com/office/drawing/2014/main" id="{07611008-ADAB-9980-DB1E-791CE0EEFFCC}"/>
                </a:ext>
              </a:extLst>
            </p:cNvPr>
            <p:cNvSpPr>
              <a:spLocks/>
            </p:cNvSpPr>
            <p:nvPr/>
          </p:nvSpPr>
          <p:spPr bwMode="auto">
            <a:xfrm>
              <a:off x="5153025" y="2393950"/>
              <a:ext cx="965200" cy="184150"/>
            </a:xfrm>
            <a:custGeom>
              <a:avLst/>
              <a:gdLst>
                <a:gd name="T0" fmla="*/ 608 w 608"/>
                <a:gd name="T1" fmla="*/ 116 h 116"/>
                <a:gd name="T2" fmla="*/ 60 w 608"/>
                <a:gd name="T3" fmla="*/ 116 h 116"/>
                <a:gd name="T4" fmla="*/ 60 w 608"/>
                <a:gd name="T5" fmla="*/ 116 h 116"/>
                <a:gd name="T6" fmla="*/ 48 w 608"/>
                <a:gd name="T7" fmla="*/ 116 h 116"/>
                <a:gd name="T8" fmla="*/ 36 w 608"/>
                <a:gd name="T9" fmla="*/ 112 h 116"/>
                <a:gd name="T10" fmla="*/ 26 w 608"/>
                <a:gd name="T11" fmla="*/ 106 h 116"/>
                <a:gd name="T12" fmla="*/ 18 w 608"/>
                <a:gd name="T13" fmla="*/ 100 h 116"/>
                <a:gd name="T14" fmla="*/ 10 w 608"/>
                <a:gd name="T15" fmla="*/ 90 h 116"/>
                <a:gd name="T16" fmla="*/ 6 w 608"/>
                <a:gd name="T17" fmla="*/ 80 h 116"/>
                <a:gd name="T18" fmla="*/ 2 w 608"/>
                <a:gd name="T19" fmla="*/ 70 h 116"/>
                <a:gd name="T20" fmla="*/ 0 w 608"/>
                <a:gd name="T21" fmla="*/ 58 h 116"/>
                <a:gd name="T22" fmla="*/ 0 w 608"/>
                <a:gd name="T23" fmla="*/ 58 h 116"/>
                <a:gd name="T24" fmla="*/ 2 w 608"/>
                <a:gd name="T25" fmla="*/ 46 h 116"/>
                <a:gd name="T26" fmla="*/ 6 w 608"/>
                <a:gd name="T27" fmla="*/ 36 h 116"/>
                <a:gd name="T28" fmla="*/ 10 w 608"/>
                <a:gd name="T29" fmla="*/ 26 h 116"/>
                <a:gd name="T30" fmla="*/ 18 w 608"/>
                <a:gd name="T31" fmla="*/ 16 h 116"/>
                <a:gd name="T32" fmla="*/ 26 w 608"/>
                <a:gd name="T33" fmla="*/ 10 h 116"/>
                <a:gd name="T34" fmla="*/ 36 w 608"/>
                <a:gd name="T35" fmla="*/ 4 h 116"/>
                <a:gd name="T36" fmla="*/ 48 w 608"/>
                <a:gd name="T37" fmla="*/ 0 h 116"/>
                <a:gd name="T38" fmla="*/ 60 w 608"/>
                <a:gd name="T39" fmla="*/ 0 h 116"/>
                <a:gd name="T40" fmla="*/ 608 w 608"/>
                <a:gd name="T41" fmla="*/ 0 h 116"/>
                <a:gd name="T42" fmla="*/ 608 w 608"/>
                <a:gd name="T43" fmla="*/ 18 h 116"/>
                <a:gd name="T44" fmla="*/ 60 w 608"/>
                <a:gd name="T45" fmla="*/ 18 h 116"/>
                <a:gd name="T46" fmla="*/ 60 w 608"/>
                <a:gd name="T47" fmla="*/ 18 h 116"/>
                <a:gd name="T48" fmla="*/ 52 w 608"/>
                <a:gd name="T49" fmla="*/ 18 h 116"/>
                <a:gd name="T50" fmla="*/ 44 w 608"/>
                <a:gd name="T51" fmla="*/ 20 h 116"/>
                <a:gd name="T52" fmla="*/ 36 w 608"/>
                <a:gd name="T53" fmla="*/ 24 h 116"/>
                <a:gd name="T54" fmla="*/ 30 w 608"/>
                <a:gd name="T55" fmla="*/ 30 h 116"/>
                <a:gd name="T56" fmla="*/ 26 w 608"/>
                <a:gd name="T57" fmla="*/ 36 h 116"/>
                <a:gd name="T58" fmla="*/ 22 w 608"/>
                <a:gd name="T59" fmla="*/ 42 h 116"/>
                <a:gd name="T60" fmla="*/ 20 w 608"/>
                <a:gd name="T61" fmla="*/ 50 h 116"/>
                <a:gd name="T62" fmla="*/ 18 w 608"/>
                <a:gd name="T63" fmla="*/ 58 h 116"/>
                <a:gd name="T64" fmla="*/ 18 w 608"/>
                <a:gd name="T65" fmla="*/ 58 h 116"/>
                <a:gd name="T66" fmla="*/ 20 w 608"/>
                <a:gd name="T67" fmla="*/ 66 h 116"/>
                <a:gd name="T68" fmla="*/ 22 w 608"/>
                <a:gd name="T69" fmla="*/ 74 h 116"/>
                <a:gd name="T70" fmla="*/ 26 w 608"/>
                <a:gd name="T71" fmla="*/ 80 h 116"/>
                <a:gd name="T72" fmla="*/ 30 w 608"/>
                <a:gd name="T73" fmla="*/ 86 h 116"/>
                <a:gd name="T74" fmla="*/ 36 w 608"/>
                <a:gd name="T75" fmla="*/ 92 h 116"/>
                <a:gd name="T76" fmla="*/ 44 w 608"/>
                <a:gd name="T77" fmla="*/ 96 h 116"/>
                <a:gd name="T78" fmla="*/ 52 w 608"/>
                <a:gd name="T79" fmla="*/ 98 h 116"/>
                <a:gd name="T80" fmla="*/ 60 w 608"/>
                <a:gd name="T81" fmla="*/ 98 h 116"/>
                <a:gd name="T82" fmla="*/ 608 w 608"/>
                <a:gd name="T83" fmla="*/ 98 h 116"/>
                <a:gd name="T84" fmla="*/ 608 w 608"/>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8" h="116">
                  <a:moveTo>
                    <a:pt x="608" y="116"/>
                  </a:moveTo>
                  <a:lnTo>
                    <a:pt x="60" y="116"/>
                  </a:lnTo>
                  <a:lnTo>
                    <a:pt x="60" y="116"/>
                  </a:lnTo>
                  <a:lnTo>
                    <a:pt x="48" y="116"/>
                  </a:lnTo>
                  <a:lnTo>
                    <a:pt x="36" y="112"/>
                  </a:lnTo>
                  <a:lnTo>
                    <a:pt x="26" y="106"/>
                  </a:lnTo>
                  <a:lnTo>
                    <a:pt x="18" y="100"/>
                  </a:lnTo>
                  <a:lnTo>
                    <a:pt x="10" y="90"/>
                  </a:lnTo>
                  <a:lnTo>
                    <a:pt x="6" y="80"/>
                  </a:lnTo>
                  <a:lnTo>
                    <a:pt x="2" y="70"/>
                  </a:lnTo>
                  <a:lnTo>
                    <a:pt x="0" y="58"/>
                  </a:lnTo>
                  <a:lnTo>
                    <a:pt x="0" y="58"/>
                  </a:lnTo>
                  <a:lnTo>
                    <a:pt x="2" y="46"/>
                  </a:lnTo>
                  <a:lnTo>
                    <a:pt x="6" y="36"/>
                  </a:lnTo>
                  <a:lnTo>
                    <a:pt x="10" y="26"/>
                  </a:lnTo>
                  <a:lnTo>
                    <a:pt x="18" y="16"/>
                  </a:lnTo>
                  <a:lnTo>
                    <a:pt x="26" y="10"/>
                  </a:lnTo>
                  <a:lnTo>
                    <a:pt x="36" y="4"/>
                  </a:lnTo>
                  <a:lnTo>
                    <a:pt x="48" y="0"/>
                  </a:lnTo>
                  <a:lnTo>
                    <a:pt x="60" y="0"/>
                  </a:lnTo>
                  <a:lnTo>
                    <a:pt x="608" y="0"/>
                  </a:lnTo>
                  <a:lnTo>
                    <a:pt x="608" y="18"/>
                  </a:lnTo>
                  <a:lnTo>
                    <a:pt x="60" y="18"/>
                  </a:lnTo>
                  <a:lnTo>
                    <a:pt x="60" y="18"/>
                  </a:lnTo>
                  <a:lnTo>
                    <a:pt x="52" y="18"/>
                  </a:lnTo>
                  <a:lnTo>
                    <a:pt x="44" y="20"/>
                  </a:lnTo>
                  <a:lnTo>
                    <a:pt x="36" y="24"/>
                  </a:lnTo>
                  <a:lnTo>
                    <a:pt x="30" y="30"/>
                  </a:lnTo>
                  <a:lnTo>
                    <a:pt x="26" y="36"/>
                  </a:lnTo>
                  <a:lnTo>
                    <a:pt x="22" y="42"/>
                  </a:lnTo>
                  <a:lnTo>
                    <a:pt x="20" y="50"/>
                  </a:lnTo>
                  <a:lnTo>
                    <a:pt x="18" y="58"/>
                  </a:lnTo>
                  <a:lnTo>
                    <a:pt x="18" y="58"/>
                  </a:lnTo>
                  <a:lnTo>
                    <a:pt x="20" y="66"/>
                  </a:lnTo>
                  <a:lnTo>
                    <a:pt x="22" y="74"/>
                  </a:lnTo>
                  <a:lnTo>
                    <a:pt x="26" y="80"/>
                  </a:lnTo>
                  <a:lnTo>
                    <a:pt x="30" y="86"/>
                  </a:lnTo>
                  <a:lnTo>
                    <a:pt x="36" y="92"/>
                  </a:lnTo>
                  <a:lnTo>
                    <a:pt x="44" y="96"/>
                  </a:lnTo>
                  <a:lnTo>
                    <a:pt x="52" y="98"/>
                  </a:lnTo>
                  <a:lnTo>
                    <a:pt x="60" y="98"/>
                  </a:lnTo>
                  <a:lnTo>
                    <a:pt x="608" y="98"/>
                  </a:lnTo>
                  <a:lnTo>
                    <a:pt x="608" y="116"/>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0" name="Rectangle 37">
              <a:extLst>
                <a:ext uri="{FF2B5EF4-FFF2-40B4-BE49-F238E27FC236}">
                  <a16:creationId xmlns:a16="http://schemas.microsoft.com/office/drawing/2014/main" id="{97B7D131-7C5F-E671-935F-AD96FAC06CCE}"/>
                </a:ext>
              </a:extLst>
            </p:cNvPr>
            <p:cNvSpPr>
              <a:spLocks noChangeArrowheads="1"/>
            </p:cNvSpPr>
            <p:nvPr/>
          </p:nvSpPr>
          <p:spPr bwMode="auto">
            <a:xfrm>
              <a:off x="5238750" y="2473325"/>
              <a:ext cx="87947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1" name="Freeform 38">
              <a:extLst>
                <a:ext uri="{FF2B5EF4-FFF2-40B4-BE49-F238E27FC236}">
                  <a16:creationId xmlns:a16="http://schemas.microsoft.com/office/drawing/2014/main" id="{876D7459-FD92-8E44-BA80-A34415A81B9B}"/>
                </a:ext>
              </a:extLst>
            </p:cNvPr>
            <p:cNvSpPr>
              <a:spLocks/>
            </p:cNvSpPr>
            <p:nvPr/>
          </p:nvSpPr>
          <p:spPr bwMode="auto">
            <a:xfrm>
              <a:off x="6003925" y="1889125"/>
              <a:ext cx="203200" cy="82550"/>
            </a:xfrm>
            <a:custGeom>
              <a:avLst/>
              <a:gdLst>
                <a:gd name="T0" fmla="*/ 110 w 128"/>
                <a:gd name="T1" fmla="*/ 52 h 52"/>
                <a:gd name="T2" fmla="*/ 18 w 128"/>
                <a:gd name="T3" fmla="*/ 52 h 52"/>
                <a:gd name="T4" fmla="*/ 18 w 128"/>
                <a:gd name="T5" fmla="*/ 52 h 52"/>
                <a:gd name="T6" fmla="*/ 10 w 128"/>
                <a:gd name="T7" fmla="*/ 52 h 52"/>
                <a:gd name="T8" fmla="*/ 4 w 128"/>
                <a:gd name="T9" fmla="*/ 48 h 52"/>
                <a:gd name="T10" fmla="*/ 0 w 128"/>
                <a:gd name="T11" fmla="*/ 42 h 52"/>
                <a:gd name="T12" fmla="*/ 0 w 128"/>
                <a:gd name="T13" fmla="*/ 34 h 52"/>
                <a:gd name="T14" fmla="*/ 0 w 128"/>
                <a:gd name="T15" fmla="*/ 0 h 52"/>
                <a:gd name="T16" fmla="*/ 18 w 128"/>
                <a:gd name="T17" fmla="*/ 0 h 52"/>
                <a:gd name="T18" fmla="*/ 18 w 128"/>
                <a:gd name="T19" fmla="*/ 34 h 52"/>
                <a:gd name="T20" fmla="*/ 110 w 128"/>
                <a:gd name="T21" fmla="*/ 34 h 52"/>
                <a:gd name="T22" fmla="*/ 110 w 128"/>
                <a:gd name="T23" fmla="*/ 0 h 52"/>
                <a:gd name="T24" fmla="*/ 128 w 128"/>
                <a:gd name="T25" fmla="*/ 0 h 52"/>
                <a:gd name="T26" fmla="*/ 128 w 128"/>
                <a:gd name="T27" fmla="*/ 34 h 52"/>
                <a:gd name="T28" fmla="*/ 128 w 128"/>
                <a:gd name="T29" fmla="*/ 34 h 52"/>
                <a:gd name="T30" fmla="*/ 126 w 128"/>
                <a:gd name="T31" fmla="*/ 42 h 52"/>
                <a:gd name="T32" fmla="*/ 122 w 128"/>
                <a:gd name="T33" fmla="*/ 48 h 52"/>
                <a:gd name="T34" fmla="*/ 116 w 128"/>
                <a:gd name="T35" fmla="*/ 52 h 52"/>
                <a:gd name="T36" fmla="*/ 110 w 128"/>
                <a:gd name="T37" fmla="*/ 52 h 52"/>
                <a:gd name="T38" fmla="*/ 110 w 128"/>
                <a:gd name="T3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52">
                  <a:moveTo>
                    <a:pt x="110" y="52"/>
                  </a:moveTo>
                  <a:lnTo>
                    <a:pt x="18" y="52"/>
                  </a:lnTo>
                  <a:lnTo>
                    <a:pt x="18" y="52"/>
                  </a:lnTo>
                  <a:lnTo>
                    <a:pt x="10" y="52"/>
                  </a:lnTo>
                  <a:lnTo>
                    <a:pt x="4" y="48"/>
                  </a:lnTo>
                  <a:lnTo>
                    <a:pt x="0" y="42"/>
                  </a:lnTo>
                  <a:lnTo>
                    <a:pt x="0" y="34"/>
                  </a:lnTo>
                  <a:lnTo>
                    <a:pt x="0" y="0"/>
                  </a:lnTo>
                  <a:lnTo>
                    <a:pt x="18" y="0"/>
                  </a:lnTo>
                  <a:lnTo>
                    <a:pt x="18" y="34"/>
                  </a:lnTo>
                  <a:lnTo>
                    <a:pt x="110" y="34"/>
                  </a:lnTo>
                  <a:lnTo>
                    <a:pt x="110" y="0"/>
                  </a:lnTo>
                  <a:lnTo>
                    <a:pt x="128" y="0"/>
                  </a:lnTo>
                  <a:lnTo>
                    <a:pt x="128" y="34"/>
                  </a:lnTo>
                  <a:lnTo>
                    <a:pt x="128" y="34"/>
                  </a:lnTo>
                  <a:lnTo>
                    <a:pt x="126" y="42"/>
                  </a:lnTo>
                  <a:lnTo>
                    <a:pt x="122" y="48"/>
                  </a:lnTo>
                  <a:lnTo>
                    <a:pt x="116" y="52"/>
                  </a:lnTo>
                  <a:lnTo>
                    <a:pt x="110" y="52"/>
                  </a:lnTo>
                  <a:lnTo>
                    <a:pt x="110" y="52"/>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2" name="Freeform 39">
              <a:extLst>
                <a:ext uri="{FF2B5EF4-FFF2-40B4-BE49-F238E27FC236}">
                  <a16:creationId xmlns:a16="http://schemas.microsoft.com/office/drawing/2014/main" id="{F2E0F9BF-5073-65FB-1F93-2FF203A67C09}"/>
                </a:ext>
              </a:extLst>
            </p:cNvPr>
            <p:cNvSpPr>
              <a:spLocks noEditPoints="1"/>
            </p:cNvSpPr>
            <p:nvPr/>
          </p:nvSpPr>
          <p:spPr bwMode="auto">
            <a:xfrm>
              <a:off x="6045200" y="1943100"/>
              <a:ext cx="117475" cy="377825"/>
            </a:xfrm>
            <a:custGeom>
              <a:avLst/>
              <a:gdLst>
                <a:gd name="T0" fmla="*/ 38 w 74"/>
                <a:gd name="T1" fmla="*/ 238 h 238"/>
                <a:gd name="T2" fmla="*/ 38 w 74"/>
                <a:gd name="T3" fmla="*/ 238 h 238"/>
                <a:gd name="T4" fmla="*/ 30 w 74"/>
                <a:gd name="T5" fmla="*/ 236 h 238"/>
                <a:gd name="T6" fmla="*/ 22 w 74"/>
                <a:gd name="T7" fmla="*/ 234 h 238"/>
                <a:gd name="T8" fmla="*/ 16 w 74"/>
                <a:gd name="T9" fmla="*/ 230 h 238"/>
                <a:gd name="T10" fmla="*/ 10 w 74"/>
                <a:gd name="T11" fmla="*/ 226 h 238"/>
                <a:gd name="T12" fmla="*/ 6 w 74"/>
                <a:gd name="T13" fmla="*/ 220 h 238"/>
                <a:gd name="T14" fmla="*/ 2 w 74"/>
                <a:gd name="T15" fmla="*/ 214 h 238"/>
                <a:gd name="T16" fmla="*/ 0 w 74"/>
                <a:gd name="T17" fmla="*/ 208 h 238"/>
                <a:gd name="T18" fmla="*/ 0 w 74"/>
                <a:gd name="T19" fmla="*/ 200 h 238"/>
                <a:gd name="T20" fmla="*/ 0 w 74"/>
                <a:gd name="T21" fmla="*/ 0 h 238"/>
                <a:gd name="T22" fmla="*/ 74 w 74"/>
                <a:gd name="T23" fmla="*/ 0 h 238"/>
                <a:gd name="T24" fmla="*/ 74 w 74"/>
                <a:gd name="T25" fmla="*/ 200 h 238"/>
                <a:gd name="T26" fmla="*/ 74 w 74"/>
                <a:gd name="T27" fmla="*/ 200 h 238"/>
                <a:gd name="T28" fmla="*/ 74 w 74"/>
                <a:gd name="T29" fmla="*/ 208 h 238"/>
                <a:gd name="T30" fmla="*/ 72 w 74"/>
                <a:gd name="T31" fmla="*/ 214 h 238"/>
                <a:gd name="T32" fmla="*/ 68 w 74"/>
                <a:gd name="T33" fmla="*/ 220 h 238"/>
                <a:gd name="T34" fmla="*/ 64 w 74"/>
                <a:gd name="T35" fmla="*/ 226 h 238"/>
                <a:gd name="T36" fmla="*/ 58 w 74"/>
                <a:gd name="T37" fmla="*/ 230 h 238"/>
                <a:gd name="T38" fmla="*/ 52 w 74"/>
                <a:gd name="T39" fmla="*/ 234 h 238"/>
                <a:gd name="T40" fmla="*/ 44 w 74"/>
                <a:gd name="T41" fmla="*/ 236 h 238"/>
                <a:gd name="T42" fmla="*/ 38 w 74"/>
                <a:gd name="T43" fmla="*/ 238 h 238"/>
                <a:gd name="T44" fmla="*/ 38 w 74"/>
                <a:gd name="T45" fmla="*/ 238 h 238"/>
                <a:gd name="T46" fmla="*/ 18 w 74"/>
                <a:gd name="T47" fmla="*/ 18 h 238"/>
                <a:gd name="T48" fmla="*/ 18 w 74"/>
                <a:gd name="T49" fmla="*/ 200 h 238"/>
                <a:gd name="T50" fmla="*/ 18 w 74"/>
                <a:gd name="T51" fmla="*/ 200 h 238"/>
                <a:gd name="T52" fmla="*/ 20 w 74"/>
                <a:gd name="T53" fmla="*/ 208 h 238"/>
                <a:gd name="T54" fmla="*/ 24 w 74"/>
                <a:gd name="T55" fmla="*/ 214 h 238"/>
                <a:gd name="T56" fmla="*/ 30 w 74"/>
                <a:gd name="T57" fmla="*/ 218 h 238"/>
                <a:gd name="T58" fmla="*/ 38 w 74"/>
                <a:gd name="T59" fmla="*/ 220 h 238"/>
                <a:gd name="T60" fmla="*/ 38 w 74"/>
                <a:gd name="T61" fmla="*/ 220 h 238"/>
                <a:gd name="T62" fmla="*/ 44 w 74"/>
                <a:gd name="T63" fmla="*/ 218 h 238"/>
                <a:gd name="T64" fmla="*/ 52 w 74"/>
                <a:gd name="T65" fmla="*/ 214 h 238"/>
                <a:gd name="T66" fmla="*/ 56 w 74"/>
                <a:gd name="T67" fmla="*/ 208 h 238"/>
                <a:gd name="T68" fmla="*/ 56 w 74"/>
                <a:gd name="T69" fmla="*/ 200 h 238"/>
                <a:gd name="T70" fmla="*/ 56 w 74"/>
                <a:gd name="T71" fmla="*/ 18 h 238"/>
                <a:gd name="T72" fmla="*/ 18 w 74"/>
                <a:gd name="T73" fmla="*/ 1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238">
                  <a:moveTo>
                    <a:pt x="38" y="238"/>
                  </a:moveTo>
                  <a:lnTo>
                    <a:pt x="38" y="238"/>
                  </a:lnTo>
                  <a:lnTo>
                    <a:pt x="30" y="236"/>
                  </a:lnTo>
                  <a:lnTo>
                    <a:pt x="22" y="234"/>
                  </a:lnTo>
                  <a:lnTo>
                    <a:pt x="16" y="230"/>
                  </a:lnTo>
                  <a:lnTo>
                    <a:pt x="10" y="226"/>
                  </a:lnTo>
                  <a:lnTo>
                    <a:pt x="6" y="220"/>
                  </a:lnTo>
                  <a:lnTo>
                    <a:pt x="2" y="214"/>
                  </a:lnTo>
                  <a:lnTo>
                    <a:pt x="0" y="208"/>
                  </a:lnTo>
                  <a:lnTo>
                    <a:pt x="0" y="200"/>
                  </a:lnTo>
                  <a:lnTo>
                    <a:pt x="0" y="0"/>
                  </a:lnTo>
                  <a:lnTo>
                    <a:pt x="74" y="0"/>
                  </a:lnTo>
                  <a:lnTo>
                    <a:pt x="74" y="200"/>
                  </a:lnTo>
                  <a:lnTo>
                    <a:pt x="74" y="200"/>
                  </a:lnTo>
                  <a:lnTo>
                    <a:pt x="74" y="208"/>
                  </a:lnTo>
                  <a:lnTo>
                    <a:pt x="72" y="214"/>
                  </a:lnTo>
                  <a:lnTo>
                    <a:pt x="68" y="220"/>
                  </a:lnTo>
                  <a:lnTo>
                    <a:pt x="64" y="226"/>
                  </a:lnTo>
                  <a:lnTo>
                    <a:pt x="58" y="230"/>
                  </a:lnTo>
                  <a:lnTo>
                    <a:pt x="52" y="234"/>
                  </a:lnTo>
                  <a:lnTo>
                    <a:pt x="44" y="236"/>
                  </a:lnTo>
                  <a:lnTo>
                    <a:pt x="38" y="238"/>
                  </a:lnTo>
                  <a:lnTo>
                    <a:pt x="38" y="238"/>
                  </a:lnTo>
                  <a:close/>
                  <a:moveTo>
                    <a:pt x="18" y="18"/>
                  </a:moveTo>
                  <a:lnTo>
                    <a:pt x="18" y="200"/>
                  </a:lnTo>
                  <a:lnTo>
                    <a:pt x="18" y="200"/>
                  </a:lnTo>
                  <a:lnTo>
                    <a:pt x="20" y="208"/>
                  </a:lnTo>
                  <a:lnTo>
                    <a:pt x="24" y="214"/>
                  </a:lnTo>
                  <a:lnTo>
                    <a:pt x="30" y="218"/>
                  </a:lnTo>
                  <a:lnTo>
                    <a:pt x="38" y="220"/>
                  </a:lnTo>
                  <a:lnTo>
                    <a:pt x="38" y="220"/>
                  </a:lnTo>
                  <a:lnTo>
                    <a:pt x="44" y="218"/>
                  </a:lnTo>
                  <a:lnTo>
                    <a:pt x="52" y="214"/>
                  </a:lnTo>
                  <a:lnTo>
                    <a:pt x="56" y="208"/>
                  </a:lnTo>
                  <a:lnTo>
                    <a:pt x="56" y="200"/>
                  </a:lnTo>
                  <a:lnTo>
                    <a:pt x="56" y="18"/>
                  </a:lnTo>
                  <a:lnTo>
                    <a:pt x="18" y="1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3" name="Rectangle 40">
              <a:extLst>
                <a:ext uri="{FF2B5EF4-FFF2-40B4-BE49-F238E27FC236}">
                  <a16:creationId xmlns:a16="http://schemas.microsoft.com/office/drawing/2014/main" id="{68E126E3-DAE2-2B8E-39C3-91047B759F1D}"/>
                </a:ext>
              </a:extLst>
            </p:cNvPr>
            <p:cNvSpPr>
              <a:spLocks noChangeArrowheads="1"/>
            </p:cNvSpPr>
            <p:nvPr/>
          </p:nvSpPr>
          <p:spPr bwMode="auto">
            <a:xfrm>
              <a:off x="6089650" y="1606550"/>
              <a:ext cx="28575" cy="1619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4" name="Rectangle 41">
              <a:extLst>
                <a:ext uri="{FF2B5EF4-FFF2-40B4-BE49-F238E27FC236}">
                  <a16:creationId xmlns:a16="http://schemas.microsoft.com/office/drawing/2014/main" id="{5D02FA70-4A3F-3E02-6E7E-9F60DA39D224}"/>
                </a:ext>
              </a:extLst>
            </p:cNvPr>
            <p:cNvSpPr>
              <a:spLocks noChangeArrowheads="1"/>
            </p:cNvSpPr>
            <p:nvPr/>
          </p:nvSpPr>
          <p:spPr bwMode="auto">
            <a:xfrm>
              <a:off x="6089650" y="1790700"/>
              <a:ext cx="2857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5" name="Rectangle 42">
              <a:extLst>
                <a:ext uri="{FF2B5EF4-FFF2-40B4-BE49-F238E27FC236}">
                  <a16:creationId xmlns:a16="http://schemas.microsoft.com/office/drawing/2014/main" id="{B556EE25-1BBA-4542-1F85-0A128EDAF048}"/>
                </a:ext>
              </a:extLst>
            </p:cNvPr>
            <p:cNvSpPr>
              <a:spLocks noChangeArrowheads="1"/>
            </p:cNvSpPr>
            <p:nvPr/>
          </p:nvSpPr>
          <p:spPr bwMode="auto">
            <a:xfrm>
              <a:off x="5273675" y="1336675"/>
              <a:ext cx="28575" cy="10858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6" name="Rectangle 43">
              <a:extLst>
                <a:ext uri="{FF2B5EF4-FFF2-40B4-BE49-F238E27FC236}">
                  <a16:creationId xmlns:a16="http://schemas.microsoft.com/office/drawing/2014/main" id="{647BA7F7-2861-30D4-F966-7ECF78C925CF}"/>
                </a:ext>
              </a:extLst>
            </p:cNvPr>
            <p:cNvSpPr>
              <a:spLocks noChangeArrowheads="1"/>
            </p:cNvSpPr>
            <p:nvPr/>
          </p:nvSpPr>
          <p:spPr bwMode="auto">
            <a:xfrm>
              <a:off x="5391150" y="1625600"/>
              <a:ext cx="44132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7" name="Rectangle 44">
              <a:extLst>
                <a:ext uri="{FF2B5EF4-FFF2-40B4-BE49-F238E27FC236}">
                  <a16:creationId xmlns:a16="http://schemas.microsoft.com/office/drawing/2014/main" id="{77FCF54E-6566-3EF9-4005-6CD5EDFF1928}"/>
                </a:ext>
              </a:extLst>
            </p:cNvPr>
            <p:cNvSpPr>
              <a:spLocks noChangeArrowheads="1"/>
            </p:cNvSpPr>
            <p:nvPr/>
          </p:nvSpPr>
          <p:spPr bwMode="auto">
            <a:xfrm>
              <a:off x="5391150" y="1533525"/>
              <a:ext cx="527050"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8" name="Rectangle 45">
              <a:extLst>
                <a:ext uri="{FF2B5EF4-FFF2-40B4-BE49-F238E27FC236}">
                  <a16:creationId xmlns:a16="http://schemas.microsoft.com/office/drawing/2014/main" id="{D89868BA-8927-82DC-7E44-E386B362144C}"/>
                </a:ext>
              </a:extLst>
            </p:cNvPr>
            <p:cNvSpPr>
              <a:spLocks noChangeArrowheads="1"/>
            </p:cNvSpPr>
            <p:nvPr/>
          </p:nvSpPr>
          <p:spPr bwMode="auto">
            <a:xfrm>
              <a:off x="5391150" y="1714500"/>
              <a:ext cx="44132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49" name="Rectangle 46">
              <a:extLst>
                <a:ext uri="{FF2B5EF4-FFF2-40B4-BE49-F238E27FC236}">
                  <a16:creationId xmlns:a16="http://schemas.microsoft.com/office/drawing/2014/main" id="{990C084D-3C56-5B54-01C0-D5D47B6CA617}"/>
                </a:ext>
              </a:extLst>
            </p:cNvPr>
            <p:cNvSpPr>
              <a:spLocks noChangeArrowheads="1"/>
            </p:cNvSpPr>
            <p:nvPr/>
          </p:nvSpPr>
          <p:spPr bwMode="auto">
            <a:xfrm>
              <a:off x="5391150" y="1806575"/>
              <a:ext cx="44132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0" name="Rectangle 47">
              <a:extLst>
                <a:ext uri="{FF2B5EF4-FFF2-40B4-BE49-F238E27FC236}">
                  <a16:creationId xmlns:a16="http://schemas.microsoft.com/office/drawing/2014/main" id="{4A759D98-38C6-96CC-3EFE-3600C582941E}"/>
                </a:ext>
              </a:extLst>
            </p:cNvPr>
            <p:cNvSpPr>
              <a:spLocks noChangeArrowheads="1"/>
            </p:cNvSpPr>
            <p:nvPr/>
          </p:nvSpPr>
          <p:spPr bwMode="auto">
            <a:xfrm>
              <a:off x="5391150" y="1895475"/>
              <a:ext cx="527050"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grpSp>
      <p:grpSp>
        <p:nvGrpSpPr>
          <p:cNvPr id="51" name="Group 50">
            <a:extLst>
              <a:ext uri="{FF2B5EF4-FFF2-40B4-BE49-F238E27FC236}">
                <a16:creationId xmlns:a16="http://schemas.microsoft.com/office/drawing/2014/main" id="{57BC80A2-DC33-BA5C-31AE-0DA213397605}"/>
              </a:ext>
            </a:extLst>
          </p:cNvPr>
          <p:cNvGrpSpPr/>
          <p:nvPr/>
        </p:nvGrpSpPr>
        <p:grpSpPr>
          <a:xfrm>
            <a:off x="9819679" y="2652892"/>
            <a:ext cx="915961" cy="783377"/>
            <a:chOff x="930275" y="4827588"/>
            <a:chExt cx="1177925" cy="1181100"/>
          </a:xfrm>
          <a:solidFill>
            <a:srgbClr val="F6F6FA"/>
          </a:solidFill>
        </p:grpSpPr>
        <p:sp>
          <p:nvSpPr>
            <p:cNvPr id="52" name="Freeform 5">
              <a:extLst>
                <a:ext uri="{FF2B5EF4-FFF2-40B4-BE49-F238E27FC236}">
                  <a16:creationId xmlns:a16="http://schemas.microsoft.com/office/drawing/2014/main" id="{4FE5D4B4-BE23-7C62-8347-509C49E51FD1}"/>
                </a:ext>
              </a:extLst>
            </p:cNvPr>
            <p:cNvSpPr>
              <a:spLocks noEditPoints="1"/>
            </p:cNvSpPr>
            <p:nvPr/>
          </p:nvSpPr>
          <p:spPr bwMode="auto">
            <a:xfrm>
              <a:off x="1143000" y="4827588"/>
              <a:ext cx="965200" cy="971550"/>
            </a:xfrm>
            <a:custGeom>
              <a:avLst/>
              <a:gdLst>
                <a:gd name="T0" fmla="*/ 0 w 608"/>
                <a:gd name="T1" fmla="*/ 492 h 612"/>
                <a:gd name="T2" fmla="*/ 142 w 608"/>
                <a:gd name="T3" fmla="*/ 294 h 612"/>
                <a:gd name="T4" fmla="*/ 156 w 608"/>
                <a:gd name="T5" fmla="*/ 276 h 612"/>
                <a:gd name="T6" fmla="*/ 258 w 608"/>
                <a:gd name="T7" fmla="*/ 166 h 612"/>
                <a:gd name="T8" fmla="*/ 290 w 608"/>
                <a:gd name="T9" fmla="*/ 132 h 612"/>
                <a:gd name="T10" fmla="*/ 340 w 608"/>
                <a:gd name="T11" fmla="*/ 90 h 612"/>
                <a:gd name="T12" fmla="*/ 394 w 608"/>
                <a:gd name="T13" fmla="*/ 54 h 612"/>
                <a:gd name="T14" fmla="*/ 452 w 608"/>
                <a:gd name="T15" fmla="*/ 28 h 612"/>
                <a:gd name="T16" fmla="*/ 512 w 608"/>
                <a:gd name="T17" fmla="*/ 10 h 612"/>
                <a:gd name="T18" fmla="*/ 540 w 608"/>
                <a:gd name="T19" fmla="*/ 4 h 612"/>
                <a:gd name="T20" fmla="*/ 576 w 608"/>
                <a:gd name="T21" fmla="*/ 0 h 612"/>
                <a:gd name="T22" fmla="*/ 594 w 608"/>
                <a:gd name="T23" fmla="*/ 6 h 612"/>
                <a:gd name="T24" fmla="*/ 600 w 608"/>
                <a:gd name="T25" fmla="*/ 10 h 612"/>
                <a:gd name="T26" fmla="*/ 604 w 608"/>
                <a:gd name="T27" fmla="*/ 16 h 612"/>
                <a:gd name="T28" fmla="*/ 608 w 608"/>
                <a:gd name="T29" fmla="*/ 30 h 612"/>
                <a:gd name="T30" fmla="*/ 608 w 608"/>
                <a:gd name="T31" fmla="*/ 70 h 612"/>
                <a:gd name="T32" fmla="*/ 602 w 608"/>
                <a:gd name="T33" fmla="*/ 98 h 612"/>
                <a:gd name="T34" fmla="*/ 584 w 608"/>
                <a:gd name="T35" fmla="*/ 160 h 612"/>
                <a:gd name="T36" fmla="*/ 558 w 608"/>
                <a:gd name="T37" fmla="*/ 218 h 612"/>
                <a:gd name="T38" fmla="*/ 522 w 608"/>
                <a:gd name="T39" fmla="*/ 272 h 612"/>
                <a:gd name="T40" fmla="*/ 478 w 608"/>
                <a:gd name="T41" fmla="*/ 322 h 612"/>
                <a:gd name="T42" fmla="*/ 440 w 608"/>
                <a:gd name="T43" fmla="*/ 360 h 612"/>
                <a:gd name="T44" fmla="*/ 338 w 608"/>
                <a:gd name="T45" fmla="*/ 452 h 612"/>
                <a:gd name="T46" fmla="*/ 326 w 608"/>
                <a:gd name="T47" fmla="*/ 462 h 612"/>
                <a:gd name="T48" fmla="*/ 24 w 608"/>
                <a:gd name="T49" fmla="*/ 490 h 612"/>
                <a:gd name="T50" fmla="*/ 316 w 608"/>
                <a:gd name="T51" fmla="*/ 448 h 612"/>
                <a:gd name="T52" fmla="*/ 328 w 608"/>
                <a:gd name="T53" fmla="*/ 438 h 612"/>
                <a:gd name="T54" fmla="*/ 378 w 608"/>
                <a:gd name="T55" fmla="*/ 394 h 612"/>
                <a:gd name="T56" fmla="*/ 466 w 608"/>
                <a:gd name="T57" fmla="*/ 308 h 612"/>
                <a:gd name="T58" fmla="*/ 488 w 608"/>
                <a:gd name="T59" fmla="*/ 286 h 612"/>
                <a:gd name="T60" fmla="*/ 526 w 608"/>
                <a:gd name="T61" fmla="*/ 236 h 612"/>
                <a:gd name="T62" fmla="*/ 556 w 608"/>
                <a:gd name="T63" fmla="*/ 182 h 612"/>
                <a:gd name="T64" fmla="*/ 576 w 608"/>
                <a:gd name="T65" fmla="*/ 124 h 612"/>
                <a:gd name="T66" fmla="*/ 584 w 608"/>
                <a:gd name="T67" fmla="*/ 94 h 612"/>
                <a:gd name="T68" fmla="*/ 590 w 608"/>
                <a:gd name="T69" fmla="*/ 58 h 612"/>
                <a:gd name="T70" fmla="*/ 590 w 608"/>
                <a:gd name="T71" fmla="*/ 30 h 612"/>
                <a:gd name="T72" fmla="*/ 594 w 608"/>
                <a:gd name="T73" fmla="*/ 18 h 612"/>
                <a:gd name="T74" fmla="*/ 588 w 608"/>
                <a:gd name="T75" fmla="*/ 24 h 612"/>
                <a:gd name="T76" fmla="*/ 584 w 608"/>
                <a:gd name="T77" fmla="*/ 20 h 612"/>
                <a:gd name="T78" fmla="*/ 558 w 608"/>
                <a:gd name="T79" fmla="*/ 20 h 612"/>
                <a:gd name="T80" fmla="*/ 516 w 608"/>
                <a:gd name="T81" fmla="*/ 26 h 612"/>
                <a:gd name="T82" fmla="*/ 488 w 608"/>
                <a:gd name="T83" fmla="*/ 34 h 612"/>
                <a:gd name="T84" fmla="*/ 430 w 608"/>
                <a:gd name="T85" fmla="*/ 56 h 612"/>
                <a:gd name="T86" fmla="*/ 376 w 608"/>
                <a:gd name="T87" fmla="*/ 86 h 612"/>
                <a:gd name="T88" fmla="*/ 326 w 608"/>
                <a:gd name="T89" fmla="*/ 124 h 612"/>
                <a:gd name="T90" fmla="*/ 270 w 608"/>
                <a:gd name="T91" fmla="*/ 178 h 612"/>
                <a:gd name="T92" fmla="*/ 218 w 608"/>
                <a:gd name="T93" fmla="*/ 232 h 612"/>
                <a:gd name="T94" fmla="*/ 170 w 608"/>
                <a:gd name="T95" fmla="*/ 288 h 612"/>
                <a:gd name="T96" fmla="*/ 24 w 608"/>
                <a:gd name="T97" fmla="*/ 49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8" h="612">
                  <a:moveTo>
                    <a:pt x="120" y="612"/>
                  </a:moveTo>
                  <a:lnTo>
                    <a:pt x="0" y="492"/>
                  </a:lnTo>
                  <a:lnTo>
                    <a:pt x="142" y="294"/>
                  </a:lnTo>
                  <a:lnTo>
                    <a:pt x="142" y="294"/>
                  </a:lnTo>
                  <a:lnTo>
                    <a:pt x="156" y="276"/>
                  </a:lnTo>
                  <a:lnTo>
                    <a:pt x="156" y="276"/>
                  </a:lnTo>
                  <a:lnTo>
                    <a:pt x="206" y="220"/>
                  </a:lnTo>
                  <a:lnTo>
                    <a:pt x="258" y="166"/>
                  </a:lnTo>
                  <a:lnTo>
                    <a:pt x="290" y="132"/>
                  </a:lnTo>
                  <a:lnTo>
                    <a:pt x="290" y="132"/>
                  </a:lnTo>
                  <a:lnTo>
                    <a:pt x="314" y="110"/>
                  </a:lnTo>
                  <a:lnTo>
                    <a:pt x="340" y="90"/>
                  </a:lnTo>
                  <a:lnTo>
                    <a:pt x="366" y="70"/>
                  </a:lnTo>
                  <a:lnTo>
                    <a:pt x="394" y="54"/>
                  </a:lnTo>
                  <a:lnTo>
                    <a:pt x="422" y="40"/>
                  </a:lnTo>
                  <a:lnTo>
                    <a:pt x="452" y="28"/>
                  </a:lnTo>
                  <a:lnTo>
                    <a:pt x="482" y="18"/>
                  </a:lnTo>
                  <a:lnTo>
                    <a:pt x="512" y="10"/>
                  </a:lnTo>
                  <a:lnTo>
                    <a:pt x="512" y="10"/>
                  </a:lnTo>
                  <a:lnTo>
                    <a:pt x="540" y="4"/>
                  </a:lnTo>
                  <a:lnTo>
                    <a:pt x="564" y="0"/>
                  </a:lnTo>
                  <a:lnTo>
                    <a:pt x="576" y="0"/>
                  </a:lnTo>
                  <a:lnTo>
                    <a:pt x="586" y="2"/>
                  </a:lnTo>
                  <a:lnTo>
                    <a:pt x="594" y="6"/>
                  </a:lnTo>
                  <a:lnTo>
                    <a:pt x="600" y="10"/>
                  </a:lnTo>
                  <a:lnTo>
                    <a:pt x="600" y="10"/>
                  </a:lnTo>
                  <a:lnTo>
                    <a:pt x="600" y="10"/>
                  </a:lnTo>
                  <a:lnTo>
                    <a:pt x="604" y="16"/>
                  </a:lnTo>
                  <a:lnTo>
                    <a:pt x="604" y="16"/>
                  </a:lnTo>
                  <a:lnTo>
                    <a:pt x="608" y="30"/>
                  </a:lnTo>
                  <a:lnTo>
                    <a:pt x="608" y="48"/>
                  </a:lnTo>
                  <a:lnTo>
                    <a:pt x="608" y="70"/>
                  </a:lnTo>
                  <a:lnTo>
                    <a:pt x="602" y="98"/>
                  </a:lnTo>
                  <a:lnTo>
                    <a:pt x="602" y="98"/>
                  </a:lnTo>
                  <a:lnTo>
                    <a:pt x="594" y="130"/>
                  </a:lnTo>
                  <a:lnTo>
                    <a:pt x="584" y="160"/>
                  </a:lnTo>
                  <a:lnTo>
                    <a:pt x="572" y="188"/>
                  </a:lnTo>
                  <a:lnTo>
                    <a:pt x="558" y="218"/>
                  </a:lnTo>
                  <a:lnTo>
                    <a:pt x="540" y="246"/>
                  </a:lnTo>
                  <a:lnTo>
                    <a:pt x="522" y="272"/>
                  </a:lnTo>
                  <a:lnTo>
                    <a:pt x="502" y="298"/>
                  </a:lnTo>
                  <a:lnTo>
                    <a:pt x="478" y="322"/>
                  </a:lnTo>
                  <a:lnTo>
                    <a:pt x="440" y="360"/>
                  </a:lnTo>
                  <a:lnTo>
                    <a:pt x="440" y="360"/>
                  </a:lnTo>
                  <a:lnTo>
                    <a:pt x="390" y="408"/>
                  </a:lnTo>
                  <a:lnTo>
                    <a:pt x="338" y="452"/>
                  </a:lnTo>
                  <a:lnTo>
                    <a:pt x="338" y="452"/>
                  </a:lnTo>
                  <a:lnTo>
                    <a:pt x="326" y="462"/>
                  </a:lnTo>
                  <a:lnTo>
                    <a:pt x="120" y="612"/>
                  </a:lnTo>
                  <a:close/>
                  <a:moveTo>
                    <a:pt x="24" y="490"/>
                  </a:moveTo>
                  <a:lnTo>
                    <a:pt x="122" y="588"/>
                  </a:lnTo>
                  <a:lnTo>
                    <a:pt x="316" y="448"/>
                  </a:lnTo>
                  <a:lnTo>
                    <a:pt x="316" y="448"/>
                  </a:lnTo>
                  <a:lnTo>
                    <a:pt x="328" y="438"/>
                  </a:lnTo>
                  <a:lnTo>
                    <a:pt x="328" y="438"/>
                  </a:lnTo>
                  <a:lnTo>
                    <a:pt x="378" y="394"/>
                  </a:lnTo>
                  <a:lnTo>
                    <a:pt x="428" y="348"/>
                  </a:lnTo>
                  <a:lnTo>
                    <a:pt x="466" y="308"/>
                  </a:lnTo>
                  <a:lnTo>
                    <a:pt x="466" y="308"/>
                  </a:lnTo>
                  <a:lnTo>
                    <a:pt x="488" y="286"/>
                  </a:lnTo>
                  <a:lnTo>
                    <a:pt x="508" y="260"/>
                  </a:lnTo>
                  <a:lnTo>
                    <a:pt x="526" y="236"/>
                  </a:lnTo>
                  <a:lnTo>
                    <a:pt x="542" y="208"/>
                  </a:lnTo>
                  <a:lnTo>
                    <a:pt x="556" y="182"/>
                  </a:lnTo>
                  <a:lnTo>
                    <a:pt x="568" y="154"/>
                  </a:lnTo>
                  <a:lnTo>
                    <a:pt x="576" y="124"/>
                  </a:lnTo>
                  <a:lnTo>
                    <a:pt x="584" y="94"/>
                  </a:lnTo>
                  <a:lnTo>
                    <a:pt x="584" y="94"/>
                  </a:lnTo>
                  <a:lnTo>
                    <a:pt x="588" y="76"/>
                  </a:lnTo>
                  <a:lnTo>
                    <a:pt x="590" y="58"/>
                  </a:lnTo>
                  <a:lnTo>
                    <a:pt x="590" y="38"/>
                  </a:lnTo>
                  <a:lnTo>
                    <a:pt x="590" y="30"/>
                  </a:lnTo>
                  <a:lnTo>
                    <a:pt x="588" y="24"/>
                  </a:lnTo>
                  <a:lnTo>
                    <a:pt x="594" y="18"/>
                  </a:lnTo>
                  <a:lnTo>
                    <a:pt x="592" y="20"/>
                  </a:lnTo>
                  <a:lnTo>
                    <a:pt x="588" y="24"/>
                  </a:lnTo>
                  <a:lnTo>
                    <a:pt x="588" y="24"/>
                  </a:lnTo>
                  <a:lnTo>
                    <a:pt x="584" y="20"/>
                  </a:lnTo>
                  <a:lnTo>
                    <a:pt x="576" y="18"/>
                  </a:lnTo>
                  <a:lnTo>
                    <a:pt x="558" y="20"/>
                  </a:lnTo>
                  <a:lnTo>
                    <a:pt x="538" y="22"/>
                  </a:lnTo>
                  <a:lnTo>
                    <a:pt x="516" y="26"/>
                  </a:lnTo>
                  <a:lnTo>
                    <a:pt x="516" y="26"/>
                  </a:lnTo>
                  <a:lnTo>
                    <a:pt x="488" y="34"/>
                  </a:lnTo>
                  <a:lnTo>
                    <a:pt x="458" y="44"/>
                  </a:lnTo>
                  <a:lnTo>
                    <a:pt x="430" y="56"/>
                  </a:lnTo>
                  <a:lnTo>
                    <a:pt x="402" y="70"/>
                  </a:lnTo>
                  <a:lnTo>
                    <a:pt x="376" y="86"/>
                  </a:lnTo>
                  <a:lnTo>
                    <a:pt x="350" y="104"/>
                  </a:lnTo>
                  <a:lnTo>
                    <a:pt x="326" y="124"/>
                  </a:lnTo>
                  <a:lnTo>
                    <a:pt x="302" y="146"/>
                  </a:lnTo>
                  <a:lnTo>
                    <a:pt x="270" y="178"/>
                  </a:lnTo>
                  <a:lnTo>
                    <a:pt x="270" y="178"/>
                  </a:lnTo>
                  <a:lnTo>
                    <a:pt x="218" y="232"/>
                  </a:lnTo>
                  <a:lnTo>
                    <a:pt x="170" y="288"/>
                  </a:lnTo>
                  <a:lnTo>
                    <a:pt x="170" y="288"/>
                  </a:lnTo>
                  <a:lnTo>
                    <a:pt x="156" y="306"/>
                  </a:lnTo>
                  <a:lnTo>
                    <a:pt x="24" y="490"/>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3" name="Freeform 6">
              <a:extLst>
                <a:ext uri="{FF2B5EF4-FFF2-40B4-BE49-F238E27FC236}">
                  <a16:creationId xmlns:a16="http://schemas.microsoft.com/office/drawing/2014/main" id="{78156961-70FE-3F7C-E24C-28C2A2AA42CD}"/>
                </a:ext>
              </a:extLst>
            </p:cNvPr>
            <p:cNvSpPr>
              <a:spLocks/>
            </p:cNvSpPr>
            <p:nvPr/>
          </p:nvSpPr>
          <p:spPr bwMode="auto">
            <a:xfrm>
              <a:off x="1143000" y="5389563"/>
              <a:ext cx="406400" cy="409575"/>
            </a:xfrm>
            <a:custGeom>
              <a:avLst/>
              <a:gdLst>
                <a:gd name="T0" fmla="*/ 12 w 256"/>
                <a:gd name="T1" fmla="*/ 258 h 258"/>
                <a:gd name="T2" fmla="*/ 0 w 256"/>
                <a:gd name="T3" fmla="*/ 244 h 258"/>
                <a:gd name="T4" fmla="*/ 244 w 256"/>
                <a:gd name="T5" fmla="*/ 0 h 258"/>
                <a:gd name="T6" fmla="*/ 256 w 256"/>
                <a:gd name="T7" fmla="*/ 14 h 258"/>
                <a:gd name="T8" fmla="*/ 12 w 256"/>
                <a:gd name="T9" fmla="*/ 258 h 258"/>
              </a:gdLst>
              <a:ahLst/>
              <a:cxnLst>
                <a:cxn ang="0">
                  <a:pos x="T0" y="T1"/>
                </a:cxn>
                <a:cxn ang="0">
                  <a:pos x="T2" y="T3"/>
                </a:cxn>
                <a:cxn ang="0">
                  <a:pos x="T4" y="T5"/>
                </a:cxn>
                <a:cxn ang="0">
                  <a:pos x="T6" y="T7"/>
                </a:cxn>
                <a:cxn ang="0">
                  <a:pos x="T8" y="T9"/>
                </a:cxn>
              </a:cxnLst>
              <a:rect l="0" t="0" r="r" b="b"/>
              <a:pathLst>
                <a:path w="256" h="258">
                  <a:moveTo>
                    <a:pt x="12" y="258"/>
                  </a:moveTo>
                  <a:lnTo>
                    <a:pt x="0" y="244"/>
                  </a:lnTo>
                  <a:lnTo>
                    <a:pt x="244" y="0"/>
                  </a:lnTo>
                  <a:lnTo>
                    <a:pt x="256" y="14"/>
                  </a:lnTo>
                  <a:lnTo>
                    <a:pt x="12" y="25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4" name="Freeform 7">
              <a:extLst>
                <a:ext uri="{FF2B5EF4-FFF2-40B4-BE49-F238E27FC236}">
                  <a16:creationId xmlns:a16="http://schemas.microsoft.com/office/drawing/2014/main" id="{9ADE8B5B-27F5-3D40-063B-F1B95BC69CE1}"/>
                </a:ext>
              </a:extLst>
            </p:cNvPr>
            <p:cNvSpPr>
              <a:spLocks noEditPoints="1"/>
            </p:cNvSpPr>
            <p:nvPr/>
          </p:nvSpPr>
          <p:spPr bwMode="auto">
            <a:xfrm>
              <a:off x="930275" y="5684838"/>
              <a:ext cx="323850" cy="323850"/>
            </a:xfrm>
            <a:custGeom>
              <a:avLst/>
              <a:gdLst>
                <a:gd name="T0" fmla="*/ 2 w 204"/>
                <a:gd name="T1" fmla="*/ 194 h 204"/>
                <a:gd name="T2" fmla="*/ 4 w 204"/>
                <a:gd name="T3" fmla="*/ 172 h 204"/>
                <a:gd name="T4" fmla="*/ 18 w 204"/>
                <a:gd name="T5" fmla="*/ 100 h 204"/>
                <a:gd name="T6" fmla="*/ 36 w 204"/>
                <a:gd name="T7" fmla="*/ 52 h 204"/>
                <a:gd name="T8" fmla="*/ 50 w 204"/>
                <a:gd name="T9" fmla="*/ 34 h 204"/>
                <a:gd name="T10" fmla="*/ 64 w 204"/>
                <a:gd name="T11" fmla="*/ 22 h 204"/>
                <a:gd name="T12" fmla="*/ 100 w 204"/>
                <a:gd name="T13" fmla="*/ 4 h 204"/>
                <a:gd name="T14" fmla="*/ 118 w 204"/>
                <a:gd name="T15" fmla="*/ 0 h 204"/>
                <a:gd name="T16" fmla="*/ 154 w 204"/>
                <a:gd name="T17" fmla="*/ 4 h 204"/>
                <a:gd name="T18" fmla="*/ 184 w 204"/>
                <a:gd name="T19" fmla="*/ 22 h 204"/>
                <a:gd name="T20" fmla="*/ 194 w 204"/>
                <a:gd name="T21" fmla="*/ 36 h 204"/>
                <a:gd name="T22" fmla="*/ 204 w 204"/>
                <a:gd name="T23" fmla="*/ 68 h 204"/>
                <a:gd name="T24" fmla="*/ 202 w 204"/>
                <a:gd name="T25" fmla="*/ 104 h 204"/>
                <a:gd name="T26" fmla="*/ 184 w 204"/>
                <a:gd name="T27" fmla="*/ 140 h 204"/>
                <a:gd name="T28" fmla="*/ 170 w 204"/>
                <a:gd name="T29" fmla="*/ 156 h 204"/>
                <a:gd name="T30" fmla="*/ 152 w 204"/>
                <a:gd name="T31" fmla="*/ 168 h 204"/>
                <a:gd name="T32" fmla="*/ 104 w 204"/>
                <a:gd name="T33" fmla="*/ 188 h 204"/>
                <a:gd name="T34" fmla="*/ 32 w 204"/>
                <a:gd name="T35" fmla="*/ 202 h 204"/>
                <a:gd name="T36" fmla="*/ 0 w 204"/>
                <a:gd name="T37" fmla="*/ 204 h 204"/>
                <a:gd name="T38" fmla="*/ 128 w 204"/>
                <a:gd name="T39" fmla="*/ 18 h 204"/>
                <a:gd name="T40" fmla="*/ 120 w 204"/>
                <a:gd name="T41" fmla="*/ 18 h 204"/>
                <a:gd name="T42" fmla="*/ 90 w 204"/>
                <a:gd name="T43" fmla="*/ 28 h 204"/>
                <a:gd name="T44" fmla="*/ 62 w 204"/>
                <a:gd name="T45" fmla="*/ 48 h 204"/>
                <a:gd name="T46" fmla="*/ 52 w 204"/>
                <a:gd name="T47" fmla="*/ 60 h 204"/>
                <a:gd name="T48" fmla="*/ 38 w 204"/>
                <a:gd name="T49" fmla="*/ 96 h 204"/>
                <a:gd name="T50" fmla="*/ 24 w 204"/>
                <a:gd name="T51" fmla="*/ 154 h 204"/>
                <a:gd name="T52" fmla="*/ 20 w 204"/>
                <a:gd name="T53" fmla="*/ 184 h 204"/>
                <a:gd name="T54" fmla="*/ 90 w 204"/>
                <a:gd name="T55" fmla="*/ 174 h 204"/>
                <a:gd name="T56" fmla="*/ 128 w 204"/>
                <a:gd name="T57" fmla="*/ 160 h 204"/>
                <a:gd name="T58" fmla="*/ 158 w 204"/>
                <a:gd name="T59" fmla="*/ 142 h 204"/>
                <a:gd name="T60" fmla="*/ 170 w 204"/>
                <a:gd name="T61" fmla="*/ 130 h 204"/>
                <a:gd name="T62" fmla="*/ 184 w 204"/>
                <a:gd name="T63" fmla="*/ 100 h 204"/>
                <a:gd name="T64" fmla="*/ 186 w 204"/>
                <a:gd name="T65" fmla="*/ 72 h 204"/>
                <a:gd name="T66" fmla="*/ 180 w 204"/>
                <a:gd name="T67" fmla="*/ 46 h 204"/>
                <a:gd name="T68" fmla="*/ 170 w 204"/>
                <a:gd name="T69" fmla="*/ 34 h 204"/>
                <a:gd name="T70" fmla="*/ 152 w 204"/>
                <a:gd name="T71" fmla="*/ 22 h 204"/>
                <a:gd name="T72" fmla="*/ 128 w 204"/>
                <a:gd name="T73" fmla="*/ 1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204">
                  <a:moveTo>
                    <a:pt x="0" y="204"/>
                  </a:moveTo>
                  <a:lnTo>
                    <a:pt x="2" y="194"/>
                  </a:lnTo>
                  <a:lnTo>
                    <a:pt x="2" y="194"/>
                  </a:lnTo>
                  <a:lnTo>
                    <a:pt x="4" y="172"/>
                  </a:lnTo>
                  <a:lnTo>
                    <a:pt x="12" y="128"/>
                  </a:lnTo>
                  <a:lnTo>
                    <a:pt x="18" y="100"/>
                  </a:lnTo>
                  <a:lnTo>
                    <a:pt x="26" y="76"/>
                  </a:lnTo>
                  <a:lnTo>
                    <a:pt x="36" y="52"/>
                  </a:lnTo>
                  <a:lnTo>
                    <a:pt x="42" y="42"/>
                  </a:lnTo>
                  <a:lnTo>
                    <a:pt x="50" y="34"/>
                  </a:lnTo>
                  <a:lnTo>
                    <a:pt x="50" y="34"/>
                  </a:lnTo>
                  <a:lnTo>
                    <a:pt x="64" y="22"/>
                  </a:lnTo>
                  <a:lnTo>
                    <a:pt x="82" y="12"/>
                  </a:lnTo>
                  <a:lnTo>
                    <a:pt x="100" y="4"/>
                  </a:lnTo>
                  <a:lnTo>
                    <a:pt x="118" y="0"/>
                  </a:lnTo>
                  <a:lnTo>
                    <a:pt x="118" y="0"/>
                  </a:lnTo>
                  <a:lnTo>
                    <a:pt x="136" y="0"/>
                  </a:lnTo>
                  <a:lnTo>
                    <a:pt x="154" y="4"/>
                  </a:lnTo>
                  <a:lnTo>
                    <a:pt x="170" y="12"/>
                  </a:lnTo>
                  <a:lnTo>
                    <a:pt x="184" y="22"/>
                  </a:lnTo>
                  <a:lnTo>
                    <a:pt x="184" y="22"/>
                  </a:lnTo>
                  <a:lnTo>
                    <a:pt x="194" y="36"/>
                  </a:lnTo>
                  <a:lnTo>
                    <a:pt x="202" y="52"/>
                  </a:lnTo>
                  <a:lnTo>
                    <a:pt x="204" y="68"/>
                  </a:lnTo>
                  <a:lnTo>
                    <a:pt x="204" y="86"/>
                  </a:lnTo>
                  <a:lnTo>
                    <a:pt x="202" y="104"/>
                  </a:lnTo>
                  <a:lnTo>
                    <a:pt x="194" y="122"/>
                  </a:lnTo>
                  <a:lnTo>
                    <a:pt x="184" y="140"/>
                  </a:lnTo>
                  <a:lnTo>
                    <a:pt x="170" y="156"/>
                  </a:lnTo>
                  <a:lnTo>
                    <a:pt x="170" y="156"/>
                  </a:lnTo>
                  <a:lnTo>
                    <a:pt x="162" y="162"/>
                  </a:lnTo>
                  <a:lnTo>
                    <a:pt x="152" y="168"/>
                  </a:lnTo>
                  <a:lnTo>
                    <a:pt x="130" y="180"/>
                  </a:lnTo>
                  <a:lnTo>
                    <a:pt x="104" y="188"/>
                  </a:lnTo>
                  <a:lnTo>
                    <a:pt x="78" y="194"/>
                  </a:lnTo>
                  <a:lnTo>
                    <a:pt x="32" y="202"/>
                  </a:lnTo>
                  <a:lnTo>
                    <a:pt x="12" y="204"/>
                  </a:lnTo>
                  <a:lnTo>
                    <a:pt x="0" y="204"/>
                  </a:lnTo>
                  <a:close/>
                  <a:moveTo>
                    <a:pt x="128" y="18"/>
                  </a:moveTo>
                  <a:lnTo>
                    <a:pt x="128" y="18"/>
                  </a:lnTo>
                  <a:lnTo>
                    <a:pt x="120" y="18"/>
                  </a:lnTo>
                  <a:lnTo>
                    <a:pt x="120" y="18"/>
                  </a:lnTo>
                  <a:lnTo>
                    <a:pt x="104" y="22"/>
                  </a:lnTo>
                  <a:lnTo>
                    <a:pt x="90" y="28"/>
                  </a:lnTo>
                  <a:lnTo>
                    <a:pt x="76" y="36"/>
                  </a:lnTo>
                  <a:lnTo>
                    <a:pt x="62" y="48"/>
                  </a:lnTo>
                  <a:lnTo>
                    <a:pt x="62" y="48"/>
                  </a:lnTo>
                  <a:lnTo>
                    <a:pt x="52" y="60"/>
                  </a:lnTo>
                  <a:lnTo>
                    <a:pt x="44" y="76"/>
                  </a:lnTo>
                  <a:lnTo>
                    <a:pt x="38" y="96"/>
                  </a:lnTo>
                  <a:lnTo>
                    <a:pt x="32" y="116"/>
                  </a:lnTo>
                  <a:lnTo>
                    <a:pt x="24" y="154"/>
                  </a:lnTo>
                  <a:lnTo>
                    <a:pt x="20" y="184"/>
                  </a:lnTo>
                  <a:lnTo>
                    <a:pt x="20" y="184"/>
                  </a:lnTo>
                  <a:lnTo>
                    <a:pt x="50" y="180"/>
                  </a:lnTo>
                  <a:lnTo>
                    <a:pt x="90" y="174"/>
                  </a:lnTo>
                  <a:lnTo>
                    <a:pt x="110" y="168"/>
                  </a:lnTo>
                  <a:lnTo>
                    <a:pt x="128" y="160"/>
                  </a:lnTo>
                  <a:lnTo>
                    <a:pt x="146" y="152"/>
                  </a:lnTo>
                  <a:lnTo>
                    <a:pt x="158" y="142"/>
                  </a:lnTo>
                  <a:lnTo>
                    <a:pt x="158" y="142"/>
                  </a:lnTo>
                  <a:lnTo>
                    <a:pt x="170" y="130"/>
                  </a:lnTo>
                  <a:lnTo>
                    <a:pt x="178" y="116"/>
                  </a:lnTo>
                  <a:lnTo>
                    <a:pt x="184" y="100"/>
                  </a:lnTo>
                  <a:lnTo>
                    <a:pt x="186" y="86"/>
                  </a:lnTo>
                  <a:lnTo>
                    <a:pt x="186" y="72"/>
                  </a:lnTo>
                  <a:lnTo>
                    <a:pt x="184" y="58"/>
                  </a:lnTo>
                  <a:lnTo>
                    <a:pt x="180" y="46"/>
                  </a:lnTo>
                  <a:lnTo>
                    <a:pt x="170" y="34"/>
                  </a:lnTo>
                  <a:lnTo>
                    <a:pt x="170" y="34"/>
                  </a:lnTo>
                  <a:lnTo>
                    <a:pt x="162" y="28"/>
                  </a:lnTo>
                  <a:lnTo>
                    <a:pt x="152" y="22"/>
                  </a:lnTo>
                  <a:lnTo>
                    <a:pt x="140" y="20"/>
                  </a:lnTo>
                  <a:lnTo>
                    <a:pt x="128" y="18"/>
                  </a:lnTo>
                  <a:lnTo>
                    <a:pt x="128" y="1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5" name="Freeform 8">
              <a:extLst>
                <a:ext uri="{FF2B5EF4-FFF2-40B4-BE49-F238E27FC236}">
                  <a16:creationId xmlns:a16="http://schemas.microsoft.com/office/drawing/2014/main" id="{D89A6071-FB7F-20C7-3301-61271C50DF8C}"/>
                </a:ext>
              </a:extLst>
            </p:cNvPr>
            <p:cNvSpPr>
              <a:spLocks noEditPoints="1"/>
            </p:cNvSpPr>
            <p:nvPr/>
          </p:nvSpPr>
          <p:spPr bwMode="auto">
            <a:xfrm>
              <a:off x="1574800" y="5110163"/>
              <a:ext cx="257175" cy="257175"/>
            </a:xfrm>
            <a:custGeom>
              <a:avLst/>
              <a:gdLst>
                <a:gd name="T0" fmla="*/ 80 w 162"/>
                <a:gd name="T1" fmla="*/ 162 h 162"/>
                <a:gd name="T2" fmla="*/ 50 w 162"/>
                <a:gd name="T3" fmla="*/ 156 h 162"/>
                <a:gd name="T4" fmla="*/ 24 w 162"/>
                <a:gd name="T5" fmla="*/ 138 h 162"/>
                <a:gd name="T6" fmla="*/ 14 w 162"/>
                <a:gd name="T7" fmla="*/ 126 h 162"/>
                <a:gd name="T8" fmla="*/ 2 w 162"/>
                <a:gd name="T9" fmla="*/ 96 h 162"/>
                <a:gd name="T10" fmla="*/ 0 w 162"/>
                <a:gd name="T11" fmla="*/ 80 h 162"/>
                <a:gd name="T12" fmla="*/ 6 w 162"/>
                <a:gd name="T13" fmla="*/ 50 h 162"/>
                <a:gd name="T14" fmla="*/ 24 w 162"/>
                <a:gd name="T15" fmla="*/ 24 h 162"/>
                <a:gd name="T16" fmla="*/ 36 w 162"/>
                <a:gd name="T17" fmla="*/ 14 h 162"/>
                <a:gd name="T18" fmla="*/ 64 w 162"/>
                <a:gd name="T19" fmla="*/ 2 h 162"/>
                <a:gd name="T20" fmla="*/ 80 w 162"/>
                <a:gd name="T21" fmla="*/ 0 h 162"/>
                <a:gd name="T22" fmla="*/ 112 w 162"/>
                <a:gd name="T23" fmla="*/ 6 h 162"/>
                <a:gd name="T24" fmla="*/ 138 w 162"/>
                <a:gd name="T25" fmla="*/ 24 h 162"/>
                <a:gd name="T26" fmla="*/ 148 w 162"/>
                <a:gd name="T27" fmla="*/ 36 h 162"/>
                <a:gd name="T28" fmla="*/ 160 w 162"/>
                <a:gd name="T29" fmla="*/ 64 h 162"/>
                <a:gd name="T30" fmla="*/ 162 w 162"/>
                <a:gd name="T31" fmla="*/ 80 h 162"/>
                <a:gd name="T32" fmla="*/ 156 w 162"/>
                <a:gd name="T33" fmla="*/ 112 h 162"/>
                <a:gd name="T34" fmla="*/ 138 w 162"/>
                <a:gd name="T35" fmla="*/ 138 h 162"/>
                <a:gd name="T36" fmla="*/ 124 w 162"/>
                <a:gd name="T37" fmla="*/ 148 h 162"/>
                <a:gd name="T38" fmla="*/ 96 w 162"/>
                <a:gd name="T39" fmla="*/ 160 h 162"/>
                <a:gd name="T40" fmla="*/ 80 w 162"/>
                <a:gd name="T41" fmla="*/ 162 h 162"/>
                <a:gd name="T42" fmla="*/ 80 w 162"/>
                <a:gd name="T43" fmla="*/ 18 h 162"/>
                <a:gd name="T44" fmla="*/ 56 w 162"/>
                <a:gd name="T45" fmla="*/ 22 h 162"/>
                <a:gd name="T46" fmla="*/ 36 w 162"/>
                <a:gd name="T47" fmla="*/ 36 h 162"/>
                <a:gd name="T48" fmla="*/ 28 w 162"/>
                <a:gd name="T49" fmla="*/ 46 h 162"/>
                <a:gd name="T50" fmla="*/ 18 w 162"/>
                <a:gd name="T51" fmla="*/ 68 h 162"/>
                <a:gd name="T52" fmla="*/ 18 w 162"/>
                <a:gd name="T53" fmla="*/ 80 h 162"/>
                <a:gd name="T54" fmla="*/ 22 w 162"/>
                <a:gd name="T55" fmla="*/ 104 h 162"/>
                <a:gd name="T56" fmla="*/ 36 w 162"/>
                <a:gd name="T57" fmla="*/ 126 h 162"/>
                <a:gd name="T58" fmla="*/ 46 w 162"/>
                <a:gd name="T59" fmla="*/ 134 h 162"/>
                <a:gd name="T60" fmla="*/ 68 w 162"/>
                <a:gd name="T61" fmla="*/ 142 h 162"/>
                <a:gd name="T62" fmla="*/ 92 w 162"/>
                <a:gd name="T63" fmla="*/ 142 h 162"/>
                <a:gd name="T64" fmla="*/ 116 w 162"/>
                <a:gd name="T65" fmla="*/ 134 h 162"/>
                <a:gd name="T66" fmla="*/ 124 w 162"/>
                <a:gd name="T67" fmla="*/ 126 h 162"/>
                <a:gd name="T68" fmla="*/ 138 w 162"/>
                <a:gd name="T69" fmla="*/ 104 h 162"/>
                <a:gd name="T70" fmla="*/ 144 w 162"/>
                <a:gd name="T71" fmla="*/ 80 h 162"/>
                <a:gd name="T72" fmla="*/ 142 w 162"/>
                <a:gd name="T73" fmla="*/ 68 h 162"/>
                <a:gd name="T74" fmla="*/ 132 w 162"/>
                <a:gd name="T75" fmla="*/ 46 h 162"/>
                <a:gd name="T76" fmla="*/ 124 w 162"/>
                <a:gd name="T77" fmla="*/ 36 h 162"/>
                <a:gd name="T78" fmla="*/ 104 w 162"/>
                <a:gd name="T79" fmla="*/ 22 h 162"/>
                <a:gd name="T80" fmla="*/ 80 w 162"/>
                <a:gd name="T81" fmla="*/ 1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2" h="162">
                  <a:moveTo>
                    <a:pt x="80" y="162"/>
                  </a:moveTo>
                  <a:lnTo>
                    <a:pt x="80" y="162"/>
                  </a:lnTo>
                  <a:lnTo>
                    <a:pt x="66" y="160"/>
                  </a:lnTo>
                  <a:lnTo>
                    <a:pt x="50" y="156"/>
                  </a:lnTo>
                  <a:lnTo>
                    <a:pt x="36" y="148"/>
                  </a:lnTo>
                  <a:lnTo>
                    <a:pt x="24" y="138"/>
                  </a:lnTo>
                  <a:lnTo>
                    <a:pt x="24" y="138"/>
                  </a:lnTo>
                  <a:lnTo>
                    <a:pt x="14" y="126"/>
                  </a:lnTo>
                  <a:lnTo>
                    <a:pt x="6" y="112"/>
                  </a:lnTo>
                  <a:lnTo>
                    <a:pt x="2" y="96"/>
                  </a:lnTo>
                  <a:lnTo>
                    <a:pt x="0" y="80"/>
                  </a:lnTo>
                  <a:lnTo>
                    <a:pt x="0" y="80"/>
                  </a:lnTo>
                  <a:lnTo>
                    <a:pt x="2" y="64"/>
                  </a:lnTo>
                  <a:lnTo>
                    <a:pt x="6" y="50"/>
                  </a:lnTo>
                  <a:lnTo>
                    <a:pt x="14" y="36"/>
                  </a:lnTo>
                  <a:lnTo>
                    <a:pt x="24" y="24"/>
                  </a:lnTo>
                  <a:lnTo>
                    <a:pt x="24" y="24"/>
                  </a:lnTo>
                  <a:lnTo>
                    <a:pt x="36" y="14"/>
                  </a:lnTo>
                  <a:lnTo>
                    <a:pt x="50" y="6"/>
                  </a:lnTo>
                  <a:lnTo>
                    <a:pt x="64" y="2"/>
                  </a:lnTo>
                  <a:lnTo>
                    <a:pt x="80" y="0"/>
                  </a:lnTo>
                  <a:lnTo>
                    <a:pt x="80" y="0"/>
                  </a:lnTo>
                  <a:lnTo>
                    <a:pt x="96" y="2"/>
                  </a:lnTo>
                  <a:lnTo>
                    <a:pt x="112" y="6"/>
                  </a:lnTo>
                  <a:lnTo>
                    <a:pt x="126" y="14"/>
                  </a:lnTo>
                  <a:lnTo>
                    <a:pt x="138" y="24"/>
                  </a:lnTo>
                  <a:lnTo>
                    <a:pt x="138" y="24"/>
                  </a:lnTo>
                  <a:lnTo>
                    <a:pt x="148" y="36"/>
                  </a:lnTo>
                  <a:lnTo>
                    <a:pt x="156" y="50"/>
                  </a:lnTo>
                  <a:lnTo>
                    <a:pt x="160" y="64"/>
                  </a:lnTo>
                  <a:lnTo>
                    <a:pt x="162" y="80"/>
                  </a:lnTo>
                  <a:lnTo>
                    <a:pt x="162" y="80"/>
                  </a:lnTo>
                  <a:lnTo>
                    <a:pt x="160" y="96"/>
                  </a:lnTo>
                  <a:lnTo>
                    <a:pt x="156" y="112"/>
                  </a:lnTo>
                  <a:lnTo>
                    <a:pt x="148" y="126"/>
                  </a:lnTo>
                  <a:lnTo>
                    <a:pt x="138" y="138"/>
                  </a:lnTo>
                  <a:lnTo>
                    <a:pt x="138" y="138"/>
                  </a:lnTo>
                  <a:lnTo>
                    <a:pt x="124" y="148"/>
                  </a:lnTo>
                  <a:lnTo>
                    <a:pt x="110" y="156"/>
                  </a:lnTo>
                  <a:lnTo>
                    <a:pt x="96" y="160"/>
                  </a:lnTo>
                  <a:lnTo>
                    <a:pt x="80" y="162"/>
                  </a:lnTo>
                  <a:lnTo>
                    <a:pt x="80" y="162"/>
                  </a:lnTo>
                  <a:close/>
                  <a:moveTo>
                    <a:pt x="80" y="18"/>
                  </a:moveTo>
                  <a:lnTo>
                    <a:pt x="80" y="18"/>
                  </a:lnTo>
                  <a:lnTo>
                    <a:pt x="68" y="20"/>
                  </a:lnTo>
                  <a:lnTo>
                    <a:pt x="56" y="22"/>
                  </a:lnTo>
                  <a:lnTo>
                    <a:pt x="46" y="28"/>
                  </a:lnTo>
                  <a:lnTo>
                    <a:pt x="36" y="36"/>
                  </a:lnTo>
                  <a:lnTo>
                    <a:pt x="36" y="36"/>
                  </a:lnTo>
                  <a:lnTo>
                    <a:pt x="28" y="46"/>
                  </a:lnTo>
                  <a:lnTo>
                    <a:pt x="22" y="56"/>
                  </a:lnTo>
                  <a:lnTo>
                    <a:pt x="18" y="68"/>
                  </a:lnTo>
                  <a:lnTo>
                    <a:pt x="18" y="80"/>
                  </a:lnTo>
                  <a:lnTo>
                    <a:pt x="18" y="80"/>
                  </a:lnTo>
                  <a:lnTo>
                    <a:pt x="18" y="94"/>
                  </a:lnTo>
                  <a:lnTo>
                    <a:pt x="22" y="104"/>
                  </a:lnTo>
                  <a:lnTo>
                    <a:pt x="28" y="116"/>
                  </a:lnTo>
                  <a:lnTo>
                    <a:pt x="36" y="126"/>
                  </a:lnTo>
                  <a:lnTo>
                    <a:pt x="36" y="126"/>
                  </a:lnTo>
                  <a:lnTo>
                    <a:pt x="46" y="134"/>
                  </a:lnTo>
                  <a:lnTo>
                    <a:pt x="56" y="138"/>
                  </a:lnTo>
                  <a:lnTo>
                    <a:pt x="68" y="142"/>
                  </a:lnTo>
                  <a:lnTo>
                    <a:pt x="80" y="144"/>
                  </a:lnTo>
                  <a:lnTo>
                    <a:pt x="92" y="142"/>
                  </a:lnTo>
                  <a:lnTo>
                    <a:pt x="104" y="138"/>
                  </a:lnTo>
                  <a:lnTo>
                    <a:pt x="116" y="134"/>
                  </a:lnTo>
                  <a:lnTo>
                    <a:pt x="124" y="126"/>
                  </a:lnTo>
                  <a:lnTo>
                    <a:pt x="124" y="126"/>
                  </a:lnTo>
                  <a:lnTo>
                    <a:pt x="132" y="116"/>
                  </a:lnTo>
                  <a:lnTo>
                    <a:pt x="138" y="104"/>
                  </a:lnTo>
                  <a:lnTo>
                    <a:pt x="142" y="94"/>
                  </a:lnTo>
                  <a:lnTo>
                    <a:pt x="144" y="80"/>
                  </a:lnTo>
                  <a:lnTo>
                    <a:pt x="144" y="80"/>
                  </a:lnTo>
                  <a:lnTo>
                    <a:pt x="142" y="68"/>
                  </a:lnTo>
                  <a:lnTo>
                    <a:pt x="138" y="56"/>
                  </a:lnTo>
                  <a:lnTo>
                    <a:pt x="132" y="46"/>
                  </a:lnTo>
                  <a:lnTo>
                    <a:pt x="124" y="36"/>
                  </a:lnTo>
                  <a:lnTo>
                    <a:pt x="124" y="36"/>
                  </a:lnTo>
                  <a:lnTo>
                    <a:pt x="116" y="28"/>
                  </a:lnTo>
                  <a:lnTo>
                    <a:pt x="104" y="22"/>
                  </a:lnTo>
                  <a:lnTo>
                    <a:pt x="92" y="20"/>
                  </a:lnTo>
                  <a:lnTo>
                    <a:pt x="80" y="18"/>
                  </a:lnTo>
                  <a:lnTo>
                    <a:pt x="80" y="1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6" name="Freeform 9">
              <a:extLst>
                <a:ext uri="{FF2B5EF4-FFF2-40B4-BE49-F238E27FC236}">
                  <a16:creationId xmlns:a16="http://schemas.microsoft.com/office/drawing/2014/main" id="{8FF9D3E3-86C2-D294-6BFA-DAD372E31E02}"/>
                </a:ext>
              </a:extLst>
            </p:cNvPr>
            <p:cNvSpPr>
              <a:spLocks/>
            </p:cNvSpPr>
            <p:nvPr/>
          </p:nvSpPr>
          <p:spPr bwMode="auto">
            <a:xfrm>
              <a:off x="1838325" y="4875213"/>
              <a:ext cx="228600" cy="228600"/>
            </a:xfrm>
            <a:custGeom>
              <a:avLst/>
              <a:gdLst>
                <a:gd name="T0" fmla="*/ 138 w 144"/>
                <a:gd name="T1" fmla="*/ 144 h 144"/>
                <a:gd name="T2" fmla="*/ 130 w 144"/>
                <a:gd name="T3" fmla="*/ 140 h 144"/>
                <a:gd name="T4" fmla="*/ 130 w 144"/>
                <a:gd name="T5" fmla="*/ 140 h 144"/>
                <a:gd name="T6" fmla="*/ 108 w 144"/>
                <a:gd name="T7" fmla="*/ 132 h 144"/>
                <a:gd name="T8" fmla="*/ 88 w 144"/>
                <a:gd name="T9" fmla="*/ 120 h 144"/>
                <a:gd name="T10" fmla="*/ 70 w 144"/>
                <a:gd name="T11" fmla="*/ 106 h 144"/>
                <a:gd name="T12" fmla="*/ 52 w 144"/>
                <a:gd name="T13" fmla="*/ 92 h 144"/>
                <a:gd name="T14" fmla="*/ 36 w 144"/>
                <a:gd name="T15" fmla="*/ 74 h 144"/>
                <a:gd name="T16" fmla="*/ 24 w 144"/>
                <a:gd name="T17" fmla="*/ 56 h 144"/>
                <a:gd name="T18" fmla="*/ 12 w 144"/>
                <a:gd name="T19" fmla="*/ 36 h 144"/>
                <a:gd name="T20" fmla="*/ 4 w 144"/>
                <a:gd name="T21" fmla="*/ 14 h 144"/>
                <a:gd name="T22" fmla="*/ 0 w 144"/>
                <a:gd name="T23" fmla="*/ 6 h 144"/>
                <a:gd name="T24" fmla="*/ 18 w 144"/>
                <a:gd name="T25" fmla="*/ 0 h 144"/>
                <a:gd name="T26" fmla="*/ 20 w 144"/>
                <a:gd name="T27" fmla="*/ 8 h 144"/>
                <a:gd name="T28" fmla="*/ 20 w 144"/>
                <a:gd name="T29" fmla="*/ 8 h 144"/>
                <a:gd name="T30" fmla="*/ 28 w 144"/>
                <a:gd name="T31" fmla="*/ 28 h 144"/>
                <a:gd name="T32" fmla="*/ 38 w 144"/>
                <a:gd name="T33" fmla="*/ 46 h 144"/>
                <a:gd name="T34" fmla="*/ 50 w 144"/>
                <a:gd name="T35" fmla="*/ 64 h 144"/>
                <a:gd name="T36" fmla="*/ 64 w 144"/>
                <a:gd name="T37" fmla="*/ 78 h 144"/>
                <a:gd name="T38" fmla="*/ 80 w 144"/>
                <a:gd name="T39" fmla="*/ 92 h 144"/>
                <a:gd name="T40" fmla="*/ 98 w 144"/>
                <a:gd name="T41" fmla="*/ 104 h 144"/>
                <a:gd name="T42" fmla="*/ 116 w 144"/>
                <a:gd name="T43" fmla="*/ 114 h 144"/>
                <a:gd name="T44" fmla="*/ 134 w 144"/>
                <a:gd name="T45" fmla="*/ 124 h 144"/>
                <a:gd name="T46" fmla="*/ 144 w 144"/>
                <a:gd name="T47" fmla="*/ 126 h 144"/>
                <a:gd name="T48" fmla="*/ 138 w 144"/>
                <a:gd name="T4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4">
                  <a:moveTo>
                    <a:pt x="138" y="144"/>
                  </a:moveTo>
                  <a:lnTo>
                    <a:pt x="130" y="140"/>
                  </a:lnTo>
                  <a:lnTo>
                    <a:pt x="130" y="140"/>
                  </a:lnTo>
                  <a:lnTo>
                    <a:pt x="108" y="132"/>
                  </a:lnTo>
                  <a:lnTo>
                    <a:pt x="88" y="120"/>
                  </a:lnTo>
                  <a:lnTo>
                    <a:pt x="70" y="106"/>
                  </a:lnTo>
                  <a:lnTo>
                    <a:pt x="52" y="92"/>
                  </a:lnTo>
                  <a:lnTo>
                    <a:pt x="36" y="74"/>
                  </a:lnTo>
                  <a:lnTo>
                    <a:pt x="24" y="56"/>
                  </a:lnTo>
                  <a:lnTo>
                    <a:pt x="12" y="36"/>
                  </a:lnTo>
                  <a:lnTo>
                    <a:pt x="4" y="14"/>
                  </a:lnTo>
                  <a:lnTo>
                    <a:pt x="0" y="6"/>
                  </a:lnTo>
                  <a:lnTo>
                    <a:pt x="18" y="0"/>
                  </a:lnTo>
                  <a:lnTo>
                    <a:pt x="20" y="8"/>
                  </a:lnTo>
                  <a:lnTo>
                    <a:pt x="20" y="8"/>
                  </a:lnTo>
                  <a:lnTo>
                    <a:pt x="28" y="28"/>
                  </a:lnTo>
                  <a:lnTo>
                    <a:pt x="38" y="46"/>
                  </a:lnTo>
                  <a:lnTo>
                    <a:pt x="50" y="64"/>
                  </a:lnTo>
                  <a:lnTo>
                    <a:pt x="64" y="78"/>
                  </a:lnTo>
                  <a:lnTo>
                    <a:pt x="80" y="92"/>
                  </a:lnTo>
                  <a:lnTo>
                    <a:pt x="98" y="104"/>
                  </a:lnTo>
                  <a:lnTo>
                    <a:pt x="116" y="114"/>
                  </a:lnTo>
                  <a:lnTo>
                    <a:pt x="134" y="124"/>
                  </a:lnTo>
                  <a:lnTo>
                    <a:pt x="144" y="126"/>
                  </a:lnTo>
                  <a:lnTo>
                    <a:pt x="138" y="144"/>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7" name="Freeform 10">
              <a:extLst>
                <a:ext uri="{FF2B5EF4-FFF2-40B4-BE49-F238E27FC236}">
                  <a16:creationId xmlns:a16="http://schemas.microsoft.com/office/drawing/2014/main" id="{A0894E1F-19AB-B896-73C2-71BFAA95577C}"/>
                </a:ext>
              </a:extLst>
            </p:cNvPr>
            <p:cNvSpPr>
              <a:spLocks/>
            </p:cNvSpPr>
            <p:nvPr/>
          </p:nvSpPr>
          <p:spPr bwMode="auto">
            <a:xfrm>
              <a:off x="1422400" y="5465763"/>
              <a:ext cx="333375" cy="530225"/>
            </a:xfrm>
            <a:custGeom>
              <a:avLst/>
              <a:gdLst>
                <a:gd name="T0" fmla="*/ 22 w 210"/>
                <a:gd name="T1" fmla="*/ 334 h 334"/>
                <a:gd name="T2" fmla="*/ 0 w 210"/>
                <a:gd name="T3" fmla="*/ 150 h 334"/>
                <a:gd name="T4" fmla="*/ 18 w 210"/>
                <a:gd name="T5" fmla="*/ 148 h 334"/>
                <a:gd name="T6" fmla="*/ 36 w 210"/>
                <a:gd name="T7" fmla="*/ 294 h 334"/>
                <a:gd name="T8" fmla="*/ 156 w 210"/>
                <a:gd name="T9" fmla="*/ 172 h 334"/>
                <a:gd name="T10" fmla="*/ 192 w 210"/>
                <a:gd name="T11" fmla="*/ 0 h 334"/>
                <a:gd name="T12" fmla="*/ 210 w 210"/>
                <a:gd name="T13" fmla="*/ 4 h 334"/>
                <a:gd name="T14" fmla="*/ 174 w 210"/>
                <a:gd name="T15" fmla="*/ 180 h 334"/>
                <a:gd name="T16" fmla="*/ 22 w 210"/>
                <a:gd name="T17"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334">
                  <a:moveTo>
                    <a:pt x="22" y="334"/>
                  </a:moveTo>
                  <a:lnTo>
                    <a:pt x="0" y="150"/>
                  </a:lnTo>
                  <a:lnTo>
                    <a:pt x="18" y="148"/>
                  </a:lnTo>
                  <a:lnTo>
                    <a:pt x="36" y="294"/>
                  </a:lnTo>
                  <a:lnTo>
                    <a:pt x="156" y="172"/>
                  </a:lnTo>
                  <a:lnTo>
                    <a:pt x="192" y="0"/>
                  </a:lnTo>
                  <a:lnTo>
                    <a:pt x="210" y="4"/>
                  </a:lnTo>
                  <a:lnTo>
                    <a:pt x="174" y="180"/>
                  </a:lnTo>
                  <a:lnTo>
                    <a:pt x="22" y="334"/>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58" name="Freeform 11">
              <a:extLst>
                <a:ext uri="{FF2B5EF4-FFF2-40B4-BE49-F238E27FC236}">
                  <a16:creationId xmlns:a16="http://schemas.microsoft.com/office/drawing/2014/main" id="{638802DA-24F7-2E45-6858-FD229C8E0957}"/>
                </a:ext>
              </a:extLst>
            </p:cNvPr>
            <p:cNvSpPr>
              <a:spLocks/>
            </p:cNvSpPr>
            <p:nvPr/>
          </p:nvSpPr>
          <p:spPr bwMode="auto">
            <a:xfrm>
              <a:off x="942975" y="5183188"/>
              <a:ext cx="530225" cy="333375"/>
            </a:xfrm>
            <a:custGeom>
              <a:avLst/>
              <a:gdLst>
                <a:gd name="T0" fmla="*/ 184 w 334"/>
                <a:gd name="T1" fmla="*/ 210 h 210"/>
                <a:gd name="T2" fmla="*/ 0 w 334"/>
                <a:gd name="T3" fmla="*/ 188 h 210"/>
                <a:gd name="T4" fmla="*/ 154 w 334"/>
                <a:gd name="T5" fmla="*/ 36 h 210"/>
                <a:gd name="T6" fmla="*/ 330 w 334"/>
                <a:gd name="T7" fmla="*/ 0 h 210"/>
                <a:gd name="T8" fmla="*/ 334 w 334"/>
                <a:gd name="T9" fmla="*/ 18 h 210"/>
                <a:gd name="T10" fmla="*/ 162 w 334"/>
                <a:gd name="T11" fmla="*/ 52 h 210"/>
                <a:gd name="T12" fmla="*/ 38 w 334"/>
                <a:gd name="T13" fmla="*/ 174 h 210"/>
                <a:gd name="T14" fmla="*/ 186 w 334"/>
                <a:gd name="T15" fmla="*/ 192 h 210"/>
                <a:gd name="T16" fmla="*/ 184 w 334"/>
                <a:gd name="T1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210">
                  <a:moveTo>
                    <a:pt x="184" y="210"/>
                  </a:moveTo>
                  <a:lnTo>
                    <a:pt x="0" y="188"/>
                  </a:lnTo>
                  <a:lnTo>
                    <a:pt x="154" y="36"/>
                  </a:lnTo>
                  <a:lnTo>
                    <a:pt x="330" y="0"/>
                  </a:lnTo>
                  <a:lnTo>
                    <a:pt x="334" y="18"/>
                  </a:lnTo>
                  <a:lnTo>
                    <a:pt x="162" y="52"/>
                  </a:lnTo>
                  <a:lnTo>
                    <a:pt x="38" y="174"/>
                  </a:lnTo>
                  <a:lnTo>
                    <a:pt x="186" y="192"/>
                  </a:lnTo>
                  <a:lnTo>
                    <a:pt x="184" y="210"/>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grpSp>
      <p:grpSp>
        <p:nvGrpSpPr>
          <p:cNvPr id="59" name="Group 92">
            <a:extLst>
              <a:ext uri="{FF2B5EF4-FFF2-40B4-BE49-F238E27FC236}">
                <a16:creationId xmlns:a16="http://schemas.microsoft.com/office/drawing/2014/main" id="{658C6E35-1311-70B0-9734-39E635471CBD}"/>
              </a:ext>
            </a:extLst>
          </p:cNvPr>
          <p:cNvGrpSpPr>
            <a:grpSpLocks noChangeAspect="1"/>
          </p:cNvGrpSpPr>
          <p:nvPr/>
        </p:nvGrpSpPr>
        <p:grpSpPr bwMode="auto">
          <a:xfrm>
            <a:off x="4195000" y="2600349"/>
            <a:ext cx="972971" cy="871511"/>
            <a:chOff x="540" y="3067"/>
            <a:chExt cx="748" cy="670"/>
          </a:xfrm>
          <a:solidFill>
            <a:srgbClr val="F6F6FA"/>
          </a:solidFill>
        </p:grpSpPr>
        <p:sp>
          <p:nvSpPr>
            <p:cNvPr id="60" name="Freeform 93">
              <a:extLst>
                <a:ext uri="{FF2B5EF4-FFF2-40B4-BE49-F238E27FC236}">
                  <a16:creationId xmlns:a16="http://schemas.microsoft.com/office/drawing/2014/main" id="{81009CCD-EEB0-2AC9-D6FE-CB108D6DEE09}"/>
                </a:ext>
              </a:extLst>
            </p:cNvPr>
            <p:cNvSpPr>
              <a:spLocks noEditPoints="1"/>
            </p:cNvSpPr>
            <p:nvPr/>
          </p:nvSpPr>
          <p:spPr bwMode="auto">
            <a:xfrm>
              <a:off x="732" y="3115"/>
              <a:ext cx="556" cy="424"/>
            </a:xfrm>
            <a:custGeom>
              <a:avLst/>
              <a:gdLst>
                <a:gd name="T0" fmla="*/ 166 w 556"/>
                <a:gd name="T1" fmla="*/ 424 h 424"/>
                <a:gd name="T2" fmla="*/ 148 w 556"/>
                <a:gd name="T3" fmla="*/ 416 h 424"/>
                <a:gd name="T4" fmla="*/ 8 w 556"/>
                <a:gd name="T5" fmla="*/ 276 h 424"/>
                <a:gd name="T6" fmla="*/ 0 w 556"/>
                <a:gd name="T7" fmla="*/ 258 h 424"/>
                <a:gd name="T8" fmla="*/ 8 w 556"/>
                <a:gd name="T9" fmla="*/ 238 h 424"/>
                <a:gd name="T10" fmla="*/ 44 w 556"/>
                <a:gd name="T11" fmla="*/ 204 h 424"/>
                <a:gd name="T12" fmla="*/ 62 w 556"/>
                <a:gd name="T13" fmla="*/ 196 h 424"/>
                <a:gd name="T14" fmla="*/ 82 w 556"/>
                <a:gd name="T15" fmla="*/ 204 h 424"/>
                <a:gd name="T16" fmla="*/ 474 w 556"/>
                <a:gd name="T17" fmla="*/ 8 h 424"/>
                <a:gd name="T18" fmla="*/ 484 w 556"/>
                <a:gd name="T19" fmla="*/ 2 h 424"/>
                <a:gd name="T20" fmla="*/ 504 w 556"/>
                <a:gd name="T21" fmla="*/ 2 h 424"/>
                <a:gd name="T22" fmla="*/ 548 w 556"/>
                <a:gd name="T23" fmla="*/ 44 h 424"/>
                <a:gd name="T24" fmla="*/ 554 w 556"/>
                <a:gd name="T25" fmla="*/ 52 h 424"/>
                <a:gd name="T26" fmla="*/ 556 w 556"/>
                <a:gd name="T27" fmla="*/ 62 h 424"/>
                <a:gd name="T28" fmla="*/ 548 w 556"/>
                <a:gd name="T29" fmla="*/ 82 h 424"/>
                <a:gd name="T30" fmla="*/ 186 w 556"/>
                <a:gd name="T31" fmla="*/ 416 h 424"/>
                <a:gd name="T32" fmla="*/ 166 w 556"/>
                <a:gd name="T33" fmla="*/ 424 h 424"/>
                <a:gd name="T34" fmla="*/ 62 w 556"/>
                <a:gd name="T35" fmla="*/ 214 h 424"/>
                <a:gd name="T36" fmla="*/ 60 w 556"/>
                <a:gd name="T37" fmla="*/ 214 h 424"/>
                <a:gd name="T38" fmla="*/ 22 w 556"/>
                <a:gd name="T39" fmla="*/ 252 h 424"/>
                <a:gd name="T40" fmla="*/ 20 w 556"/>
                <a:gd name="T41" fmla="*/ 254 h 424"/>
                <a:gd name="T42" fmla="*/ 20 w 556"/>
                <a:gd name="T43" fmla="*/ 260 h 424"/>
                <a:gd name="T44" fmla="*/ 160 w 556"/>
                <a:gd name="T45" fmla="*/ 402 h 424"/>
                <a:gd name="T46" fmla="*/ 164 w 556"/>
                <a:gd name="T47" fmla="*/ 404 h 424"/>
                <a:gd name="T48" fmla="*/ 170 w 556"/>
                <a:gd name="T49" fmla="*/ 404 h 424"/>
                <a:gd name="T50" fmla="*/ 536 w 556"/>
                <a:gd name="T51" fmla="*/ 68 h 424"/>
                <a:gd name="T52" fmla="*/ 538 w 556"/>
                <a:gd name="T53" fmla="*/ 66 h 424"/>
                <a:gd name="T54" fmla="*/ 538 w 556"/>
                <a:gd name="T55" fmla="*/ 62 h 424"/>
                <a:gd name="T56" fmla="*/ 536 w 556"/>
                <a:gd name="T57" fmla="*/ 56 h 424"/>
                <a:gd name="T58" fmla="*/ 500 w 556"/>
                <a:gd name="T59" fmla="*/ 20 h 424"/>
                <a:gd name="T60" fmla="*/ 494 w 556"/>
                <a:gd name="T61" fmla="*/ 18 h 424"/>
                <a:gd name="T62" fmla="*/ 488 w 556"/>
                <a:gd name="T63" fmla="*/ 20 h 424"/>
                <a:gd name="T64" fmla="*/ 166 w 556"/>
                <a:gd name="T65" fmla="*/ 314 h 424"/>
                <a:gd name="T66" fmla="*/ 68 w 556"/>
                <a:gd name="T67" fmla="*/ 216 h 424"/>
                <a:gd name="T68" fmla="*/ 62 w 556"/>
                <a:gd name="T69" fmla="*/ 21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6" h="424">
                  <a:moveTo>
                    <a:pt x="166" y="424"/>
                  </a:moveTo>
                  <a:lnTo>
                    <a:pt x="166" y="424"/>
                  </a:lnTo>
                  <a:lnTo>
                    <a:pt x="156" y="422"/>
                  </a:lnTo>
                  <a:lnTo>
                    <a:pt x="148" y="416"/>
                  </a:lnTo>
                  <a:lnTo>
                    <a:pt x="8" y="276"/>
                  </a:lnTo>
                  <a:lnTo>
                    <a:pt x="8" y="276"/>
                  </a:lnTo>
                  <a:lnTo>
                    <a:pt x="2" y="268"/>
                  </a:lnTo>
                  <a:lnTo>
                    <a:pt x="0" y="258"/>
                  </a:lnTo>
                  <a:lnTo>
                    <a:pt x="2" y="248"/>
                  </a:lnTo>
                  <a:lnTo>
                    <a:pt x="8" y="238"/>
                  </a:lnTo>
                  <a:lnTo>
                    <a:pt x="44" y="204"/>
                  </a:lnTo>
                  <a:lnTo>
                    <a:pt x="44" y="204"/>
                  </a:lnTo>
                  <a:lnTo>
                    <a:pt x="52" y="198"/>
                  </a:lnTo>
                  <a:lnTo>
                    <a:pt x="62" y="196"/>
                  </a:lnTo>
                  <a:lnTo>
                    <a:pt x="72" y="198"/>
                  </a:lnTo>
                  <a:lnTo>
                    <a:pt x="82" y="204"/>
                  </a:lnTo>
                  <a:lnTo>
                    <a:pt x="166" y="288"/>
                  </a:lnTo>
                  <a:lnTo>
                    <a:pt x="474" y="8"/>
                  </a:lnTo>
                  <a:lnTo>
                    <a:pt x="474" y="8"/>
                  </a:lnTo>
                  <a:lnTo>
                    <a:pt x="484" y="2"/>
                  </a:lnTo>
                  <a:lnTo>
                    <a:pt x="494" y="0"/>
                  </a:lnTo>
                  <a:lnTo>
                    <a:pt x="504" y="2"/>
                  </a:lnTo>
                  <a:lnTo>
                    <a:pt x="512" y="8"/>
                  </a:lnTo>
                  <a:lnTo>
                    <a:pt x="548" y="44"/>
                  </a:lnTo>
                  <a:lnTo>
                    <a:pt x="548" y="44"/>
                  </a:lnTo>
                  <a:lnTo>
                    <a:pt x="554" y="52"/>
                  </a:lnTo>
                  <a:lnTo>
                    <a:pt x="556" y="62"/>
                  </a:lnTo>
                  <a:lnTo>
                    <a:pt x="556" y="62"/>
                  </a:lnTo>
                  <a:lnTo>
                    <a:pt x="554" y="72"/>
                  </a:lnTo>
                  <a:lnTo>
                    <a:pt x="548" y="82"/>
                  </a:lnTo>
                  <a:lnTo>
                    <a:pt x="186" y="416"/>
                  </a:lnTo>
                  <a:lnTo>
                    <a:pt x="186" y="416"/>
                  </a:lnTo>
                  <a:lnTo>
                    <a:pt x="176" y="422"/>
                  </a:lnTo>
                  <a:lnTo>
                    <a:pt x="166" y="424"/>
                  </a:lnTo>
                  <a:lnTo>
                    <a:pt x="166" y="424"/>
                  </a:lnTo>
                  <a:close/>
                  <a:moveTo>
                    <a:pt x="62" y="214"/>
                  </a:moveTo>
                  <a:lnTo>
                    <a:pt x="62" y="214"/>
                  </a:lnTo>
                  <a:lnTo>
                    <a:pt x="60" y="214"/>
                  </a:lnTo>
                  <a:lnTo>
                    <a:pt x="56" y="216"/>
                  </a:lnTo>
                  <a:lnTo>
                    <a:pt x="22" y="252"/>
                  </a:lnTo>
                  <a:lnTo>
                    <a:pt x="22" y="252"/>
                  </a:lnTo>
                  <a:lnTo>
                    <a:pt x="20" y="254"/>
                  </a:lnTo>
                  <a:lnTo>
                    <a:pt x="18" y="258"/>
                  </a:lnTo>
                  <a:lnTo>
                    <a:pt x="20" y="260"/>
                  </a:lnTo>
                  <a:lnTo>
                    <a:pt x="22" y="264"/>
                  </a:lnTo>
                  <a:lnTo>
                    <a:pt x="160" y="402"/>
                  </a:lnTo>
                  <a:lnTo>
                    <a:pt x="160" y="402"/>
                  </a:lnTo>
                  <a:lnTo>
                    <a:pt x="164" y="404"/>
                  </a:lnTo>
                  <a:lnTo>
                    <a:pt x="166" y="406"/>
                  </a:lnTo>
                  <a:lnTo>
                    <a:pt x="170" y="404"/>
                  </a:lnTo>
                  <a:lnTo>
                    <a:pt x="174" y="402"/>
                  </a:lnTo>
                  <a:lnTo>
                    <a:pt x="536" y="68"/>
                  </a:lnTo>
                  <a:lnTo>
                    <a:pt x="536" y="68"/>
                  </a:lnTo>
                  <a:lnTo>
                    <a:pt x="538" y="66"/>
                  </a:lnTo>
                  <a:lnTo>
                    <a:pt x="538" y="62"/>
                  </a:lnTo>
                  <a:lnTo>
                    <a:pt x="538" y="62"/>
                  </a:lnTo>
                  <a:lnTo>
                    <a:pt x="538" y="58"/>
                  </a:lnTo>
                  <a:lnTo>
                    <a:pt x="536" y="56"/>
                  </a:lnTo>
                  <a:lnTo>
                    <a:pt x="500" y="20"/>
                  </a:lnTo>
                  <a:lnTo>
                    <a:pt x="500" y="20"/>
                  </a:lnTo>
                  <a:lnTo>
                    <a:pt x="498" y="18"/>
                  </a:lnTo>
                  <a:lnTo>
                    <a:pt x="494" y="18"/>
                  </a:lnTo>
                  <a:lnTo>
                    <a:pt x="490" y="18"/>
                  </a:lnTo>
                  <a:lnTo>
                    <a:pt x="488" y="20"/>
                  </a:lnTo>
                  <a:lnTo>
                    <a:pt x="486" y="20"/>
                  </a:lnTo>
                  <a:lnTo>
                    <a:pt x="166" y="314"/>
                  </a:lnTo>
                  <a:lnTo>
                    <a:pt x="68" y="216"/>
                  </a:lnTo>
                  <a:lnTo>
                    <a:pt x="68" y="216"/>
                  </a:lnTo>
                  <a:lnTo>
                    <a:pt x="66" y="214"/>
                  </a:lnTo>
                  <a:lnTo>
                    <a:pt x="62" y="214"/>
                  </a:lnTo>
                  <a:lnTo>
                    <a:pt x="6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1" name="Freeform 94">
              <a:extLst>
                <a:ext uri="{FF2B5EF4-FFF2-40B4-BE49-F238E27FC236}">
                  <a16:creationId xmlns:a16="http://schemas.microsoft.com/office/drawing/2014/main" id="{7316C7C4-AC6B-BEB1-D339-7451647F99A8}"/>
                </a:ext>
              </a:extLst>
            </p:cNvPr>
            <p:cNvSpPr>
              <a:spLocks/>
            </p:cNvSpPr>
            <p:nvPr/>
          </p:nvSpPr>
          <p:spPr bwMode="auto">
            <a:xfrm>
              <a:off x="626" y="3153"/>
              <a:ext cx="498" cy="500"/>
            </a:xfrm>
            <a:custGeom>
              <a:avLst/>
              <a:gdLst>
                <a:gd name="T0" fmla="*/ 224 w 498"/>
                <a:gd name="T1" fmla="*/ 498 h 500"/>
                <a:gd name="T2" fmla="*/ 152 w 498"/>
                <a:gd name="T3" fmla="*/ 480 h 500"/>
                <a:gd name="T4" fmla="*/ 90 w 498"/>
                <a:gd name="T5" fmla="*/ 442 h 500"/>
                <a:gd name="T6" fmla="*/ 42 w 498"/>
                <a:gd name="T7" fmla="*/ 390 h 500"/>
                <a:gd name="T8" fmla="*/ 10 w 498"/>
                <a:gd name="T9" fmla="*/ 324 h 500"/>
                <a:gd name="T10" fmla="*/ 0 w 498"/>
                <a:gd name="T11" fmla="*/ 250 h 500"/>
                <a:gd name="T12" fmla="*/ 4 w 498"/>
                <a:gd name="T13" fmla="*/ 200 h 500"/>
                <a:gd name="T14" fmla="*/ 30 w 498"/>
                <a:gd name="T15" fmla="*/ 130 h 500"/>
                <a:gd name="T16" fmla="*/ 72 w 498"/>
                <a:gd name="T17" fmla="*/ 74 h 500"/>
                <a:gd name="T18" fmla="*/ 130 w 498"/>
                <a:gd name="T19" fmla="*/ 30 h 500"/>
                <a:gd name="T20" fmla="*/ 198 w 498"/>
                <a:gd name="T21" fmla="*/ 6 h 500"/>
                <a:gd name="T22" fmla="*/ 250 w 498"/>
                <a:gd name="T23" fmla="*/ 0 h 500"/>
                <a:gd name="T24" fmla="*/ 320 w 498"/>
                <a:gd name="T25" fmla="*/ 10 h 500"/>
                <a:gd name="T26" fmla="*/ 384 w 498"/>
                <a:gd name="T27" fmla="*/ 40 h 500"/>
                <a:gd name="T28" fmla="*/ 422 w 498"/>
                <a:gd name="T29" fmla="*/ 70 h 500"/>
                <a:gd name="T30" fmla="*/ 424 w 498"/>
                <a:gd name="T31" fmla="*/ 80 h 500"/>
                <a:gd name="T32" fmla="*/ 420 w 498"/>
                <a:gd name="T33" fmla="*/ 84 h 500"/>
                <a:gd name="T34" fmla="*/ 410 w 498"/>
                <a:gd name="T35" fmla="*/ 82 h 500"/>
                <a:gd name="T36" fmla="*/ 374 w 498"/>
                <a:gd name="T37" fmla="*/ 56 h 500"/>
                <a:gd name="T38" fmla="*/ 314 w 498"/>
                <a:gd name="T39" fmla="*/ 28 h 500"/>
                <a:gd name="T40" fmla="*/ 250 w 498"/>
                <a:gd name="T41" fmla="*/ 18 h 500"/>
                <a:gd name="T42" fmla="*/ 202 w 498"/>
                <a:gd name="T43" fmla="*/ 22 h 500"/>
                <a:gd name="T44" fmla="*/ 138 w 498"/>
                <a:gd name="T45" fmla="*/ 46 h 500"/>
                <a:gd name="T46" fmla="*/ 86 w 498"/>
                <a:gd name="T47" fmla="*/ 86 h 500"/>
                <a:gd name="T48" fmla="*/ 46 w 498"/>
                <a:gd name="T49" fmla="*/ 140 h 500"/>
                <a:gd name="T50" fmla="*/ 22 w 498"/>
                <a:gd name="T51" fmla="*/ 204 h 500"/>
                <a:gd name="T52" fmla="*/ 18 w 498"/>
                <a:gd name="T53" fmla="*/ 250 h 500"/>
                <a:gd name="T54" fmla="*/ 28 w 498"/>
                <a:gd name="T55" fmla="*/ 318 h 500"/>
                <a:gd name="T56" fmla="*/ 58 w 498"/>
                <a:gd name="T57" fmla="*/ 378 h 500"/>
                <a:gd name="T58" fmla="*/ 102 w 498"/>
                <a:gd name="T59" fmla="*/ 428 h 500"/>
                <a:gd name="T60" fmla="*/ 160 w 498"/>
                <a:gd name="T61" fmla="*/ 462 h 500"/>
                <a:gd name="T62" fmla="*/ 226 w 498"/>
                <a:gd name="T63" fmla="*/ 480 h 500"/>
                <a:gd name="T64" fmla="*/ 272 w 498"/>
                <a:gd name="T65" fmla="*/ 480 h 500"/>
                <a:gd name="T66" fmla="*/ 338 w 498"/>
                <a:gd name="T67" fmla="*/ 464 h 500"/>
                <a:gd name="T68" fmla="*/ 394 w 498"/>
                <a:gd name="T69" fmla="*/ 430 h 500"/>
                <a:gd name="T70" fmla="*/ 438 w 498"/>
                <a:gd name="T71" fmla="*/ 382 h 500"/>
                <a:gd name="T72" fmla="*/ 468 w 498"/>
                <a:gd name="T73" fmla="*/ 324 h 500"/>
                <a:gd name="T74" fmla="*/ 480 w 498"/>
                <a:gd name="T75" fmla="*/ 256 h 500"/>
                <a:gd name="T76" fmla="*/ 484 w 498"/>
                <a:gd name="T77" fmla="*/ 250 h 500"/>
                <a:gd name="T78" fmla="*/ 490 w 498"/>
                <a:gd name="T79" fmla="*/ 248 h 500"/>
                <a:gd name="T80" fmla="*/ 498 w 498"/>
                <a:gd name="T81" fmla="*/ 254 h 500"/>
                <a:gd name="T82" fmla="*/ 496 w 498"/>
                <a:gd name="T83" fmla="*/ 282 h 500"/>
                <a:gd name="T84" fmla="*/ 476 w 498"/>
                <a:gd name="T85" fmla="*/ 352 h 500"/>
                <a:gd name="T86" fmla="*/ 440 w 498"/>
                <a:gd name="T87" fmla="*/ 412 h 500"/>
                <a:gd name="T88" fmla="*/ 386 w 498"/>
                <a:gd name="T89" fmla="*/ 458 h 500"/>
                <a:gd name="T90" fmla="*/ 322 w 498"/>
                <a:gd name="T91" fmla="*/ 488 h 500"/>
                <a:gd name="T92" fmla="*/ 250 w 498"/>
                <a:gd name="T93"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8" h="500">
                  <a:moveTo>
                    <a:pt x="250" y="500"/>
                  </a:moveTo>
                  <a:lnTo>
                    <a:pt x="250" y="500"/>
                  </a:lnTo>
                  <a:lnTo>
                    <a:pt x="224" y="498"/>
                  </a:lnTo>
                  <a:lnTo>
                    <a:pt x="198" y="494"/>
                  </a:lnTo>
                  <a:lnTo>
                    <a:pt x="174" y="488"/>
                  </a:lnTo>
                  <a:lnTo>
                    <a:pt x="152" y="480"/>
                  </a:lnTo>
                  <a:lnTo>
                    <a:pt x="130" y="468"/>
                  </a:lnTo>
                  <a:lnTo>
                    <a:pt x="110" y="456"/>
                  </a:lnTo>
                  <a:lnTo>
                    <a:pt x="90" y="442"/>
                  </a:lnTo>
                  <a:lnTo>
                    <a:pt x="72" y="426"/>
                  </a:lnTo>
                  <a:lnTo>
                    <a:pt x="56" y="408"/>
                  </a:lnTo>
                  <a:lnTo>
                    <a:pt x="42" y="390"/>
                  </a:lnTo>
                  <a:lnTo>
                    <a:pt x="30" y="368"/>
                  </a:lnTo>
                  <a:lnTo>
                    <a:pt x="20" y="346"/>
                  </a:lnTo>
                  <a:lnTo>
                    <a:pt x="10" y="324"/>
                  </a:lnTo>
                  <a:lnTo>
                    <a:pt x="4" y="300"/>
                  </a:lnTo>
                  <a:lnTo>
                    <a:pt x="0" y="276"/>
                  </a:lnTo>
                  <a:lnTo>
                    <a:pt x="0" y="250"/>
                  </a:lnTo>
                  <a:lnTo>
                    <a:pt x="0" y="250"/>
                  </a:lnTo>
                  <a:lnTo>
                    <a:pt x="0" y="224"/>
                  </a:lnTo>
                  <a:lnTo>
                    <a:pt x="4" y="200"/>
                  </a:lnTo>
                  <a:lnTo>
                    <a:pt x="10" y="176"/>
                  </a:lnTo>
                  <a:lnTo>
                    <a:pt x="20" y="152"/>
                  </a:lnTo>
                  <a:lnTo>
                    <a:pt x="30" y="130"/>
                  </a:lnTo>
                  <a:lnTo>
                    <a:pt x="42" y="110"/>
                  </a:lnTo>
                  <a:lnTo>
                    <a:pt x="56" y="92"/>
                  </a:lnTo>
                  <a:lnTo>
                    <a:pt x="72" y="74"/>
                  </a:lnTo>
                  <a:lnTo>
                    <a:pt x="90" y="58"/>
                  </a:lnTo>
                  <a:lnTo>
                    <a:pt x="110" y="42"/>
                  </a:lnTo>
                  <a:lnTo>
                    <a:pt x="130" y="30"/>
                  </a:lnTo>
                  <a:lnTo>
                    <a:pt x="152" y="20"/>
                  </a:lnTo>
                  <a:lnTo>
                    <a:pt x="174" y="12"/>
                  </a:lnTo>
                  <a:lnTo>
                    <a:pt x="198" y="6"/>
                  </a:lnTo>
                  <a:lnTo>
                    <a:pt x="224" y="2"/>
                  </a:lnTo>
                  <a:lnTo>
                    <a:pt x="250" y="0"/>
                  </a:lnTo>
                  <a:lnTo>
                    <a:pt x="250" y="0"/>
                  </a:lnTo>
                  <a:lnTo>
                    <a:pt x="274" y="2"/>
                  </a:lnTo>
                  <a:lnTo>
                    <a:pt x="296" y="4"/>
                  </a:lnTo>
                  <a:lnTo>
                    <a:pt x="320" y="10"/>
                  </a:lnTo>
                  <a:lnTo>
                    <a:pt x="342" y="18"/>
                  </a:lnTo>
                  <a:lnTo>
                    <a:pt x="364" y="28"/>
                  </a:lnTo>
                  <a:lnTo>
                    <a:pt x="384" y="40"/>
                  </a:lnTo>
                  <a:lnTo>
                    <a:pt x="404" y="54"/>
                  </a:lnTo>
                  <a:lnTo>
                    <a:pt x="422" y="70"/>
                  </a:lnTo>
                  <a:lnTo>
                    <a:pt x="422" y="70"/>
                  </a:lnTo>
                  <a:lnTo>
                    <a:pt x="424" y="72"/>
                  </a:lnTo>
                  <a:lnTo>
                    <a:pt x="424" y="76"/>
                  </a:lnTo>
                  <a:lnTo>
                    <a:pt x="424" y="80"/>
                  </a:lnTo>
                  <a:lnTo>
                    <a:pt x="422" y="82"/>
                  </a:lnTo>
                  <a:lnTo>
                    <a:pt x="422" y="82"/>
                  </a:lnTo>
                  <a:lnTo>
                    <a:pt x="420" y="84"/>
                  </a:lnTo>
                  <a:lnTo>
                    <a:pt x="416" y="86"/>
                  </a:lnTo>
                  <a:lnTo>
                    <a:pt x="412" y="84"/>
                  </a:lnTo>
                  <a:lnTo>
                    <a:pt x="410" y="82"/>
                  </a:lnTo>
                  <a:lnTo>
                    <a:pt x="410" y="82"/>
                  </a:lnTo>
                  <a:lnTo>
                    <a:pt x="392" y="68"/>
                  </a:lnTo>
                  <a:lnTo>
                    <a:pt x="374" y="56"/>
                  </a:lnTo>
                  <a:lnTo>
                    <a:pt x="356" y="44"/>
                  </a:lnTo>
                  <a:lnTo>
                    <a:pt x="336" y="34"/>
                  </a:lnTo>
                  <a:lnTo>
                    <a:pt x="314" y="28"/>
                  </a:lnTo>
                  <a:lnTo>
                    <a:pt x="294" y="22"/>
                  </a:lnTo>
                  <a:lnTo>
                    <a:pt x="272" y="20"/>
                  </a:lnTo>
                  <a:lnTo>
                    <a:pt x="250" y="18"/>
                  </a:lnTo>
                  <a:lnTo>
                    <a:pt x="250" y="18"/>
                  </a:lnTo>
                  <a:lnTo>
                    <a:pt x="226" y="20"/>
                  </a:lnTo>
                  <a:lnTo>
                    <a:pt x="202" y="22"/>
                  </a:lnTo>
                  <a:lnTo>
                    <a:pt x="180" y="28"/>
                  </a:lnTo>
                  <a:lnTo>
                    <a:pt x="160" y="36"/>
                  </a:lnTo>
                  <a:lnTo>
                    <a:pt x="138" y="46"/>
                  </a:lnTo>
                  <a:lnTo>
                    <a:pt x="120" y="58"/>
                  </a:lnTo>
                  <a:lnTo>
                    <a:pt x="102" y="72"/>
                  </a:lnTo>
                  <a:lnTo>
                    <a:pt x="86" y="86"/>
                  </a:lnTo>
                  <a:lnTo>
                    <a:pt x="70" y="102"/>
                  </a:lnTo>
                  <a:lnTo>
                    <a:pt x="58" y="120"/>
                  </a:lnTo>
                  <a:lnTo>
                    <a:pt x="46" y="140"/>
                  </a:lnTo>
                  <a:lnTo>
                    <a:pt x="36" y="160"/>
                  </a:lnTo>
                  <a:lnTo>
                    <a:pt x="28" y="180"/>
                  </a:lnTo>
                  <a:lnTo>
                    <a:pt x="22" y="204"/>
                  </a:lnTo>
                  <a:lnTo>
                    <a:pt x="18" y="226"/>
                  </a:lnTo>
                  <a:lnTo>
                    <a:pt x="18" y="250"/>
                  </a:lnTo>
                  <a:lnTo>
                    <a:pt x="18" y="250"/>
                  </a:lnTo>
                  <a:lnTo>
                    <a:pt x="18" y="274"/>
                  </a:lnTo>
                  <a:lnTo>
                    <a:pt x="22" y="296"/>
                  </a:lnTo>
                  <a:lnTo>
                    <a:pt x="28" y="318"/>
                  </a:lnTo>
                  <a:lnTo>
                    <a:pt x="36" y="340"/>
                  </a:lnTo>
                  <a:lnTo>
                    <a:pt x="46" y="360"/>
                  </a:lnTo>
                  <a:lnTo>
                    <a:pt x="58" y="378"/>
                  </a:lnTo>
                  <a:lnTo>
                    <a:pt x="70" y="396"/>
                  </a:lnTo>
                  <a:lnTo>
                    <a:pt x="86" y="414"/>
                  </a:lnTo>
                  <a:lnTo>
                    <a:pt x="102" y="428"/>
                  </a:lnTo>
                  <a:lnTo>
                    <a:pt x="120" y="442"/>
                  </a:lnTo>
                  <a:lnTo>
                    <a:pt x="138" y="454"/>
                  </a:lnTo>
                  <a:lnTo>
                    <a:pt x="160" y="462"/>
                  </a:lnTo>
                  <a:lnTo>
                    <a:pt x="180" y="470"/>
                  </a:lnTo>
                  <a:lnTo>
                    <a:pt x="202" y="476"/>
                  </a:lnTo>
                  <a:lnTo>
                    <a:pt x="226" y="480"/>
                  </a:lnTo>
                  <a:lnTo>
                    <a:pt x="250" y="482"/>
                  </a:lnTo>
                  <a:lnTo>
                    <a:pt x="250" y="482"/>
                  </a:lnTo>
                  <a:lnTo>
                    <a:pt x="272" y="480"/>
                  </a:lnTo>
                  <a:lnTo>
                    <a:pt x="296" y="476"/>
                  </a:lnTo>
                  <a:lnTo>
                    <a:pt x="316" y="472"/>
                  </a:lnTo>
                  <a:lnTo>
                    <a:pt x="338" y="464"/>
                  </a:lnTo>
                  <a:lnTo>
                    <a:pt x="358" y="454"/>
                  </a:lnTo>
                  <a:lnTo>
                    <a:pt x="376" y="444"/>
                  </a:lnTo>
                  <a:lnTo>
                    <a:pt x="394" y="430"/>
                  </a:lnTo>
                  <a:lnTo>
                    <a:pt x="410" y="416"/>
                  </a:lnTo>
                  <a:lnTo>
                    <a:pt x="426" y="400"/>
                  </a:lnTo>
                  <a:lnTo>
                    <a:pt x="438" y="382"/>
                  </a:lnTo>
                  <a:lnTo>
                    <a:pt x="450" y="364"/>
                  </a:lnTo>
                  <a:lnTo>
                    <a:pt x="460" y="344"/>
                  </a:lnTo>
                  <a:lnTo>
                    <a:pt x="468" y="324"/>
                  </a:lnTo>
                  <a:lnTo>
                    <a:pt x="474" y="302"/>
                  </a:lnTo>
                  <a:lnTo>
                    <a:pt x="478" y="280"/>
                  </a:lnTo>
                  <a:lnTo>
                    <a:pt x="480" y="256"/>
                  </a:lnTo>
                  <a:lnTo>
                    <a:pt x="480" y="256"/>
                  </a:lnTo>
                  <a:lnTo>
                    <a:pt x="482" y="252"/>
                  </a:lnTo>
                  <a:lnTo>
                    <a:pt x="484" y="250"/>
                  </a:lnTo>
                  <a:lnTo>
                    <a:pt x="486" y="248"/>
                  </a:lnTo>
                  <a:lnTo>
                    <a:pt x="490" y="248"/>
                  </a:lnTo>
                  <a:lnTo>
                    <a:pt x="490" y="248"/>
                  </a:lnTo>
                  <a:lnTo>
                    <a:pt x="494" y="248"/>
                  </a:lnTo>
                  <a:lnTo>
                    <a:pt x="496" y="250"/>
                  </a:lnTo>
                  <a:lnTo>
                    <a:pt x="498" y="254"/>
                  </a:lnTo>
                  <a:lnTo>
                    <a:pt x="498" y="256"/>
                  </a:lnTo>
                  <a:lnTo>
                    <a:pt x="498" y="256"/>
                  </a:lnTo>
                  <a:lnTo>
                    <a:pt x="496" y="282"/>
                  </a:lnTo>
                  <a:lnTo>
                    <a:pt x="492" y="306"/>
                  </a:lnTo>
                  <a:lnTo>
                    <a:pt x="486" y="330"/>
                  </a:lnTo>
                  <a:lnTo>
                    <a:pt x="476" y="352"/>
                  </a:lnTo>
                  <a:lnTo>
                    <a:pt x="466" y="374"/>
                  </a:lnTo>
                  <a:lnTo>
                    <a:pt x="454" y="394"/>
                  </a:lnTo>
                  <a:lnTo>
                    <a:pt x="440" y="412"/>
                  </a:lnTo>
                  <a:lnTo>
                    <a:pt x="424" y="428"/>
                  </a:lnTo>
                  <a:lnTo>
                    <a:pt x="406" y="444"/>
                  </a:lnTo>
                  <a:lnTo>
                    <a:pt x="386" y="458"/>
                  </a:lnTo>
                  <a:lnTo>
                    <a:pt x="366" y="470"/>
                  </a:lnTo>
                  <a:lnTo>
                    <a:pt x="344" y="480"/>
                  </a:lnTo>
                  <a:lnTo>
                    <a:pt x="322" y="488"/>
                  </a:lnTo>
                  <a:lnTo>
                    <a:pt x="298" y="494"/>
                  </a:lnTo>
                  <a:lnTo>
                    <a:pt x="274" y="498"/>
                  </a:lnTo>
                  <a:lnTo>
                    <a:pt x="250" y="500"/>
                  </a:lnTo>
                  <a:lnTo>
                    <a:pt x="250"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2" name="Freeform 95">
              <a:extLst>
                <a:ext uri="{FF2B5EF4-FFF2-40B4-BE49-F238E27FC236}">
                  <a16:creationId xmlns:a16="http://schemas.microsoft.com/office/drawing/2014/main" id="{DE721E36-F818-A3B7-2111-9E4DE9CD343A}"/>
                </a:ext>
              </a:extLst>
            </p:cNvPr>
            <p:cNvSpPr>
              <a:spLocks/>
            </p:cNvSpPr>
            <p:nvPr/>
          </p:nvSpPr>
          <p:spPr bwMode="auto">
            <a:xfrm>
              <a:off x="540" y="3067"/>
              <a:ext cx="670" cy="670"/>
            </a:xfrm>
            <a:custGeom>
              <a:avLst/>
              <a:gdLst>
                <a:gd name="T0" fmla="*/ 300 w 670"/>
                <a:gd name="T1" fmla="*/ 670 h 670"/>
                <a:gd name="T2" fmla="*/ 204 w 670"/>
                <a:gd name="T3" fmla="*/ 644 h 670"/>
                <a:gd name="T4" fmla="*/ 122 w 670"/>
                <a:gd name="T5" fmla="*/ 594 h 670"/>
                <a:gd name="T6" fmla="*/ 58 w 670"/>
                <a:gd name="T7" fmla="*/ 522 h 670"/>
                <a:gd name="T8" fmla="*/ 16 w 670"/>
                <a:gd name="T9" fmla="*/ 436 h 670"/>
                <a:gd name="T10" fmla="*/ 0 w 670"/>
                <a:gd name="T11" fmla="*/ 336 h 670"/>
                <a:gd name="T12" fmla="*/ 6 w 670"/>
                <a:gd name="T13" fmla="*/ 268 h 670"/>
                <a:gd name="T14" fmla="*/ 40 w 670"/>
                <a:gd name="T15" fmla="*/ 176 h 670"/>
                <a:gd name="T16" fmla="*/ 98 w 670"/>
                <a:gd name="T17" fmla="*/ 98 h 670"/>
                <a:gd name="T18" fmla="*/ 176 w 670"/>
                <a:gd name="T19" fmla="*/ 42 h 670"/>
                <a:gd name="T20" fmla="*/ 268 w 670"/>
                <a:gd name="T21" fmla="*/ 8 h 670"/>
                <a:gd name="T22" fmla="*/ 336 w 670"/>
                <a:gd name="T23" fmla="*/ 0 h 670"/>
                <a:gd name="T24" fmla="*/ 432 w 670"/>
                <a:gd name="T25" fmla="*/ 14 h 670"/>
                <a:gd name="T26" fmla="*/ 518 w 670"/>
                <a:gd name="T27" fmla="*/ 54 h 670"/>
                <a:gd name="T28" fmla="*/ 568 w 670"/>
                <a:gd name="T29" fmla="*/ 96 h 670"/>
                <a:gd name="T30" fmla="*/ 570 w 670"/>
                <a:gd name="T31" fmla="*/ 106 h 670"/>
                <a:gd name="T32" fmla="*/ 566 w 670"/>
                <a:gd name="T33" fmla="*/ 110 h 670"/>
                <a:gd name="T34" fmla="*/ 556 w 670"/>
                <a:gd name="T35" fmla="*/ 108 h 670"/>
                <a:gd name="T36" fmla="*/ 508 w 670"/>
                <a:gd name="T37" fmla="*/ 70 h 670"/>
                <a:gd name="T38" fmla="*/ 426 w 670"/>
                <a:gd name="T39" fmla="*/ 32 h 670"/>
                <a:gd name="T40" fmla="*/ 336 w 670"/>
                <a:gd name="T41" fmla="*/ 18 h 670"/>
                <a:gd name="T42" fmla="*/ 272 w 670"/>
                <a:gd name="T43" fmla="*/ 24 h 670"/>
                <a:gd name="T44" fmla="*/ 184 w 670"/>
                <a:gd name="T45" fmla="*/ 56 h 670"/>
                <a:gd name="T46" fmla="*/ 110 w 670"/>
                <a:gd name="T47" fmla="*/ 112 h 670"/>
                <a:gd name="T48" fmla="*/ 56 w 670"/>
                <a:gd name="T49" fmla="*/ 184 h 670"/>
                <a:gd name="T50" fmla="*/ 24 w 670"/>
                <a:gd name="T51" fmla="*/ 272 h 670"/>
                <a:gd name="T52" fmla="*/ 18 w 670"/>
                <a:gd name="T53" fmla="*/ 336 h 670"/>
                <a:gd name="T54" fmla="*/ 32 w 670"/>
                <a:gd name="T55" fmla="*/ 430 h 670"/>
                <a:gd name="T56" fmla="*/ 72 w 670"/>
                <a:gd name="T57" fmla="*/ 512 h 670"/>
                <a:gd name="T58" fmla="*/ 134 w 670"/>
                <a:gd name="T59" fmla="*/ 580 h 670"/>
                <a:gd name="T60" fmla="*/ 212 w 670"/>
                <a:gd name="T61" fmla="*/ 628 h 670"/>
                <a:gd name="T62" fmla="*/ 302 w 670"/>
                <a:gd name="T63" fmla="*/ 652 h 670"/>
                <a:gd name="T64" fmla="*/ 368 w 670"/>
                <a:gd name="T65" fmla="*/ 652 h 670"/>
                <a:gd name="T66" fmla="*/ 458 w 670"/>
                <a:gd name="T67" fmla="*/ 628 h 670"/>
                <a:gd name="T68" fmla="*/ 536 w 670"/>
                <a:gd name="T69" fmla="*/ 580 h 670"/>
                <a:gd name="T70" fmla="*/ 598 w 670"/>
                <a:gd name="T71" fmla="*/ 512 h 670"/>
                <a:gd name="T72" fmla="*/ 638 w 670"/>
                <a:gd name="T73" fmla="*/ 430 h 670"/>
                <a:gd name="T74" fmla="*/ 652 w 670"/>
                <a:gd name="T75" fmla="*/ 336 h 670"/>
                <a:gd name="T76" fmla="*/ 644 w 670"/>
                <a:gd name="T77" fmla="*/ 266 h 670"/>
                <a:gd name="T78" fmla="*/ 646 w 670"/>
                <a:gd name="T79" fmla="*/ 260 h 670"/>
                <a:gd name="T80" fmla="*/ 652 w 670"/>
                <a:gd name="T81" fmla="*/ 256 h 670"/>
                <a:gd name="T82" fmla="*/ 660 w 670"/>
                <a:gd name="T83" fmla="*/ 260 h 670"/>
                <a:gd name="T84" fmla="*/ 668 w 670"/>
                <a:gd name="T85" fmla="*/ 298 h 670"/>
                <a:gd name="T86" fmla="*/ 668 w 670"/>
                <a:gd name="T87" fmla="*/ 370 h 670"/>
                <a:gd name="T88" fmla="*/ 644 w 670"/>
                <a:gd name="T89" fmla="*/ 466 h 670"/>
                <a:gd name="T90" fmla="*/ 594 w 670"/>
                <a:gd name="T91" fmla="*/ 548 h 670"/>
                <a:gd name="T92" fmla="*/ 522 w 670"/>
                <a:gd name="T93" fmla="*/ 614 h 670"/>
                <a:gd name="T94" fmla="*/ 434 w 670"/>
                <a:gd name="T95" fmla="*/ 656 h 670"/>
                <a:gd name="T96" fmla="*/ 336 w 670"/>
                <a:gd name="T97"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0" h="670">
                  <a:moveTo>
                    <a:pt x="336" y="670"/>
                  </a:moveTo>
                  <a:lnTo>
                    <a:pt x="336" y="670"/>
                  </a:lnTo>
                  <a:lnTo>
                    <a:pt x="300" y="670"/>
                  </a:lnTo>
                  <a:lnTo>
                    <a:pt x="268" y="664"/>
                  </a:lnTo>
                  <a:lnTo>
                    <a:pt x="236" y="656"/>
                  </a:lnTo>
                  <a:lnTo>
                    <a:pt x="204" y="644"/>
                  </a:lnTo>
                  <a:lnTo>
                    <a:pt x="176" y="630"/>
                  </a:lnTo>
                  <a:lnTo>
                    <a:pt x="148" y="614"/>
                  </a:lnTo>
                  <a:lnTo>
                    <a:pt x="122" y="594"/>
                  </a:lnTo>
                  <a:lnTo>
                    <a:pt x="98" y="572"/>
                  </a:lnTo>
                  <a:lnTo>
                    <a:pt x="76" y="548"/>
                  </a:lnTo>
                  <a:lnTo>
                    <a:pt x="58" y="522"/>
                  </a:lnTo>
                  <a:lnTo>
                    <a:pt x="40" y="496"/>
                  </a:lnTo>
                  <a:lnTo>
                    <a:pt x="26" y="466"/>
                  </a:lnTo>
                  <a:lnTo>
                    <a:pt x="16" y="436"/>
                  </a:lnTo>
                  <a:lnTo>
                    <a:pt x="6" y="404"/>
                  </a:lnTo>
                  <a:lnTo>
                    <a:pt x="2" y="370"/>
                  </a:lnTo>
                  <a:lnTo>
                    <a:pt x="0" y="336"/>
                  </a:lnTo>
                  <a:lnTo>
                    <a:pt x="0" y="336"/>
                  </a:lnTo>
                  <a:lnTo>
                    <a:pt x="2" y="302"/>
                  </a:lnTo>
                  <a:lnTo>
                    <a:pt x="6" y="268"/>
                  </a:lnTo>
                  <a:lnTo>
                    <a:pt x="16" y="236"/>
                  </a:lnTo>
                  <a:lnTo>
                    <a:pt x="26" y="206"/>
                  </a:lnTo>
                  <a:lnTo>
                    <a:pt x="40" y="176"/>
                  </a:lnTo>
                  <a:lnTo>
                    <a:pt x="58" y="148"/>
                  </a:lnTo>
                  <a:lnTo>
                    <a:pt x="76" y="122"/>
                  </a:lnTo>
                  <a:lnTo>
                    <a:pt x="98" y="98"/>
                  </a:lnTo>
                  <a:lnTo>
                    <a:pt x="122" y="78"/>
                  </a:lnTo>
                  <a:lnTo>
                    <a:pt x="148" y="58"/>
                  </a:lnTo>
                  <a:lnTo>
                    <a:pt x="176" y="42"/>
                  </a:lnTo>
                  <a:lnTo>
                    <a:pt x="204" y="26"/>
                  </a:lnTo>
                  <a:lnTo>
                    <a:pt x="236" y="16"/>
                  </a:lnTo>
                  <a:lnTo>
                    <a:pt x="268" y="8"/>
                  </a:lnTo>
                  <a:lnTo>
                    <a:pt x="300" y="2"/>
                  </a:lnTo>
                  <a:lnTo>
                    <a:pt x="336" y="0"/>
                  </a:lnTo>
                  <a:lnTo>
                    <a:pt x="336" y="0"/>
                  </a:lnTo>
                  <a:lnTo>
                    <a:pt x="368" y="2"/>
                  </a:lnTo>
                  <a:lnTo>
                    <a:pt x="400" y="6"/>
                  </a:lnTo>
                  <a:lnTo>
                    <a:pt x="432" y="14"/>
                  </a:lnTo>
                  <a:lnTo>
                    <a:pt x="462" y="26"/>
                  </a:lnTo>
                  <a:lnTo>
                    <a:pt x="490" y="38"/>
                  </a:lnTo>
                  <a:lnTo>
                    <a:pt x="518" y="54"/>
                  </a:lnTo>
                  <a:lnTo>
                    <a:pt x="544" y="74"/>
                  </a:lnTo>
                  <a:lnTo>
                    <a:pt x="568" y="96"/>
                  </a:lnTo>
                  <a:lnTo>
                    <a:pt x="568" y="96"/>
                  </a:lnTo>
                  <a:lnTo>
                    <a:pt x="570" y="98"/>
                  </a:lnTo>
                  <a:lnTo>
                    <a:pt x="572" y="102"/>
                  </a:lnTo>
                  <a:lnTo>
                    <a:pt x="570" y="106"/>
                  </a:lnTo>
                  <a:lnTo>
                    <a:pt x="568" y="108"/>
                  </a:lnTo>
                  <a:lnTo>
                    <a:pt x="568" y="108"/>
                  </a:lnTo>
                  <a:lnTo>
                    <a:pt x="566" y="110"/>
                  </a:lnTo>
                  <a:lnTo>
                    <a:pt x="562" y="110"/>
                  </a:lnTo>
                  <a:lnTo>
                    <a:pt x="560" y="110"/>
                  </a:lnTo>
                  <a:lnTo>
                    <a:pt x="556" y="108"/>
                  </a:lnTo>
                  <a:lnTo>
                    <a:pt x="556" y="108"/>
                  </a:lnTo>
                  <a:lnTo>
                    <a:pt x="534" y="88"/>
                  </a:lnTo>
                  <a:lnTo>
                    <a:pt x="508" y="70"/>
                  </a:lnTo>
                  <a:lnTo>
                    <a:pt x="482" y="54"/>
                  </a:lnTo>
                  <a:lnTo>
                    <a:pt x="454" y="42"/>
                  </a:lnTo>
                  <a:lnTo>
                    <a:pt x="426" y="32"/>
                  </a:lnTo>
                  <a:lnTo>
                    <a:pt x="396" y="24"/>
                  </a:lnTo>
                  <a:lnTo>
                    <a:pt x="366" y="20"/>
                  </a:lnTo>
                  <a:lnTo>
                    <a:pt x="336" y="18"/>
                  </a:lnTo>
                  <a:lnTo>
                    <a:pt x="336" y="18"/>
                  </a:lnTo>
                  <a:lnTo>
                    <a:pt x="302" y="20"/>
                  </a:lnTo>
                  <a:lnTo>
                    <a:pt x="272" y="24"/>
                  </a:lnTo>
                  <a:lnTo>
                    <a:pt x="240" y="32"/>
                  </a:lnTo>
                  <a:lnTo>
                    <a:pt x="212" y="44"/>
                  </a:lnTo>
                  <a:lnTo>
                    <a:pt x="184" y="56"/>
                  </a:lnTo>
                  <a:lnTo>
                    <a:pt x="158" y="72"/>
                  </a:lnTo>
                  <a:lnTo>
                    <a:pt x="134" y="92"/>
                  </a:lnTo>
                  <a:lnTo>
                    <a:pt x="110" y="112"/>
                  </a:lnTo>
                  <a:lnTo>
                    <a:pt x="90" y="134"/>
                  </a:lnTo>
                  <a:lnTo>
                    <a:pt x="72" y="158"/>
                  </a:lnTo>
                  <a:lnTo>
                    <a:pt x="56" y="184"/>
                  </a:lnTo>
                  <a:lnTo>
                    <a:pt x="42" y="212"/>
                  </a:lnTo>
                  <a:lnTo>
                    <a:pt x="32" y="242"/>
                  </a:lnTo>
                  <a:lnTo>
                    <a:pt x="24" y="272"/>
                  </a:lnTo>
                  <a:lnTo>
                    <a:pt x="20" y="304"/>
                  </a:lnTo>
                  <a:lnTo>
                    <a:pt x="18" y="336"/>
                  </a:lnTo>
                  <a:lnTo>
                    <a:pt x="18" y="336"/>
                  </a:lnTo>
                  <a:lnTo>
                    <a:pt x="20" y="368"/>
                  </a:lnTo>
                  <a:lnTo>
                    <a:pt x="24" y="400"/>
                  </a:lnTo>
                  <a:lnTo>
                    <a:pt x="32" y="430"/>
                  </a:lnTo>
                  <a:lnTo>
                    <a:pt x="42" y="458"/>
                  </a:lnTo>
                  <a:lnTo>
                    <a:pt x="56" y="486"/>
                  </a:lnTo>
                  <a:lnTo>
                    <a:pt x="72" y="512"/>
                  </a:lnTo>
                  <a:lnTo>
                    <a:pt x="90" y="538"/>
                  </a:lnTo>
                  <a:lnTo>
                    <a:pt x="110" y="560"/>
                  </a:lnTo>
                  <a:lnTo>
                    <a:pt x="134" y="580"/>
                  </a:lnTo>
                  <a:lnTo>
                    <a:pt x="158" y="598"/>
                  </a:lnTo>
                  <a:lnTo>
                    <a:pt x="184" y="614"/>
                  </a:lnTo>
                  <a:lnTo>
                    <a:pt x="212" y="628"/>
                  </a:lnTo>
                  <a:lnTo>
                    <a:pt x="240" y="638"/>
                  </a:lnTo>
                  <a:lnTo>
                    <a:pt x="272" y="646"/>
                  </a:lnTo>
                  <a:lnTo>
                    <a:pt x="302" y="652"/>
                  </a:lnTo>
                  <a:lnTo>
                    <a:pt x="336" y="652"/>
                  </a:lnTo>
                  <a:lnTo>
                    <a:pt x="336" y="652"/>
                  </a:lnTo>
                  <a:lnTo>
                    <a:pt x="368" y="652"/>
                  </a:lnTo>
                  <a:lnTo>
                    <a:pt x="398" y="646"/>
                  </a:lnTo>
                  <a:lnTo>
                    <a:pt x="430" y="638"/>
                  </a:lnTo>
                  <a:lnTo>
                    <a:pt x="458" y="628"/>
                  </a:lnTo>
                  <a:lnTo>
                    <a:pt x="486" y="614"/>
                  </a:lnTo>
                  <a:lnTo>
                    <a:pt x="512" y="598"/>
                  </a:lnTo>
                  <a:lnTo>
                    <a:pt x="536" y="580"/>
                  </a:lnTo>
                  <a:lnTo>
                    <a:pt x="560" y="560"/>
                  </a:lnTo>
                  <a:lnTo>
                    <a:pt x="580" y="538"/>
                  </a:lnTo>
                  <a:lnTo>
                    <a:pt x="598" y="512"/>
                  </a:lnTo>
                  <a:lnTo>
                    <a:pt x="614" y="486"/>
                  </a:lnTo>
                  <a:lnTo>
                    <a:pt x="628" y="458"/>
                  </a:lnTo>
                  <a:lnTo>
                    <a:pt x="638" y="430"/>
                  </a:lnTo>
                  <a:lnTo>
                    <a:pt x="646" y="400"/>
                  </a:lnTo>
                  <a:lnTo>
                    <a:pt x="650" y="368"/>
                  </a:lnTo>
                  <a:lnTo>
                    <a:pt x="652" y="336"/>
                  </a:lnTo>
                  <a:lnTo>
                    <a:pt x="652" y="336"/>
                  </a:lnTo>
                  <a:lnTo>
                    <a:pt x="650" y="300"/>
                  </a:lnTo>
                  <a:lnTo>
                    <a:pt x="644" y="266"/>
                  </a:lnTo>
                  <a:lnTo>
                    <a:pt x="644" y="266"/>
                  </a:lnTo>
                  <a:lnTo>
                    <a:pt x="644" y="264"/>
                  </a:lnTo>
                  <a:lnTo>
                    <a:pt x="646" y="260"/>
                  </a:lnTo>
                  <a:lnTo>
                    <a:pt x="648" y="258"/>
                  </a:lnTo>
                  <a:lnTo>
                    <a:pt x="652" y="256"/>
                  </a:lnTo>
                  <a:lnTo>
                    <a:pt x="652" y="256"/>
                  </a:lnTo>
                  <a:lnTo>
                    <a:pt x="656" y="256"/>
                  </a:lnTo>
                  <a:lnTo>
                    <a:pt x="658" y="258"/>
                  </a:lnTo>
                  <a:lnTo>
                    <a:pt x="660" y="260"/>
                  </a:lnTo>
                  <a:lnTo>
                    <a:pt x="662" y="262"/>
                  </a:lnTo>
                  <a:lnTo>
                    <a:pt x="662" y="262"/>
                  </a:lnTo>
                  <a:lnTo>
                    <a:pt x="668" y="298"/>
                  </a:lnTo>
                  <a:lnTo>
                    <a:pt x="670" y="336"/>
                  </a:lnTo>
                  <a:lnTo>
                    <a:pt x="670" y="336"/>
                  </a:lnTo>
                  <a:lnTo>
                    <a:pt x="668" y="370"/>
                  </a:lnTo>
                  <a:lnTo>
                    <a:pt x="664" y="404"/>
                  </a:lnTo>
                  <a:lnTo>
                    <a:pt x="656" y="436"/>
                  </a:lnTo>
                  <a:lnTo>
                    <a:pt x="644" y="466"/>
                  </a:lnTo>
                  <a:lnTo>
                    <a:pt x="630" y="496"/>
                  </a:lnTo>
                  <a:lnTo>
                    <a:pt x="612" y="522"/>
                  </a:lnTo>
                  <a:lnTo>
                    <a:pt x="594" y="548"/>
                  </a:lnTo>
                  <a:lnTo>
                    <a:pt x="572" y="572"/>
                  </a:lnTo>
                  <a:lnTo>
                    <a:pt x="548" y="594"/>
                  </a:lnTo>
                  <a:lnTo>
                    <a:pt x="522" y="614"/>
                  </a:lnTo>
                  <a:lnTo>
                    <a:pt x="494" y="630"/>
                  </a:lnTo>
                  <a:lnTo>
                    <a:pt x="466" y="644"/>
                  </a:lnTo>
                  <a:lnTo>
                    <a:pt x="434" y="656"/>
                  </a:lnTo>
                  <a:lnTo>
                    <a:pt x="402" y="664"/>
                  </a:lnTo>
                  <a:lnTo>
                    <a:pt x="370" y="670"/>
                  </a:lnTo>
                  <a:lnTo>
                    <a:pt x="336" y="670"/>
                  </a:lnTo>
                  <a:lnTo>
                    <a:pt x="336" y="6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grpSp>
      <p:grpSp>
        <p:nvGrpSpPr>
          <p:cNvPr id="63" name="Group 143">
            <a:extLst>
              <a:ext uri="{FF2B5EF4-FFF2-40B4-BE49-F238E27FC236}">
                <a16:creationId xmlns:a16="http://schemas.microsoft.com/office/drawing/2014/main" id="{A3195938-A001-301E-BAC1-EA96049FD4F8}"/>
              </a:ext>
            </a:extLst>
          </p:cNvPr>
          <p:cNvGrpSpPr>
            <a:grpSpLocks noChangeAspect="1"/>
          </p:cNvGrpSpPr>
          <p:nvPr/>
        </p:nvGrpSpPr>
        <p:grpSpPr bwMode="auto">
          <a:xfrm>
            <a:off x="1181771" y="2566021"/>
            <a:ext cx="1284635" cy="877668"/>
            <a:chOff x="3077" y="2964"/>
            <a:chExt cx="1048" cy="716"/>
          </a:xfrm>
          <a:solidFill>
            <a:srgbClr val="F6F6FA"/>
          </a:solidFill>
        </p:grpSpPr>
        <p:sp>
          <p:nvSpPr>
            <p:cNvPr id="64" name="Freeform 144">
              <a:extLst>
                <a:ext uri="{FF2B5EF4-FFF2-40B4-BE49-F238E27FC236}">
                  <a16:creationId xmlns:a16="http://schemas.microsoft.com/office/drawing/2014/main" id="{062904B1-2157-9DD6-B8B3-CE729ADB75DD}"/>
                </a:ext>
              </a:extLst>
            </p:cNvPr>
            <p:cNvSpPr>
              <a:spLocks noEditPoints="1"/>
            </p:cNvSpPr>
            <p:nvPr/>
          </p:nvSpPr>
          <p:spPr bwMode="auto">
            <a:xfrm>
              <a:off x="3639" y="3010"/>
              <a:ext cx="446" cy="630"/>
            </a:xfrm>
            <a:custGeom>
              <a:avLst/>
              <a:gdLst>
                <a:gd name="T0" fmla="*/ 134 w 446"/>
                <a:gd name="T1" fmla="*/ 630 h 630"/>
                <a:gd name="T2" fmla="*/ 134 w 446"/>
                <a:gd name="T3" fmla="*/ 428 h 630"/>
                <a:gd name="T4" fmla="*/ 104 w 446"/>
                <a:gd name="T5" fmla="*/ 412 h 630"/>
                <a:gd name="T6" fmla="*/ 56 w 446"/>
                <a:gd name="T7" fmla="*/ 370 h 630"/>
                <a:gd name="T8" fmla="*/ 22 w 446"/>
                <a:gd name="T9" fmla="*/ 318 h 630"/>
                <a:gd name="T10" fmla="*/ 2 w 446"/>
                <a:gd name="T11" fmla="*/ 256 h 630"/>
                <a:gd name="T12" fmla="*/ 0 w 446"/>
                <a:gd name="T13" fmla="*/ 224 h 630"/>
                <a:gd name="T14" fmla="*/ 2 w 446"/>
                <a:gd name="T15" fmla="*/ 200 h 630"/>
                <a:gd name="T16" fmla="*/ 10 w 446"/>
                <a:gd name="T17" fmla="*/ 158 h 630"/>
                <a:gd name="T18" fmla="*/ 28 w 446"/>
                <a:gd name="T19" fmla="*/ 118 h 630"/>
                <a:gd name="T20" fmla="*/ 52 w 446"/>
                <a:gd name="T21" fmla="*/ 82 h 630"/>
                <a:gd name="T22" fmla="*/ 82 w 446"/>
                <a:gd name="T23" fmla="*/ 52 h 630"/>
                <a:gd name="T24" fmla="*/ 118 w 446"/>
                <a:gd name="T25" fmla="*/ 28 h 630"/>
                <a:gd name="T26" fmla="*/ 158 w 446"/>
                <a:gd name="T27" fmla="*/ 10 h 630"/>
                <a:gd name="T28" fmla="*/ 200 w 446"/>
                <a:gd name="T29" fmla="*/ 2 h 630"/>
                <a:gd name="T30" fmla="*/ 224 w 446"/>
                <a:gd name="T31" fmla="*/ 0 h 630"/>
                <a:gd name="T32" fmla="*/ 268 w 446"/>
                <a:gd name="T33" fmla="*/ 6 h 630"/>
                <a:gd name="T34" fmla="*/ 310 w 446"/>
                <a:gd name="T35" fmla="*/ 18 h 630"/>
                <a:gd name="T36" fmla="*/ 348 w 446"/>
                <a:gd name="T37" fmla="*/ 38 h 630"/>
                <a:gd name="T38" fmla="*/ 380 w 446"/>
                <a:gd name="T39" fmla="*/ 66 h 630"/>
                <a:gd name="T40" fmla="*/ 408 w 446"/>
                <a:gd name="T41" fmla="*/ 100 h 630"/>
                <a:gd name="T42" fmla="*/ 428 w 446"/>
                <a:gd name="T43" fmla="*/ 136 h 630"/>
                <a:gd name="T44" fmla="*/ 442 w 446"/>
                <a:gd name="T45" fmla="*/ 178 h 630"/>
                <a:gd name="T46" fmla="*/ 446 w 446"/>
                <a:gd name="T47" fmla="*/ 224 h 630"/>
                <a:gd name="T48" fmla="*/ 446 w 446"/>
                <a:gd name="T49" fmla="*/ 240 h 630"/>
                <a:gd name="T50" fmla="*/ 440 w 446"/>
                <a:gd name="T51" fmla="*/ 272 h 630"/>
                <a:gd name="T52" fmla="*/ 424 w 446"/>
                <a:gd name="T53" fmla="*/ 318 h 630"/>
                <a:gd name="T54" fmla="*/ 390 w 446"/>
                <a:gd name="T55" fmla="*/ 372 h 630"/>
                <a:gd name="T56" fmla="*/ 354 w 446"/>
                <a:gd name="T57" fmla="*/ 404 h 630"/>
                <a:gd name="T58" fmla="*/ 326 w 446"/>
                <a:gd name="T59" fmla="*/ 422 h 630"/>
                <a:gd name="T60" fmla="*/ 310 w 446"/>
                <a:gd name="T61" fmla="*/ 630 h 630"/>
                <a:gd name="T62" fmla="*/ 292 w 446"/>
                <a:gd name="T63" fmla="*/ 612 h 630"/>
                <a:gd name="T64" fmla="*/ 298 w 446"/>
                <a:gd name="T65" fmla="*/ 414 h 630"/>
                <a:gd name="T66" fmla="*/ 326 w 446"/>
                <a:gd name="T67" fmla="*/ 400 h 630"/>
                <a:gd name="T68" fmla="*/ 374 w 446"/>
                <a:gd name="T69" fmla="*/ 362 h 630"/>
                <a:gd name="T70" fmla="*/ 408 w 446"/>
                <a:gd name="T71" fmla="*/ 312 h 630"/>
                <a:gd name="T72" fmla="*/ 426 w 446"/>
                <a:gd name="T73" fmla="*/ 254 h 630"/>
                <a:gd name="T74" fmla="*/ 428 w 446"/>
                <a:gd name="T75" fmla="*/ 224 h 630"/>
                <a:gd name="T76" fmla="*/ 424 w 446"/>
                <a:gd name="T77" fmla="*/ 182 h 630"/>
                <a:gd name="T78" fmla="*/ 412 w 446"/>
                <a:gd name="T79" fmla="*/ 144 h 630"/>
                <a:gd name="T80" fmla="*/ 392 w 446"/>
                <a:gd name="T81" fmla="*/ 110 h 630"/>
                <a:gd name="T82" fmla="*/ 368 w 446"/>
                <a:gd name="T83" fmla="*/ 78 h 630"/>
                <a:gd name="T84" fmla="*/ 338 w 446"/>
                <a:gd name="T85" fmla="*/ 54 h 630"/>
                <a:gd name="T86" fmla="*/ 302 w 446"/>
                <a:gd name="T87" fmla="*/ 34 h 630"/>
                <a:gd name="T88" fmla="*/ 264 w 446"/>
                <a:gd name="T89" fmla="*/ 22 h 630"/>
                <a:gd name="T90" fmla="*/ 224 w 446"/>
                <a:gd name="T91" fmla="*/ 18 h 630"/>
                <a:gd name="T92" fmla="*/ 202 w 446"/>
                <a:gd name="T93" fmla="*/ 20 h 630"/>
                <a:gd name="T94" fmla="*/ 162 w 446"/>
                <a:gd name="T95" fmla="*/ 28 h 630"/>
                <a:gd name="T96" fmla="*/ 126 w 446"/>
                <a:gd name="T97" fmla="*/ 44 h 630"/>
                <a:gd name="T98" fmla="*/ 94 w 446"/>
                <a:gd name="T99" fmla="*/ 66 h 630"/>
                <a:gd name="T100" fmla="*/ 66 w 446"/>
                <a:gd name="T101" fmla="*/ 94 h 630"/>
                <a:gd name="T102" fmla="*/ 44 w 446"/>
                <a:gd name="T103" fmla="*/ 126 h 630"/>
                <a:gd name="T104" fmla="*/ 28 w 446"/>
                <a:gd name="T105" fmla="*/ 162 h 630"/>
                <a:gd name="T106" fmla="*/ 20 w 446"/>
                <a:gd name="T107" fmla="*/ 202 h 630"/>
                <a:gd name="T108" fmla="*/ 18 w 446"/>
                <a:gd name="T109" fmla="*/ 224 h 630"/>
                <a:gd name="T110" fmla="*/ 28 w 446"/>
                <a:gd name="T111" fmla="*/ 284 h 630"/>
                <a:gd name="T112" fmla="*/ 54 w 446"/>
                <a:gd name="T113" fmla="*/ 338 h 630"/>
                <a:gd name="T114" fmla="*/ 94 w 446"/>
                <a:gd name="T115" fmla="*/ 382 h 630"/>
                <a:gd name="T116" fmla="*/ 146 w 446"/>
                <a:gd name="T117" fmla="*/ 414 h 630"/>
                <a:gd name="T118" fmla="*/ 152 w 446"/>
                <a:gd name="T119" fmla="*/ 612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630">
                  <a:moveTo>
                    <a:pt x="310" y="630"/>
                  </a:moveTo>
                  <a:lnTo>
                    <a:pt x="134" y="630"/>
                  </a:lnTo>
                  <a:lnTo>
                    <a:pt x="134" y="428"/>
                  </a:lnTo>
                  <a:lnTo>
                    <a:pt x="134" y="428"/>
                  </a:lnTo>
                  <a:lnTo>
                    <a:pt x="118" y="420"/>
                  </a:lnTo>
                  <a:lnTo>
                    <a:pt x="104" y="412"/>
                  </a:lnTo>
                  <a:lnTo>
                    <a:pt x="78" y="394"/>
                  </a:lnTo>
                  <a:lnTo>
                    <a:pt x="56" y="370"/>
                  </a:lnTo>
                  <a:lnTo>
                    <a:pt x="36" y="346"/>
                  </a:lnTo>
                  <a:lnTo>
                    <a:pt x="22" y="318"/>
                  </a:lnTo>
                  <a:lnTo>
                    <a:pt x="10" y="288"/>
                  </a:lnTo>
                  <a:lnTo>
                    <a:pt x="2" y="256"/>
                  </a:lnTo>
                  <a:lnTo>
                    <a:pt x="2" y="240"/>
                  </a:lnTo>
                  <a:lnTo>
                    <a:pt x="0" y="224"/>
                  </a:lnTo>
                  <a:lnTo>
                    <a:pt x="0" y="224"/>
                  </a:lnTo>
                  <a:lnTo>
                    <a:pt x="2" y="200"/>
                  </a:lnTo>
                  <a:lnTo>
                    <a:pt x="4" y="178"/>
                  </a:lnTo>
                  <a:lnTo>
                    <a:pt x="10" y="158"/>
                  </a:lnTo>
                  <a:lnTo>
                    <a:pt x="18" y="136"/>
                  </a:lnTo>
                  <a:lnTo>
                    <a:pt x="28" y="118"/>
                  </a:lnTo>
                  <a:lnTo>
                    <a:pt x="38" y="100"/>
                  </a:lnTo>
                  <a:lnTo>
                    <a:pt x="52" y="82"/>
                  </a:lnTo>
                  <a:lnTo>
                    <a:pt x="66" y="66"/>
                  </a:lnTo>
                  <a:lnTo>
                    <a:pt x="82" y="52"/>
                  </a:lnTo>
                  <a:lnTo>
                    <a:pt x="98" y="38"/>
                  </a:lnTo>
                  <a:lnTo>
                    <a:pt x="118" y="28"/>
                  </a:lnTo>
                  <a:lnTo>
                    <a:pt x="136" y="18"/>
                  </a:lnTo>
                  <a:lnTo>
                    <a:pt x="158" y="10"/>
                  </a:lnTo>
                  <a:lnTo>
                    <a:pt x="178" y="6"/>
                  </a:lnTo>
                  <a:lnTo>
                    <a:pt x="200" y="2"/>
                  </a:lnTo>
                  <a:lnTo>
                    <a:pt x="224" y="0"/>
                  </a:lnTo>
                  <a:lnTo>
                    <a:pt x="224" y="0"/>
                  </a:lnTo>
                  <a:lnTo>
                    <a:pt x="246" y="2"/>
                  </a:lnTo>
                  <a:lnTo>
                    <a:pt x="268" y="6"/>
                  </a:lnTo>
                  <a:lnTo>
                    <a:pt x="290" y="10"/>
                  </a:lnTo>
                  <a:lnTo>
                    <a:pt x="310" y="18"/>
                  </a:lnTo>
                  <a:lnTo>
                    <a:pt x="330" y="28"/>
                  </a:lnTo>
                  <a:lnTo>
                    <a:pt x="348" y="38"/>
                  </a:lnTo>
                  <a:lnTo>
                    <a:pt x="364" y="52"/>
                  </a:lnTo>
                  <a:lnTo>
                    <a:pt x="380" y="66"/>
                  </a:lnTo>
                  <a:lnTo>
                    <a:pt x="394" y="82"/>
                  </a:lnTo>
                  <a:lnTo>
                    <a:pt x="408" y="100"/>
                  </a:lnTo>
                  <a:lnTo>
                    <a:pt x="420" y="118"/>
                  </a:lnTo>
                  <a:lnTo>
                    <a:pt x="428" y="136"/>
                  </a:lnTo>
                  <a:lnTo>
                    <a:pt x="436" y="158"/>
                  </a:lnTo>
                  <a:lnTo>
                    <a:pt x="442" y="178"/>
                  </a:lnTo>
                  <a:lnTo>
                    <a:pt x="444" y="200"/>
                  </a:lnTo>
                  <a:lnTo>
                    <a:pt x="446" y="224"/>
                  </a:lnTo>
                  <a:lnTo>
                    <a:pt x="446" y="224"/>
                  </a:lnTo>
                  <a:lnTo>
                    <a:pt x="446" y="240"/>
                  </a:lnTo>
                  <a:lnTo>
                    <a:pt x="444" y="256"/>
                  </a:lnTo>
                  <a:lnTo>
                    <a:pt x="440" y="272"/>
                  </a:lnTo>
                  <a:lnTo>
                    <a:pt x="436" y="288"/>
                  </a:lnTo>
                  <a:lnTo>
                    <a:pt x="424" y="318"/>
                  </a:lnTo>
                  <a:lnTo>
                    <a:pt x="410" y="346"/>
                  </a:lnTo>
                  <a:lnTo>
                    <a:pt x="390" y="372"/>
                  </a:lnTo>
                  <a:lnTo>
                    <a:pt x="366" y="394"/>
                  </a:lnTo>
                  <a:lnTo>
                    <a:pt x="354" y="404"/>
                  </a:lnTo>
                  <a:lnTo>
                    <a:pt x="340" y="414"/>
                  </a:lnTo>
                  <a:lnTo>
                    <a:pt x="326" y="422"/>
                  </a:lnTo>
                  <a:lnTo>
                    <a:pt x="310" y="428"/>
                  </a:lnTo>
                  <a:lnTo>
                    <a:pt x="310" y="630"/>
                  </a:lnTo>
                  <a:close/>
                  <a:moveTo>
                    <a:pt x="152" y="612"/>
                  </a:moveTo>
                  <a:lnTo>
                    <a:pt x="292" y="612"/>
                  </a:lnTo>
                  <a:lnTo>
                    <a:pt x="292" y="416"/>
                  </a:lnTo>
                  <a:lnTo>
                    <a:pt x="298" y="414"/>
                  </a:lnTo>
                  <a:lnTo>
                    <a:pt x="298" y="414"/>
                  </a:lnTo>
                  <a:lnTo>
                    <a:pt x="326" y="400"/>
                  </a:lnTo>
                  <a:lnTo>
                    <a:pt x="352" y="384"/>
                  </a:lnTo>
                  <a:lnTo>
                    <a:pt x="374" y="362"/>
                  </a:lnTo>
                  <a:lnTo>
                    <a:pt x="392" y="338"/>
                  </a:lnTo>
                  <a:lnTo>
                    <a:pt x="408" y="312"/>
                  </a:lnTo>
                  <a:lnTo>
                    <a:pt x="418" y="284"/>
                  </a:lnTo>
                  <a:lnTo>
                    <a:pt x="426" y="254"/>
                  </a:lnTo>
                  <a:lnTo>
                    <a:pt x="428" y="224"/>
                  </a:lnTo>
                  <a:lnTo>
                    <a:pt x="428" y="224"/>
                  </a:lnTo>
                  <a:lnTo>
                    <a:pt x="426" y="202"/>
                  </a:lnTo>
                  <a:lnTo>
                    <a:pt x="424" y="182"/>
                  </a:lnTo>
                  <a:lnTo>
                    <a:pt x="418" y="162"/>
                  </a:lnTo>
                  <a:lnTo>
                    <a:pt x="412" y="144"/>
                  </a:lnTo>
                  <a:lnTo>
                    <a:pt x="404" y="126"/>
                  </a:lnTo>
                  <a:lnTo>
                    <a:pt x="392" y="110"/>
                  </a:lnTo>
                  <a:lnTo>
                    <a:pt x="382" y="94"/>
                  </a:lnTo>
                  <a:lnTo>
                    <a:pt x="368" y="78"/>
                  </a:lnTo>
                  <a:lnTo>
                    <a:pt x="354" y="66"/>
                  </a:lnTo>
                  <a:lnTo>
                    <a:pt x="338" y="54"/>
                  </a:lnTo>
                  <a:lnTo>
                    <a:pt x="320" y="44"/>
                  </a:lnTo>
                  <a:lnTo>
                    <a:pt x="302" y="34"/>
                  </a:lnTo>
                  <a:lnTo>
                    <a:pt x="284" y="28"/>
                  </a:lnTo>
                  <a:lnTo>
                    <a:pt x="264" y="22"/>
                  </a:lnTo>
                  <a:lnTo>
                    <a:pt x="244" y="20"/>
                  </a:lnTo>
                  <a:lnTo>
                    <a:pt x="224" y="18"/>
                  </a:lnTo>
                  <a:lnTo>
                    <a:pt x="224" y="18"/>
                  </a:lnTo>
                  <a:lnTo>
                    <a:pt x="202" y="20"/>
                  </a:lnTo>
                  <a:lnTo>
                    <a:pt x="182" y="22"/>
                  </a:lnTo>
                  <a:lnTo>
                    <a:pt x="162" y="28"/>
                  </a:lnTo>
                  <a:lnTo>
                    <a:pt x="144" y="34"/>
                  </a:lnTo>
                  <a:lnTo>
                    <a:pt x="126" y="44"/>
                  </a:lnTo>
                  <a:lnTo>
                    <a:pt x="108" y="54"/>
                  </a:lnTo>
                  <a:lnTo>
                    <a:pt x="94" y="66"/>
                  </a:lnTo>
                  <a:lnTo>
                    <a:pt x="78" y="78"/>
                  </a:lnTo>
                  <a:lnTo>
                    <a:pt x="66" y="94"/>
                  </a:lnTo>
                  <a:lnTo>
                    <a:pt x="54" y="110"/>
                  </a:lnTo>
                  <a:lnTo>
                    <a:pt x="44" y="126"/>
                  </a:lnTo>
                  <a:lnTo>
                    <a:pt x="34" y="144"/>
                  </a:lnTo>
                  <a:lnTo>
                    <a:pt x="28" y="162"/>
                  </a:lnTo>
                  <a:lnTo>
                    <a:pt x="22" y="182"/>
                  </a:lnTo>
                  <a:lnTo>
                    <a:pt x="20" y="202"/>
                  </a:lnTo>
                  <a:lnTo>
                    <a:pt x="18" y="224"/>
                  </a:lnTo>
                  <a:lnTo>
                    <a:pt x="18" y="224"/>
                  </a:lnTo>
                  <a:lnTo>
                    <a:pt x="20" y="254"/>
                  </a:lnTo>
                  <a:lnTo>
                    <a:pt x="28" y="284"/>
                  </a:lnTo>
                  <a:lnTo>
                    <a:pt x="38" y="312"/>
                  </a:lnTo>
                  <a:lnTo>
                    <a:pt x="54" y="338"/>
                  </a:lnTo>
                  <a:lnTo>
                    <a:pt x="72" y="362"/>
                  </a:lnTo>
                  <a:lnTo>
                    <a:pt x="94" y="382"/>
                  </a:lnTo>
                  <a:lnTo>
                    <a:pt x="118" y="400"/>
                  </a:lnTo>
                  <a:lnTo>
                    <a:pt x="146" y="414"/>
                  </a:lnTo>
                  <a:lnTo>
                    <a:pt x="152" y="416"/>
                  </a:lnTo>
                  <a:lnTo>
                    <a:pt x="152"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5" name="Freeform 145">
              <a:extLst>
                <a:ext uri="{FF2B5EF4-FFF2-40B4-BE49-F238E27FC236}">
                  <a16:creationId xmlns:a16="http://schemas.microsoft.com/office/drawing/2014/main" id="{26E29F99-CEA9-F356-904D-7DFE23845886}"/>
                </a:ext>
              </a:extLst>
            </p:cNvPr>
            <p:cNvSpPr>
              <a:spLocks noEditPoints="1"/>
            </p:cNvSpPr>
            <p:nvPr/>
          </p:nvSpPr>
          <p:spPr bwMode="auto">
            <a:xfrm>
              <a:off x="3815" y="3622"/>
              <a:ext cx="94" cy="58"/>
            </a:xfrm>
            <a:custGeom>
              <a:avLst/>
              <a:gdLst>
                <a:gd name="T0" fmla="*/ 70 w 94"/>
                <a:gd name="T1" fmla="*/ 58 h 58"/>
                <a:gd name="T2" fmla="*/ 24 w 94"/>
                <a:gd name="T3" fmla="*/ 58 h 58"/>
                <a:gd name="T4" fmla="*/ 0 w 94"/>
                <a:gd name="T5" fmla="*/ 0 h 58"/>
                <a:gd name="T6" fmla="*/ 94 w 94"/>
                <a:gd name="T7" fmla="*/ 0 h 58"/>
                <a:gd name="T8" fmla="*/ 70 w 94"/>
                <a:gd name="T9" fmla="*/ 58 h 58"/>
                <a:gd name="T10" fmla="*/ 36 w 94"/>
                <a:gd name="T11" fmla="*/ 40 h 58"/>
                <a:gd name="T12" fmla="*/ 58 w 94"/>
                <a:gd name="T13" fmla="*/ 40 h 58"/>
                <a:gd name="T14" fmla="*/ 68 w 94"/>
                <a:gd name="T15" fmla="*/ 18 h 58"/>
                <a:gd name="T16" fmla="*/ 26 w 94"/>
                <a:gd name="T17" fmla="*/ 18 h 58"/>
                <a:gd name="T18" fmla="*/ 36 w 94"/>
                <a:gd name="T1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58">
                  <a:moveTo>
                    <a:pt x="70" y="58"/>
                  </a:moveTo>
                  <a:lnTo>
                    <a:pt x="24" y="58"/>
                  </a:lnTo>
                  <a:lnTo>
                    <a:pt x="0" y="0"/>
                  </a:lnTo>
                  <a:lnTo>
                    <a:pt x="94" y="0"/>
                  </a:lnTo>
                  <a:lnTo>
                    <a:pt x="70" y="58"/>
                  </a:lnTo>
                  <a:close/>
                  <a:moveTo>
                    <a:pt x="36" y="40"/>
                  </a:moveTo>
                  <a:lnTo>
                    <a:pt x="58" y="40"/>
                  </a:lnTo>
                  <a:lnTo>
                    <a:pt x="68" y="18"/>
                  </a:lnTo>
                  <a:lnTo>
                    <a:pt x="26" y="18"/>
                  </a:lnTo>
                  <a:lnTo>
                    <a:pt x="3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6" name="Rectangle 146">
              <a:extLst>
                <a:ext uri="{FF2B5EF4-FFF2-40B4-BE49-F238E27FC236}">
                  <a16:creationId xmlns:a16="http://schemas.microsoft.com/office/drawing/2014/main" id="{A7D57F02-3310-FF1D-6618-045113889B12}"/>
                </a:ext>
              </a:extLst>
            </p:cNvPr>
            <p:cNvSpPr>
              <a:spLocks noChangeArrowheads="1"/>
            </p:cNvSpPr>
            <p:nvPr/>
          </p:nvSpPr>
          <p:spPr bwMode="auto">
            <a:xfrm>
              <a:off x="3737" y="3492"/>
              <a:ext cx="25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7" name="Rectangle 147">
              <a:extLst>
                <a:ext uri="{FF2B5EF4-FFF2-40B4-BE49-F238E27FC236}">
                  <a16:creationId xmlns:a16="http://schemas.microsoft.com/office/drawing/2014/main" id="{E602343E-7EFD-3EF4-0BA1-BC1124782961}"/>
                </a:ext>
              </a:extLst>
            </p:cNvPr>
            <p:cNvSpPr>
              <a:spLocks noChangeArrowheads="1"/>
            </p:cNvSpPr>
            <p:nvPr/>
          </p:nvSpPr>
          <p:spPr bwMode="auto">
            <a:xfrm>
              <a:off x="3737" y="3532"/>
              <a:ext cx="25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8" name="Rectangle 148">
              <a:extLst>
                <a:ext uri="{FF2B5EF4-FFF2-40B4-BE49-F238E27FC236}">
                  <a16:creationId xmlns:a16="http://schemas.microsoft.com/office/drawing/2014/main" id="{98082BC5-C702-29E3-9DF3-D1B7BE480789}"/>
                </a:ext>
              </a:extLst>
            </p:cNvPr>
            <p:cNvSpPr>
              <a:spLocks noChangeArrowheads="1"/>
            </p:cNvSpPr>
            <p:nvPr/>
          </p:nvSpPr>
          <p:spPr bwMode="auto">
            <a:xfrm>
              <a:off x="3737" y="3572"/>
              <a:ext cx="25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69" name="Rectangle 149">
              <a:extLst>
                <a:ext uri="{FF2B5EF4-FFF2-40B4-BE49-F238E27FC236}">
                  <a16:creationId xmlns:a16="http://schemas.microsoft.com/office/drawing/2014/main" id="{04E3ECCB-17D1-EDD5-116B-222BF8E098F4}"/>
                </a:ext>
              </a:extLst>
            </p:cNvPr>
            <p:cNvSpPr>
              <a:spLocks noChangeArrowheads="1"/>
            </p:cNvSpPr>
            <p:nvPr/>
          </p:nvSpPr>
          <p:spPr bwMode="auto">
            <a:xfrm>
              <a:off x="3721" y="300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0" name="Rectangle 150">
              <a:extLst>
                <a:ext uri="{FF2B5EF4-FFF2-40B4-BE49-F238E27FC236}">
                  <a16:creationId xmlns:a16="http://schemas.microsoft.com/office/drawing/2014/main" id="{9AB57D80-3F9E-3B0A-E483-FBD17CC60209}"/>
                </a:ext>
              </a:extLst>
            </p:cNvPr>
            <p:cNvSpPr>
              <a:spLocks noChangeArrowheads="1"/>
            </p:cNvSpPr>
            <p:nvPr/>
          </p:nvSpPr>
          <p:spPr bwMode="auto">
            <a:xfrm>
              <a:off x="3629" y="3084"/>
              <a:ext cx="18"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1" name="Rectangle 151">
              <a:extLst>
                <a:ext uri="{FF2B5EF4-FFF2-40B4-BE49-F238E27FC236}">
                  <a16:creationId xmlns:a16="http://schemas.microsoft.com/office/drawing/2014/main" id="{8DED4EA8-249B-D467-BBE8-1DE4508D852F}"/>
                </a:ext>
              </a:extLst>
            </p:cNvPr>
            <p:cNvSpPr>
              <a:spLocks noChangeArrowheads="1"/>
            </p:cNvSpPr>
            <p:nvPr/>
          </p:nvSpPr>
          <p:spPr bwMode="auto">
            <a:xfrm>
              <a:off x="3853" y="2964"/>
              <a:ext cx="18"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2" name="Rectangle 152">
              <a:extLst>
                <a:ext uri="{FF2B5EF4-FFF2-40B4-BE49-F238E27FC236}">
                  <a16:creationId xmlns:a16="http://schemas.microsoft.com/office/drawing/2014/main" id="{AA90877E-5263-71BE-7294-EE4F89CA5CC1}"/>
                </a:ext>
              </a:extLst>
            </p:cNvPr>
            <p:cNvSpPr>
              <a:spLocks noChangeArrowheads="1"/>
            </p:cNvSpPr>
            <p:nvPr/>
          </p:nvSpPr>
          <p:spPr bwMode="auto">
            <a:xfrm>
              <a:off x="3987" y="300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3" name="Rectangle 153">
              <a:extLst>
                <a:ext uri="{FF2B5EF4-FFF2-40B4-BE49-F238E27FC236}">
                  <a16:creationId xmlns:a16="http://schemas.microsoft.com/office/drawing/2014/main" id="{B3B35AD3-A93A-9BBD-E90B-9A28B15AF649}"/>
                </a:ext>
              </a:extLst>
            </p:cNvPr>
            <p:cNvSpPr>
              <a:spLocks noChangeArrowheads="1"/>
            </p:cNvSpPr>
            <p:nvPr/>
          </p:nvSpPr>
          <p:spPr bwMode="auto">
            <a:xfrm>
              <a:off x="4069" y="3084"/>
              <a:ext cx="18"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4" name="Rectangle 154">
              <a:extLst>
                <a:ext uri="{FF2B5EF4-FFF2-40B4-BE49-F238E27FC236}">
                  <a16:creationId xmlns:a16="http://schemas.microsoft.com/office/drawing/2014/main" id="{45E92B1C-02DC-75A4-7BAB-C1C0AA587BF7}"/>
                </a:ext>
              </a:extLst>
            </p:cNvPr>
            <p:cNvSpPr>
              <a:spLocks noChangeArrowheads="1"/>
            </p:cNvSpPr>
            <p:nvPr/>
          </p:nvSpPr>
          <p:spPr bwMode="auto">
            <a:xfrm>
              <a:off x="3629" y="335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5" name="Rectangle 155">
              <a:extLst>
                <a:ext uri="{FF2B5EF4-FFF2-40B4-BE49-F238E27FC236}">
                  <a16:creationId xmlns:a16="http://schemas.microsoft.com/office/drawing/2014/main" id="{0DB53D41-54AD-1582-218F-A402A46524B2}"/>
                </a:ext>
              </a:extLst>
            </p:cNvPr>
            <p:cNvSpPr>
              <a:spLocks noChangeArrowheads="1"/>
            </p:cNvSpPr>
            <p:nvPr/>
          </p:nvSpPr>
          <p:spPr bwMode="auto">
            <a:xfrm>
              <a:off x="4069" y="335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6" name="Rectangle 156">
              <a:extLst>
                <a:ext uri="{FF2B5EF4-FFF2-40B4-BE49-F238E27FC236}">
                  <a16:creationId xmlns:a16="http://schemas.microsoft.com/office/drawing/2014/main" id="{642A2FBA-ABC8-7779-7714-AC821950E229}"/>
                </a:ext>
              </a:extLst>
            </p:cNvPr>
            <p:cNvSpPr>
              <a:spLocks noChangeArrowheads="1"/>
            </p:cNvSpPr>
            <p:nvPr/>
          </p:nvSpPr>
          <p:spPr bwMode="auto">
            <a:xfrm>
              <a:off x="4107" y="3212"/>
              <a:ext cx="18"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7" name="Rectangle 157">
              <a:extLst>
                <a:ext uri="{FF2B5EF4-FFF2-40B4-BE49-F238E27FC236}">
                  <a16:creationId xmlns:a16="http://schemas.microsoft.com/office/drawing/2014/main" id="{2F65E7A4-3B4A-48D3-6584-B8E26FC2AA5B}"/>
                </a:ext>
              </a:extLst>
            </p:cNvPr>
            <p:cNvSpPr>
              <a:spLocks noChangeArrowheads="1"/>
            </p:cNvSpPr>
            <p:nvPr/>
          </p:nvSpPr>
          <p:spPr bwMode="auto">
            <a:xfrm>
              <a:off x="3601" y="3212"/>
              <a:ext cx="18"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8" name="Freeform 158">
              <a:extLst>
                <a:ext uri="{FF2B5EF4-FFF2-40B4-BE49-F238E27FC236}">
                  <a16:creationId xmlns:a16="http://schemas.microsoft.com/office/drawing/2014/main" id="{A989F5DC-F722-D19A-C059-7D8A95AC3B6A}"/>
                </a:ext>
              </a:extLst>
            </p:cNvPr>
            <p:cNvSpPr>
              <a:spLocks/>
            </p:cNvSpPr>
            <p:nvPr/>
          </p:nvSpPr>
          <p:spPr bwMode="auto">
            <a:xfrm>
              <a:off x="3077" y="3072"/>
              <a:ext cx="374" cy="574"/>
            </a:xfrm>
            <a:custGeom>
              <a:avLst/>
              <a:gdLst>
                <a:gd name="T0" fmla="*/ 374 w 374"/>
                <a:gd name="T1" fmla="*/ 574 h 574"/>
                <a:gd name="T2" fmla="*/ 356 w 374"/>
                <a:gd name="T3" fmla="*/ 574 h 574"/>
                <a:gd name="T4" fmla="*/ 356 w 374"/>
                <a:gd name="T5" fmla="*/ 564 h 574"/>
                <a:gd name="T6" fmla="*/ 356 w 374"/>
                <a:gd name="T7" fmla="*/ 564 h 574"/>
                <a:gd name="T8" fmla="*/ 356 w 374"/>
                <a:gd name="T9" fmla="*/ 554 h 574"/>
                <a:gd name="T10" fmla="*/ 352 w 374"/>
                <a:gd name="T11" fmla="*/ 544 h 574"/>
                <a:gd name="T12" fmla="*/ 348 w 374"/>
                <a:gd name="T13" fmla="*/ 536 h 574"/>
                <a:gd name="T14" fmla="*/ 342 w 374"/>
                <a:gd name="T15" fmla="*/ 528 h 574"/>
                <a:gd name="T16" fmla="*/ 334 w 374"/>
                <a:gd name="T17" fmla="*/ 522 h 574"/>
                <a:gd name="T18" fmla="*/ 326 w 374"/>
                <a:gd name="T19" fmla="*/ 518 h 574"/>
                <a:gd name="T20" fmla="*/ 316 w 374"/>
                <a:gd name="T21" fmla="*/ 514 h 574"/>
                <a:gd name="T22" fmla="*/ 306 w 374"/>
                <a:gd name="T23" fmla="*/ 514 h 574"/>
                <a:gd name="T24" fmla="*/ 0 w 374"/>
                <a:gd name="T25" fmla="*/ 514 h 574"/>
                <a:gd name="T26" fmla="*/ 0 w 374"/>
                <a:gd name="T27" fmla="*/ 0 h 574"/>
                <a:gd name="T28" fmla="*/ 306 w 374"/>
                <a:gd name="T29" fmla="*/ 0 h 574"/>
                <a:gd name="T30" fmla="*/ 306 w 374"/>
                <a:gd name="T31" fmla="*/ 0 h 574"/>
                <a:gd name="T32" fmla="*/ 320 w 374"/>
                <a:gd name="T33" fmla="*/ 2 h 574"/>
                <a:gd name="T34" fmla="*/ 332 w 374"/>
                <a:gd name="T35" fmla="*/ 6 h 574"/>
                <a:gd name="T36" fmla="*/ 344 w 374"/>
                <a:gd name="T37" fmla="*/ 12 h 574"/>
                <a:gd name="T38" fmla="*/ 354 w 374"/>
                <a:gd name="T39" fmla="*/ 20 h 574"/>
                <a:gd name="T40" fmla="*/ 362 w 374"/>
                <a:gd name="T41" fmla="*/ 30 h 574"/>
                <a:gd name="T42" fmla="*/ 368 w 374"/>
                <a:gd name="T43" fmla="*/ 42 h 574"/>
                <a:gd name="T44" fmla="*/ 372 w 374"/>
                <a:gd name="T45" fmla="*/ 54 h 574"/>
                <a:gd name="T46" fmla="*/ 374 w 374"/>
                <a:gd name="T47" fmla="*/ 68 h 574"/>
                <a:gd name="T48" fmla="*/ 374 w 374"/>
                <a:gd name="T49" fmla="*/ 514 h 574"/>
                <a:gd name="T50" fmla="*/ 356 w 374"/>
                <a:gd name="T51" fmla="*/ 514 h 574"/>
                <a:gd name="T52" fmla="*/ 356 w 374"/>
                <a:gd name="T53" fmla="*/ 68 h 574"/>
                <a:gd name="T54" fmla="*/ 356 w 374"/>
                <a:gd name="T55" fmla="*/ 68 h 574"/>
                <a:gd name="T56" fmla="*/ 356 w 374"/>
                <a:gd name="T57" fmla="*/ 58 h 574"/>
                <a:gd name="T58" fmla="*/ 352 w 374"/>
                <a:gd name="T59" fmla="*/ 48 h 574"/>
                <a:gd name="T60" fmla="*/ 348 w 374"/>
                <a:gd name="T61" fmla="*/ 40 h 574"/>
                <a:gd name="T62" fmla="*/ 342 w 374"/>
                <a:gd name="T63" fmla="*/ 32 h 574"/>
                <a:gd name="T64" fmla="*/ 334 w 374"/>
                <a:gd name="T65" fmla="*/ 26 h 574"/>
                <a:gd name="T66" fmla="*/ 326 w 374"/>
                <a:gd name="T67" fmla="*/ 22 h 574"/>
                <a:gd name="T68" fmla="*/ 316 w 374"/>
                <a:gd name="T69" fmla="*/ 18 h 574"/>
                <a:gd name="T70" fmla="*/ 306 w 374"/>
                <a:gd name="T71" fmla="*/ 18 h 574"/>
                <a:gd name="T72" fmla="*/ 18 w 374"/>
                <a:gd name="T73" fmla="*/ 18 h 574"/>
                <a:gd name="T74" fmla="*/ 18 w 374"/>
                <a:gd name="T75" fmla="*/ 496 h 574"/>
                <a:gd name="T76" fmla="*/ 306 w 374"/>
                <a:gd name="T77" fmla="*/ 496 h 574"/>
                <a:gd name="T78" fmla="*/ 306 w 374"/>
                <a:gd name="T79" fmla="*/ 496 h 574"/>
                <a:gd name="T80" fmla="*/ 320 w 374"/>
                <a:gd name="T81" fmla="*/ 496 h 574"/>
                <a:gd name="T82" fmla="*/ 332 w 374"/>
                <a:gd name="T83" fmla="*/ 500 h 574"/>
                <a:gd name="T84" fmla="*/ 344 w 374"/>
                <a:gd name="T85" fmla="*/ 508 h 574"/>
                <a:gd name="T86" fmla="*/ 354 w 374"/>
                <a:gd name="T87" fmla="*/ 516 h 574"/>
                <a:gd name="T88" fmla="*/ 362 w 374"/>
                <a:gd name="T89" fmla="*/ 526 h 574"/>
                <a:gd name="T90" fmla="*/ 368 w 374"/>
                <a:gd name="T91" fmla="*/ 538 h 574"/>
                <a:gd name="T92" fmla="*/ 372 w 374"/>
                <a:gd name="T93" fmla="*/ 550 h 574"/>
                <a:gd name="T94" fmla="*/ 374 w 374"/>
                <a:gd name="T95" fmla="*/ 564 h 574"/>
                <a:gd name="T96" fmla="*/ 374 w 374"/>
                <a:gd name="T9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574">
                  <a:moveTo>
                    <a:pt x="374" y="574"/>
                  </a:moveTo>
                  <a:lnTo>
                    <a:pt x="356" y="574"/>
                  </a:lnTo>
                  <a:lnTo>
                    <a:pt x="356" y="564"/>
                  </a:lnTo>
                  <a:lnTo>
                    <a:pt x="356" y="564"/>
                  </a:lnTo>
                  <a:lnTo>
                    <a:pt x="356" y="554"/>
                  </a:lnTo>
                  <a:lnTo>
                    <a:pt x="352" y="544"/>
                  </a:lnTo>
                  <a:lnTo>
                    <a:pt x="348" y="536"/>
                  </a:lnTo>
                  <a:lnTo>
                    <a:pt x="342" y="528"/>
                  </a:lnTo>
                  <a:lnTo>
                    <a:pt x="334" y="522"/>
                  </a:lnTo>
                  <a:lnTo>
                    <a:pt x="326" y="518"/>
                  </a:lnTo>
                  <a:lnTo>
                    <a:pt x="316" y="514"/>
                  </a:lnTo>
                  <a:lnTo>
                    <a:pt x="306" y="514"/>
                  </a:lnTo>
                  <a:lnTo>
                    <a:pt x="0" y="514"/>
                  </a:lnTo>
                  <a:lnTo>
                    <a:pt x="0" y="0"/>
                  </a:lnTo>
                  <a:lnTo>
                    <a:pt x="306" y="0"/>
                  </a:lnTo>
                  <a:lnTo>
                    <a:pt x="306" y="0"/>
                  </a:lnTo>
                  <a:lnTo>
                    <a:pt x="320" y="2"/>
                  </a:lnTo>
                  <a:lnTo>
                    <a:pt x="332" y="6"/>
                  </a:lnTo>
                  <a:lnTo>
                    <a:pt x="344" y="12"/>
                  </a:lnTo>
                  <a:lnTo>
                    <a:pt x="354" y="20"/>
                  </a:lnTo>
                  <a:lnTo>
                    <a:pt x="362" y="30"/>
                  </a:lnTo>
                  <a:lnTo>
                    <a:pt x="368" y="42"/>
                  </a:lnTo>
                  <a:lnTo>
                    <a:pt x="372" y="54"/>
                  </a:lnTo>
                  <a:lnTo>
                    <a:pt x="374" y="68"/>
                  </a:lnTo>
                  <a:lnTo>
                    <a:pt x="374" y="514"/>
                  </a:lnTo>
                  <a:lnTo>
                    <a:pt x="356" y="514"/>
                  </a:lnTo>
                  <a:lnTo>
                    <a:pt x="356" y="68"/>
                  </a:lnTo>
                  <a:lnTo>
                    <a:pt x="356" y="68"/>
                  </a:lnTo>
                  <a:lnTo>
                    <a:pt x="356" y="58"/>
                  </a:lnTo>
                  <a:lnTo>
                    <a:pt x="352" y="48"/>
                  </a:lnTo>
                  <a:lnTo>
                    <a:pt x="348" y="40"/>
                  </a:lnTo>
                  <a:lnTo>
                    <a:pt x="342" y="32"/>
                  </a:lnTo>
                  <a:lnTo>
                    <a:pt x="334" y="26"/>
                  </a:lnTo>
                  <a:lnTo>
                    <a:pt x="326" y="22"/>
                  </a:lnTo>
                  <a:lnTo>
                    <a:pt x="316" y="18"/>
                  </a:lnTo>
                  <a:lnTo>
                    <a:pt x="306" y="18"/>
                  </a:lnTo>
                  <a:lnTo>
                    <a:pt x="18" y="18"/>
                  </a:lnTo>
                  <a:lnTo>
                    <a:pt x="18" y="496"/>
                  </a:lnTo>
                  <a:lnTo>
                    <a:pt x="306" y="496"/>
                  </a:lnTo>
                  <a:lnTo>
                    <a:pt x="306" y="496"/>
                  </a:lnTo>
                  <a:lnTo>
                    <a:pt x="320" y="496"/>
                  </a:lnTo>
                  <a:lnTo>
                    <a:pt x="332" y="500"/>
                  </a:lnTo>
                  <a:lnTo>
                    <a:pt x="344" y="508"/>
                  </a:lnTo>
                  <a:lnTo>
                    <a:pt x="354" y="516"/>
                  </a:lnTo>
                  <a:lnTo>
                    <a:pt x="362" y="526"/>
                  </a:lnTo>
                  <a:lnTo>
                    <a:pt x="368" y="538"/>
                  </a:lnTo>
                  <a:lnTo>
                    <a:pt x="372" y="550"/>
                  </a:lnTo>
                  <a:lnTo>
                    <a:pt x="374" y="564"/>
                  </a:lnTo>
                  <a:lnTo>
                    <a:pt x="374" y="5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79" name="Freeform 159">
              <a:extLst>
                <a:ext uri="{FF2B5EF4-FFF2-40B4-BE49-F238E27FC236}">
                  <a16:creationId xmlns:a16="http://schemas.microsoft.com/office/drawing/2014/main" id="{10C564E1-7FD6-4181-8BF1-0774FC6B1D53}"/>
                </a:ext>
              </a:extLst>
            </p:cNvPr>
            <p:cNvSpPr>
              <a:spLocks/>
            </p:cNvSpPr>
            <p:nvPr/>
          </p:nvSpPr>
          <p:spPr bwMode="auto">
            <a:xfrm>
              <a:off x="3433" y="3072"/>
              <a:ext cx="154" cy="574"/>
            </a:xfrm>
            <a:custGeom>
              <a:avLst/>
              <a:gdLst>
                <a:gd name="T0" fmla="*/ 18 w 154"/>
                <a:gd name="T1" fmla="*/ 574 h 574"/>
                <a:gd name="T2" fmla="*/ 0 w 154"/>
                <a:gd name="T3" fmla="*/ 574 h 574"/>
                <a:gd name="T4" fmla="*/ 0 w 154"/>
                <a:gd name="T5" fmla="*/ 68 h 574"/>
                <a:gd name="T6" fmla="*/ 0 w 154"/>
                <a:gd name="T7" fmla="*/ 68 h 574"/>
                <a:gd name="T8" fmla="*/ 2 w 154"/>
                <a:gd name="T9" fmla="*/ 54 h 574"/>
                <a:gd name="T10" fmla="*/ 6 w 154"/>
                <a:gd name="T11" fmla="*/ 42 h 574"/>
                <a:gd name="T12" fmla="*/ 12 w 154"/>
                <a:gd name="T13" fmla="*/ 30 h 574"/>
                <a:gd name="T14" fmla="*/ 20 w 154"/>
                <a:gd name="T15" fmla="*/ 20 h 574"/>
                <a:gd name="T16" fmla="*/ 30 w 154"/>
                <a:gd name="T17" fmla="*/ 12 h 574"/>
                <a:gd name="T18" fmla="*/ 42 w 154"/>
                <a:gd name="T19" fmla="*/ 6 h 574"/>
                <a:gd name="T20" fmla="*/ 56 w 154"/>
                <a:gd name="T21" fmla="*/ 2 h 574"/>
                <a:gd name="T22" fmla="*/ 68 w 154"/>
                <a:gd name="T23" fmla="*/ 0 h 574"/>
                <a:gd name="T24" fmla="*/ 154 w 154"/>
                <a:gd name="T25" fmla="*/ 0 h 574"/>
                <a:gd name="T26" fmla="*/ 154 w 154"/>
                <a:gd name="T27" fmla="*/ 18 h 574"/>
                <a:gd name="T28" fmla="*/ 68 w 154"/>
                <a:gd name="T29" fmla="*/ 18 h 574"/>
                <a:gd name="T30" fmla="*/ 68 w 154"/>
                <a:gd name="T31" fmla="*/ 18 h 574"/>
                <a:gd name="T32" fmla="*/ 58 w 154"/>
                <a:gd name="T33" fmla="*/ 18 h 574"/>
                <a:gd name="T34" fmla="*/ 50 w 154"/>
                <a:gd name="T35" fmla="*/ 22 h 574"/>
                <a:gd name="T36" fmla="*/ 40 w 154"/>
                <a:gd name="T37" fmla="*/ 26 h 574"/>
                <a:gd name="T38" fmla="*/ 34 w 154"/>
                <a:gd name="T39" fmla="*/ 32 h 574"/>
                <a:gd name="T40" fmla="*/ 26 w 154"/>
                <a:gd name="T41" fmla="*/ 40 h 574"/>
                <a:gd name="T42" fmla="*/ 22 w 154"/>
                <a:gd name="T43" fmla="*/ 48 h 574"/>
                <a:gd name="T44" fmla="*/ 20 w 154"/>
                <a:gd name="T45" fmla="*/ 58 h 574"/>
                <a:gd name="T46" fmla="*/ 18 w 154"/>
                <a:gd name="T47" fmla="*/ 68 h 574"/>
                <a:gd name="T48" fmla="*/ 18 w 154"/>
                <a:gd name="T49"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574">
                  <a:moveTo>
                    <a:pt x="18" y="574"/>
                  </a:moveTo>
                  <a:lnTo>
                    <a:pt x="0" y="574"/>
                  </a:lnTo>
                  <a:lnTo>
                    <a:pt x="0" y="68"/>
                  </a:lnTo>
                  <a:lnTo>
                    <a:pt x="0" y="68"/>
                  </a:lnTo>
                  <a:lnTo>
                    <a:pt x="2" y="54"/>
                  </a:lnTo>
                  <a:lnTo>
                    <a:pt x="6" y="42"/>
                  </a:lnTo>
                  <a:lnTo>
                    <a:pt x="12" y="30"/>
                  </a:lnTo>
                  <a:lnTo>
                    <a:pt x="20" y="20"/>
                  </a:lnTo>
                  <a:lnTo>
                    <a:pt x="30" y="12"/>
                  </a:lnTo>
                  <a:lnTo>
                    <a:pt x="42" y="6"/>
                  </a:lnTo>
                  <a:lnTo>
                    <a:pt x="56" y="2"/>
                  </a:lnTo>
                  <a:lnTo>
                    <a:pt x="68" y="0"/>
                  </a:lnTo>
                  <a:lnTo>
                    <a:pt x="154" y="0"/>
                  </a:lnTo>
                  <a:lnTo>
                    <a:pt x="154" y="18"/>
                  </a:lnTo>
                  <a:lnTo>
                    <a:pt x="68" y="18"/>
                  </a:lnTo>
                  <a:lnTo>
                    <a:pt x="68" y="18"/>
                  </a:lnTo>
                  <a:lnTo>
                    <a:pt x="58" y="18"/>
                  </a:lnTo>
                  <a:lnTo>
                    <a:pt x="50" y="22"/>
                  </a:lnTo>
                  <a:lnTo>
                    <a:pt x="40" y="26"/>
                  </a:lnTo>
                  <a:lnTo>
                    <a:pt x="34" y="32"/>
                  </a:lnTo>
                  <a:lnTo>
                    <a:pt x="26" y="40"/>
                  </a:lnTo>
                  <a:lnTo>
                    <a:pt x="22" y="48"/>
                  </a:lnTo>
                  <a:lnTo>
                    <a:pt x="20" y="58"/>
                  </a:lnTo>
                  <a:lnTo>
                    <a:pt x="18" y="68"/>
                  </a:lnTo>
                  <a:lnTo>
                    <a:pt x="18" y="5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0" name="Freeform 160">
              <a:extLst>
                <a:ext uri="{FF2B5EF4-FFF2-40B4-BE49-F238E27FC236}">
                  <a16:creationId xmlns:a16="http://schemas.microsoft.com/office/drawing/2014/main" id="{1DB8D53A-AB1B-8CFC-7E3A-5EB17EE1773C}"/>
                </a:ext>
              </a:extLst>
            </p:cNvPr>
            <p:cNvSpPr>
              <a:spLocks/>
            </p:cNvSpPr>
            <p:nvPr/>
          </p:nvSpPr>
          <p:spPr bwMode="auto">
            <a:xfrm>
              <a:off x="3433" y="3568"/>
              <a:ext cx="264" cy="78"/>
            </a:xfrm>
            <a:custGeom>
              <a:avLst/>
              <a:gdLst>
                <a:gd name="T0" fmla="*/ 18 w 264"/>
                <a:gd name="T1" fmla="*/ 78 h 78"/>
                <a:gd name="T2" fmla="*/ 0 w 264"/>
                <a:gd name="T3" fmla="*/ 78 h 78"/>
                <a:gd name="T4" fmla="*/ 0 w 264"/>
                <a:gd name="T5" fmla="*/ 68 h 78"/>
                <a:gd name="T6" fmla="*/ 0 w 264"/>
                <a:gd name="T7" fmla="*/ 68 h 78"/>
                <a:gd name="T8" fmla="*/ 2 w 264"/>
                <a:gd name="T9" fmla="*/ 54 h 78"/>
                <a:gd name="T10" fmla="*/ 6 w 264"/>
                <a:gd name="T11" fmla="*/ 42 h 78"/>
                <a:gd name="T12" fmla="*/ 12 w 264"/>
                <a:gd name="T13" fmla="*/ 30 h 78"/>
                <a:gd name="T14" fmla="*/ 20 w 264"/>
                <a:gd name="T15" fmla="*/ 20 h 78"/>
                <a:gd name="T16" fmla="*/ 30 w 264"/>
                <a:gd name="T17" fmla="*/ 12 h 78"/>
                <a:gd name="T18" fmla="*/ 42 w 264"/>
                <a:gd name="T19" fmla="*/ 4 h 78"/>
                <a:gd name="T20" fmla="*/ 56 w 264"/>
                <a:gd name="T21" fmla="*/ 0 h 78"/>
                <a:gd name="T22" fmla="*/ 68 w 264"/>
                <a:gd name="T23" fmla="*/ 0 h 78"/>
                <a:gd name="T24" fmla="*/ 264 w 264"/>
                <a:gd name="T25" fmla="*/ 0 h 78"/>
                <a:gd name="T26" fmla="*/ 264 w 264"/>
                <a:gd name="T27" fmla="*/ 18 h 78"/>
                <a:gd name="T28" fmla="*/ 68 w 264"/>
                <a:gd name="T29" fmla="*/ 18 h 78"/>
                <a:gd name="T30" fmla="*/ 68 w 264"/>
                <a:gd name="T31" fmla="*/ 18 h 78"/>
                <a:gd name="T32" fmla="*/ 58 w 264"/>
                <a:gd name="T33" fmla="*/ 18 h 78"/>
                <a:gd name="T34" fmla="*/ 50 w 264"/>
                <a:gd name="T35" fmla="*/ 22 h 78"/>
                <a:gd name="T36" fmla="*/ 40 w 264"/>
                <a:gd name="T37" fmla="*/ 26 h 78"/>
                <a:gd name="T38" fmla="*/ 34 w 264"/>
                <a:gd name="T39" fmla="*/ 32 h 78"/>
                <a:gd name="T40" fmla="*/ 26 w 264"/>
                <a:gd name="T41" fmla="*/ 40 h 78"/>
                <a:gd name="T42" fmla="*/ 22 w 264"/>
                <a:gd name="T43" fmla="*/ 48 h 78"/>
                <a:gd name="T44" fmla="*/ 20 w 264"/>
                <a:gd name="T45" fmla="*/ 58 h 78"/>
                <a:gd name="T46" fmla="*/ 18 w 264"/>
                <a:gd name="T47" fmla="*/ 68 h 78"/>
                <a:gd name="T48" fmla="*/ 18 w 264"/>
                <a:gd name="T4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4" h="78">
                  <a:moveTo>
                    <a:pt x="18" y="78"/>
                  </a:moveTo>
                  <a:lnTo>
                    <a:pt x="0" y="78"/>
                  </a:lnTo>
                  <a:lnTo>
                    <a:pt x="0" y="68"/>
                  </a:lnTo>
                  <a:lnTo>
                    <a:pt x="0" y="68"/>
                  </a:lnTo>
                  <a:lnTo>
                    <a:pt x="2" y="54"/>
                  </a:lnTo>
                  <a:lnTo>
                    <a:pt x="6" y="42"/>
                  </a:lnTo>
                  <a:lnTo>
                    <a:pt x="12" y="30"/>
                  </a:lnTo>
                  <a:lnTo>
                    <a:pt x="20" y="20"/>
                  </a:lnTo>
                  <a:lnTo>
                    <a:pt x="30" y="12"/>
                  </a:lnTo>
                  <a:lnTo>
                    <a:pt x="42" y="4"/>
                  </a:lnTo>
                  <a:lnTo>
                    <a:pt x="56" y="0"/>
                  </a:lnTo>
                  <a:lnTo>
                    <a:pt x="68" y="0"/>
                  </a:lnTo>
                  <a:lnTo>
                    <a:pt x="264" y="0"/>
                  </a:lnTo>
                  <a:lnTo>
                    <a:pt x="264" y="18"/>
                  </a:lnTo>
                  <a:lnTo>
                    <a:pt x="68" y="18"/>
                  </a:lnTo>
                  <a:lnTo>
                    <a:pt x="68" y="18"/>
                  </a:lnTo>
                  <a:lnTo>
                    <a:pt x="58" y="18"/>
                  </a:lnTo>
                  <a:lnTo>
                    <a:pt x="50" y="22"/>
                  </a:lnTo>
                  <a:lnTo>
                    <a:pt x="40" y="26"/>
                  </a:lnTo>
                  <a:lnTo>
                    <a:pt x="34" y="32"/>
                  </a:lnTo>
                  <a:lnTo>
                    <a:pt x="26" y="40"/>
                  </a:lnTo>
                  <a:lnTo>
                    <a:pt x="22" y="48"/>
                  </a:lnTo>
                  <a:lnTo>
                    <a:pt x="20" y="58"/>
                  </a:lnTo>
                  <a:lnTo>
                    <a:pt x="18" y="68"/>
                  </a:lnTo>
                  <a:lnTo>
                    <a:pt x="1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1" name="Rectangle 161">
              <a:extLst>
                <a:ext uri="{FF2B5EF4-FFF2-40B4-BE49-F238E27FC236}">
                  <a16:creationId xmlns:a16="http://schemas.microsoft.com/office/drawing/2014/main" id="{0087ACFC-01B7-C6C5-453A-E3D18BC6FEA9}"/>
                </a:ext>
              </a:extLst>
            </p:cNvPr>
            <p:cNvSpPr>
              <a:spLocks noChangeArrowheads="1"/>
            </p:cNvSpPr>
            <p:nvPr/>
          </p:nvSpPr>
          <p:spPr bwMode="auto">
            <a:xfrm>
              <a:off x="3269" y="3224"/>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2" name="Rectangle 162">
              <a:extLst>
                <a:ext uri="{FF2B5EF4-FFF2-40B4-BE49-F238E27FC236}">
                  <a16:creationId xmlns:a16="http://schemas.microsoft.com/office/drawing/2014/main" id="{F9E02FCD-031C-95B8-3327-1CCD52B184FA}"/>
                </a:ext>
              </a:extLst>
            </p:cNvPr>
            <p:cNvSpPr>
              <a:spLocks noChangeArrowheads="1"/>
            </p:cNvSpPr>
            <p:nvPr/>
          </p:nvSpPr>
          <p:spPr bwMode="auto">
            <a:xfrm>
              <a:off x="3269" y="3282"/>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3" name="Rectangle 163">
              <a:extLst>
                <a:ext uri="{FF2B5EF4-FFF2-40B4-BE49-F238E27FC236}">
                  <a16:creationId xmlns:a16="http://schemas.microsoft.com/office/drawing/2014/main" id="{F168DA27-A71E-BF35-5979-E4C46A4B79CC}"/>
                </a:ext>
              </a:extLst>
            </p:cNvPr>
            <p:cNvSpPr>
              <a:spLocks noChangeArrowheads="1"/>
            </p:cNvSpPr>
            <p:nvPr/>
          </p:nvSpPr>
          <p:spPr bwMode="auto">
            <a:xfrm>
              <a:off x="3143" y="3342"/>
              <a:ext cx="2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4" name="Rectangle 164">
              <a:extLst>
                <a:ext uri="{FF2B5EF4-FFF2-40B4-BE49-F238E27FC236}">
                  <a16:creationId xmlns:a16="http://schemas.microsoft.com/office/drawing/2014/main" id="{54FD96D8-DBCD-8295-7669-08D6E54A9CF4}"/>
                </a:ext>
              </a:extLst>
            </p:cNvPr>
            <p:cNvSpPr>
              <a:spLocks noChangeArrowheads="1"/>
            </p:cNvSpPr>
            <p:nvPr/>
          </p:nvSpPr>
          <p:spPr bwMode="auto">
            <a:xfrm>
              <a:off x="3143" y="3400"/>
              <a:ext cx="2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5" name="Rectangle 165">
              <a:extLst>
                <a:ext uri="{FF2B5EF4-FFF2-40B4-BE49-F238E27FC236}">
                  <a16:creationId xmlns:a16="http://schemas.microsoft.com/office/drawing/2014/main" id="{1398ACAB-8754-B92E-3EA6-0581CB79AC69}"/>
                </a:ext>
              </a:extLst>
            </p:cNvPr>
            <p:cNvSpPr>
              <a:spLocks noChangeArrowheads="1"/>
            </p:cNvSpPr>
            <p:nvPr/>
          </p:nvSpPr>
          <p:spPr bwMode="auto">
            <a:xfrm>
              <a:off x="3143" y="3460"/>
              <a:ext cx="2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6" name="Rectangle 166">
              <a:extLst>
                <a:ext uri="{FF2B5EF4-FFF2-40B4-BE49-F238E27FC236}">
                  <a16:creationId xmlns:a16="http://schemas.microsoft.com/office/drawing/2014/main" id="{7CF89C33-B947-7694-2C6F-07CC5DFB25EC}"/>
                </a:ext>
              </a:extLst>
            </p:cNvPr>
            <p:cNvSpPr>
              <a:spLocks noChangeArrowheads="1"/>
            </p:cNvSpPr>
            <p:nvPr/>
          </p:nvSpPr>
          <p:spPr bwMode="auto">
            <a:xfrm>
              <a:off x="3499" y="3224"/>
              <a:ext cx="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7" name="Rectangle 167">
              <a:extLst>
                <a:ext uri="{FF2B5EF4-FFF2-40B4-BE49-F238E27FC236}">
                  <a16:creationId xmlns:a16="http://schemas.microsoft.com/office/drawing/2014/main" id="{707743A3-4520-1092-6025-AC9EC535EE7B}"/>
                </a:ext>
              </a:extLst>
            </p:cNvPr>
            <p:cNvSpPr>
              <a:spLocks noChangeArrowheads="1"/>
            </p:cNvSpPr>
            <p:nvPr/>
          </p:nvSpPr>
          <p:spPr bwMode="auto">
            <a:xfrm>
              <a:off x="3499" y="3282"/>
              <a:ext cx="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8" name="Rectangle 168">
              <a:extLst>
                <a:ext uri="{FF2B5EF4-FFF2-40B4-BE49-F238E27FC236}">
                  <a16:creationId xmlns:a16="http://schemas.microsoft.com/office/drawing/2014/main" id="{CEC212B8-3E22-15CD-8A9C-50AAF39CDBEE}"/>
                </a:ext>
              </a:extLst>
            </p:cNvPr>
            <p:cNvSpPr>
              <a:spLocks noChangeArrowheads="1"/>
            </p:cNvSpPr>
            <p:nvPr/>
          </p:nvSpPr>
          <p:spPr bwMode="auto">
            <a:xfrm>
              <a:off x="3499" y="3342"/>
              <a:ext cx="7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89" name="Rectangle 169">
              <a:extLst>
                <a:ext uri="{FF2B5EF4-FFF2-40B4-BE49-F238E27FC236}">
                  <a16:creationId xmlns:a16="http://schemas.microsoft.com/office/drawing/2014/main" id="{E793E908-D608-E046-7F9A-3A81E0D7E907}"/>
                </a:ext>
              </a:extLst>
            </p:cNvPr>
            <p:cNvSpPr>
              <a:spLocks noChangeArrowheads="1"/>
            </p:cNvSpPr>
            <p:nvPr/>
          </p:nvSpPr>
          <p:spPr bwMode="auto">
            <a:xfrm>
              <a:off x="3499" y="3400"/>
              <a:ext cx="9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90" name="Rectangle 170">
              <a:extLst>
                <a:ext uri="{FF2B5EF4-FFF2-40B4-BE49-F238E27FC236}">
                  <a16:creationId xmlns:a16="http://schemas.microsoft.com/office/drawing/2014/main" id="{BC43D2E2-67E4-D7A3-10F2-54F0B1E94ED9}"/>
                </a:ext>
              </a:extLst>
            </p:cNvPr>
            <p:cNvSpPr>
              <a:spLocks noChangeArrowheads="1"/>
            </p:cNvSpPr>
            <p:nvPr/>
          </p:nvSpPr>
          <p:spPr bwMode="auto">
            <a:xfrm>
              <a:off x="3499" y="3460"/>
              <a:ext cx="10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91" name="Freeform 171">
              <a:extLst>
                <a:ext uri="{FF2B5EF4-FFF2-40B4-BE49-F238E27FC236}">
                  <a16:creationId xmlns:a16="http://schemas.microsoft.com/office/drawing/2014/main" id="{9B471AD8-C0AB-2644-28F0-18B9D19A9414}"/>
                </a:ext>
              </a:extLst>
            </p:cNvPr>
            <p:cNvSpPr>
              <a:spLocks noEditPoints="1"/>
            </p:cNvSpPr>
            <p:nvPr/>
          </p:nvSpPr>
          <p:spPr bwMode="auto">
            <a:xfrm>
              <a:off x="3143" y="3224"/>
              <a:ext cx="96" cy="76"/>
            </a:xfrm>
            <a:custGeom>
              <a:avLst/>
              <a:gdLst>
                <a:gd name="T0" fmla="*/ 96 w 96"/>
                <a:gd name="T1" fmla="*/ 76 h 76"/>
                <a:gd name="T2" fmla="*/ 0 w 96"/>
                <a:gd name="T3" fmla="*/ 76 h 76"/>
                <a:gd name="T4" fmla="*/ 0 w 96"/>
                <a:gd name="T5" fmla="*/ 0 h 76"/>
                <a:gd name="T6" fmla="*/ 96 w 96"/>
                <a:gd name="T7" fmla="*/ 0 h 76"/>
                <a:gd name="T8" fmla="*/ 96 w 96"/>
                <a:gd name="T9" fmla="*/ 76 h 76"/>
                <a:gd name="T10" fmla="*/ 18 w 96"/>
                <a:gd name="T11" fmla="*/ 58 h 76"/>
                <a:gd name="T12" fmla="*/ 78 w 96"/>
                <a:gd name="T13" fmla="*/ 58 h 76"/>
                <a:gd name="T14" fmla="*/ 78 w 96"/>
                <a:gd name="T15" fmla="*/ 18 h 76"/>
                <a:gd name="T16" fmla="*/ 18 w 96"/>
                <a:gd name="T17" fmla="*/ 18 h 76"/>
                <a:gd name="T18" fmla="*/ 18 w 9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76">
                  <a:moveTo>
                    <a:pt x="96" y="76"/>
                  </a:moveTo>
                  <a:lnTo>
                    <a:pt x="0" y="76"/>
                  </a:lnTo>
                  <a:lnTo>
                    <a:pt x="0" y="0"/>
                  </a:lnTo>
                  <a:lnTo>
                    <a:pt x="96" y="0"/>
                  </a:lnTo>
                  <a:lnTo>
                    <a:pt x="96" y="76"/>
                  </a:lnTo>
                  <a:close/>
                  <a:moveTo>
                    <a:pt x="18" y="58"/>
                  </a:moveTo>
                  <a:lnTo>
                    <a:pt x="78" y="58"/>
                  </a:lnTo>
                  <a:lnTo>
                    <a:pt x="7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92" name="Freeform 172">
              <a:extLst>
                <a:ext uri="{FF2B5EF4-FFF2-40B4-BE49-F238E27FC236}">
                  <a16:creationId xmlns:a16="http://schemas.microsoft.com/office/drawing/2014/main" id="{AFEC6268-FDFA-A856-CD61-3884A2FAB78A}"/>
                </a:ext>
              </a:extLst>
            </p:cNvPr>
            <p:cNvSpPr>
              <a:spLocks/>
            </p:cNvSpPr>
            <p:nvPr/>
          </p:nvSpPr>
          <p:spPr bwMode="auto">
            <a:xfrm>
              <a:off x="3807" y="3184"/>
              <a:ext cx="110" cy="326"/>
            </a:xfrm>
            <a:custGeom>
              <a:avLst/>
              <a:gdLst>
                <a:gd name="T0" fmla="*/ 110 w 110"/>
                <a:gd name="T1" fmla="*/ 326 h 326"/>
                <a:gd name="T2" fmla="*/ 92 w 110"/>
                <a:gd name="T3" fmla="*/ 326 h 326"/>
                <a:gd name="T4" fmla="*/ 92 w 110"/>
                <a:gd name="T5" fmla="*/ 88 h 326"/>
                <a:gd name="T6" fmla="*/ 56 w 110"/>
                <a:gd name="T7" fmla="*/ 20 h 326"/>
                <a:gd name="T8" fmla="*/ 18 w 110"/>
                <a:gd name="T9" fmla="*/ 88 h 326"/>
                <a:gd name="T10" fmla="*/ 18 w 110"/>
                <a:gd name="T11" fmla="*/ 326 h 326"/>
                <a:gd name="T12" fmla="*/ 0 w 110"/>
                <a:gd name="T13" fmla="*/ 326 h 326"/>
                <a:gd name="T14" fmla="*/ 0 w 110"/>
                <a:gd name="T15" fmla="*/ 84 h 326"/>
                <a:gd name="T16" fmla="*/ 42 w 110"/>
                <a:gd name="T17" fmla="*/ 8 h 326"/>
                <a:gd name="T18" fmla="*/ 42 w 110"/>
                <a:gd name="T19" fmla="*/ 8 h 326"/>
                <a:gd name="T20" fmla="*/ 44 w 110"/>
                <a:gd name="T21" fmla="*/ 4 h 326"/>
                <a:gd name="T22" fmla="*/ 48 w 110"/>
                <a:gd name="T23" fmla="*/ 2 h 326"/>
                <a:gd name="T24" fmla="*/ 56 w 110"/>
                <a:gd name="T25" fmla="*/ 0 h 326"/>
                <a:gd name="T26" fmla="*/ 64 w 110"/>
                <a:gd name="T27" fmla="*/ 2 h 326"/>
                <a:gd name="T28" fmla="*/ 66 w 110"/>
                <a:gd name="T29" fmla="*/ 4 h 326"/>
                <a:gd name="T30" fmla="*/ 70 w 110"/>
                <a:gd name="T31" fmla="*/ 8 h 326"/>
                <a:gd name="T32" fmla="*/ 110 w 110"/>
                <a:gd name="T33" fmla="*/ 84 h 326"/>
                <a:gd name="T34" fmla="*/ 110 w 110"/>
                <a:gd name="T35"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326">
                  <a:moveTo>
                    <a:pt x="110" y="326"/>
                  </a:moveTo>
                  <a:lnTo>
                    <a:pt x="92" y="326"/>
                  </a:lnTo>
                  <a:lnTo>
                    <a:pt x="92" y="88"/>
                  </a:lnTo>
                  <a:lnTo>
                    <a:pt x="56" y="20"/>
                  </a:lnTo>
                  <a:lnTo>
                    <a:pt x="18" y="88"/>
                  </a:lnTo>
                  <a:lnTo>
                    <a:pt x="18" y="326"/>
                  </a:lnTo>
                  <a:lnTo>
                    <a:pt x="0" y="326"/>
                  </a:lnTo>
                  <a:lnTo>
                    <a:pt x="0" y="84"/>
                  </a:lnTo>
                  <a:lnTo>
                    <a:pt x="42" y="8"/>
                  </a:lnTo>
                  <a:lnTo>
                    <a:pt x="42" y="8"/>
                  </a:lnTo>
                  <a:lnTo>
                    <a:pt x="44" y="4"/>
                  </a:lnTo>
                  <a:lnTo>
                    <a:pt x="48" y="2"/>
                  </a:lnTo>
                  <a:lnTo>
                    <a:pt x="56" y="0"/>
                  </a:lnTo>
                  <a:lnTo>
                    <a:pt x="64" y="2"/>
                  </a:lnTo>
                  <a:lnTo>
                    <a:pt x="66" y="4"/>
                  </a:lnTo>
                  <a:lnTo>
                    <a:pt x="70" y="8"/>
                  </a:lnTo>
                  <a:lnTo>
                    <a:pt x="110" y="84"/>
                  </a:lnTo>
                  <a:lnTo>
                    <a:pt x="11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93" name="Rectangle 173">
              <a:extLst>
                <a:ext uri="{FF2B5EF4-FFF2-40B4-BE49-F238E27FC236}">
                  <a16:creationId xmlns:a16="http://schemas.microsoft.com/office/drawing/2014/main" id="{BFD38C4B-11C1-F438-48B5-6B5940F61C05}"/>
                </a:ext>
              </a:extLst>
            </p:cNvPr>
            <p:cNvSpPr>
              <a:spLocks noChangeArrowheads="1"/>
            </p:cNvSpPr>
            <p:nvPr/>
          </p:nvSpPr>
          <p:spPr bwMode="auto">
            <a:xfrm>
              <a:off x="3813" y="3262"/>
              <a:ext cx="9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94" name="Rectangle 174">
              <a:extLst>
                <a:ext uri="{FF2B5EF4-FFF2-40B4-BE49-F238E27FC236}">
                  <a16:creationId xmlns:a16="http://schemas.microsoft.com/office/drawing/2014/main" id="{A3C411EC-D000-A09F-A340-58411B4192EC}"/>
                </a:ext>
              </a:extLst>
            </p:cNvPr>
            <p:cNvSpPr>
              <a:spLocks noChangeArrowheads="1"/>
            </p:cNvSpPr>
            <p:nvPr/>
          </p:nvSpPr>
          <p:spPr bwMode="auto">
            <a:xfrm>
              <a:off x="3853" y="3322"/>
              <a:ext cx="18" cy="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grpSp>
      <p:sp>
        <p:nvSpPr>
          <p:cNvPr id="4" name="Title 1">
            <a:extLst>
              <a:ext uri="{FF2B5EF4-FFF2-40B4-BE49-F238E27FC236}">
                <a16:creationId xmlns:a16="http://schemas.microsoft.com/office/drawing/2014/main" id="{B5A33376-A3F5-7869-B0BE-5014FB7DD028}"/>
              </a:ext>
            </a:extLst>
          </p:cNvPr>
          <p:cNvSpPr>
            <a:spLocks noGrp="1"/>
          </p:cNvSpPr>
          <p:nvPr>
            <p:ph type="title"/>
          </p:nvPr>
        </p:nvSpPr>
        <p:spPr>
          <a:xfrm>
            <a:off x="483828" y="371480"/>
            <a:ext cx="11224347" cy="470653"/>
          </a:xfrm>
        </p:spPr>
        <p:txBody>
          <a:bodyPr/>
          <a:lstStyle/>
          <a:p>
            <a:r>
              <a:rPr lang="en-GB" sz="3198">
                <a:latin typeface="+mn-lt"/>
              </a:rPr>
              <a:t>Mapping of clauses to </a:t>
            </a:r>
            <a:r>
              <a:rPr lang="en-GB" sz="3198" err="1">
                <a:latin typeface="+mn-lt"/>
              </a:rPr>
              <a:t>PDCA</a:t>
            </a:r>
            <a:r>
              <a:rPr lang="en-GB" sz="3198">
                <a:latin typeface="+mn-lt"/>
              </a:rPr>
              <a:t> cycle</a:t>
            </a:r>
            <a:endParaRPr lang="en-ZA" sz="3198">
              <a:latin typeface="+mn-lt"/>
            </a:endParaRPr>
          </a:p>
        </p:txBody>
      </p:sp>
    </p:spTree>
    <p:extLst>
      <p:ext uri="{BB962C8B-B14F-4D97-AF65-F5344CB8AC3E}">
        <p14:creationId xmlns:p14="http://schemas.microsoft.com/office/powerpoint/2010/main" val="42291800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B19236D-D91A-2475-9D66-9C8E8FB5F195}"/>
              </a:ext>
            </a:extLst>
          </p:cNvPr>
          <p:cNvSpPr>
            <a:spLocks noGrp="1"/>
          </p:cNvSpPr>
          <p:nvPr>
            <p:ph type="ftr" sz="quarter" idx="11"/>
          </p:nvPr>
        </p:nvSpPr>
        <p:spPr/>
        <p:txBody>
          <a:bodyPr/>
          <a:lstStyle/>
          <a:p>
            <a:r>
              <a:rPr lang="en-ZA" err="1"/>
              <a:t>BankOne</a:t>
            </a:r>
            <a:r>
              <a:rPr lang="en-ZA"/>
              <a:t> - NIST Cyber Security Training </a:t>
            </a:r>
            <a:endParaRPr lang="en-US"/>
          </a:p>
        </p:txBody>
      </p:sp>
      <p:sp>
        <p:nvSpPr>
          <p:cNvPr id="4" name="Slide Number Placeholder 3">
            <a:extLst>
              <a:ext uri="{FF2B5EF4-FFF2-40B4-BE49-F238E27FC236}">
                <a16:creationId xmlns:a16="http://schemas.microsoft.com/office/drawing/2014/main" id="{DA84901E-CFF6-0CBB-F8BD-38C306C55400}"/>
              </a:ext>
            </a:extLst>
          </p:cNvPr>
          <p:cNvSpPr>
            <a:spLocks noGrp="1"/>
          </p:cNvSpPr>
          <p:nvPr>
            <p:ph type="sldNum" sz="quarter" idx="12"/>
          </p:nvPr>
        </p:nvSpPr>
        <p:spPr/>
        <p:txBody>
          <a:bodyPr/>
          <a:lstStyle/>
          <a:p>
            <a:fld id="{94FCA0F3-9F3A-694B-99BB-0E592A797735}" type="slidenum">
              <a:rPr lang="en-US" smtClean="0"/>
              <a:t>25</a:t>
            </a:fld>
            <a:endParaRPr lang="en-US"/>
          </a:p>
        </p:txBody>
      </p:sp>
      <p:sp>
        <p:nvSpPr>
          <p:cNvPr id="5" name="Freeform: Shape 4">
            <a:extLst>
              <a:ext uri="{FF2B5EF4-FFF2-40B4-BE49-F238E27FC236}">
                <a16:creationId xmlns:a16="http://schemas.microsoft.com/office/drawing/2014/main" id="{790BC755-01F5-E05D-B50F-08D2972EC369}"/>
              </a:ext>
            </a:extLst>
          </p:cNvPr>
          <p:cNvSpPr/>
          <p:nvPr/>
        </p:nvSpPr>
        <p:spPr>
          <a:xfrm>
            <a:off x="862297" y="1210113"/>
            <a:ext cx="1826473" cy="2218887"/>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YInterstate Light" panose="02000506000000020004" pitchFamily="2" charset="0"/>
            </a:endParaRPr>
          </a:p>
        </p:txBody>
      </p:sp>
      <p:sp>
        <p:nvSpPr>
          <p:cNvPr id="6" name="Freeform: Shape 5">
            <a:extLst>
              <a:ext uri="{FF2B5EF4-FFF2-40B4-BE49-F238E27FC236}">
                <a16:creationId xmlns:a16="http://schemas.microsoft.com/office/drawing/2014/main" id="{54BA47C0-8F03-8E70-F8BB-CA88F4D1A912}"/>
              </a:ext>
            </a:extLst>
          </p:cNvPr>
          <p:cNvSpPr/>
          <p:nvPr/>
        </p:nvSpPr>
        <p:spPr>
          <a:xfrm>
            <a:off x="2985010" y="1210113"/>
            <a:ext cx="1807031" cy="2218887"/>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YInterstate Light" panose="02000506000000020004" pitchFamily="2" charset="0"/>
            </a:endParaRPr>
          </a:p>
        </p:txBody>
      </p:sp>
      <p:sp>
        <p:nvSpPr>
          <p:cNvPr id="7" name="Freeform: Shape 6">
            <a:extLst>
              <a:ext uri="{FF2B5EF4-FFF2-40B4-BE49-F238E27FC236}">
                <a16:creationId xmlns:a16="http://schemas.microsoft.com/office/drawing/2014/main" id="{BC15182D-0AA6-DBAD-59FE-CD3C5C370B24}"/>
              </a:ext>
            </a:extLst>
          </p:cNvPr>
          <p:cNvSpPr/>
          <p:nvPr/>
        </p:nvSpPr>
        <p:spPr>
          <a:xfrm>
            <a:off x="5418770" y="1210113"/>
            <a:ext cx="1807030" cy="2218887"/>
          </a:xfrm>
          <a:custGeom>
            <a:avLst/>
            <a:gdLst>
              <a:gd name="connsiteX0" fmla="*/ 330976 w 2497282"/>
              <a:gd name="connsiteY0" fmla="*/ 0 h 2364509"/>
              <a:gd name="connsiteX1" fmla="*/ 1654842 w 2497282"/>
              <a:gd name="connsiteY1" fmla="*/ 0 h 2364509"/>
              <a:gd name="connsiteX2" fmla="*/ 1979094 w 2497282"/>
              <a:gd name="connsiteY2" fmla="*/ 264273 h 2364509"/>
              <a:gd name="connsiteX3" fmla="*/ 1983586 w 2497282"/>
              <a:gd name="connsiteY3" fmla="*/ 308830 h 2364509"/>
              <a:gd name="connsiteX4" fmla="*/ 1985963 w 2497282"/>
              <a:gd name="connsiteY4" fmla="*/ 320606 h 2364509"/>
              <a:gd name="connsiteX5" fmla="*/ 1985963 w 2497282"/>
              <a:gd name="connsiteY5" fmla="*/ 651813 h 2364509"/>
              <a:gd name="connsiteX6" fmla="*/ 1985818 w 2497282"/>
              <a:gd name="connsiteY6" fmla="*/ 652531 h 2364509"/>
              <a:gd name="connsiteX7" fmla="*/ 1985818 w 2497282"/>
              <a:gd name="connsiteY7" fmla="*/ 657949 h 2364509"/>
              <a:gd name="connsiteX8" fmla="*/ 1984724 w 2497282"/>
              <a:gd name="connsiteY8" fmla="*/ 657949 h 2364509"/>
              <a:gd name="connsiteX9" fmla="*/ 1980349 w 2497282"/>
              <a:gd name="connsiteY9" fmla="*/ 679620 h 2364509"/>
              <a:gd name="connsiteX10" fmla="*/ 1914525 w 2497282"/>
              <a:gd name="connsiteY10" fmla="*/ 723251 h 2364509"/>
              <a:gd name="connsiteX11" fmla="*/ 1848701 w 2497282"/>
              <a:gd name="connsiteY11" fmla="*/ 679620 h 2364509"/>
              <a:gd name="connsiteX12" fmla="*/ 1844326 w 2497282"/>
              <a:gd name="connsiteY12" fmla="*/ 657949 h 2364509"/>
              <a:gd name="connsiteX13" fmla="*/ 1842311 w 2497282"/>
              <a:gd name="connsiteY13" fmla="*/ 657949 h 2364509"/>
              <a:gd name="connsiteX14" fmla="*/ 1842311 w 2497282"/>
              <a:gd name="connsiteY14" fmla="*/ 380114 h 2364509"/>
              <a:gd name="connsiteX15" fmla="*/ 1633069 w 2497282"/>
              <a:gd name="connsiteY15" fmla="*/ 170872 h 2364509"/>
              <a:gd name="connsiteX16" fmla="*/ 352748 w 2497282"/>
              <a:gd name="connsiteY16" fmla="*/ 170872 h 2364509"/>
              <a:gd name="connsiteX17" fmla="*/ 143506 w 2497282"/>
              <a:gd name="connsiteY17" fmla="*/ 380114 h 2364509"/>
              <a:gd name="connsiteX18" fmla="*/ 143506 w 2497282"/>
              <a:gd name="connsiteY18" fmla="*/ 1984393 h 2364509"/>
              <a:gd name="connsiteX19" fmla="*/ 352748 w 2497282"/>
              <a:gd name="connsiteY19" fmla="*/ 2193635 h 2364509"/>
              <a:gd name="connsiteX20" fmla="*/ 1633069 w 2497282"/>
              <a:gd name="connsiteY20" fmla="*/ 2193635 h 2364509"/>
              <a:gd name="connsiteX21" fmla="*/ 1842311 w 2497282"/>
              <a:gd name="connsiteY21" fmla="*/ 1984393 h 2364509"/>
              <a:gd name="connsiteX22" fmla="*/ 1842311 w 2497282"/>
              <a:gd name="connsiteY22" fmla="*/ 1799217 h 2364509"/>
              <a:gd name="connsiteX23" fmla="*/ 1841500 w 2497282"/>
              <a:gd name="connsiteY23" fmla="*/ 1799217 h 2364509"/>
              <a:gd name="connsiteX24" fmla="*/ 1841500 w 2497282"/>
              <a:gd name="connsiteY24" fmla="*/ 1208198 h 2364509"/>
              <a:gd name="connsiteX25" fmla="*/ 2128405 w 2497282"/>
              <a:gd name="connsiteY25" fmla="*/ 921293 h 2364509"/>
              <a:gd name="connsiteX26" fmla="*/ 2333337 w 2497282"/>
              <a:gd name="connsiteY26" fmla="*/ 921294 h 2364509"/>
              <a:gd name="connsiteX27" fmla="*/ 2333337 w 2497282"/>
              <a:gd name="connsiteY27" fmla="*/ 829399 h 2364509"/>
              <a:gd name="connsiteX28" fmla="*/ 2497282 w 2497282"/>
              <a:gd name="connsiteY28" fmla="*/ 993345 h 2364509"/>
              <a:gd name="connsiteX29" fmla="*/ 2333337 w 2497282"/>
              <a:gd name="connsiteY29" fmla="*/ 1157290 h 2364509"/>
              <a:gd name="connsiteX30" fmla="*/ 2333337 w 2497282"/>
              <a:gd name="connsiteY30" fmla="*/ 1065395 h 2364509"/>
              <a:gd name="connsiteX31" fmla="*/ 2128405 w 2497282"/>
              <a:gd name="connsiteY31" fmla="*/ 1065395 h 2364509"/>
              <a:gd name="connsiteX32" fmla="*/ 1985602 w 2497282"/>
              <a:gd name="connsiteY32" fmla="*/ 1208198 h 2364509"/>
              <a:gd name="connsiteX33" fmla="*/ 1985602 w 2497282"/>
              <a:gd name="connsiteY33" fmla="*/ 1546949 h 2364509"/>
              <a:gd name="connsiteX34" fmla="*/ 1985818 w 2497282"/>
              <a:gd name="connsiteY34" fmla="*/ 1546949 h 2364509"/>
              <a:gd name="connsiteX35" fmla="*/ 1985818 w 2497282"/>
              <a:gd name="connsiteY35" fmla="*/ 2033533 h 2364509"/>
              <a:gd name="connsiteX36" fmla="*/ 1654842 w 2497282"/>
              <a:gd name="connsiteY36" fmla="*/ 2364509 h 2364509"/>
              <a:gd name="connsiteX37" fmla="*/ 330976 w 2497282"/>
              <a:gd name="connsiteY37" fmla="*/ 2364509 h 2364509"/>
              <a:gd name="connsiteX38" fmla="*/ 0 w 2497282"/>
              <a:gd name="connsiteY38" fmla="*/ 2033533 h 2364509"/>
              <a:gd name="connsiteX39" fmla="*/ 0 w 2497282"/>
              <a:gd name="connsiteY39" fmla="*/ 330976 h 2364509"/>
              <a:gd name="connsiteX40" fmla="*/ 330976 w 2497282"/>
              <a:gd name="connsiteY40" fmla="*/ 0 h 2364509"/>
              <a:gd name="connsiteX0" fmla="*/ 330976 w 2497282"/>
              <a:gd name="connsiteY0" fmla="*/ 0 h 2364509"/>
              <a:gd name="connsiteX1" fmla="*/ 1654842 w 2497282"/>
              <a:gd name="connsiteY1" fmla="*/ 0 h 2364509"/>
              <a:gd name="connsiteX2" fmla="*/ 1979094 w 2497282"/>
              <a:gd name="connsiteY2" fmla="*/ 264273 h 2364509"/>
              <a:gd name="connsiteX3" fmla="*/ 1985963 w 2497282"/>
              <a:gd name="connsiteY3" fmla="*/ 320606 h 2364509"/>
              <a:gd name="connsiteX4" fmla="*/ 1985963 w 2497282"/>
              <a:gd name="connsiteY4" fmla="*/ 651813 h 2364509"/>
              <a:gd name="connsiteX5" fmla="*/ 1985818 w 2497282"/>
              <a:gd name="connsiteY5" fmla="*/ 652531 h 2364509"/>
              <a:gd name="connsiteX6" fmla="*/ 1985818 w 2497282"/>
              <a:gd name="connsiteY6" fmla="*/ 657949 h 2364509"/>
              <a:gd name="connsiteX7" fmla="*/ 1984724 w 2497282"/>
              <a:gd name="connsiteY7" fmla="*/ 657949 h 2364509"/>
              <a:gd name="connsiteX8" fmla="*/ 1980349 w 2497282"/>
              <a:gd name="connsiteY8" fmla="*/ 679620 h 2364509"/>
              <a:gd name="connsiteX9" fmla="*/ 1914525 w 2497282"/>
              <a:gd name="connsiteY9" fmla="*/ 723251 h 2364509"/>
              <a:gd name="connsiteX10" fmla="*/ 1848701 w 2497282"/>
              <a:gd name="connsiteY10" fmla="*/ 679620 h 2364509"/>
              <a:gd name="connsiteX11" fmla="*/ 1844326 w 2497282"/>
              <a:gd name="connsiteY11" fmla="*/ 657949 h 2364509"/>
              <a:gd name="connsiteX12" fmla="*/ 1842311 w 2497282"/>
              <a:gd name="connsiteY12" fmla="*/ 657949 h 2364509"/>
              <a:gd name="connsiteX13" fmla="*/ 1842311 w 2497282"/>
              <a:gd name="connsiteY13" fmla="*/ 380114 h 2364509"/>
              <a:gd name="connsiteX14" fmla="*/ 1633069 w 2497282"/>
              <a:gd name="connsiteY14" fmla="*/ 170872 h 2364509"/>
              <a:gd name="connsiteX15" fmla="*/ 352748 w 2497282"/>
              <a:gd name="connsiteY15" fmla="*/ 170872 h 2364509"/>
              <a:gd name="connsiteX16" fmla="*/ 143506 w 2497282"/>
              <a:gd name="connsiteY16" fmla="*/ 380114 h 2364509"/>
              <a:gd name="connsiteX17" fmla="*/ 143506 w 2497282"/>
              <a:gd name="connsiteY17" fmla="*/ 1984393 h 2364509"/>
              <a:gd name="connsiteX18" fmla="*/ 352748 w 2497282"/>
              <a:gd name="connsiteY18" fmla="*/ 2193635 h 2364509"/>
              <a:gd name="connsiteX19" fmla="*/ 1633069 w 2497282"/>
              <a:gd name="connsiteY19" fmla="*/ 2193635 h 2364509"/>
              <a:gd name="connsiteX20" fmla="*/ 1842311 w 2497282"/>
              <a:gd name="connsiteY20" fmla="*/ 1984393 h 2364509"/>
              <a:gd name="connsiteX21" fmla="*/ 1842311 w 2497282"/>
              <a:gd name="connsiteY21" fmla="*/ 1799217 h 2364509"/>
              <a:gd name="connsiteX22" fmla="*/ 1841500 w 2497282"/>
              <a:gd name="connsiteY22" fmla="*/ 1799217 h 2364509"/>
              <a:gd name="connsiteX23" fmla="*/ 1841500 w 2497282"/>
              <a:gd name="connsiteY23" fmla="*/ 1208198 h 2364509"/>
              <a:gd name="connsiteX24" fmla="*/ 2128405 w 2497282"/>
              <a:gd name="connsiteY24" fmla="*/ 921293 h 2364509"/>
              <a:gd name="connsiteX25" fmla="*/ 2333337 w 2497282"/>
              <a:gd name="connsiteY25" fmla="*/ 921294 h 2364509"/>
              <a:gd name="connsiteX26" fmla="*/ 2333337 w 2497282"/>
              <a:gd name="connsiteY26" fmla="*/ 829399 h 2364509"/>
              <a:gd name="connsiteX27" fmla="*/ 2497282 w 2497282"/>
              <a:gd name="connsiteY27" fmla="*/ 993345 h 2364509"/>
              <a:gd name="connsiteX28" fmla="*/ 2333337 w 2497282"/>
              <a:gd name="connsiteY28" fmla="*/ 1157290 h 2364509"/>
              <a:gd name="connsiteX29" fmla="*/ 2333337 w 2497282"/>
              <a:gd name="connsiteY29" fmla="*/ 1065395 h 2364509"/>
              <a:gd name="connsiteX30" fmla="*/ 2128405 w 2497282"/>
              <a:gd name="connsiteY30" fmla="*/ 1065395 h 2364509"/>
              <a:gd name="connsiteX31" fmla="*/ 1985602 w 2497282"/>
              <a:gd name="connsiteY31" fmla="*/ 1208198 h 2364509"/>
              <a:gd name="connsiteX32" fmla="*/ 1985602 w 2497282"/>
              <a:gd name="connsiteY32" fmla="*/ 1546949 h 2364509"/>
              <a:gd name="connsiteX33" fmla="*/ 1985818 w 2497282"/>
              <a:gd name="connsiteY33" fmla="*/ 1546949 h 2364509"/>
              <a:gd name="connsiteX34" fmla="*/ 1985818 w 2497282"/>
              <a:gd name="connsiteY34" fmla="*/ 2033533 h 2364509"/>
              <a:gd name="connsiteX35" fmla="*/ 1654842 w 2497282"/>
              <a:gd name="connsiteY35" fmla="*/ 2364509 h 2364509"/>
              <a:gd name="connsiteX36" fmla="*/ 330976 w 2497282"/>
              <a:gd name="connsiteY36" fmla="*/ 2364509 h 2364509"/>
              <a:gd name="connsiteX37" fmla="*/ 0 w 2497282"/>
              <a:gd name="connsiteY37" fmla="*/ 2033533 h 2364509"/>
              <a:gd name="connsiteX38" fmla="*/ 0 w 2497282"/>
              <a:gd name="connsiteY38" fmla="*/ 330976 h 2364509"/>
              <a:gd name="connsiteX39" fmla="*/ 330976 w 2497282"/>
              <a:gd name="connsiteY39"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97282" h="2364509">
                <a:moveTo>
                  <a:pt x="330976" y="0"/>
                </a:moveTo>
                <a:lnTo>
                  <a:pt x="1654842" y="0"/>
                </a:lnTo>
                <a:cubicBezTo>
                  <a:pt x="1814786" y="0"/>
                  <a:pt x="1948232" y="113453"/>
                  <a:pt x="1979094" y="264273"/>
                </a:cubicBezTo>
                <a:lnTo>
                  <a:pt x="1985963" y="320606"/>
                </a:lnTo>
                <a:lnTo>
                  <a:pt x="1985963" y="651813"/>
                </a:lnTo>
                <a:cubicBezTo>
                  <a:pt x="1985915" y="652052"/>
                  <a:pt x="1985866" y="652292"/>
                  <a:pt x="1985818" y="652531"/>
                </a:cubicBezTo>
                <a:lnTo>
                  <a:pt x="1985818" y="657949"/>
                </a:lnTo>
                <a:lnTo>
                  <a:pt x="1984724" y="657949"/>
                </a:lnTo>
                <a:lnTo>
                  <a:pt x="1980349" y="679620"/>
                </a:lnTo>
                <a:cubicBezTo>
                  <a:pt x="1969504" y="705260"/>
                  <a:pt x="1944116" y="723251"/>
                  <a:pt x="1914525" y="723251"/>
                </a:cubicBezTo>
                <a:cubicBezTo>
                  <a:pt x="1884935" y="723251"/>
                  <a:pt x="1859546" y="705260"/>
                  <a:pt x="1848701" y="679620"/>
                </a:cubicBezTo>
                <a:lnTo>
                  <a:pt x="1844326" y="657949"/>
                </a:lnTo>
                <a:lnTo>
                  <a:pt x="1842311" y="657949"/>
                </a:lnTo>
                <a:lnTo>
                  <a:pt x="1842311" y="380114"/>
                </a:lnTo>
                <a:cubicBezTo>
                  <a:pt x="1842311" y="264553"/>
                  <a:pt x="1748630" y="170872"/>
                  <a:pt x="1633069" y="170872"/>
                </a:cubicBezTo>
                <a:lnTo>
                  <a:pt x="352748" y="170872"/>
                </a:lnTo>
                <a:cubicBezTo>
                  <a:pt x="237187" y="170872"/>
                  <a:pt x="143506" y="264553"/>
                  <a:pt x="143506" y="380114"/>
                </a:cubicBezTo>
                <a:lnTo>
                  <a:pt x="143506" y="1984393"/>
                </a:lnTo>
                <a:cubicBezTo>
                  <a:pt x="143506" y="2099954"/>
                  <a:pt x="237187" y="2193635"/>
                  <a:pt x="352748" y="2193635"/>
                </a:cubicBezTo>
                <a:lnTo>
                  <a:pt x="1633069" y="2193635"/>
                </a:lnTo>
                <a:cubicBezTo>
                  <a:pt x="1748630" y="2193635"/>
                  <a:pt x="1842311" y="2099954"/>
                  <a:pt x="1842311" y="1984393"/>
                </a:cubicBezTo>
                <a:lnTo>
                  <a:pt x="1842311" y="1799217"/>
                </a:lnTo>
                <a:lnTo>
                  <a:pt x="1841500" y="1799217"/>
                </a:lnTo>
                <a:lnTo>
                  <a:pt x="1841500" y="1208198"/>
                </a:lnTo>
                <a:cubicBezTo>
                  <a:pt x="1841500" y="1049745"/>
                  <a:pt x="1969952" y="921293"/>
                  <a:pt x="2128405" y="921293"/>
                </a:cubicBezTo>
                <a:lnTo>
                  <a:pt x="2333337" y="921294"/>
                </a:lnTo>
                <a:lnTo>
                  <a:pt x="2333337" y="829399"/>
                </a:lnTo>
                <a:lnTo>
                  <a:pt x="2497282" y="993345"/>
                </a:lnTo>
                <a:lnTo>
                  <a:pt x="2333337" y="1157290"/>
                </a:lnTo>
                <a:lnTo>
                  <a:pt x="2333337" y="1065395"/>
                </a:lnTo>
                <a:lnTo>
                  <a:pt x="2128405" y="1065395"/>
                </a:lnTo>
                <a:cubicBezTo>
                  <a:pt x="2049537" y="1065395"/>
                  <a:pt x="1985602" y="1129330"/>
                  <a:pt x="1985602" y="1208198"/>
                </a:cubicBezTo>
                <a:lnTo>
                  <a:pt x="1985602" y="1546949"/>
                </a:lnTo>
                <a:lnTo>
                  <a:pt x="1985818" y="1546949"/>
                </a:lnTo>
                <a:lnTo>
                  <a:pt x="1985818" y="2033533"/>
                </a:lnTo>
                <a:cubicBezTo>
                  <a:pt x="1985818" y="2216326"/>
                  <a:pt x="1837635" y="2364509"/>
                  <a:pt x="1654842" y="2364509"/>
                </a:cubicBezTo>
                <a:lnTo>
                  <a:pt x="330976" y="2364509"/>
                </a:lnTo>
                <a:cubicBezTo>
                  <a:pt x="148183" y="2364509"/>
                  <a:pt x="0" y="2216326"/>
                  <a:pt x="0" y="2033533"/>
                </a:cubicBezTo>
                <a:lnTo>
                  <a:pt x="0" y="330976"/>
                </a:lnTo>
                <a:cubicBezTo>
                  <a:pt x="0" y="148183"/>
                  <a:pt x="148183" y="0"/>
                  <a:pt x="330976" y="0"/>
                </a:cubicBez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YInterstate Light" panose="02000506000000020004" pitchFamily="2" charset="0"/>
            </a:endParaRPr>
          </a:p>
        </p:txBody>
      </p:sp>
      <p:sp>
        <p:nvSpPr>
          <p:cNvPr id="8" name="TextBox 7">
            <a:extLst>
              <a:ext uri="{FF2B5EF4-FFF2-40B4-BE49-F238E27FC236}">
                <a16:creationId xmlns:a16="http://schemas.microsoft.com/office/drawing/2014/main" id="{6FEBD36B-3FFD-3C94-D0CE-2AD2D6B43721}"/>
              </a:ext>
            </a:extLst>
          </p:cNvPr>
          <p:cNvSpPr txBox="1"/>
          <p:nvPr/>
        </p:nvSpPr>
        <p:spPr>
          <a:xfrm>
            <a:off x="1371604" y="2188032"/>
            <a:ext cx="572728" cy="175433"/>
          </a:xfrm>
          <a:prstGeom prst="rect">
            <a:avLst/>
          </a:prstGeom>
          <a:noFill/>
        </p:spPr>
        <p:txBody>
          <a:bodyPr wrap="square" lIns="0" tIns="36576" rIns="0" bIns="0" rtlCol="0" anchor="t">
            <a:spAutoFit/>
          </a:bodyPr>
          <a:lstStyle/>
          <a:p>
            <a:pPr algn="l">
              <a:lnSpc>
                <a:spcPct val="90000"/>
              </a:lnSpc>
              <a:spcBef>
                <a:spcPts val="400"/>
              </a:spcBef>
              <a:spcAft>
                <a:spcPts val="400"/>
              </a:spcAft>
              <a:buClr>
                <a:schemeClr val="tx2"/>
              </a:buClr>
              <a:buSzPct val="100000"/>
            </a:pPr>
            <a:r>
              <a:rPr lang="en-US" sz="1000">
                <a:solidFill>
                  <a:schemeClr val="bg1"/>
                </a:solidFill>
              </a:rPr>
              <a:t>Establish</a:t>
            </a:r>
            <a:endParaRPr lang="en-GB" sz="1000">
              <a:solidFill>
                <a:schemeClr val="bg1"/>
              </a:solidFill>
            </a:endParaRPr>
          </a:p>
        </p:txBody>
      </p:sp>
      <p:sp>
        <p:nvSpPr>
          <p:cNvPr id="9" name="TextBox 8">
            <a:extLst>
              <a:ext uri="{FF2B5EF4-FFF2-40B4-BE49-F238E27FC236}">
                <a16:creationId xmlns:a16="http://schemas.microsoft.com/office/drawing/2014/main" id="{202F27E3-DE86-A8D4-C426-2CE9A0A05A25}"/>
              </a:ext>
            </a:extLst>
          </p:cNvPr>
          <p:cNvSpPr txBox="1"/>
          <p:nvPr/>
        </p:nvSpPr>
        <p:spPr>
          <a:xfrm>
            <a:off x="3412822" y="2188031"/>
            <a:ext cx="689610" cy="175433"/>
          </a:xfrm>
          <a:prstGeom prst="rect">
            <a:avLst/>
          </a:prstGeom>
          <a:noFill/>
        </p:spPr>
        <p:txBody>
          <a:bodyPr wrap="square" lIns="0" tIns="36576" rIns="0" bIns="0" rtlCol="0" anchor="t">
            <a:spAutoFit/>
          </a:bodyPr>
          <a:lstStyle/>
          <a:p>
            <a:pPr algn="l">
              <a:lnSpc>
                <a:spcPct val="90000"/>
              </a:lnSpc>
              <a:spcBef>
                <a:spcPts val="400"/>
              </a:spcBef>
              <a:spcAft>
                <a:spcPts val="400"/>
              </a:spcAft>
              <a:buClr>
                <a:schemeClr val="tx2"/>
              </a:buClr>
              <a:buSzPct val="100000"/>
            </a:pPr>
            <a:r>
              <a:rPr lang="en-US" sz="1000">
                <a:solidFill>
                  <a:schemeClr val="bg1"/>
                </a:solidFill>
              </a:rPr>
              <a:t>Implement</a:t>
            </a:r>
            <a:endParaRPr lang="en-GB" sz="1000">
              <a:solidFill>
                <a:schemeClr val="bg1"/>
              </a:solidFill>
            </a:endParaRPr>
          </a:p>
        </p:txBody>
      </p:sp>
      <p:sp>
        <p:nvSpPr>
          <p:cNvPr id="10" name="TextBox 9">
            <a:extLst>
              <a:ext uri="{FF2B5EF4-FFF2-40B4-BE49-F238E27FC236}">
                <a16:creationId xmlns:a16="http://schemas.microsoft.com/office/drawing/2014/main" id="{E95283BB-19A2-1C01-1E11-9EAFB725337F}"/>
              </a:ext>
            </a:extLst>
          </p:cNvPr>
          <p:cNvSpPr txBox="1"/>
          <p:nvPr/>
        </p:nvSpPr>
        <p:spPr>
          <a:xfrm>
            <a:off x="5933786" y="2121186"/>
            <a:ext cx="689610" cy="175433"/>
          </a:xfrm>
          <a:prstGeom prst="rect">
            <a:avLst/>
          </a:prstGeom>
          <a:noFill/>
        </p:spPr>
        <p:txBody>
          <a:bodyPr wrap="square" lIns="0" tIns="36576" rIns="0" bIns="0" rtlCol="0" anchor="t">
            <a:spAutoFit/>
          </a:bodyPr>
          <a:lstStyle/>
          <a:p>
            <a:pPr algn="l">
              <a:lnSpc>
                <a:spcPct val="90000"/>
              </a:lnSpc>
              <a:spcBef>
                <a:spcPts val="400"/>
              </a:spcBef>
              <a:spcAft>
                <a:spcPts val="400"/>
              </a:spcAft>
              <a:buClr>
                <a:schemeClr val="tx2"/>
              </a:buClr>
              <a:buSzPct val="100000"/>
            </a:pPr>
            <a:r>
              <a:rPr lang="en-US" sz="1000">
                <a:solidFill>
                  <a:schemeClr val="bg1"/>
                </a:solidFill>
              </a:rPr>
              <a:t>Maintain</a:t>
            </a:r>
            <a:endParaRPr lang="en-GB" sz="1000">
              <a:solidFill>
                <a:schemeClr val="bg1"/>
              </a:solidFill>
            </a:endParaRPr>
          </a:p>
        </p:txBody>
      </p:sp>
      <p:sp>
        <p:nvSpPr>
          <p:cNvPr id="11" name="TextBox 10">
            <a:extLst>
              <a:ext uri="{FF2B5EF4-FFF2-40B4-BE49-F238E27FC236}">
                <a16:creationId xmlns:a16="http://schemas.microsoft.com/office/drawing/2014/main" id="{74553035-49F7-9AE7-3C3A-3D792BF5ABC4}"/>
              </a:ext>
            </a:extLst>
          </p:cNvPr>
          <p:cNvSpPr txBox="1"/>
          <p:nvPr/>
        </p:nvSpPr>
        <p:spPr>
          <a:xfrm>
            <a:off x="8141259" y="2010795"/>
            <a:ext cx="689610" cy="452432"/>
          </a:xfrm>
          <a:prstGeom prst="rect">
            <a:avLst/>
          </a:prstGeom>
          <a:noFill/>
        </p:spPr>
        <p:txBody>
          <a:bodyPr wrap="square" lIns="0" tIns="36576" rIns="0" bIns="0" rtlCol="0" anchor="t">
            <a:spAutoFit/>
          </a:bodyPr>
          <a:lstStyle/>
          <a:p>
            <a:pPr algn="l">
              <a:lnSpc>
                <a:spcPct val="90000"/>
              </a:lnSpc>
              <a:spcBef>
                <a:spcPts val="400"/>
              </a:spcBef>
              <a:spcAft>
                <a:spcPts val="400"/>
              </a:spcAft>
              <a:buClr>
                <a:schemeClr val="tx2"/>
              </a:buClr>
              <a:buSzPct val="100000"/>
            </a:pPr>
            <a:r>
              <a:rPr lang="en-US" sz="1000">
                <a:solidFill>
                  <a:schemeClr val="bg1"/>
                </a:solidFill>
              </a:rPr>
              <a:t>Continually improve the ISMS</a:t>
            </a:r>
            <a:endParaRPr lang="en-GB" sz="1000">
              <a:solidFill>
                <a:schemeClr val="bg1"/>
              </a:solidFill>
            </a:endParaRPr>
          </a:p>
        </p:txBody>
      </p:sp>
      <p:sp>
        <p:nvSpPr>
          <p:cNvPr id="12" name="Freeform: Shape 11">
            <a:extLst>
              <a:ext uri="{FF2B5EF4-FFF2-40B4-BE49-F238E27FC236}">
                <a16:creationId xmlns:a16="http://schemas.microsoft.com/office/drawing/2014/main" id="{3EA70D75-000B-C28A-0012-91080290B3B1}"/>
              </a:ext>
            </a:extLst>
          </p:cNvPr>
          <p:cNvSpPr/>
          <p:nvPr/>
        </p:nvSpPr>
        <p:spPr>
          <a:xfrm rot="10800000" flipV="1">
            <a:off x="7765140" y="1210112"/>
            <a:ext cx="1441849" cy="2218887"/>
          </a:xfrm>
          <a:custGeom>
            <a:avLst/>
            <a:gdLst>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725393 h 2364509"/>
              <a:gd name="connsiteX53" fmla="*/ 1842311 w 1985964"/>
              <a:gd name="connsiteY53" fmla="*/ 1984395 h 2364509"/>
              <a:gd name="connsiteX54" fmla="*/ 1838060 w 1985964"/>
              <a:gd name="connsiteY54" fmla="*/ 2026564 h 2364509"/>
              <a:gd name="connsiteX55" fmla="*/ 1838058 w 1985964"/>
              <a:gd name="connsiteY55" fmla="*/ 2026570 h 2364509"/>
              <a:gd name="connsiteX56" fmla="*/ 1818140 w 1985964"/>
              <a:gd name="connsiteY56" fmla="*/ 2077302 h 2364509"/>
              <a:gd name="connsiteX57" fmla="*/ 1792175 w 1985964"/>
              <a:gd name="connsiteY57" fmla="*/ 2115814 h 2364509"/>
              <a:gd name="connsiteX58" fmla="*/ 1773416 w 1985964"/>
              <a:gd name="connsiteY58" fmla="*/ 2137481 h 2364509"/>
              <a:gd name="connsiteX59" fmla="*/ 1731490 w 1985964"/>
              <a:gd name="connsiteY59" fmla="*/ 2165749 h 2364509"/>
              <a:gd name="connsiteX60" fmla="*/ 1709927 w 1985964"/>
              <a:gd name="connsiteY60" fmla="*/ 2178120 h 2364509"/>
              <a:gd name="connsiteX61" fmla="*/ 1633141 w 1985964"/>
              <a:gd name="connsiteY61" fmla="*/ 2193622 h 2364509"/>
              <a:gd name="connsiteX62" fmla="*/ 1633070 w 1985964"/>
              <a:gd name="connsiteY62" fmla="*/ 2193635 h 2364509"/>
              <a:gd name="connsiteX63" fmla="*/ 352749 w 1985964"/>
              <a:gd name="connsiteY63" fmla="*/ 2193635 h 2364509"/>
              <a:gd name="connsiteX64" fmla="*/ 143507 w 1985964"/>
              <a:gd name="connsiteY64" fmla="*/ 1984393 h 2364509"/>
              <a:gd name="connsiteX65" fmla="*/ 143507 w 1985964"/>
              <a:gd name="connsiteY65" fmla="*/ 380114 h 2364509"/>
              <a:gd name="connsiteX66" fmla="*/ 147758 w 1985964"/>
              <a:gd name="connsiteY66" fmla="*/ 337945 h 2364509"/>
              <a:gd name="connsiteX67" fmla="*/ 159950 w 1985964"/>
              <a:gd name="connsiteY67" fmla="*/ 298669 h 2364509"/>
              <a:gd name="connsiteX68" fmla="*/ 204792 w 1985964"/>
              <a:gd name="connsiteY68" fmla="*/ 232160 h 2364509"/>
              <a:gd name="connsiteX69" fmla="*/ 352748 w 1985964"/>
              <a:gd name="connsiteY69" fmla="*/ 170874 h 2364509"/>
              <a:gd name="connsiteX70" fmla="*/ 1633069 w 1985964"/>
              <a:gd name="connsiteY70" fmla="*/ 170874 h 2364509"/>
              <a:gd name="connsiteX71" fmla="*/ 1842311 w 1985964"/>
              <a:gd name="connsiteY71" fmla="*/ 380116 h 2364509"/>
              <a:gd name="connsiteX72" fmla="*/ 1842311 w 1985964"/>
              <a:gd name="connsiteY72" fmla="*/ 390533 h 2364509"/>
              <a:gd name="connsiteX73" fmla="*/ 1842312 w 1985964"/>
              <a:gd name="connsiteY73" fmla="*/ 390533 h 2364509"/>
              <a:gd name="connsiteX74" fmla="*/ 1842312 w 1985964"/>
              <a:gd name="connsiteY74" fmla="*/ 657949 h 2364509"/>
              <a:gd name="connsiteX75" fmla="*/ 1844327 w 1985964"/>
              <a:gd name="connsiteY75" fmla="*/ 657949 h 2364509"/>
              <a:gd name="connsiteX76" fmla="*/ 1848702 w 1985964"/>
              <a:gd name="connsiteY76" fmla="*/ 679620 h 2364509"/>
              <a:gd name="connsiteX77" fmla="*/ 1914526 w 1985964"/>
              <a:gd name="connsiteY77" fmla="*/ 723251 h 2364509"/>
              <a:gd name="connsiteX78" fmla="*/ 1980350 w 1985964"/>
              <a:gd name="connsiteY78" fmla="*/ 679620 h 2364509"/>
              <a:gd name="connsiteX79" fmla="*/ 1984725 w 1985964"/>
              <a:gd name="connsiteY79" fmla="*/ 657949 h 2364509"/>
              <a:gd name="connsiteX80" fmla="*/ 1985819 w 1985964"/>
              <a:gd name="connsiteY80" fmla="*/ 657949 h 2364509"/>
              <a:gd name="connsiteX81" fmla="*/ 1985819 w 1985964"/>
              <a:gd name="connsiteY81" fmla="*/ 652531 h 2364509"/>
              <a:gd name="connsiteX82" fmla="*/ 1985964 w 1985964"/>
              <a:gd name="connsiteY82" fmla="*/ 651813 h 2364509"/>
              <a:gd name="connsiteX83" fmla="*/ 1985964 w 1985964"/>
              <a:gd name="connsiteY83" fmla="*/ 320606 h 2364509"/>
              <a:gd name="connsiteX84" fmla="*/ 1979095 w 1985964"/>
              <a:gd name="connsiteY84" fmla="*/ 264273 h 2364509"/>
              <a:gd name="connsiteX85" fmla="*/ 1962862 w 1985964"/>
              <a:gd name="connsiteY85" fmla="*/ 209616 h 2364509"/>
              <a:gd name="connsiteX86" fmla="*/ 1960902 w 1985964"/>
              <a:gd name="connsiteY86" fmla="*/ 205670 h 2364509"/>
              <a:gd name="connsiteX87" fmla="*/ 1959808 w 1985964"/>
              <a:gd name="connsiteY87" fmla="*/ 202145 h 2364509"/>
              <a:gd name="connsiteX88" fmla="*/ 1952102 w 1985964"/>
              <a:gd name="connsiteY88" fmla="*/ 187947 h 2364509"/>
              <a:gd name="connsiteX89" fmla="*/ 1937903 w 1985964"/>
              <a:gd name="connsiteY89" fmla="*/ 159353 h 2364509"/>
              <a:gd name="connsiteX90" fmla="*/ 1932732 w 1985964"/>
              <a:gd name="connsiteY90" fmla="*/ 152262 h 2364509"/>
              <a:gd name="connsiteX91" fmla="*/ 1929292 w 1985964"/>
              <a:gd name="connsiteY91" fmla="*/ 145924 h 2364509"/>
              <a:gd name="connsiteX92" fmla="*/ 1919138 w 1985964"/>
              <a:gd name="connsiteY92" fmla="*/ 133617 h 2364509"/>
              <a:gd name="connsiteX93" fmla="*/ 1905110 w 1985964"/>
              <a:gd name="connsiteY93" fmla="*/ 114377 h 2364509"/>
              <a:gd name="connsiteX94" fmla="*/ 1895612 w 1985964"/>
              <a:gd name="connsiteY94" fmla="*/ 105103 h 2364509"/>
              <a:gd name="connsiteX95" fmla="*/ 1888877 w 1985964"/>
              <a:gd name="connsiteY95" fmla="*/ 96941 h 2364509"/>
              <a:gd name="connsiteX96" fmla="*/ 1878393 w 1985964"/>
              <a:gd name="connsiteY96" fmla="*/ 88290 h 2364509"/>
              <a:gd name="connsiteX97" fmla="*/ 1865375 w 1985964"/>
              <a:gd name="connsiteY97" fmla="*/ 75579 h 2364509"/>
              <a:gd name="connsiteX98" fmla="*/ 1857537 w 1985964"/>
              <a:gd name="connsiteY98" fmla="*/ 71082 h 2364509"/>
              <a:gd name="connsiteX99" fmla="*/ 1839894 w 1985964"/>
              <a:gd name="connsiteY99" fmla="*/ 56526 h 2364509"/>
              <a:gd name="connsiteX100" fmla="*/ 1783673 w 1985964"/>
              <a:gd name="connsiteY100" fmla="*/ 26010 h 2364509"/>
              <a:gd name="connsiteX101" fmla="*/ 1773433 w 1985964"/>
              <a:gd name="connsiteY101" fmla="*/ 22831 h 2364509"/>
              <a:gd name="connsiteX102" fmla="*/ 1768644 w 1985964"/>
              <a:gd name="connsiteY102" fmla="*/ 20084 h 2364509"/>
              <a:gd name="connsiteX103" fmla="*/ 1737353 w 1985964"/>
              <a:gd name="connsiteY103" fmla="*/ 11631 h 2364509"/>
              <a:gd name="connsiteX104" fmla="*/ 1721545 w 1985964"/>
              <a:gd name="connsiteY104" fmla="*/ 6724 h 2364509"/>
              <a:gd name="connsiteX105" fmla="*/ 1717783 w 1985964"/>
              <a:gd name="connsiteY105" fmla="*/ 6345 h 2364509"/>
              <a:gd name="connsiteX106" fmla="*/ 1713431 w 1985964"/>
              <a:gd name="connsiteY106" fmla="*/ 5170 h 2364509"/>
              <a:gd name="connsiteX107" fmla="*/ 1654843 w 1985964"/>
              <a:gd name="connsiteY107"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34276 w 1985964"/>
              <a:gd name="connsiteY51" fmla="*/ 1725393 h 2364509"/>
              <a:gd name="connsiteX52" fmla="*/ 1842311 w 1985964"/>
              <a:gd name="connsiteY52" fmla="*/ 1984395 h 2364509"/>
              <a:gd name="connsiteX53" fmla="*/ 1838060 w 1985964"/>
              <a:gd name="connsiteY53" fmla="*/ 2026564 h 2364509"/>
              <a:gd name="connsiteX54" fmla="*/ 1838058 w 1985964"/>
              <a:gd name="connsiteY54" fmla="*/ 2026570 h 2364509"/>
              <a:gd name="connsiteX55" fmla="*/ 1818140 w 1985964"/>
              <a:gd name="connsiteY55" fmla="*/ 2077302 h 2364509"/>
              <a:gd name="connsiteX56" fmla="*/ 1792175 w 1985964"/>
              <a:gd name="connsiteY56" fmla="*/ 2115814 h 2364509"/>
              <a:gd name="connsiteX57" fmla="*/ 1773416 w 1985964"/>
              <a:gd name="connsiteY57" fmla="*/ 2137481 h 2364509"/>
              <a:gd name="connsiteX58" fmla="*/ 1731490 w 1985964"/>
              <a:gd name="connsiteY58" fmla="*/ 2165749 h 2364509"/>
              <a:gd name="connsiteX59" fmla="*/ 1709927 w 1985964"/>
              <a:gd name="connsiteY59" fmla="*/ 2178120 h 2364509"/>
              <a:gd name="connsiteX60" fmla="*/ 1633141 w 1985964"/>
              <a:gd name="connsiteY60" fmla="*/ 2193622 h 2364509"/>
              <a:gd name="connsiteX61" fmla="*/ 1633070 w 1985964"/>
              <a:gd name="connsiteY61" fmla="*/ 2193635 h 2364509"/>
              <a:gd name="connsiteX62" fmla="*/ 352749 w 1985964"/>
              <a:gd name="connsiteY62" fmla="*/ 2193635 h 2364509"/>
              <a:gd name="connsiteX63" fmla="*/ 143507 w 1985964"/>
              <a:gd name="connsiteY63" fmla="*/ 1984393 h 2364509"/>
              <a:gd name="connsiteX64" fmla="*/ 143507 w 1985964"/>
              <a:gd name="connsiteY64" fmla="*/ 380114 h 2364509"/>
              <a:gd name="connsiteX65" fmla="*/ 147758 w 1985964"/>
              <a:gd name="connsiteY65" fmla="*/ 337945 h 2364509"/>
              <a:gd name="connsiteX66" fmla="*/ 159950 w 1985964"/>
              <a:gd name="connsiteY66" fmla="*/ 298669 h 2364509"/>
              <a:gd name="connsiteX67" fmla="*/ 204792 w 1985964"/>
              <a:gd name="connsiteY67" fmla="*/ 232160 h 2364509"/>
              <a:gd name="connsiteX68" fmla="*/ 352748 w 1985964"/>
              <a:gd name="connsiteY68" fmla="*/ 170874 h 2364509"/>
              <a:gd name="connsiteX69" fmla="*/ 1633069 w 1985964"/>
              <a:gd name="connsiteY69" fmla="*/ 170874 h 2364509"/>
              <a:gd name="connsiteX70" fmla="*/ 1842311 w 1985964"/>
              <a:gd name="connsiteY70" fmla="*/ 380116 h 2364509"/>
              <a:gd name="connsiteX71" fmla="*/ 1842311 w 1985964"/>
              <a:gd name="connsiteY71" fmla="*/ 390533 h 2364509"/>
              <a:gd name="connsiteX72" fmla="*/ 1842312 w 1985964"/>
              <a:gd name="connsiteY72" fmla="*/ 390533 h 2364509"/>
              <a:gd name="connsiteX73" fmla="*/ 1842312 w 1985964"/>
              <a:gd name="connsiteY73" fmla="*/ 657949 h 2364509"/>
              <a:gd name="connsiteX74" fmla="*/ 1844327 w 1985964"/>
              <a:gd name="connsiteY74" fmla="*/ 657949 h 2364509"/>
              <a:gd name="connsiteX75" fmla="*/ 1848702 w 1985964"/>
              <a:gd name="connsiteY75" fmla="*/ 679620 h 2364509"/>
              <a:gd name="connsiteX76" fmla="*/ 1914526 w 1985964"/>
              <a:gd name="connsiteY76" fmla="*/ 723251 h 2364509"/>
              <a:gd name="connsiteX77" fmla="*/ 1980350 w 1985964"/>
              <a:gd name="connsiteY77" fmla="*/ 679620 h 2364509"/>
              <a:gd name="connsiteX78" fmla="*/ 1984725 w 1985964"/>
              <a:gd name="connsiteY78" fmla="*/ 657949 h 2364509"/>
              <a:gd name="connsiteX79" fmla="*/ 1985819 w 1985964"/>
              <a:gd name="connsiteY79" fmla="*/ 657949 h 2364509"/>
              <a:gd name="connsiteX80" fmla="*/ 1985819 w 1985964"/>
              <a:gd name="connsiteY80" fmla="*/ 652531 h 2364509"/>
              <a:gd name="connsiteX81" fmla="*/ 1985964 w 1985964"/>
              <a:gd name="connsiteY81" fmla="*/ 651813 h 2364509"/>
              <a:gd name="connsiteX82" fmla="*/ 1985964 w 1985964"/>
              <a:gd name="connsiteY82" fmla="*/ 320606 h 2364509"/>
              <a:gd name="connsiteX83" fmla="*/ 1979095 w 1985964"/>
              <a:gd name="connsiteY83" fmla="*/ 264273 h 2364509"/>
              <a:gd name="connsiteX84" fmla="*/ 1962862 w 1985964"/>
              <a:gd name="connsiteY84" fmla="*/ 209616 h 2364509"/>
              <a:gd name="connsiteX85" fmla="*/ 1960902 w 1985964"/>
              <a:gd name="connsiteY85" fmla="*/ 205670 h 2364509"/>
              <a:gd name="connsiteX86" fmla="*/ 1959808 w 1985964"/>
              <a:gd name="connsiteY86" fmla="*/ 202145 h 2364509"/>
              <a:gd name="connsiteX87" fmla="*/ 1952102 w 1985964"/>
              <a:gd name="connsiteY87" fmla="*/ 187947 h 2364509"/>
              <a:gd name="connsiteX88" fmla="*/ 1937903 w 1985964"/>
              <a:gd name="connsiteY88" fmla="*/ 159353 h 2364509"/>
              <a:gd name="connsiteX89" fmla="*/ 1932732 w 1985964"/>
              <a:gd name="connsiteY89" fmla="*/ 152262 h 2364509"/>
              <a:gd name="connsiteX90" fmla="*/ 1929292 w 1985964"/>
              <a:gd name="connsiteY90" fmla="*/ 145924 h 2364509"/>
              <a:gd name="connsiteX91" fmla="*/ 1919138 w 1985964"/>
              <a:gd name="connsiteY91" fmla="*/ 133617 h 2364509"/>
              <a:gd name="connsiteX92" fmla="*/ 1905110 w 1985964"/>
              <a:gd name="connsiteY92" fmla="*/ 114377 h 2364509"/>
              <a:gd name="connsiteX93" fmla="*/ 1895612 w 1985964"/>
              <a:gd name="connsiteY93" fmla="*/ 105103 h 2364509"/>
              <a:gd name="connsiteX94" fmla="*/ 1888877 w 1985964"/>
              <a:gd name="connsiteY94" fmla="*/ 96941 h 2364509"/>
              <a:gd name="connsiteX95" fmla="*/ 1878393 w 1985964"/>
              <a:gd name="connsiteY95" fmla="*/ 88290 h 2364509"/>
              <a:gd name="connsiteX96" fmla="*/ 1865375 w 1985964"/>
              <a:gd name="connsiteY96" fmla="*/ 75579 h 2364509"/>
              <a:gd name="connsiteX97" fmla="*/ 1857537 w 1985964"/>
              <a:gd name="connsiteY97" fmla="*/ 71082 h 2364509"/>
              <a:gd name="connsiteX98" fmla="*/ 1839894 w 1985964"/>
              <a:gd name="connsiteY98" fmla="*/ 56526 h 2364509"/>
              <a:gd name="connsiteX99" fmla="*/ 1783673 w 1985964"/>
              <a:gd name="connsiteY99" fmla="*/ 26010 h 2364509"/>
              <a:gd name="connsiteX100" fmla="*/ 1773433 w 1985964"/>
              <a:gd name="connsiteY100" fmla="*/ 22831 h 2364509"/>
              <a:gd name="connsiteX101" fmla="*/ 1768644 w 1985964"/>
              <a:gd name="connsiteY101" fmla="*/ 20084 h 2364509"/>
              <a:gd name="connsiteX102" fmla="*/ 1737353 w 1985964"/>
              <a:gd name="connsiteY102" fmla="*/ 11631 h 2364509"/>
              <a:gd name="connsiteX103" fmla="*/ 1721545 w 1985964"/>
              <a:gd name="connsiteY103" fmla="*/ 6724 h 2364509"/>
              <a:gd name="connsiteX104" fmla="*/ 1717783 w 1985964"/>
              <a:gd name="connsiteY104" fmla="*/ 6345 h 2364509"/>
              <a:gd name="connsiteX105" fmla="*/ 1713431 w 1985964"/>
              <a:gd name="connsiteY105" fmla="*/ 5170 h 2364509"/>
              <a:gd name="connsiteX106" fmla="*/ 1654843 w 1985964"/>
              <a:gd name="connsiteY106"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38059 w 1985964"/>
              <a:gd name="connsiteY50" fmla="*/ 1715757 h 2364509"/>
              <a:gd name="connsiteX51" fmla="*/ 1842311 w 1985964"/>
              <a:gd name="connsiteY51" fmla="*/ 1984395 h 2364509"/>
              <a:gd name="connsiteX52" fmla="*/ 1838060 w 1985964"/>
              <a:gd name="connsiteY52" fmla="*/ 2026564 h 2364509"/>
              <a:gd name="connsiteX53" fmla="*/ 1838058 w 1985964"/>
              <a:gd name="connsiteY53" fmla="*/ 2026570 h 2364509"/>
              <a:gd name="connsiteX54" fmla="*/ 1818140 w 1985964"/>
              <a:gd name="connsiteY54" fmla="*/ 2077302 h 2364509"/>
              <a:gd name="connsiteX55" fmla="*/ 1792175 w 1985964"/>
              <a:gd name="connsiteY55" fmla="*/ 2115814 h 2364509"/>
              <a:gd name="connsiteX56" fmla="*/ 1773416 w 1985964"/>
              <a:gd name="connsiteY56" fmla="*/ 2137481 h 2364509"/>
              <a:gd name="connsiteX57" fmla="*/ 1731490 w 1985964"/>
              <a:gd name="connsiteY57" fmla="*/ 2165749 h 2364509"/>
              <a:gd name="connsiteX58" fmla="*/ 1709927 w 1985964"/>
              <a:gd name="connsiteY58" fmla="*/ 2178120 h 2364509"/>
              <a:gd name="connsiteX59" fmla="*/ 1633141 w 1985964"/>
              <a:gd name="connsiteY59" fmla="*/ 2193622 h 2364509"/>
              <a:gd name="connsiteX60" fmla="*/ 1633070 w 1985964"/>
              <a:gd name="connsiteY60" fmla="*/ 2193635 h 2364509"/>
              <a:gd name="connsiteX61" fmla="*/ 352749 w 1985964"/>
              <a:gd name="connsiteY61" fmla="*/ 2193635 h 2364509"/>
              <a:gd name="connsiteX62" fmla="*/ 143507 w 1985964"/>
              <a:gd name="connsiteY62" fmla="*/ 1984393 h 2364509"/>
              <a:gd name="connsiteX63" fmla="*/ 143507 w 1985964"/>
              <a:gd name="connsiteY63" fmla="*/ 380114 h 2364509"/>
              <a:gd name="connsiteX64" fmla="*/ 147758 w 1985964"/>
              <a:gd name="connsiteY64" fmla="*/ 337945 h 2364509"/>
              <a:gd name="connsiteX65" fmla="*/ 159950 w 1985964"/>
              <a:gd name="connsiteY65" fmla="*/ 298669 h 2364509"/>
              <a:gd name="connsiteX66" fmla="*/ 204792 w 1985964"/>
              <a:gd name="connsiteY66" fmla="*/ 232160 h 2364509"/>
              <a:gd name="connsiteX67" fmla="*/ 352748 w 1985964"/>
              <a:gd name="connsiteY67" fmla="*/ 170874 h 2364509"/>
              <a:gd name="connsiteX68" fmla="*/ 1633069 w 1985964"/>
              <a:gd name="connsiteY68" fmla="*/ 170874 h 2364509"/>
              <a:gd name="connsiteX69" fmla="*/ 1842311 w 1985964"/>
              <a:gd name="connsiteY69" fmla="*/ 380116 h 2364509"/>
              <a:gd name="connsiteX70" fmla="*/ 1842311 w 1985964"/>
              <a:gd name="connsiteY70" fmla="*/ 390533 h 2364509"/>
              <a:gd name="connsiteX71" fmla="*/ 1842312 w 1985964"/>
              <a:gd name="connsiteY71" fmla="*/ 390533 h 2364509"/>
              <a:gd name="connsiteX72" fmla="*/ 1842312 w 1985964"/>
              <a:gd name="connsiteY72" fmla="*/ 657949 h 2364509"/>
              <a:gd name="connsiteX73" fmla="*/ 1844327 w 1985964"/>
              <a:gd name="connsiteY73" fmla="*/ 657949 h 2364509"/>
              <a:gd name="connsiteX74" fmla="*/ 1848702 w 1985964"/>
              <a:gd name="connsiteY74" fmla="*/ 679620 h 2364509"/>
              <a:gd name="connsiteX75" fmla="*/ 1914526 w 1985964"/>
              <a:gd name="connsiteY75" fmla="*/ 723251 h 2364509"/>
              <a:gd name="connsiteX76" fmla="*/ 1980350 w 1985964"/>
              <a:gd name="connsiteY76" fmla="*/ 679620 h 2364509"/>
              <a:gd name="connsiteX77" fmla="*/ 1984725 w 1985964"/>
              <a:gd name="connsiteY77" fmla="*/ 657949 h 2364509"/>
              <a:gd name="connsiteX78" fmla="*/ 1985819 w 1985964"/>
              <a:gd name="connsiteY78" fmla="*/ 657949 h 2364509"/>
              <a:gd name="connsiteX79" fmla="*/ 1985819 w 1985964"/>
              <a:gd name="connsiteY79" fmla="*/ 652531 h 2364509"/>
              <a:gd name="connsiteX80" fmla="*/ 1985964 w 1985964"/>
              <a:gd name="connsiteY80" fmla="*/ 651813 h 2364509"/>
              <a:gd name="connsiteX81" fmla="*/ 1985964 w 1985964"/>
              <a:gd name="connsiteY81" fmla="*/ 320606 h 2364509"/>
              <a:gd name="connsiteX82" fmla="*/ 1979095 w 1985964"/>
              <a:gd name="connsiteY82" fmla="*/ 264273 h 2364509"/>
              <a:gd name="connsiteX83" fmla="*/ 1962862 w 1985964"/>
              <a:gd name="connsiteY83" fmla="*/ 209616 h 2364509"/>
              <a:gd name="connsiteX84" fmla="*/ 1960902 w 1985964"/>
              <a:gd name="connsiteY84" fmla="*/ 205670 h 2364509"/>
              <a:gd name="connsiteX85" fmla="*/ 1959808 w 1985964"/>
              <a:gd name="connsiteY85" fmla="*/ 202145 h 2364509"/>
              <a:gd name="connsiteX86" fmla="*/ 1952102 w 1985964"/>
              <a:gd name="connsiteY86" fmla="*/ 187947 h 2364509"/>
              <a:gd name="connsiteX87" fmla="*/ 1937903 w 1985964"/>
              <a:gd name="connsiteY87" fmla="*/ 159353 h 2364509"/>
              <a:gd name="connsiteX88" fmla="*/ 1932732 w 1985964"/>
              <a:gd name="connsiteY88" fmla="*/ 152262 h 2364509"/>
              <a:gd name="connsiteX89" fmla="*/ 1929292 w 1985964"/>
              <a:gd name="connsiteY89" fmla="*/ 145924 h 2364509"/>
              <a:gd name="connsiteX90" fmla="*/ 1919138 w 1985964"/>
              <a:gd name="connsiteY90" fmla="*/ 133617 h 2364509"/>
              <a:gd name="connsiteX91" fmla="*/ 1905110 w 1985964"/>
              <a:gd name="connsiteY91" fmla="*/ 114377 h 2364509"/>
              <a:gd name="connsiteX92" fmla="*/ 1895612 w 1985964"/>
              <a:gd name="connsiteY92" fmla="*/ 105103 h 2364509"/>
              <a:gd name="connsiteX93" fmla="*/ 1888877 w 1985964"/>
              <a:gd name="connsiteY93" fmla="*/ 96941 h 2364509"/>
              <a:gd name="connsiteX94" fmla="*/ 1878393 w 1985964"/>
              <a:gd name="connsiteY94" fmla="*/ 88290 h 2364509"/>
              <a:gd name="connsiteX95" fmla="*/ 1865375 w 1985964"/>
              <a:gd name="connsiteY95" fmla="*/ 75579 h 2364509"/>
              <a:gd name="connsiteX96" fmla="*/ 1857537 w 1985964"/>
              <a:gd name="connsiteY96" fmla="*/ 71082 h 2364509"/>
              <a:gd name="connsiteX97" fmla="*/ 1839894 w 1985964"/>
              <a:gd name="connsiteY97" fmla="*/ 56526 h 2364509"/>
              <a:gd name="connsiteX98" fmla="*/ 1783673 w 1985964"/>
              <a:gd name="connsiteY98" fmla="*/ 26010 h 2364509"/>
              <a:gd name="connsiteX99" fmla="*/ 1773433 w 1985964"/>
              <a:gd name="connsiteY99" fmla="*/ 22831 h 2364509"/>
              <a:gd name="connsiteX100" fmla="*/ 1768644 w 1985964"/>
              <a:gd name="connsiteY100" fmla="*/ 20084 h 2364509"/>
              <a:gd name="connsiteX101" fmla="*/ 1737353 w 1985964"/>
              <a:gd name="connsiteY101" fmla="*/ 11631 h 2364509"/>
              <a:gd name="connsiteX102" fmla="*/ 1721545 w 1985964"/>
              <a:gd name="connsiteY102" fmla="*/ 6724 h 2364509"/>
              <a:gd name="connsiteX103" fmla="*/ 1717783 w 1985964"/>
              <a:gd name="connsiteY103" fmla="*/ 6345 h 2364509"/>
              <a:gd name="connsiteX104" fmla="*/ 1713431 w 1985964"/>
              <a:gd name="connsiteY104" fmla="*/ 5170 h 2364509"/>
              <a:gd name="connsiteX105" fmla="*/ 1654843 w 1985964"/>
              <a:gd name="connsiteY105"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38061 w 1985964"/>
              <a:gd name="connsiteY49" fmla="*/ 1715751 h 2364509"/>
              <a:gd name="connsiteX50" fmla="*/ 1842311 w 1985964"/>
              <a:gd name="connsiteY50" fmla="*/ 1984395 h 2364509"/>
              <a:gd name="connsiteX51" fmla="*/ 1838060 w 1985964"/>
              <a:gd name="connsiteY51" fmla="*/ 2026564 h 2364509"/>
              <a:gd name="connsiteX52" fmla="*/ 1838058 w 1985964"/>
              <a:gd name="connsiteY52" fmla="*/ 2026570 h 2364509"/>
              <a:gd name="connsiteX53" fmla="*/ 1818140 w 1985964"/>
              <a:gd name="connsiteY53" fmla="*/ 2077302 h 2364509"/>
              <a:gd name="connsiteX54" fmla="*/ 1792175 w 1985964"/>
              <a:gd name="connsiteY54" fmla="*/ 2115814 h 2364509"/>
              <a:gd name="connsiteX55" fmla="*/ 1773416 w 1985964"/>
              <a:gd name="connsiteY55" fmla="*/ 2137481 h 2364509"/>
              <a:gd name="connsiteX56" fmla="*/ 1731490 w 1985964"/>
              <a:gd name="connsiteY56" fmla="*/ 2165749 h 2364509"/>
              <a:gd name="connsiteX57" fmla="*/ 1709927 w 1985964"/>
              <a:gd name="connsiteY57" fmla="*/ 2178120 h 2364509"/>
              <a:gd name="connsiteX58" fmla="*/ 1633141 w 1985964"/>
              <a:gd name="connsiteY58" fmla="*/ 2193622 h 2364509"/>
              <a:gd name="connsiteX59" fmla="*/ 1633070 w 1985964"/>
              <a:gd name="connsiteY59" fmla="*/ 2193635 h 2364509"/>
              <a:gd name="connsiteX60" fmla="*/ 352749 w 1985964"/>
              <a:gd name="connsiteY60" fmla="*/ 2193635 h 2364509"/>
              <a:gd name="connsiteX61" fmla="*/ 143507 w 1985964"/>
              <a:gd name="connsiteY61" fmla="*/ 1984393 h 2364509"/>
              <a:gd name="connsiteX62" fmla="*/ 143507 w 1985964"/>
              <a:gd name="connsiteY62" fmla="*/ 380114 h 2364509"/>
              <a:gd name="connsiteX63" fmla="*/ 147758 w 1985964"/>
              <a:gd name="connsiteY63" fmla="*/ 337945 h 2364509"/>
              <a:gd name="connsiteX64" fmla="*/ 159950 w 1985964"/>
              <a:gd name="connsiteY64" fmla="*/ 298669 h 2364509"/>
              <a:gd name="connsiteX65" fmla="*/ 204792 w 1985964"/>
              <a:gd name="connsiteY65" fmla="*/ 232160 h 2364509"/>
              <a:gd name="connsiteX66" fmla="*/ 352748 w 1985964"/>
              <a:gd name="connsiteY66" fmla="*/ 170874 h 2364509"/>
              <a:gd name="connsiteX67" fmla="*/ 1633069 w 1985964"/>
              <a:gd name="connsiteY67" fmla="*/ 170874 h 2364509"/>
              <a:gd name="connsiteX68" fmla="*/ 1842311 w 1985964"/>
              <a:gd name="connsiteY68" fmla="*/ 380116 h 2364509"/>
              <a:gd name="connsiteX69" fmla="*/ 1842311 w 1985964"/>
              <a:gd name="connsiteY69" fmla="*/ 390533 h 2364509"/>
              <a:gd name="connsiteX70" fmla="*/ 1842312 w 1985964"/>
              <a:gd name="connsiteY70" fmla="*/ 390533 h 2364509"/>
              <a:gd name="connsiteX71" fmla="*/ 1842312 w 1985964"/>
              <a:gd name="connsiteY71" fmla="*/ 657949 h 2364509"/>
              <a:gd name="connsiteX72" fmla="*/ 1844327 w 1985964"/>
              <a:gd name="connsiteY72" fmla="*/ 657949 h 2364509"/>
              <a:gd name="connsiteX73" fmla="*/ 1848702 w 1985964"/>
              <a:gd name="connsiteY73" fmla="*/ 679620 h 2364509"/>
              <a:gd name="connsiteX74" fmla="*/ 1914526 w 1985964"/>
              <a:gd name="connsiteY74" fmla="*/ 723251 h 2364509"/>
              <a:gd name="connsiteX75" fmla="*/ 1980350 w 1985964"/>
              <a:gd name="connsiteY75" fmla="*/ 679620 h 2364509"/>
              <a:gd name="connsiteX76" fmla="*/ 1984725 w 1985964"/>
              <a:gd name="connsiteY76" fmla="*/ 657949 h 2364509"/>
              <a:gd name="connsiteX77" fmla="*/ 1985819 w 1985964"/>
              <a:gd name="connsiteY77" fmla="*/ 657949 h 2364509"/>
              <a:gd name="connsiteX78" fmla="*/ 1985819 w 1985964"/>
              <a:gd name="connsiteY78" fmla="*/ 652531 h 2364509"/>
              <a:gd name="connsiteX79" fmla="*/ 1985964 w 1985964"/>
              <a:gd name="connsiteY79" fmla="*/ 651813 h 2364509"/>
              <a:gd name="connsiteX80" fmla="*/ 1985964 w 1985964"/>
              <a:gd name="connsiteY80" fmla="*/ 320606 h 2364509"/>
              <a:gd name="connsiteX81" fmla="*/ 1979095 w 1985964"/>
              <a:gd name="connsiteY81" fmla="*/ 264273 h 2364509"/>
              <a:gd name="connsiteX82" fmla="*/ 1962862 w 1985964"/>
              <a:gd name="connsiteY82" fmla="*/ 209616 h 2364509"/>
              <a:gd name="connsiteX83" fmla="*/ 1960902 w 1985964"/>
              <a:gd name="connsiteY83" fmla="*/ 205670 h 2364509"/>
              <a:gd name="connsiteX84" fmla="*/ 1959808 w 1985964"/>
              <a:gd name="connsiteY84" fmla="*/ 202145 h 2364509"/>
              <a:gd name="connsiteX85" fmla="*/ 1952102 w 1985964"/>
              <a:gd name="connsiteY85" fmla="*/ 187947 h 2364509"/>
              <a:gd name="connsiteX86" fmla="*/ 1937903 w 1985964"/>
              <a:gd name="connsiteY86" fmla="*/ 159353 h 2364509"/>
              <a:gd name="connsiteX87" fmla="*/ 1932732 w 1985964"/>
              <a:gd name="connsiteY87" fmla="*/ 152262 h 2364509"/>
              <a:gd name="connsiteX88" fmla="*/ 1929292 w 1985964"/>
              <a:gd name="connsiteY88" fmla="*/ 145924 h 2364509"/>
              <a:gd name="connsiteX89" fmla="*/ 1919138 w 1985964"/>
              <a:gd name="connsiteY89" fmla="*/ 133617 h 2364509"/>
              <a:gd name="connsiteX90" fmla="*/ 1905110 w 1985964"/>
              <a:gd name="connsiteY90" fmla="*/ 114377 h 2364509"/>
              <a:gd name="connsiteX91" fmla="*/ 1895612 w 1985964"/>
              <a:gd name="connsiteY91" fmla="*/ 105103 h 2364509"/>
              <a:gd name="connsiteX92" fmla="*/ 1888877 w 1985964"/>
              <a:gd name="connsiteY92" fmla="*/ 96941 h 2364509"/>
              <a:gd name="connsiteX93" fmla="*/ 1878393 w 1985964"/>
              <a:gd name="connsiteY93" fmla="*/ 88290 h 2364509"/>
              <a:gd name="connsiteX94" fmla="*/ 1865375 w 1985964"/>
              <a:gd name="connsiteY94" fmla="*/ 75579 h 2364509"/>
              <a:gd name="connsiteX95" fmla="*/ 1857537 w 1985964"/>
              <a:gd name="connsiteY95" fmla="*/ 71082 h 2364509"/>
              <a:gd name="connsiteX96" fmla="*/ 1839894 w 1985964"/>
              <a:gd name="connsiteY96" fmla="*/ 56526 h 2364509"/>
              <a:gd name="connsiteX97" fmla="*/ 1783673 w 1985964"/>
              <a:gd name="connsiteY97" fmla="*/ 26010 h 2364509"/>
              <a:gd name="connsiteX98" fmla="*/ 1773433 w 1985964"/>
              <a:gd name="connsiteY98" fmla="*/ 22831 h 2364509"/>
              <a:gd name="connsiteX99" fmla="*/ 1768644 w 1985964"/>
              <a:gd name="connsiteY99" fmla="*/ 20084 h 2364509"/>
              <a:gd name="connsiteX100" fmla="*/ 1737353 w 1985964"/>
              <a:gd name="connsiteY100" fmla="*/ 11631 h 2364509"/>
              <a:gd name="connsiteX101" fmla="*/ 1721545 w 1985964"/>
              <a:gd name="connsiteY101" fmla="*/ 6724 h 2364509"/>
              <a:gd name="connsiteX102" fmla="*/ 1717783 w 1985964"/>
              <a:gd name="connsiteY102" fmla="*/ 6345 h 2364509"/>
              <a:gd name="connsiteX103" fmla="*/ 1713431 w 1985964"/>
              <a:gd name="connsiteY103" fmla="*/ 5170 h 2364509"/>
              <a:gd name="connsiteX104" fmla="*/ 1654843 w 1985964"/>
              <a:gd name="connsiteY104"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2 w 1985964"/>
              <a:gd name="connsiteY48" fmla="*/ 1673582 h 2364509"/>
              <a:gd name="connsiteX49" fmla="*/ 1842311 w 1985964"/>
              <a:gd name="connsiteY49" fmla="*/ 1984395 h 2364509"/>
              <a:gd name="connsiteX50" fmla="*/ 1838060 w 1985964"/>
              <a:gd name="connsiteY50" fmla="*/ 2026564 h 2364509"/>
              <a:gd name="connsiteX51" fmla="*/ 1838058 w 1985964"/>
              <a:gd name="connsiteY51" fmla="*/ 2026570 h 2364509"/>
              <a:gd name="connsiteX52" fmla="*/ 1818140 w 1985964"/>
              <a:gd name="connsiteY52" fmla="*/ 2077302 h 2364509"/>
              <a:gd name="connsiteX53" fmla="*/ 1792175 w 1985964"/>
              <a:gd name="connsiteY53" fmla="*/ 2115814 h 2364509"/>
              <a:gd name="connsiteX54" fmla="*/ 1773416 w 1985964"/>
              <a:gd name="connsiteY54" fmla="*/ 2137481 h 2364509"/>
              <a:gd name="connsiteX55" fmla="*/ 1731490 w 1985964"/>
              <a:gd name="connsiteY55" fmla="*/ 2165749 h 2364509"/>
              <a:gd name="connsiteX56" fmla="*/ 1709927 w 1985964"/>
              <a:gd name="connsiteY56" fmla="*/ 2178120 h 2364509"/>
              <a:gd name="connsiteX57" fmla="*/ 1633141 w 1985964"/>
              <a:gd name="connsiteY57" fmla="*/ 2193622 h 2364509"/>
              <a:gd name="connsiteX58" fmla="*/ 1633070 w 1985964"/>
              <a:gd name="connsiteY58" fmla="*/ 2193635 h 2364509"/>
              <a:gd name="connsiteX59" fmla="*/ 352749 w 1985964"/>
              <a:gd name="connsiteY59" fmla="*/ 2193635 h 2364509"/>
              <a:gd name="connsiteX60" fmla="*/ 143507 w 1985964"/>
              <a:gd name="connsiteY60" fmla="*/ 1984393 h 2364509"/>
              <a:gd name="connsiteX61" fmla="*/ 143507 w 1985964"/>
              <a:gd name="connsiteY61" fmla="*/ 380114 h 2364509"/>
              <a:gd name="connsiteX62" fmla="*/ 147758 w 1985964"/>
              <a:gd name="connsiteY62" fmla="*/ 337945 h 2364509"/>
              <a:gd name="connsiteX63" fmla="*/ 159950 w 1985964"/>
              <a:gd name="connsiteY63" fmla="*/ 298669 h 2364509"/>
              <a:gd name="connsiteX64" fmla="*/ 204792 w 1985964"/>
              <a:gd name="connsiteY64" fmla="*/ 232160 h 2364509"/>
              <a:gd name="connsiteX65" fmla="*/ 352748 w 1985964"/>
              <a:gd name="connsiteY65" fmla="*/ 170874 h 2364509"/>
              <a:gd name="connsiteX66" fmla="*/ 1633069 w 1985964"/>
              <a:gd name="connsiteY66" fmla="*/ 170874 h 2364509"/>
              <a:gd name="connsiteX67" fmla="*/ 1842311 w 1985964"/>
              <a:gd name="connsiteY67" fmla="*/ 380116 h 2364509"/>
              <a:gd name="connsiteX68" fmla="*/ 1842311 w 1985964"/>
              <a:gd name="connsiteY68" fmla="*/ 390533 h 2364509"/>
              <a:gd name="connsiteX69" fmla="*/ 1842312 w 1985964"/>
              <a:gd name="connsiteY69" fmla="*/ 390533 h 2364509"/>
              <a:gd name="connsiteX70" fmla="*/ 1842312 w 1985964"/>
              <a:gd name="connsiteY70" fmla="*/ 657949 h 2364509"/>
              <a:gd name="connsiteX71" fmla="*/ 1844327 w 1985964"/>
              <a:gd name="connsiteY71" fmla="*/ 657949 h 2364509"/>
              <a:gd name="connsiteX72" fmla="*/ 1848702 w 1985964"/>
              <a:gd name="connsiteY72" fmla="*/ 679620 h 2364509"/>
              <a:gd name="connsiteX73" fmla="*/ 1914526 w 1985964"/>
              <a:gd name="connsiteY73" fmla="*/ 723251 h 2364509"/>
              <a:gd name="connsiteX74" fmla="*/ 1980350 w 1985964"/>
              <a:gd name="connsiteY74" fmla="*/ 679620 h 2364509"/>
              <a:gd name="connsiteX75" fmla="*/ 1984725 w 1985964"/>
              <a:gd name="connsiteY75" fmla="*/ 657949 h 2364509"/>
              <a:gd name="connsiteX76" fmla="*/ 1985819 w 1985964"/>
              <a:gd name="connsiteY76" fmla="*/ 657949 h 2364509"/>
              <a:gd name="connsiteX77" fmla="*/ 1985819 w 1985964"/>
              <a:gd name="connsiteY77" fmla="*/ 652531 h 2364509"/>
              <a:gd name="connsiteX78" fmla="*/ 1985964 w 1985964"/>
              <a:gd name="connsiteY78" fmla="*/ 651813 h 2364509"/>
              <a:gd name="connsiteX79" fmla="*/ 1985964 w 1985964"/>
              <a:gd name="connsiteY79" fmla="*/ 320606 h 2364509"/>
              <a:gd name="connsiteX80" fmla="*/ 1979095 w 1985964"/>
              <a:gd name="connsiteY80" fmla="*/ 264273 h 2364509"/>
              <a:gd name="connsiteX81" fmla="*/ 1962862 w 1985964"/>
              <a:gd name="connsiteY81" fmla="*/ 209616 h 2364509"/>
              <a:gd name="connsiteX82" fmla="*/ 1960902 w 1985964"/>
              <a:gd name="connsiteY82" fmla="*/ 205670 h 2364509"/>
              <a:gd name="connsiteX83" fmla="*/ 1959808 w 1985964"/>
              <a:gd name="connsiteY83" fmla="*/ 202145 h 2364509"/>
              <a:gd name="connsiteX84" fmla="*/ 1952102 w 1985964"/>
              <a:gd name="connsiteY84" fmla="*/ 187947 h 2364509"/>
              <a:gd name="connsiteX85" fmla="*/ 1937903 w 1985964"/>
              <a:gd name="connsiteY85" fmla="*/ 159353 h 2364509"/>
              <a:gd name="connsiteX86" fmla="*/ 1932732 w 1985964"/>
              <a:gd name="connsiteY86" fmla="*/ 152262 h 2364509"/>
              <a:gd name="connsiteX87" fmla="*/ 1929292 w 1985964"/>
              <a:gd name="connsiteY87" fmla="*/ 145924 h 2364509"/>
              <a:gd name="connsiteX88" fmla="*/ 1919138 w 1985964"/>
              <a:gd name="connsiteY88" fmla="*/ 133617 h 2364509"/>
              <a:gd name="connsiteX89" fmla="*/ 1905110 w 1985964"/>
              <a:gd name="connsiteY89" fmla="*/ 114377 h 2364509"/>
              <a:gd name="connsiteX90" fmla="*/ 1895612 w 1985964"/>
              <a:gd name="connsiteY90" fmla="*/ 105103 h 2364509"/>
              <a:gd name="connsiteX91" fmla="*/ 1888877 w 1985964"/>
              <a:gd name="connsiteY91" fmla="*/ 96941 h 2364509"/>
              <a:gd name="connsiteX92" fmla="*/ 1878393 w 1985964"/>
              <a:gd name="connsiteY92" fmla="*/ 88290 h 2364509"/>
              <a:gd name="connsiteX93" fmla="*/ 1865375 w 1985964"/>
              <a:gd name="connsiteY93" fmla="*/ 75579 h 2364509"/>
              <a:gd name="connsiteX94" fmla="*/ 1857537 w 1985964"/>
              <a:gd name="connsiteY94" fmla="*/ 71082 h 2364509"/>
              <a:gd name="connsiteX95" fmla="*/ 1839894 w 1985964"/>
              <a:gd name="connsiteY95" fmla="*/ 56526 h 2364509"/>
              <a:gd name="connsiteX96" fmla="*/ 1783673 w 1985964"/>
              <a:gd name="connsiteY96" fmla="*/ 26010 h 2364509"/>
              <a:gd name="connsiteX97" fmla="*/ 1773433 w 1985964"/>
              <a:gd name="connsiteY97" fmla="*/ 22831 h 2364509"/>
              <a:gd name="connsiteX98" fmla="*/ 1768644 w 1985964"/>
              <a:gd name="connsiteY98" fmla="*/ 20084 h 2364509"/>
              <a:gd name="connsiteX99" fmla="*/ 1737353 w 1985964"/>
              <a:gd name="connsiteY99" fmla="*/ 11631 h 2364509"/>
              <a:gd name="connsiteX100" fmla="*/ 1721545 w 1985964"/>
              <a:gd name="connsiteY100" fmla="*/ 6724 h 2364509"/>
              <a:gd name="connsiteX101" fmla="*/ 1717783 w 1985964"/>
              <a:gd name="connsiteY101" fmla="*/ 6345 h 2364509"/>
              <a:gd name="connsiteX102" fmla="*/ 1713431 w 1985964"/>
              <a:gd name="connsiteY102" fmla="*/ 5170 h 2364509"/>
              <a:gd name="connsiteX103" fmla="*/ 1654843 w 1985964"/>
              <a:gd name="connsiteY103" fmla="*/ 0 h 2364509"/>
              <a:gd name="connsiteX0" fmla="*/ 1654843 w 1985964"/>
              <a:gd name="connsiteY0" fmla="*/ 0 h 2364509"/>
              <a:gd name="connsiteX1" fmla="*/ 1654842 w 1985964"/>
              <a:gd name="connsiteY1" fmla="*/ 0 h 2364509"/>
              <a:gd name="connsiteX2" fmla="*/ 330977 w 1985964"/>
              <a:gd name="connsiteY2" fmla="*/ 0 h 2364509"/>
              <a:gd name="connsiteX3" fmla="*/ 330976 w 1985964"/>
              <a:gd name="connsiteY3" fmla="*/ 0 h 2364509"/>
              <a:gd name="connsiteX4" fmla="*/ 0 w 1985964"/>
              <a:gd name="connsiteY4" fmla="*/ 330976 h 2364509"/>
              <a:gd name="connsiteX5" fmla="*/ 0 w 1985964"/>
              <a:gd name="connsiteY5" fmla="*/ 2033533 h 2364509"/>
              <a:gd name="connsiteX6" fmla="*/ 330976 w 1985964"/>
              <a:gd name="connsiteY6" fmla="*/ 2364509 h 2364509"/>
              <a:gd name="connsiteX7" fmla="*/ 330977 w 1985964"/>
              <a:gd name="connsiteY7" fmla="*/ 2364509 h 2364509"/>
              <a:gd name="connsiteX8" fmla="*/ 1654842 w 1985964"/>
              <a:gd name="connsiteY8" fmla="*/ 2364509 h 2364509"/>
              <a:gd name="connsiteX9" fmla="*/ 1654843 w 1985964"/>
              <a:gd name="connsiteY9" fmla="*/ 2364509 h 2364509"/>
              <a:gd name="connsiteX10" fmla="*/ 1654850 w 1985964"/>
              <a:gd name="connsiteY10" fmla="*/ 2364508 h 2364509"/>
              <a:gd name="connsiteX11" fmla="*/ 1713430 w 1985964"/>
              <a:gd name="connsiteY11" fmla="*/ 2359339 h 2364509"/>
              <a:gd name="connsiteX12" fmla="*/ 1717781 w 1985964"/>
              <a:gd name="connsiteY12" fmla="*/ 2358164 h 2364509"/>
              <a:gd name="connsiteX13" fmla="*/ 1721546 w 1985964"/>
              <a:gd name="connsiteY13" fmla="*/ 2357784 h 2364509"/>
              <a:gd name="connsiteX14" fmla="*/ 1737367 w 1985964"/>
              <a:gd name="connsiteY14" fmla="*/ 2352873 h 2364509"/>
              <a:gd name="connsiteX15" fmla="*/ 1768643 w 1985964"/>
              <a:gd name="connsiteY15" fmla="*/ 2344425 h 2364509"/>
              <a:gd name="connsiteX16" fmla="*/ 1773429 w 1985964"/>
              <a:gd name="connsiteY16" fmla="*/ 2341679 h 2364509"/>
              <a:gd name="connsiteX17" fmla="*/ 1783674 w 1985964"/>
              <a:gd name="connsiteY17" fmla="*/ 2338499 h 2364509"/>
              <a:gd name="connsiteX18" fmla="*/ 1839895 w 1985964"/>
              <a:gd name="connsiteY18" fmla="*/ 2307983 h 2364509"/>
              <a:gd name="connsiteX19" fmla="*/ 1857542 w 1985964"/>
              <a:gd name="connsiteY19" fmla="*/ 2293423 h 2364509"/>
              <a:gd name="connsiteX20" fmla="*/ 1865374 w 1985964"/>
              <a:gd name="connsiteY20" fmla="*/ 2288930 h 2364509"/>
              <a:gd name="connsiteX21" fmla="*/ 1878381 w 1985964"/>
              <a:gd name="connsiteY21" fmla="*/ 2276229 h 2364509"/>
              <a:gd name="connsiteX22" fmla="*/ 1888878 w 1985964"/>
              <a:gd name="connsiteY22" fmla="*/ 2267568 h 2364509"/>
              <a:gd name="connsiteX23" fmla="*/ 1895621 w 1985964"/>
              <a:gd name="connsiteY23" fmla="*/ 2259396 h 2364509"/>
              <a:gd name="connsiteX24" fmla="*/ 1905109 w 1985964"/>
              <a:gd name="connsiteY24" fmla="*/ 2250132 h 2364509"/>
              <a:gd name="connsiteX25" fmla="*/ 1919122 w 1985964"/>
              <a:gd name="connsiteY25" fmla="*/ 2230912 h 2364509"/>
              <a:gd name="connsiteX26" fmla="*/ 1929293 w 1985964"/>
              <a:gd name="connsiteY26" fmla="*/ 2218585 h 2364509"/>
              <a:gd name="connsiteX27" fmla="*/ 1932739 w 1985964"/>
              <a:gd name="connsiteY27" fmla="*/ 2212236 h 2364509"/>
              <a:gd name="connsiteX28" fmla="*/ 1937902 w 1985964"/>
              <a:gd name="connsiteY28" fmla="*/ 2205156 h 2364509"/>
              <a:gd name="connsiteX29" fmla="*/ 1952079 w 1985964"/>
              <a:gd name="connsiteY29" fmla="*/ 2176606 h 2364509"/>
              <a:gd name="connsiteX30" fmla="*/ 1959809 w 1985964"/>
              <a:gd name="connsiteY30" fmla="*/ 2162364 h 2364509"/>
              <a:gd name="connsiteX31" fmla="*/ 1960907 w 1985964"/>
              <a:gd name="connsiteY31" fmla="*/ 2158828 h 2364509"/>
              <a:gd name="connsiteX32" fmla="*/ 1962861 w 1985964"/>
              <a:gd name="connsiteY32" fmla="*/ 2154893 h 2364509"/>
              <a:gd name="connsiteX33" fmla="*/ 1979076 w 1985964"/>
              <a:gd name="connsiteY33" fmla="*/ 2100297 h 2364509"/>
              <a:gd name="connsiteX34" fmla="*/ 1979095 w 1985964"/>
              <a:gd name="connsiteY34" fmla="*/ 2100236 h 2364509"/>
              <a:gd name="connsiteX35" fmla="*/ 1979098 w 1985964"/>
              <a:gd name="connsiteY35" fmla="*/ 2100200 h 2364509"/>
              <a:gd name="connsiteX36" fmla="*/ 1985963 w 1985964"/>
              <a:gd name="connsiteY36" fmla="*/ 2043903 h 2364509"/>
              <a:gd name="connsiteX37" fmla="*/ 1985963 w 1985964"/>
              <a:gd name="connsiteY37" fmla="*/ 1725393 h 2364509"/>
              <a:gd name="connsiteX38" fmla="*/ 1985964 w 1985964"/>
              <a:gd name="connsiteY38" fmla="*/ 1725393 h 2364509"/>
              <a:gd name="connsiteX39" fmla="*/ 1985964 w 1985964"/>
              <a:gd name="connsiteY39" fmla="*/ 1401883 h 2364509"/>
              <a:gd name="connsiteX40" fmla="*/ 1985819 w 1985964"/>
              <a:gd name="connsiteY40" fmla="*/ 1401165 h 2364509"/>
              <a:gd name="connsiteX41" fmla="*/ 1985819 w 1985964"/>
              <a:gd name="connsiteY41" fmla="*/ 1395747 h 2364509"/>
              <a:gd name="connsiteX42" fmla="*/ 1984725 w 1985964"/>
              <a:gd name="connsiteY42" fmla="*/ 1395747 h 2364509"/>
              <a:gd name="connsiteX43" fmla="*/ 1980350 w 1985964"/>
              <a:gd name="connsiteY43" fmla="*/ 1374076 h 2364509"/>
              <a:gd name="connsiteX44" fmla="*/ 1914526 w 1985964"/>
              <a:gd name="connsiteY44" fmla="*/ 1330445 h 2364509"/>
              <a:gd name="connsiteX45" fmla="*/ 1848702 w 1985964"/>
              <a:gd name="connsiteY45" fmla="*/ 1374076 h 2364509"/>
              <a:gd name="connsiteX46" fmla="*/ 1844327 w 1985964"/>
              <a:gd name="connsiteY46" fmla="*/ 1395747 h 2364509"/>
              <a:gd name="connsiteX47" fmla="*/ 1842312 w 1985964"/>
              <a:gd name="connsiteY47" fmla="*/ 1395747 h 2364509"/>
              <a:gd name="connsiteX48" fmla="*/ 1842311 w 1985964"/>
              <a:gd name="connsiteY48" fmla="*/ 1984395 h 2364509"/>
              <a:gd name="connsiteX49" fmla="*/ 1838060 w 1985964"/>
              <a:gd name="connsiteY49" fmla="*/ 2026564 h 2364509"/>
              <a:gd name="connsiteX50" fmla="*/ 1838058 w 1985964"/>
              <a:gd name="connsiteY50" fmla="*/ 2026570 h 2364509"/>
              <a:gd name="connsiteX51" fmla="*/ 1818140 w 1985964"/>
              <a:gd name="connsiteY51" fmla="*/ 2077302 h 2364509"/>
              <a:gd name="connsiteX52" fmla="*/ 1792175 w 1985964"/>
              <a:gd name="connsiteY52" fmla="*/ 2115814 h 2364509"/>
              <a:gd name="connsiteX53" fmla="*/ 1773416 w 1985964"/>
              <a:gd name="connsiteY53" fmla="*/ 2137481 h 2364509"/>
              <a:gd name="connsiteX54" fmla="*/ 1731490 w 1985964"/>
              <a:gd name="connsiteY54" fmla="*/ 2165749 h 2364509"/>
              <a:gd name="connsiteX55" fmla="*/ 1709927 w 1985964"/>
              <a:gd name="connsiteY55" fmla="*/ 2178120 h 2364509"/>
              <a:gd name="connsiteX56" fmla="*/ 1633141 w 1985964"/>
              <a:gd name="connsiteY56" fmla="*/ 2193622 h 2364509"/>
              <a:gd name="connsiteX57" fmla="*/ 1633070 w 1985964"/>
              <a:gd name="connsiteY57" fmla="*/ 2193635 h 2364509"/>
              <a:gd name="connsiteX58" fmla="*/ 352749 w 1985964"/>
              <a:gd name="connsiteY58" fmla="*/ 2193635 h 2364509"/>
              <a:gd name="connsiteX59" fmla="*/ 143507 w 1985964"/>
              <a:gd name="connsiteY59" fmla="*/ 1984393 h 2364509"/>
              <a:gd name="connsiteX60" fmla="*/ 143507 w 1985964"/>
              <a:gd name="connsiteY60" fmla="*/ 380114 h 2364509"/>
              <a:gd name="connsiteX61" fmla="*/ 147758 w 1985964"/>
              <a:gd name="connsiteY61" fmla="*/ 337945 h 2364509"/>
              <a:gd name="connsiteX62" fmla="*/ 159950 w 1985964"/>
              <a:gd name="connsiteY62" fmla="*/ 298669 h 2364509"/>
              <a:gd name="connsiteX63" fmla="*/ 204792 w 1985964"/>
              <a:gd name="connsiteY63" fmla="*/ 232160 h 2364509"/>
              <a:gd name="connsiteX64" fmla="*/ 352748 w 1985964"/>
              <a:gd name="connsiteY64" fmla="*/ 170874 h 2364509"/>
              <a:gd name="connsiteX65" fmla="*/ 1633069 w 1985964"/>
              <a:gd name="connsiteY65" fmla="*/ 170874 h 2364509"/>
              <a:gd name="connsiteX66" fmla="*/ 1842311 w 1985964"/>
              <a:gd name="connsiteY66" fmla="*/ 380116 h 2364509"/>
              <a:gd name="connsiteX67" fmla="*/ 1842311 w 1985964"/>
              <a:gd name="connsiteY67" fmla="*/ 390533 h 2364509"/>
              <a:gd name="connsiteX68" fmla="*/ 1842312 w 1985964"/>
              <a:gd name="connsiteY68" fmla="*/ 390533 h 2364509"/>
              <a:gd name="connsiteX69" fmla="*/ 1842312 w 1985964"/>
              <a:gd name="connsiteY69" fmla="*/ 657949 h 2364509"/>
              <a:gd name="connsiteX70" fmla="*/ 1844327 w 1985964"/>
              <a:gd name="connsiteY70" fmla="*/ 657949 h 2364509"/>
              <a:gd name="connsiteX71" fmla="*/ 1848702 w 1985964"/>
              <a:gd name="connsiteY71" fmla="*/ 679620 h 2364509"/>
              <a:gd name="connsiteX72" fmla="*/ 1914526 w 1985964"/>
              <a:gd name="connsiteY72" fmla="*/ 723251 h 2364509"/>
              <a:gd name="connsiteX73" fmla="*/ 1980350 w 1985964"/>
              <a:gd name="connsiteY73" fmla="*/ 679620 h 2364509"/>
              <a:gd name="connsiteX74" fmla="*/ 1984725 w 1985964"/>
              <a:gd name="connsiteY74" fmla="*/ 657949 h 2364509"/>
              <a:gd name="connsiteX75" fmla="*/ 1985819 w 1985964"/>
              <a:gd name="connsiteY75" fmla="*/ 657949 h 2364509"/>
              <a:gd name="connsiteX76" fmla="*/ 1985819 w 1985964"/>
              <a:gd name="connsiteY76" fmla="*/ 652531 h 2364509"/>
              <a:gd name="connsiteX77" fmla="*/ 1985964 w 1985964"/>
              <a:gd name="connsiteY77" fmla="*/ 651813 h 2364509"/>
              <a:gd name="connsiteX78" fmla="*/ 1985964 w 1985964"/>
              <a:gd name="connsiteY78" fmla="*/ 320606 h 2364509"/>
              <a:gd name="connsiteX79" fmla="*/ 1979095 w 1985964"/>
              <a:gd name="connsiteY79" fmla="*/ 264273 h 2364509"/>
              <a:gd name="connsiteX80" fmla="*/ 1962862 w 1985964"/>
              <a:gd name="connsiteY80" fmla="*/ 209616 h 2364509"/>
              <a:gd name="connsiteX81" fmla="*/ 1960902 w 1985964"/>
              <a:gd name="connsiteY81" fmla="*/ 205670 h 2364509"/>
              <a:gd name="connsiteX82" fmla="*/ 1959808 w 1985964"/>
              <a:gd name="connsiteY82" fmla="*/ 202145 h 2364509"/>
              <a:gd name="connsiteX83" fmla="*/ 1952102 w 1985964"/>
              <a:gd name="connsiteY83" fmla="*/ 187947 h 2364509"/>
              <a:gd name="connsiteX84" fmla="*/ 1937903 w 1985964"/>
              <a:gd name="connsiteY84" fmla="*/ 159353 h 2364509"/>
              <a:gd name="connsiteX85" fmla="*/ 1932732 w 1985964"/>
              <a:gd name="connsiteY85" fmla="*/ 152262 h 2364509"/>
              <a:gd name="connsiteX86" fmla="*/ 1929292 w 1985964"/>
              <a:gd name="connsiteY86" fmla="*/ 145924 h 2364509"/>
              <a:gd name="connsiteX87" fmla="*/ 1919138 w 1985964"/>
              <a:gd name="connsiteY87" fmla="*/ 133617 h 2364509"/>
              <a:gd name="connsiteX88" fmla="*/ 1905110 w 1985964"/>
              <a:gd name="connsiteY88" fmla="*/ 114377 h 2364509"/>
              <a:gd name="connsiteX89" fmla="*/ 1895612 w 1985964"/>
              <a:gd name="connsiteY89" fmla="*/ 105103 h 2364509"/>
              <a:gd name="connsiteX90" fmla="*/ 1888877 w 1985964"/>
              <a:gd name="connsiteY90" fmla="*/ 96941 h 2364509"/>
              <a:gd name="connsiteX91" fmla="*/ 1878393 w 1985964"/>
              <a:gd name="connsiteY91" fmla="*/ 88290 h 2364509"/>
              <a:gd name="connsiteX92" fmla="*/ 1865375 w 1985964"/>
              <a:gd name="connsiteY92" fmla="*/ 75579 h 2364509"/>
              <a:gd name="connsiteX93" fmla="*/ 1857537 w 1985964"/>
              <a:gd name="connsiteY93" fmla="*/ 71082 h 2364509"/>
              <a:gd name="connsiteX94" fmla="*/ 1839894 w 1985964"/>
              <a:gd name="connsiteY94" fmla="*/ 56526 h 2364509"/>
              <a:gd name="connsiteX95" fmla="*/ 1783673 w 1985964"/>
              <a:gd name="connsiteY95" fmla="*/ 26010 h 2364509"/>
              <a:gd name="connsiteX96" fmla="*/ 1773433 w 1985964"/>
              <a:gd name="connsiteY96" fmla="*/ 22831 h 2364509"/>
              <a:gd name="connsiteX97" fmla="*/ 1768644 w 1985964"/>
              <a:gd name="connsiteY97" fmla="*/ 20084 h 2364509"/>
              <a:gd name="connsiteX98" fmla="*/ 1737353 w 1985964"/>
              <a:gd name="connsiteY98" fmla="*/ 11631 h 2364509"/>
              <a:gd name="connsiteX99" fmla="*/ 1721545 w 1985964"/>
              <a:gd name="connsiteY99" fmla="*/ 6724 h 2364509"/>
              <a:gd name="connsiteX100" fmla="*/ 1717783 w 1985964"/>
              <a:gd name="connsiteY100" fmla="*/ 6345 h 2364509"/>
              <a:gd name="connsiteX101" fmla="*/ 1713431 w 1985964"/>
              <a:gd name="connsiteY101" fmla="*/ 5170 h 2364509"/>
              <a:gd name="connsiteX102" fmla="*/ 1654843 w 1985964"/>
              <a:gd name="connsiteY102" fmla="*/ 0 h 236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985964" h="2364509">
                <a:moveTo>
                  <a:pt x="1654843" y="0"/>
                </a:moveTo>
                <a:lnTo>
                  <a:pt x="1654842" y="0"/>
                </a:lnTo>
                <a:lnTo>
                  <a:pt x="330977" y="0"/>
                </a:lnTo>
                <a:lnTo>
                  <a:pt x="330976" y="0"/>
                </a:lnTo>
                <a:cubicBezTo>
                  <a:pt x="148183" y="0"/>
                  <a:pt x="0" y="148183"/>
                  <a:pt x="0" y="330976"/>
                </a:cubicBezTo>
                <a:lnTo>
                  <a:pt x="0" y="2033533"/>
                </a:lnTo>
                <a:cubicBezTo>
                  <a:pt x="0" y="2216326"/>
                  <a:pt x="148183" y="2364509"/>
                  <a:pt x="330976" y="2364509"/>
                </a:cubicBezTo>
                <a:lnTo>
                  <a:pt x="330977" y="2364509"/>
                </a:lnTo>
                <a:lnTo>
                  <a:pt x="1654842" y="2364509"/>
                </a:lnTo>
                <a:lnTo>
                  <a:pt x="1654843" y="2364509"/>
                </a:lnTo>
                <a:cubicBezTo>
                  <a:pt x="1654845" y="2364509"/>
                  <a:pt x="1654848" y="2364508"/>
                  <a:pt x="1654850" y="2364508"/>
                </a:cubicBezTo>
                <a:lnTo>
                  <a:pt x="1713430" y="2359339"/>
                </a:lnTo>
                <a:lnTo>
                  <a:pt x="1717781" y="2358164"/>
                </a:lnTo>
                <a:lnTo>
                  <a:pt x="1721546" y="2357784"/>
                </a:lnTo>
                <a:lnTo>
                  <a:pt x="1737367" y="2352873"/>
                </a:lnTo>
                <a:lnTo>
                  <a:pt x="1768643" y="2344425"/>
                </a:lnTo>
                <a:lnTo>
                  <a:pt x="1773429" y="2341679"/>
                </a:lnTo>
                <a:lnTo>
                  <a:pt x="1783674" y="2338499"/>
                </a:lnTo>
                <a:cubicBezTo>
                  <a:pt x="1803472" y="2330125"/>
                  <a:pt x="1822287" y="2319879"/>
                  <a:pt x="1839895" y="2307983"/>
                </a:cubicBezTo>
                <a:lnTo>
                  <a:pt x="1857542" y="2293423"/>
                </a:lnTo>
                <a:lnTo>
                  <a:pt x="1865374" y="2288930"/>
                </a:lnTo>
                <a:lnTo>
                  <a:pt x="1878381" y="2276229"/>
                </a:lnTo>
                <a:lnTo>
                  <a:pt x="1888878" y="2267568"/>
                </a:lnTo>
                <a:lnTo>
                  <a:pt x="1895621" y="2259396"/>
                </a:lnTo>
                <a:lnTo>
                  <a:pt x="1905109" y="2250132"/>
                </a:lnTo>
                <a:lnTo>
                  <a:pt x="1919122" y="2230912"/>
                </a:lnTo>
                <a:lnTo>
                  <a:pt x="1929293" y="2218585"/>
                </a:lnTo>
                <a:lnTo>
                  <a:pt x="1932739" y="2212236"/>
                </a:lnTo>
                <a:lnTo>
                  <a:pt x="1937902" y="2205156"/>
                </a:lnTo>
                <a:lnTo>
                  <a:pt x="1952079" y="2176606"/>
                </a:lnTo>
                <a:lnTo>
                  <a:pt x="1959809" y="2162364"/>
                </a:lnTo>
                <a:lnTo>
                  <a:pt x="1960907" y="2158828"/>
                </a:lnTo>
                <a:lnTo>
                  <a:pt x="1962861" y="2154893"/>
                </a:lnTo>
                <a:lnTo>
                  <a:pt x="1979076" y="2100297"/>
                </a:lnTo>
                <a:cubicBezTo>
                  <a:pt x="1979082" y="2100277"/>
                  <a:pt x="1979089" y="2100256"/>
                  <a:pt x="1979095" y="2100236"/>
                </a:cubicBezTo>
                <a:lnTo>
                  <a:pt x="1979098" y="2100200"/>
                </a:lnTo>
                <a:lnTo>
                  <a:pt x="1985963" y="2043903"/>
                </a:lnTo>
                <a:lnTo>
                  <a:pt x="1985963" y="1725393"/>
                </a:lnTo>
                <a:lnTo>
                  <a:pt x="1985964" y="1725393"/>
                </a:lnTo>
                <a:lnTo>
                  <a:pt x="1985964" y="1401883"/>
                </a:lnTo>
                <a:cubicBezTo>
                  <a:pt x="1985916" y="1401644"/>
                  <a:pt x="1985867" y="1401404"/>
                  <a:pt x="1985819" y="1401165"/>
                </a:cubicBezTo>
                <a:lnTo>
                  <a:pt x="1985819" y="1395747"/>
                </a:lnTo>
                <a:lnTo>
                  <a:pt x="1984725" y="1395747"/>
                </a:lnTo>
                <a:lnTo>
                  <a:pt x="1980350" y="1374076"/>
                </a:lnTo>
                <a:cubicBezTo>
                  <a:pt x="1969505" y="1348436"/>
                  <a:pt x="1944117" y="1330445"/>
                  <a:pt x="1914526" y="1330445"/>
                </a:cubicBezTo>
                <a:cubicBezTo>
                  <a:pt x="1884936" y="1330445"/>
                  <a:pt x="1859547" y="1348436"/>
                  <a:pt x="1848702" y="1374076"/>
                </a:cubicBezTo>
                <a:lnTo>
                  <a:pt x="1844327" y="1395747"/>
                </a:lnTo>
                <a:lnTo>
                  <a:pt x="1842312" y="1395747"/>
                </a:lnTo>
                <a:cubicBezTo>
                  <a:pt x="1842312" y="1591963"/>
                  <a:pt x="1842311" y="1788179"/>
                  <a:pt x="1842311" y="1984395"/>
                </a:cubicBezTo>
                <a:cubicBezTo>
                  <a:pt x="1842311" y="1998840"/>
                  <a:pt x="1840847" y="2012943"/>
                  <a:pt x="1838060" y="2026564"/>
                </a:cubicBezTo>
                <a:cubicBezTo>
                  <a:pt x="1838059" y="2026566"/>
                  <a:pt x="1838059" y="2026568"/>
                  <a:pt x="1838058" y="2026570"/>
                </a:cubicBezTo>
                <a:lnTo>
                  <a:pt x="1818140" y="2077302"/>
                </a:lnTo>
                <a:lnTo>
                  <a:pt x="1792175" y="2115814"/>
                </a:lnTo>
                <a:lnTo>
                  <a:pt x="1773416" y="2137481"/>
                </a:lnTo>
                <a:lnTo>
                  <a:pt x="1731490" y="2165749"/>
                </a:lnTo>
                <a:lnTo>
                  <a:pt x="1709927" y="2178120"/>
                </a:lnTo>
                <a:lnTo>
                  <a:pt x="1633141" y="2193622"/>
                </a:lnTo>
                <a:cubicBezTo>
                  <a:pt x="1633117" y="2193626"/>
                  <a:pt x="1633094" y="2193631"/>
                  <a:pt x="1633070" y="2193635"/>
                </a:cubicBezTo>
                <a:lnTo>
                  <a:pt x="352749" y="2193635"/>
                </a:lnTo>
                <a:cubicBezTo>
                  <a:pt x="237188" y="2193635"/>
                  <a:pt x="143507" y="2099954"/>
                  <a:pt x="143507" y="1984393"/>
                </a:cubicBezTo>
                <a:lnTo>
                  <a:pt x="143507" y="380114"/>
                </a:lnTo>
                <a:cubicBezTo>
                  <a:pt x="143507" y="365669"/>
                  <a:pt x="144971" y="351566"/>
                  <a:pt x="147758" y="337945"/>
                </a:cubicBezTo>
                <a:lnTo>
                  <a:pt x="159950" y="298669"/>
                </a:lnTo>
                <a:lnTo>
                  <a:pt x="204792" y="232160"/>
                </a:lnTo>
                <a:cubicBezTo>
                  <a:pt x="242657" y="194294"/>
                  <a:pt x="294968" y="170874"/>
                  <a:pt x="352748" y="170874"/>
                </a:cubicBezTo>
                <a:lnTo>
                  <a:pt x="1633069" y="170874"/>
                </a:lnTo>
                <a:cubicBezTo>
                  <a:pt x="1748630" y="170874"/>
                  <a:pt x="1842311" y="264555"/>
                  <a:pt x="1842311" y="380116"/>
                </a:cubicBezTo>
                <a:lnTo>
                  <a:pt x="1842311" y="390533"/>
                </a:lnTo>
                <a:lnTo>
                  <a:pt x="1842312" y="390533"/>
                </a:lnTo>
                <a:lnTo>
                  <a:pt x="1842312" y="657949"/>
                </a:lnTo>
                <a:lnTo>
                  <a:pt x="1844327" y="657949"/>
                </a:lnTo>
                <a:lnTo>
                  <a:pt x="1848702" y="679620"/>
                </a:lnTo>
                <a:cubicBezTo>
                  <a:pt x="1859547" y="705260"/>
                  <a:pt x="1884936" y="723251"/>
                  <a:pt x="1914526" y="723251"/>
                </a:cubicBezTo>
                <a:cubicBezTo>
                  <a:pt x="1944117" y="723251"/>
                  <a:pt x="1969505" y="705260"/>
                  <a:pt x="1980350" y="679620"/>
                </a:cubicBezTo>
                <a:lnTo>
                  <a:pt x="1984725" y="657949"/>
                </a:lnTo>
                <a:lnTo>
                  <a:pt x="1985819" y="657949"/>
                </a:lnTo>
                <a:lnTo>
                  <a:pt x="1985819" y="652531"/>
                </a:lnTo>
                <a:cubicBezTo>
                  <a:pt x="1985867" y="652292"/>
                  <a:pt x="1985916" y="652052"/>
                  <a:pt x="1985964" y="651813"/>
                </a:cubicBezTo>
                <a:lnTo>
                  <a:pt x="1985964" y="320606"/>
                </a:lnTo>
                <a:lnTo>
                  <a:pt x="1979095" y="264273"/>
                </a:lnTo>
                <a:cubicBezTo>
                  <a:pt x="1975237" y="245420"/>
                  <a:pt x="1969777" y="227152"/>
                  <a:pt x="1962862" y="209616"/>
                </a:cubicBezTo>
                <a:lnTo>
                  <a:pt x="1960902" y="205670"/>
                </a:lnTo>
                <a:lnTo>
                  <a:pt x="1959808" y="202145"/>
                </a:lnTo>
                <a:lnTo>
                  <a:pt x="1952102" y="187947"/>
                </a:lnTo>
                <a:lnTo>
                  <a:pt x="1937903" y="159353"/>
                </a:lnTo>
                <a:lnTo>
                  <a:pt x="1932732" y="152262"/>
                </a:lnTo>
                <a:lnTo>
                  <a:pt x="1929292" y="145924"/>
                </a:lnTo>
                <a:lnTo>
                  <a:pt x="1919138" y="133617"/>
                </a:lnTo>
                <a:lnTo>
                  <a:pt x="1905110" y="114377"/>
                </a:lnTo>
                <a:lnTo>
                  <a:pt x="1895612" y="105103"/>
                </a:lnTo>
                <a:lnTo>
                  <a:pt x="1888877" y="96941"/>
                </a:lnTo>
                <a:lnTo>
                  <a:pt x="1878393" y="88290"/>
                </a:lnTo>
                <a:lnTo>
                  <a:pt x="1865375" y="75579"/>
                </a:lnTo>
                <a:lnTo>
                  <a:pt x="1857537" y="71082"/>
                </a:lnTo>
                <a:lnTo>
                  <a:pt x="1839894" y="56526"/>
                </a:lnTo>
                <a:cubicBezTo>
                  <a:pt x="1822286" y="44630"/>
                  <a:pt x="1803471" y="34384"/>
                  <a:pt x="1783673" y="26010"/>
                </a:cubicBezTo>
                <a:lnTo>
                  <a:pt x="1773433" y="22831"/>
                </a:lnTo>
                <a:lnTo>
                  <a:pt x="1768644" y="20084"/>
                </a:lnTo>
                <a:lnTo>
                  <a:pt x="1737353" y="11631"/>
                </a:lnTo>
                <a:lnTo>
                  <a:pt x="1721545" y="6724"/>
                </a:lnTo>
                <a:lnTo>
                  <a:pt x="1717783" y="6345"/>
                </a:lnTo>
                <a:lnTo>
                  <a:pt x="1713431" y="5170"/>
                </a:lnTo>
                <a:cubicBezTo>
                  <a:pt x="1694415" y="1773"/>
                  <a:pt x="1674836" y="0"/>
                  <a:pt x="1654843" y="0"/>
                </a:cubicBezTo>
                <a:close/>
              </a:path>
            </a:pathLst>
          </a:custGeom>
          <a:solidFill>
            <a:srgbClr val="FFE600"/>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9784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09BCCB4-14FD-E484-E596-19A19B3FE581}"/>
              </a:ext>
            </a:extLst>
          </p:cNvPr>
          <p:cNvSpPr>
            <a:spLocks noGrp="1"/>
          </p:cNvSpPr>
          <p:nvPr>
            <p:ph type="ftr" sz="quarter" idx="11"/>
          </p:nvPr>
        </p:nvSpPr>
        <p:spPr/>
        <p:txBody>
          <a:bodyPr/>
          <a:lstStyle/>
          <a:p>
            <a:r>
              <a:rPr lang="en-ZA" err="1"/>
              <a:t>BankOne</a:t>
            </a:r>
            <a:r>
              <a:rPr lang="en-ZA"/>
              <a:t> - NIST Cyber Security Training </a:t>
            </a:r>
            <a:endParaRPr lang="en-US"/>
          </a:p>
        </p:txBody>
      </p:sp>
      <p:sp>
        <p:nvSpPr>
          <p:cNvPr id="4" name="Slide Number Placeholder 3">
            <a:extLst>
              <a:ext uri="{FF2B5EF4-FFF2-40B4-BE49-F238E27FC236}">
                <a16:creationId xmlns:a16="http://schemas.microsoft.com/office/drawing/2014/main" id="{E1B95011-86A3-A2D5-DCF3-D0E76026649D}"/>
              </a:ext>
            </a:extLst>
          </p:cNvPr>
          <p:cNvSpPr>
            <a:spLocks noGrp="1"/>
          </p:cNvSpPr>
          <p:nvPr>
            <p:ph type="sldNum" sz="quarter" idx="12"/>
          </p:nvPr>
        </p:nvSpPr>
        <p:spPr/>
        <p:txBody>
          <a:bodyPr/>
          <a:lstStyle/>
          <a:p>
            <a:fld id="{94FCA0F3-9F3A-694B-99BB-0E592A797735}" type="slidenum">
              <a:rPr lang="en-US" smtClean="0"/>
              <a:t>26</a:t>
            </a:fld>
            <a:endParaRPr lang="en-US"/>
          </a:p>
        </p:txBody>
      </p:sp>
      <p:grpSp>
        <p:nvGrpSpPr>
          <p:cNvPr id="5" name="Group 4">
            <a:extLst>
              <a:ext uri="{FF2B5EF4-FFF2-40B4-BE49-F238E27FC236}">
                <a16:creationId xmlns:a16="http://schemas.microsoft.com/office/drawing/2014/main" id="{6DEADBED-2F03-5F65-CD27-2648E8EE45C5}"/>
              </a:ext>
            </a:extLst>
          </p:cNvPr>
          <p:cNvGrpSpPr/>
          <p:nvPr/>
        </p:nvGrpSpPr>
        <p:grpSpPr>
          <a:xfrm>
            <a:off x="2300050" y="2376000"/>
            <a:ext cx="1531299" cy="1533635"/>
            <a:chOff x="3152111" y="2596845"/>
            <a:chExt cx="2041732" cy="2044847"/>
          </a:xfrm>
        </p:grpSpPr>
        <p:sp>
          <p:nvSpPr>
            <p:cNvPr id="6" name="Freeform: Shape 5">
              <a:extLst>
                <a:ext uri="{FF2B5EF4-FFF2-40B4-BE49-F238E27FC236}">
                  <a16:creationId xmlns:a16="http://schemas.microsoft.com/office/drawing/2014/main" id="{FC415A52-E682-31C7-FD81-A13547EFF0D0}"/>
                </a:ext>
              </a:extLst>
            </p:cNvPr>
            <p:cNvSpPr/>
            <p:nvPr/>
          </p:nvSpPr>
          <p:spPr>
            <a:xfrm>
              <a:off x="3152111" y="2596845"/>
              <a:ext cx="2041732" cy="2044847"/>
            </a:xfrm>
            <a:custGeom>
              <a:avLst/>
              <a:gdLst>
                <a:gd name="connsiteX0" fmla="*/ 989914 w 2041732"/>
                <a:gd name="connsiteY0" fmla="*/ 430241 h 2044847"/>
                <a:gd name="connsiteX1" fmla="*/ 436279 w 2041732"/>
                <a:gd name="connsiteY1" fmla="*/ 873120 h 2044847"/>
                <a:gd name="connsiteX2" fmla="*/ 859103 w 2041732"/>
                <a:gd name="connsiteY2" fmla="*/ 1605470 h 2044847"/>
                <a:gd name="connsiteX3" fmla="*/ 1591453 w 2041732"/>
                <a:gd name="connsiteY3" fmla="*/ 1182647 h 2044847"/>
                <a:gd name="connsiteX4" fmla="*/ 1168630 w 2041732"/>
                <a:gd name="connsiteY4" fmla="*/ 450297 h 2044847"/>
                <a:gd name="connsiteX5" fmla="*/ 989914 w 2041732"/>
                <a:gd name="connsiteY5" fmla="*/ 430241 h 2044847"/>
                <a:gd name="connsiteX6" fmla="*/ 1048433 w 2041732"/>
                <a:gd name="connsiteY6" fmla="*/ 1 h 2044847"/>
                <a:gd name="connsiteX7" fmla="*/ 1072337 w 2041732"/>
                <a:gd name="connsiteY7" fmla="*/ 16657 h 2044847"/>
                <a:gd name="connsiteX8" fmla="*/ 1141202 w 2041732"/>
                <a:gd name="connsiteY8" fmla="*/ 208122 h 2044847"/>
                <a:gd name="connsiteX9" fmla="*/ 1164799 w 2041732"/>
                <a:gd name="connsiteY9" fmla="*/ 228246 h 2044847"/>
                <a:gd name="connsiteX10" fmla="*/ 1227142 w 2041732"/>
                <a:gd name="connsiteY10" fmla="*/ 242122 h 2044847"/>
                <a:gd name="connsiteX11" fmla="*/ 1231518 w 2041732"/>
                <a:gd name="connsiteY11" fmla="*/ 243295 h 2044847"/>
                <a:gd name="connsiteX12" fmla="*/ 1252432 w 2041732"/>
                <a:gd name="connsiteY12" fmla="*/ 232785 h 2044847"/>
                <a:gd name="connsiteX13" fmla="*/ 1389897 w 2041732"/>
                <a:gd name="connsiteY13" fmla="*/ 86633 h 2044847"/>
                <a:gd name="connsiteX14" fmla="*/ 1418290 w 2041732"/>
                <a:gd name="connsiteY14" fmla="*/ 81247 h 2044847"/>
                <a:gd name="connsiteX15" fmla="*/ 1591152 w 2041732"/>
                <a:gd name="connsiteY15" fmla="*/ 174930 h 2044847"/>
                <a:gd name="connsiteX16" fmla="*/ 1602329 w 2041732"/>
                <a:gd name="connsiteY16" fmla="*/ 201748 h 2044847"/>
                <a:gd name="connsiteX17" fmla="*/ 1556960 w 2041732"/>
                <a:gd name="connsiteY17" fmla="*/ 399133 h 2044847"/>
                <a:gd name="connsiteX18" fmla="*/ 1566026 w 2041732"/>
                <a:gd name="connsiteY18" fmla="*/ 428720 h 2044847"/>
                <a:gd name="connsiteX19" fmla="*/ 1605097 w 2041732"/>
                <a:gd name="connsiteY19" fmla="*/ 467242 h 2044847"/>
                <a:gd name="connsiteX20" fmla="*/ 1634795 w 2041732"/>
                <a:gd name="connsiteY20" fmla="*/ 475803 h 2044847"/>
                <a:gd name="connsiteX21" fmla="*/ 1830690 w 2041732"/>
                <a:gd name="connsiteY21" fmla="*/ 426864 h 2044847"/>
                <a:gd name="connsiteX22" fmla="*/ 1857663 w 2041732"/>
                <a:gd name="connsiteY22" fmla="*/ 437568 h 2044847"/>
                <a:gd name="connsiteX23" fmla="*/ 1954584 w 2041732"/>
                <a:gd name="connsiteY23" fmla="*/ 609281 h 2044847"/>
                <a:gd name="connsiteX24" fmla="*/ 1949695 w 2041732"/>
                <a:gd name="connsiteY24" fmla="*/ 637787 h 2044847"/>
                <a:gd name="connsiteX25" fmla="*/ 1806010 w 2041732"/>
                <a:gd name="connsiteY25" fmla="*/ 778142 h 2044847"/>
                <a:gd name="connsiteX26" fmla="*/ 1797918 w 2041732"/>
                <a:gd name="connsiteY26" fmla="*/ 807860 h 2044847"/>
                <a:gd name="connsiteX27" fmla="*/ 1811437 w 2041732"/>
                <a:gd name="connsiteY27" fmla="*/ 864007 h 2044847"/>
                <a:gd name="connsiteX28" fmla="*/ 1832039 w 2041732"/>
                <a:gd name="connsiteY28" fmla="*/ 887212 h 2044847"/>
                <a:gd name="connsiteX29" fmla="*/ 2024641 w 2041732"/>
                <a:gd name="connsiteY29" fmla="*/ 952405 h 2044847"/>
                <a:gd name="connsiteX30" fmla="*/ 2041732 w 2041732"/>
                <a:gd name="connsiteY30" fmla="*/ 975995 h 2044847"/>
                <a:gd name="connsiteX31" fmla="*/ 2032396 w 2041732"/>
                <a:gd name="connsiteY31" fmla="*/ 1169775 h 2044847"/>
                <a:gd name="connsiteX32" fmla="*/ 2013062 w 2041732"/>
                <a:gd name="connsiteY32" fmla="*/ 1191137 h 2044847"/>
                <a:gd name="connsiteX33" fmla="*/ 1817585 w 2041732"/>
                <a:gd name="connsiteY33" fmla="*/ 1231263 h 2044847"/>
                <a:gd name="connsiteX34" fmla="*/ 1794912 w 2041732"/>
                <a:gd name="connsiteY34" fmla="*/ 1251952 h 2044847"/>
                <a:gd name="connsiteX35" fmla="*/ 1773399 w 2041732"/>
                <a:gd name="connsiteY35" fmla="*/ 1315817 h 2044847"/>
                <a:gd name="connsiteX36" fmla="*/ 1778296 w 2041732"/>
                <a:gd name="connsiteY36" fmla="*/ 1346518 h 2044847"/>
                <a:gd name="connsiteX37" fmla="*/ 1905278 w 2041732"/>
                <a:gd name="connsiteY37" fmla="*/ 1505741 h 2044847"/>
                <a:gd name="connsiteX38" fmla="*/ 1906953 w 2041732"/>
                <a:gd name="connsiteY38" fmla="*/ 1534853 h 2044847"/>
                <a:gd name="connsiteX39" fmla="*/ 1798701 w 2041732"/>
                <a:gd name="connsiteY39" fmla="*/ 1688956 h 2044847"/>
                <a:gd name="connsiteX40" fmla="*/ 1770966 w 2041732"/>
                <a:gd name="connsiteY40" fmla="*/ 1696534 h 2044847"/>
                <a:gd name="connsiteX41" fmla="*/ 1585727 w 2041732"/>
                <a:gd name="connsiteY41" fmla="*/ 1624955 h 2044847"/>
                <a:gd name="connsiteX42" fmla="*/ 1555541 w 2041732"/>
                <a:gd name="connsiteY42" fmla="*/ 1630182 h 2044847"/>
                <a:gd name="connsiteX43" fmla="*/ 1492468 w 2041732"/>
                <a:gd name="connsiteY43" fmla="*/ 1680777 h 2044847"/>
                <a:gd name="connsiteX44" fmla="*/ 1479960 w 2041732"/>
                <a:gd name="connsiteY44" fmla="*/ 1709214 h 2044847"/>
                <a:gd name="connsiteX45" fmla="*/ 1500637 w 2041732"/>
                <a:gd name="connsiteY45" fmla="*/ 1911184 h 2044847"/>
                <a:gd name="connsiteX46" fmla="*/ 1486297 w 2041732"/>
                <a:gd name="connsiteY46" fmla="*/ 1936566 h 2044847"/>
                <a:gd name="connsiteX47" fmla="*/ 1317926 w 2041732"/>
                <a:gd name="connsiteY47" fmla="*/ 2005190 h 2044847"/>
                <a:gd name="connsiteX48" fmla="*/ 1290520 w 2041732"/>
                <a:gd name="connsiteY48" fmla="*/ 1996632 h 2044847"/>
                <a:gd name="connsiteX49" fmla="*/ 1173629 w 2041732"/>
                <a:gd name="connsiteY49" fmla="*/ 1836600 h 2044847"/>
                <a:gd name="connsiteX50" fmla="*/ 1145411 w 2041732"/>
                <a:gd name="connsiteY50" fmla="*/ 1824699 h 2044847"/>
                <a:gd name="connsiteX51" fmla="*/ 1051801 w 2041732"/>
                <a:gd name="connsiteY51" fmla="*/ 1834147 h 2044847"/>
                <a:gd name="connsiteX52" fmla="*/ 1025895 w 2041732"/>
                <a:gd name="connsiteY52" fmla="*/ 1851165 h 2044847"/>
                <a:gd name="connsiteX53" fmla="*/ 934683 w 2041732"/>
                <a:gd name="connsiteY53" fmla="*/ 2031089 h 2044847"/>
                <a:gd name="connsiteX54" fmla="*/ 908901 w 2041732"/>
                <a:gd name="connsiteY54" fmla="*/ 2044676 h 2044847"/>
                <a:gd name="connsiteX55" fmla="*/ 751824 w 2041732"/>
                <a:gd name="connsiteY55" fmla="*/ 2015963 h 2044847"/>
                <a:gd name="connsiteX56" fmla="*/ 735541 w 2041732"/>
                <a:gd name="connsiteY56" fmla="*/ 2011445 h 2044847"/>
                <a:gd name="connsiteX57" fmla="*/ 717357 w 2041732"/>
                <a:gd name="connsiteY57" fmla="*/ 1988507 h 2044847"/>
                <a:gd name="connsiteX58" fmla="*/ 705518 w 2041732"/>
                <a:gd name="connsiteY58" fmla="*/ 1790248 h 2044847"/>
                <a:gd name="connsiteX59" fmla="*/ 688282 w 2041732"/>
                <a:gd name="connsiteY59" fmla="*/ 1764832 h 2044847"/>
                <a:gd name="connsiteX60" fmla="*/ 597445 w 2041732"/>
                <a:gd name="connsiteY60" fmla="*/ 1717482 h 2044847"/>
                <a:gd name="connsiteX61" fmla="*/ 566575 w 2041732"/>
                <a:gd name="connsiteY61" fmla="*/ 1717575 h 2044847"/>
                <a:gd name="connsiteX62" fmla="*/ 393835 w 2041732"/>
                <a:gd name="connsiteY62" fmla="*/ 1818882 h 2044847"/>
                <a:gd name="connsiteX63" fmla="*/ 365047 w 2041732"/>
                <a:gd name="connsiteY63" fmla="*/ 1816080 h 2044847"/>
                <a:gd name="connsiteX64" fmla="*/ 240713 w 2041732"/>
                <a:gd name="connsiteY64" fmla="*/ 1694311 h 2044847"/>
                <a:gd name="connsiteX65" fmla="*/ 237356 w 2041732"/>
                <a:gd name="connsiteY65" fmla="*/ 1665594 h 2044847"/>
                <a:gd name="connsiteX66" fmla="*/ 335260 w 2041732"/>
                <a:gd name="connsiteY66" fmla="*/ 1491200 h 2044847"/>
                <a:gd name="connsiteX67" fmla="*/ 334719 w 2041732"/>
                <a:gd name="connsiteY67" fmla="*/ 1460364 h 2044847"/>
                <a:gd name="connsiteX68" fmla="*/ 284835 w 2041732"/>
                <a:gd name="connsiteY68" fmla="*/ 1369928 h 2044847"/>
                <a:gd name="connsiteX69" fmla="*/ 259037 w 2041732"/>
                <a:gd name="connsiteY69" fmla="*/ 1353209 h 2044847"/>
                <a:gd name="connsiteX70" fmla="*/ 60146 w 2041732"/>
                <a:gd name="connsiteY70" fmla="*/ 1345093 h 2044847"/>
                <a:gd name="connsiteX71" fmla="*/ 37590 w 2041732"/>
                <a:gd name="connsiteY71" fmla="*/ 1327134 h 2044847"/>
                <a:gd name="connsiteX72" fmla="*/ 266 w 2041732"/>
                <a:gd name="connsiteY72" fmla="*/ 1155708 h 2044847"/>
                <a:gd name="connsiteX73" fmla="*/ 13131 w 2041732"/>
                <a:gd name="connsiteY73" fmla="*/ 1129710 h 2044847"/>
                <a:gd name="connsiteX74" fmla="*/ 191108 w 2041732"/>
                <a:gd name="connsiteY74" fmla="*/ 1035224 h 2044847"/>
                <a:gd name="connsiteX75" fmla="*/ 207566 w 2041732"/>
                <a:gd name="connsiteY75" fmla="*/ 1008999 h 2044847"/>
                <a:gd name="connsiteX76" fmla="*/ 215337 w 2041732"/>
                <a:gd name="connsiteY76" fmla="*/ 912568 h 2044847"/>
                <a:gd name="connsiteX77" fmla="*/ 202860 w 2041732"/>
                <a:gd name="connsiteY77" fmla="*/ 884574 h 2044847"/>
                <a:gd name="connsiteX78" fmla="*/ 40628 w 2041732"/>
                <a:gd name="connsiteY78" fmla="*/ 770705 h 2044847"/>
                <a:gd name="connsiteX79" fmla="*/ 26198 w 2041732"/>
                <a:gd name="connsiteY79" fmla="*/ 759682 h 2044847"/>
                <a:gd name="connsiteX80" fmla="*/ 26300 w 2041732"/>
                <a:gd name="connsiteY80" fmla="*/ 759302 h 2044847"/>
                <a:gd name="connsiteX81" fmla="*/ 95860 w 2041732"/>
                <a:gd name="connsiteY81" fmla="*/ 575113 h 2044847"/>
                <a:gd name="connsiteX82" fmla="*/ 120939 w 2041732"/>
                <a:gd name="connsiteY82" fmla="*/ 560283 h 2044847"/>
                <a:gd name="connsiteX83" fmla="*/ 322967 w 2041732"/>
                <a:gd name="connsiteY83" fmla="*/ 577118 h 2044847"/>
                <a:gd name="connsiteX84" fmla="*/ 351156 w 2041732"/>
                <a:gd name="connsiteY84" fmla="*/ 564071 h 2044847"/>
                <a:gd name="connsiteX85" fmla="*/ 402861 w 2041732"/>
                <a:gd name="connsiteY85" fmla="*/ 497102 h 2044847"/>
                <a:gd name="connsiteX86" fmla="*/ 407553 w 2041732"/>
                <a:gd name="connsiteY86" fmla="*/ 466849 h 2044847"/>
                <a:gd name="connsiteX87" fmla="*/ 332601 w 2041732"/>
                <a:gd name="connsiteY87" fmla="*/ 283258 h 2044847"/>
                <a:gd name="connsiteX88" fmla="*/ 339693 w 2041732"/>
                <a:gd name="connsiteY88" fmla="*/ 255435 h 2044847"/>
                <a:gd name="connsiteX89" fmla="*/ 490512 w 2041732"/>
                <a:gd name="connsiteY89" fmla="*/ 145389 h 2044847"/>
                <a:gd name="connsiteX90" fmla="*/ 519665 w 2041732"/>
                <a:gd name="connsiteY90" fmla="*/ 146530 h 2044847"/>
                <a:gd name="connsiteX91" fmla="*/ 681153 w 2041732"/>
                <a:gd name="connsiteY91" fmla="*/ 270402 h 2044847"/>
                <a:gd name="connsiteX92" fmla="*/ 711937 w 2041732"/>
                <a:gd name="connsiteY92" fmla="*/ 274700 h 2044847"/>
                <a:gd name="connsiteX93" fmla="*/ 778434 w 2041732"/>
                <a:gd name="connsiteY93" fmla="*/ 250892 h 2044847"/>
                <a:gd name="connsiteX94" fmla="*/ 798697 w 2041732"/>
                <a:gd name="connsiteY94" fmla="*/ 227856 h 2044847"/>
                <a:gd name="connsiteX95" fmla="*/ 835070 w 2041732"/>
                <a:gd name="connsiteY95" fmla="*/ 31957 h 2044847"/>
                <a:gd name="connsiteX96" fmla="*/ 856065 w 2041732"/>
                <a:gd name="connsiteY96" fmla="*/ 12242 h 2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041732" h="2044847">
                  <a:moveTo>
                    <a:pt x="989914" y="430241"/>
                  </a:moveTo>
                  <a:cubicBezTo>
                    <a:pt x="735200" y="440371"/>
                    <a:pt x="505728" y="613939"/>
                    <a:pt x="436279" y="873120"/>
                  </a:cubicBezTo>
                  <a:cubicBezTo>
                    <a:pt x="350805" y="1192118"/>
                    <a:pt x="540116" y="1519998"/>
                    <a:pt x="859103" y="1605470"/>
                  </a:cubicBezTo>
                  <a:cubicBezTo>
                    <a:pt x="1178101" y="1690945"/>
                    <a:pt x="1505978" y="1501645"/>
                    <a:pt x="1591453" y="1182647"/>
                  </a:cubicBezTo>
                  <a:cubicBezTo>
                    <a:pt x="1676928" y="863649"/>
                    <a:pt x="1487629" y="535772"/>
                    <a:pt x="1168630" y="450297"/>
                  </a:cubicBezTo>
                  <a:cubicBezTo>
                    <a:pt x="1108818" y="434270"/>
                    <a:pt x="1048694" y="427904"/>
                    <a:pt x="989914" y="430241"/>
                  </a:cubicBezTo>
                  <a:close/>
                  <a:moveTo>
                    <a:pt x="1048433" y="1"/>
                  </a:moveTo>
                  <a:cubicBezTo>
                    <a:pt x="1058256" y="-79"/>
                    <a:pt x="1069013" y="7414"/>
                    <a:pt x="1072337" y="16657"/>
                  </a:cubicBezTo>
                  <a:lnTo>
                    <a:pt x="1141202" y="208122"/>
                  </a:lnTo>
                  <a:cubicBezTo>
                    <a:pt x="1144525" y="217370"/>
                    <a:pt x="1155148" y="226424"/>
                    <a:pt x="1164799" y="228246"/>
                  </a:cubicBezTo>
                  <a:cubicBezTo>
                    <a:pt x="1164799" y="228246"/>
                    <a:pt x="1200525" y="234990"/>
                    <a:pt x="1227142" y="242122"/>
                  </a:cubicBezTo>
                  <a:lnTo>
                    <a:pt x="1231518" y="243295"/>
                  </a:lnTo>
                  <a:cubicBezTo>
                    <a:pt x="1236290" y="244671"/>
                    <a:pt x="1245700" y="239943"/>
                    <a:pt x="1252432" y="232785"/>
                  </a:cubicBezTo>
                  <a:lnTo>
                    <a:pt x="1389897" y="86633"/>
                  </a:lnTo>
                  <a:cubicBezTo>
                    <a:pt x="1396630" y="79475"/>
                    <a:pt x="1409403" y="77054"/>
                    <a:pt x="1418290" y="81247"/>
                  </a:cubicBezTo>
                  <a:lnTo>
                    <a:pt x="1591152" y="174930"/>
                  </a:lnTo>
                  <a:cubicBezTo>
                    <a:pt x="1599498" y="180106"/>
                    <a:pt x="1604531" y="192174"/>
                    <a:pt x="1602329" y="201748"/>
                  </a:cubicBezTo>
                  <a:lnTo>
                    <a:pt x="1556960" y="399133"/>
                  </a:lnTo>
                  <a:cubicBezTo>
                    <a:pt x="1554758" y="408706"/>
                    <a:pt x="1558840" y="422024"/>
                    <a:pt x="1566026" y="428720"/>
                  </a:cubicBezTo>
                  <a:lnTo>
                    <a:pt x="1605097" y="467242"/>
                  </a:lnTo>
                  <a:cubicBezTo>
                    <a:pt x="1611902" y="474329"/>
                    <a:pt x="1625261" y="478187"/>
                    <a:pt x="1634795" y="475803"/>
                  </a:cubicBezTo>
                  <a:lnTo>
                    <a:pt x="1830690" y="426864"/>
                  </a:lnTo>
                  <a:cubicBezTo>
                    <a:pt x="1840218" y="424480"/>
                    <a:pt x="1852358" y="429298"/>
                    <a:pt x="1857663" y="437568"/>
                  </a:cubicBezTo>
                  <a:lnTo>
                    <a:pt x="1954584" y="609281"/>
                  </a:lnTo>
                  <a:cubicBezTo>
                    <a:pt x="1958923" y="618093"/>
                    <a:pt x="1956725" y="630923"/>
                    <a:pt x="1949695" y="637787"/>
                  </a:cubicBezTo>
                  <a:lnTo>
                    <a:pt x="1806010" y="778142"/>
                  </a:lnTo>
                  <a:cubicBezTo>
                    <a:pt x="1798981" y="785006"/>
                    <a:pt x="1795342" y="798380"/>
                    <a:pt x="1797918" y="807860"/>
                  </a:cubicBezTo>
                  <a:lnTo>
                    <a:pt x="1811437" y="864007"/>
                  </a:lnTo>
                  <a:cubicBezTo>
                    <a:pt x="1813460" y="873616"/>
                    <a:pt x="1822732" y="884058"/>
                    <a:pt x="1832039" y="887212"/>
                  </a:cubicBezTo>
                  <a:lnTo>
                    <a:pt x="2024641" y="952405"/>
                  </a:lnTo>
                  <a:cubicBezTo>
                    <a:pt x="2033943" y="955557"/>
                    <a:pt x="2041641" y="966169"/>
                    <a:pt x="2041732" y="975995"/>
                  </a:cubicBezTo>
                  <a:lnTo>
                    <a:pt x="2032396" y="1169775"/>
                  </a:lnTo>
                  <a:cubicBezTo>
                    <a:pt x="2031385" y="1179552"/>
                    <a:pt x="2022684" y="1189159"/>
                    <a:pt x="2013062" y="1191137"/>
                  </a:cubicBezTo>
                  <a:lnTo>
                    <a:pt x="1817585" y="1231263"/>
                  </a:lnTo>
                  <a:cubicBezTo>
                    <a:pt x="1807959" y="1233239"/>
                    <a:pt x="1797759" y="1242550"/>
                    <a:pt x="1794912" y="1251952"/>
                  </a:cubicBezTo>
                  <a:lnTo>
                    <a:pt x="1773399" y="1315817"/>
                  </a:lnTo>
                  <a:cubicBezTo>
                    <a:pt x="1769964" y="1325024"/>
                    <a:pt x="1772168" y="1338837"/>
                    <a:pt x="1778296" y="1346518"/>
                  </a:cubicBezTo>
                  <a:lnTo>
                    <a:pt x="1905278" y="1505741"/>
                  </a:lnTo>
                  <a:cubicBezTo>
                    <a:pt x="1911408" y="1513419"/>
                    <a:pt x="1912156" y="1526521"/>
                    <a:pt x="1906953" y="1534853"/>
                  </a:cubicBezTo>
                  <a:lnTo>
                    <a:pt x="1798701" y="1688956"/>
                  </a:lnTo>
                  <a:cubicBezTo>
                    <a:pt x="1792611" y="1696663"/>
                    <a:pt x="1780132" y="1700075"/>
                    <a:pt x="1770966" y="1696534"/>
                  </a:cubicBezTo>
                  <a:lnTo>
                    <a:pt x="1585727" y="1624955"/>
                  </a:lnTo>
                  <a:cubicBezTo>
                    <a:pt x="1576562" y="1621409"/>
                    <a:pt x="1562980" y="1623767"/>
                    <a:pt x="1555541" y="1630182"/>
                  </a:cubicBezTo>
                  <a:lnTo>
                    <a:pt x="1492468" y="1680777"/>
                  </a:lnTo>
                  <a:cubicBezTo>
                    <a:pt x="1484590" y="1686643"/>
                    <a:pt x="1478961" y="1699441"/>
                    <a:pt x="1479960" y="1709214"/>
                  </a:cubicBezTo>
                  <a:lnTo>
                    <a:pt x="1500637" y="1911184"/>
                  </a:lnTo>
                  <a:cubicBezTo>
                    <a:pt x="1501637" y="1920956"/>
                    <a:pt x="1495186" y="1932377"/>
                    <a:pt x="1486297" y="1936566"/>
                  </a:cubicBezTo>
                  <a:lnTo>
                    <a:pt x="1317926" y="2005190"/>
                  </a:lnTo>
                  <a:cubicBezTo>
                    <a:pt x="1308647" y="2008418"/>
                    <a:pt x="1296315" y="2004564"/>
                    <a:pt x="1290520" y="1996632"/>
                  </a:cubicBezTo>
                  <a:lnTo>
                    <a:pt x="1173629" y="1836600"/>
                  </a:lnTo>
                  <a:cubicBezTo>
                    <a:pt x="1167834" y="1828667"/>
                    <a:pt x="1155140" y="1823312"/>
                    <a:pt x="1145411" y="1824699"/>
                  </a:cubicBezTo>
                  <a:lnTo>
                    <a:pt x="1051801" y="1834147"/>
                  </a:lnTo>
                  <a:cubicBezTo>
                    <a:pt x="1041993" y="1834743"/>
                    <a:pt x="1030338" y="1842401"/>
                    <a:pt x="1025895" y="1851165"/>
                  </a:cubicBezTo>
                  <a:lnTo>
                    <a:pt x="934683" y="2031089"/>
                  </a:lnTo>
                  <a:cubicBezTo>
                    <a:pt x="930245" y="2039854"/>
                    <a:pt x="918640" y="2045966"/>
                    <a:pt x="908901" y="2044676"/>
                  </a:cubicBezTo>
                  <a:cubicBezTo>
                    <a:pt x="908901" y="2044676"/>
                    <a:pt x="810089" y="2031575"/>
                    <a:pt x="751824" y="2015963"/>
                  </a:cubicBezTo>
                  <a:cubicBezTo>
                    <a:pt x="740586" y="2012952"/>
                    <a:pt x="735541" y="2011445"/>
                    <a:pt x="735541" y="2011445"/>
                  </a:cubicBezTo>
                  <a:cubicBezTo>
                    <a:pt x="726124" y="2008632"/>
                    <a:pt x="717943" y="1998310"/>
                    <a:pt x="717357" y="1988507"/>
                  </a:cubicBezTo>
                  <a:lnTo>
                    <a:pt x="705518" y="1790248"/>
                  </a:lnTo>
                  <a:cubicBezTo>
                    <a:pt x="704935" y="1780439"/>
                    <a:pt x="697176" y="1769003"/>
                    <a:pt x="688282" y="1764832"/>
                  </a:cubicBezTo>
                  <a:lnTo>
                    <a:pt x="597445" y="1717482"/>
                  </a:lnTo>
                  <a:cubicBezTo>
                    <a:pt x="588942" y="1712565"/>
                    <a:pt x="575051" y="1712604"/>
                    <a:pt x="566575" y="1717575"/>
                  </a:cubicBezTo>
                  <a:lnTo>
                    <a:pt x="393835" y="1818882"/>
                  </a:lnTo>
                  <a:cubicBezTo>
                    <a:pt x="385360" y="1823847"/>
                    <a:pt x="372407" y="1822590"/>
                    <a:pt x="365047" y="1816080"/>
                  </a:cubicBezTo>
                  <a:lnTo>
                    <a:pt x="240713" y="1694311"/>
                  </a:lnTo>
                  <a:cubicBezTo>
                    <a:pt x="234058" y="1687085"/>
                    <a:pt x="232546" y="1674161"/>
                    <a:pt x="237356" y="1665594"/>
                  </a:cubicBezTo>
                  <a:lnTo>
                    <a:pt x="335260" y="1491200"/>
                  </a:lnTo>
                  <a:cubicBezTo>
                    <a:pt x="340069" y="1482632"/>
                    <a:pt x="339824" y="1468758"/>
                    <a:pt x="334719" y="1460364"/>
                  </a:cubicBezTo>
                  <a:lnTo>
                    <a:pt x="284835" y="1369928"/>
                  </a:lnTo>
                  <a:cubicBezTo>
                    <a:pt x="280461" y="1361131"/>
                    <a:pt x="268854" y="1353608"/>
                    <a:pt x="259037" y="1353209"/>
                  </a:cubicBezTo>
                  <a:lnTo>
                    <a:pt x="60146" y="1345093"/>
                  </a:lnTo>
                  <a:cubicBezTo>
                    <a:pt x="50329" y="1344693"/>
                    <a:pt x="40180" y="1336611"/>
                    <a:pt x="37590" y="1327134"/>
                  </a:cubicBezTo>
                  <a:lnTo>
                    <a:pt x="266" y="1155708"/>
                  </a:lnTo>
                  <a:cubicBezTo>
                    <a:pt x="-1334" y="1146015"/>
                    <a:pt x="4455" y="1134319"/>
                    <a:pt x="13131" y="1129710"/>
                  </a:cubicBezTo>
                  <a:lnTo>
                    <a:pt x="191108" y="1035224"/>
                  </a:lnTo>
                  <a:cubicBezTo>
                    <a:pt x="199782" y="1030614"/>
                    <a:pt x="207191" y="1018816"/>
                    <a:pt x="207566" y="1008999"/>
                  </a:cubicBezTo>
                  <a:lnTo>
                    <a:pt x="215337" y="912568"/>
                  </a:lnTo>
                  <a:cubicBezTo>
                    <a:pt x="216514" y="902816"/>
                    <a:pt x="210902" y="890218"/>
                    <a:pt x="202860" y="884574"/>
                  </a:cubicBezTo>
                  <a:lnTo>
                    <a:pt x="40628" y="770705"/>
                  </a:lnTo>
                  <a:cubicBezTo>
                    <a:pt x="32591" y="765063"/>
                    <a:pt x="26092" y="760103"/>
                    <a:pt x="26198" y="759682"/>
                  </a:cubicBezTo>
                  <a:lnTo>
                    <a:pt x="26300" y="759302"/>
                  </a:lnTo>
                  <a:cubicBezTo>
                    <a:pt x="45255" y="688564"/>
                    <a:pt x="95860" y="575113"/>
                    <a:pt x="95860" y="575113"/>
                  </a:cubicBezTo>
                  <a:cubicBezTo>
                    <a:pt x="99867" y="566139"/>
                    <a:pt x="111148" y="559466"/>
                    <a:pt x="120939" y="560283"/>
                  </a:cubicBezTo>
                  <a:lnTo>
                    <a:pt x="322967" y="577118"/>
                  </a:lnTo>
                  <a:cubicBezTo>
                    <a:pt x="332758" y="577936"/>
                    <a:pt x="345445" y="572064"/>
                    <a:pt x="351156" y="564071"/>
                  </a:cubicBezTo>
                  <a:lnTo>
                    <a:pt x="402861" y="497102"/>
                  </a:lnTo>
                  <a:cubicBezTo>
                    <a:pt x="409155" y="489555"/>
                    <a:pt x="411267" y="475943"/>
                    <a:pt x="407553" y="466849"/>
                  </a:cubicBezTo>
                  <a:lnTo>
                    <a:pt x="332601" y="283258"/>
                  </a:lnTo>
                  <a:cubicBezTo>
                    <a:pt x="328887" y="274163"/>
                    <a:pt x="332081" y="261643"/>
                    <a:pt x="339693" y="255435"/>
                  </a:cubicBezTo>
                  <a:lnTo>
                    <a:pt x="490512" y="145389"/>
                  </a:lnTo>
                  <a:cubicBezTo>
                    <a:pt x="498751" y="140039"/>
                    <a:pt x="511867" y="140552"/>
                    <a:pt x="519665" y="146530"/>
                  </a:cubicBezTo>
                  <a:lnTo>
                    <a:pt x="681153" y="270402"/>
                  </a:lnTo>
                  <a:cubicBezTo>
                    <a:pt x="688950" y="276382"/>
                    <a:pt x="702802" y="278312"/>
                    <a:pt x="711937" y="274700"/>
                  </a:cubicBezTo>
                  <a:lnTo>
                    <a:pt x="778434" y="250892"/>
                  </a:lnTo>
                  <a:cubicBezTo>
                    <a:pt x="787785" y="247880"/>
                    <a:pt x="796904" y="237515"/>
                    <a:pt x="798697" y="227856"/>
                  </a:cubicBezTo>
                  <a:lnTo>
                    <a:pt x="835070" y="31957"/>
                  </a:lnTo>
                  <a:cubicBezTo>
                    <a:pt x="836863" y="22297"/>
                    <a:pt x="846311" y="13425"/>
                    <a:pt x="856065" y="12242"/>
                  </a:cubicBezTo>
                  <a:close/>
                </a:path>
              </a:pathLst>
            </a:custGeom>
            <a:solidFill>
              <a:srgbClr val="6F638B"/>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sp>
          <p:nvSpPr>
            <p:cNvPr id="7" name="Oval 6">
              <a:extLst>
                <a:ext uri="{FF2B5EF4-FFF2-40B4-BE49-F238E27FC236}">
                  <a16:creationId xmlns:a16="http://schemas.microsoft.com/office/drawing/2014/main" id="{505FC982-503F-5488-476F-F7A5A97E29D2}"/>
                </a:ext>
              </a:extLst>
            </p:cNvPr>
            <p:cNvSpPr/>
            <p:nvPr/>
          </p:nvSpPr>
          <p:spPr>
            <a:xfrm>
              <a:off x="3458580" y="2899932"/>
              <a:ext cx="1428795" cy="1438672"/>
            </a:xfrm>
            <a:prstGeom prst="ellipse">
              <a:avLst/>
            </a:prstGeom>
            <a:solidFill>
              <a:srgbClr val="001F33">
                <a:alpha val="3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pSp>
      <p:grpSp>
        <p:nvGrpSpPr>
          <p:cNvPr id="8" name="Group 7">
            <a:extLst>
              <a:ext uri="{FF2B5EF4-FFF2-40B4-BE49-F238E27FC236}">
                <a16:creationId xmlns:a16="http://schemas.microsoft.com/office/drawing/2014/main" id="{8590E456-599F-CD79-3D63-306B2AF5AA62}"/>
              </a:ext>
            </a:extLst>
          </p:cNvPr>
          <p:cNvGrpSpPr/>
          <p:nvPr/>
        </p:nvGrpSpPr>
        <p:grpSpPr>
          <a:xfrm>
            <a:off x="3743106" y="2375339"/>
            <a:ext cx="1530919" cy="1534956"/>
            <a:chOff x="5076185" y="2595964"/>
            <a:chExt cx="2041225" cy="2046608"/>
          </a:xfrm>
        </p:grpSpPr>
        <p:sp>
          <p:nvSpPr>
            <p:cNvPr id="9" name="Freeform: Shape 8">
              <a:extLst>
                <a:ext uri="{FF2B5EF4-FFF2-40B4-BE49-F238E27FC236}">
                  <a16:creationId xmlns:a16="http://schemas.microsoft.com/office/drawing/2014/main" id="{DF47B23D-6117-5D06-4080-709761EC909A}"/>
                </a:ext>
              </a:extLst>
            </p:cNvPr>
            <p:cNvSpPr/>
            <p:nvPr/>
          </p:nvSpPr>
          <p:spPr>
            <a:xfrm>
              <a:off x="5076185" y="2595964"/>
              <a:ext cx="2041225" cy="2046608"/>
            </a:xfrm>
            <a:custGeom>
              <a:avLst/>
              <a:gdLst>
                <a:gd name="connsiteX0" fmla="*/ 1005075 w 2041225"/>
                <a:gd name="connsiteY0" fmla="*/ 426610 h 2046608"/>
                <a:gd name="connsiteX1" fmla="*/ 916384 w 2041225"/>
                <a:gd name="connsiteY1" fmla="*/ 434335 h 2046608"/>
                <a:gd name="connsiteX2" fmla="*/ 420849 w 2041225"/>
                <a:gd name="connsiteY2" fmla="*/ 941383 h 2046608"/>
                <a:gd name="connsiteX3" fmla="*/ 929772 w 2041225"/>
                <a:gd name="connsiteY3" fmla="*/ 1616745 h 2046608"/>
                <a:gd name="connsiteX4" fmla="*/ 1605135 w 2041225"/>
                <a:gd name="connsiteY4" fmla="*/ 1107823 h 2046608"/>
                <a:gd name="connsiteX5" fmla="*/ 1096212 w 2041225"/>
                <a:gd name="connsiteY5" fmla="*/ 432461 h 2046608"/>
                <a:gd name="connsiteX6" fmla="*/ 1005075 w 2041225"/>
                <a:gd name="connsiteY6" fmla="*/ 426610 h 2046608"/>
                <a:gd name="connsiteX7" fmla="*/ 922033 w 2041225"/>
                <a:gd name="connsiteY7" fmla="*/ 169 h 2046608"/>
                <a:gd name="connsiteX8" fmla="*/ 947789 w 2041225"/>
                <a:gd name="connsiteY8" fmla="*/ 13788 h 2046608"/>
                <a:gd name="connsiteX9" fmla="*/ 1039475 w 2041225"/>
                <a:gd name="connsiteY9" fmla="*/ 195433 h 2046608"/>
                <a:gd name="connsiteX10" fmla="*/ 1065348 w 2041225"/>
                <a:gd name="connsiteY10" fmla="*/ 212531 h 2046608"/>
                <a:gd name="connsiteX11" fmla="*/ 1128917 w 2041225"/>
                <a:gd name="connsiteY11" fmla="*/ 218706 h 2046608"/>
                <a:gd name="connsiteX12" fmla="*/ 1133404 w 2041225"/>
                <a:gd name="connsiteY12" fmla="*/ 219337 h 2046608"/>
                <a:gd name="connsiteX13" fmla="*/ 1152881 w 2041225"/>
                <a:gd name="connsiteY13" fmla="*/ 206357 h 2046608"/>
                <a:gd name="connsiteX14" fmla="*/ 1271510 w 2041225"/>
                <a:gd name="connsiteY14" fmla="*/ 44541 h 2046608"/>
                <a:gd name="connsiteX15" fmla="*/ 1299035 w 2041225"/>
                <a:gd name="connsiteY15" fmla="*/ 35736 h 2046608"/>
                <a:gd name="connsiteX16" fmla="*/ 1482026 w 2041225"/>
                <a:gd name="connsiteY16" fmla="*/ 107653 h 2046608"/>
                <a:gd name="connsiteX17" fmla="*/ 1496388 w 2041225"/>
                <a:gd name="connsiteY17" fmla="*/ 132910 h 2046608"/>
                <a:gd name="connsiteX18" fmla="*/ 1475412 w 2041225"/>
                <a:gd name="connsiteY18" fmla="*/ 334352 h 2046608"/>
                <a:gd name="connsiteX19" fmla="*/ 1488016 w 2041225"/>
                <a:gd name="connsiteY19" fmla="*/ 362614 h 2046608"/>
                <a:gd name="connsiteX20" fmla="*/ 1531491 w 2041225"/>
                <a:gd name="connsiteY20" fmla="*/ 396088 h 2046608"/>
                <a:gd name="connsiteX21" fmla="*/ 1562010 w 2041225"/>
                <a:gd name="connsiteY21" fmla="*/ 400966 h 2046608"/>
                <a:gd name="connsiteX22" fmla="*/ 1750481 w 2041225"/>
                <a:gd name="connsiteY22" fmla="*/ 328518 h 2046608"/>
                <a:gd name="connsiteX23" fmla="*/ 1778558 w 2041225"/>
                <a:gd name="connsiteY23" fmla="*/ 335854 h 2046608"/>
                <a:gd name="connsiteX24" fmla="*/ 1895683 w 2041225"/>
                <a:gd name="connsiteY24" fmla="*/ 494476 h 2046608"/>
                <a:gd name="connsiteX25" fmla="*/ 1894304 w 2041225"/>
                <a:gd name="connsiteY25" fmla="*/ 523365 h 2046608"/>
                <a:gd name="connsiteX26" fmla="*/ 1768795 w 2041225"/>
                <a:gd name="connsiteY26" fmla="*/ 680185 h 2046608"/>
                <a:gd name="connsiteX27" fmla="*/ 1764385 w 2041225"/>
                <a:gd name="connsiteY27" fmla="*/ 710667 h 2046608"/>
                <a:gd name="connsiteX28" fmla="*/ 1784646 w 2041225"/>
                <a:gd name="connsiteY28" fmla="*/ 764749 h 2046608"/>
                <a:gd name="connsiteX29" fmla="*/ 1807923 w 2041225"/>
                <a:gd name="connsiteY29" fmla="*/ 785270 h 2046608"/>
                <a:gd name="connsiteX30" fmla="*/ 2007034 w 2041225"/>
                <a:gd name="connsiteY30" fmla="*/ 826505 h 2046608"/>
                <a:gd name="connsiteX31" fmla="*/ 2026873 w 2041225"/>
                <a:gd name="connsiteY31" fmla="*/ 847835 h 2046608"/>
                <a:gd name="connsiteX32" fmla="*/ 2041222 w 2041225"/>
                <a:gd name="connsiteY32" fmla="*/ 1041309 h 2046608"/>
                <a:gd name="connsiteX33" fmla="*/ 2024635 w 2041225"/>
                <a:gd name="connsiteY33" fmla="*/ 1064868 h 2046608"/>
                <a:gd name="connsiteX34" fmla="*/ 1835506 w 2041225"/>
                <a:gd name="connsiteY34" fmla="*/ 1128518 h 2046608"/>
                <a:gd name="connsiteX35" fmla="*/ 1815523 w 2041225"/>
                <a:gd name="connsiteY35" fmla="*/ 1151815 h 2046608"/>
                <a:gd name="connsiteX36" fmla="*/ 1801953 w 2041225"/>
                <a:gd name="connsiteY36" fmla="*/ 1217826 h 2046608"/>
                <a:gd name="connsiteX37" fmla="*/ 1810555 w 2041225"/>
                <a:gd name="connsiteY37" fmla="*/ 1247702 h 2046608"/>
                <a:gd name="connsiteX38" fmla="*/ 1955996 w 2041225"/>
                <a:gd name="connsiteY38" fmla="*/ 1390263 h 2046608"/>
                <a:gd name="connsiteX39" fmla="*/ 1961205 w 2041225"/>
                <a:gd name="connsiteY39" fmla="*/ 1418953 h 2046608"/>
                <a:gd name="connsiteX40" fmla="*/ 1872541 w 2041225"/>
                <a:gd name="connsiteY40" fmla="*/ 1585100 h 2046608"/>
                <a:gd name="connsiteX41" fmla="*/ 1845936 w 2041225"/>
                <a:gd name="connsiteY41" fmla="*/ 1596002 h 2046608"/>
                <a:gd name="connsiteX42" fmla="*/ 1653355 w 2041225"/>
                <a:gd name="connsiteY42" fmla="*/ 1547532 h 2046608"/>
                <a:gd name="connsiteX43" fmla="*/ 1624030 w 2041225"/>
                <a:gd name="connsiteY43" fmla="*/ 1556398 h 2046608"/>
                <a:gd name="connsiteX44" fmla="*/ 1567593 w 2041225"/>
                <a:gd name="connsiteY44" fmla="*/ 1614303 h 2046608"/>
                <a:gd name="connsiteX45" fmla="*/ 1558645 w 2041225"/>
                <a:gd name="connsiteY45" fmla="*/ 1644052 h 2046608"/>
                <a:gd name="connsiteX46" fmla="*/ 1603781 w 2041225"/>
                <a:gd name="connsiteY46" fmla="*/ 1841997 h 2046608"/>
                <a:gd name="connsiteX47" fmla="*/ 1592642 w 2041225"/>
                <a:gd name="connsiteY47" fmla="*/ 1868937 h 2046608"/>
                <a:gd name="connsiteX48" fmla="*/ 1433889 w 2041225"/>
                <a:gd name="connsiteY48" fmla="*/ 1957569 h 2046608"/>
                <a:gd name="connsiteX49" fmla="*/ 1405644 w 2041225"/>
                <a:gd name="connsiteY49" fmla="*/ 1952415 h 2046608"/>
                <a:gd name="connsiteX50" fmla="*/ 1270121 w 2041225"/>
                <a:gd name="connsiteY50" fmla="*/ 1807821 h 2046608"/>
                <a:gd name="connsiteX51" fmla="*/ 1240664 w 2041225"/>
                <a:gd name="connsiteY51" fmla="*/ 1799448 h 2046608"/>
                <a:gd name="connsiteX52" fmla="*/ 1148902 w 2041225"/>
                <a:gd name="connsiteY52" fmla="*/ 1820234 h 2046608"/>
                <a:gd name="connsiteX53" fmla="*/ 1125263 w 2041225"/>
                <a:gd name="connsiteY53" fmla="*/ 1840282 h 2046608"/>
                <a:gd name="connsiteX54" fmla="*/ 1056659 w 2041225"/>
                <a:gd name="connsiteY54" fmla="*/ 2029980 h 2046608"/>
                <a:gd name="connsiteX55" fmla="*/ 1032725 w 2041225"/>
                <a:gd name="connsiteY55" fmla="*/ 2046608 h 2046608"/>
                <a:gd name="connsiteX56" fmla="*/ 873319 w 2041225"/>
                <a:gd name="connsiteY56" fmla="*/ 2037253 h 2046608"/>
                <a:gd name="connsiteX57" fmla="*/ 856607 w 2041225"/>
                <a:gd name="connsiteY57" fmla="*/ 2034753 h 2046608"/>
                <a:gd name="connsiteX58" fmla="*/ 835764 w 2041225"/>
                <a:gd name="connsiteY58" fmla="*/ 2014201 h 2046608"/>
                <a:gd name="connsiteX59" fmla="*/ 799851 w 2041225"/>
                <a:gd name="connsiteY59" fmla="*/ 1818863 h 2046608"/>
                <a:gd name="connsiteX60" fmla="*/ 779646 w 2041225"/>
                <a:gd name="connsiteY60" fmla="*/ 1795737 h 2046608"/>
                <a:gd name="connsiteX61" fmla="*/ 683715 w 2041225"/>
                <a:gd name="connsiteY61" fmla="*/ 1759810 h 2046608"/>
                <a:gd name="connsiteX62" fmla="*/ 653087 w 2041225"/>
                <a:gd name="connsiteY62" fmla="*/ 1763665 h 2046608"/>
                <a:gd name="connsiteX63" fmla="*/ 493980 w 2041225"/>
                <a:gd name="connsiteY63" fmla="*/ 1885268 h 2046608"/>
                <a:gd name="connsiteX64" fmla="*/ 465065 w 2041225"/>
                <a:gd name="connsiteY64" fmla="*/ 1885996 h 2046608"/>
                <a:gd name="connsiteX65" fmla="*/ 326819 w 2041225"/>
                <a:gd name="connsiteY65" fmla="*/ 1780287 h 2046608"/>
                <a:gd name="connsiteX66" fmla="*/ 319987 w 2041225"/>
                <a:gd name="connsiteY66" fmla="*/ 1752192 h 2046608"/>
                <a:gd name="connsiteX67" fmla="*/ 395907 w 2041225"/>
                <a:gd name="connsiteY67" fmla="*/ 1567167 h 2046608"/>
                <a:gd name="connsiteX68" fmla="*/ 391613 w 2041225"/>
                <a:gd name="connsiteY68" fmla="*/ 1536626 h 2046608"/>
                <a:gd name="connsiteX69" fmla="*/ 331080 w 2041225"/>
                <a:gd name="connsiteY69" fmla="*/ 1452945 h 2046608"/>
                <a:gd name="connsiteX70" fmla="*/ 303436 w 2041225"/>
                <a:gd name="connsiteY70" fmla="*/ 1439494 h 2046608"/>
                <a:gd name="connsiteX71" fmla="*/ 105039 w 2041225"/>
                <a:gd name="connsiteY71" fmla="*/ 1455677 h 2046608"/>
                <a:gd name="connsiteX72" fmla="*/ 80462 w 2041225"/>
                <a:gd name="connsiteY72" fmla="*/ 1440600 h 2046608"/>
                <a:gd name="connsiteX73" fmla="*/ 22525 w 2041225"/>
                <a:gd name="connsiteY73" fmla="*/ 1275001 h 2046608"/>
                <a:gd name="connsiteX74" fmla="*/ 32126 w 2041225"/>
                <a:gd name="connsiteY74" fmla="*/ 1247629 h 2046608"/>
                <a:gd name="connsiteX75" fmla="*/ 197261 w 2041225"/>
                <a:gd name="connsiteY75" fmla="*/ 1132158 h 2046608"/>
                <a:gd name="connsiteX76" fmla="*/ 210400 w 2041225"/>
                <a:gd name="connsiteY76" fmla="*/ 1104122 h 2046608"/>
                <a:gd name="connsiteX77" fmla="*/ 206362 w 2041225"/>
                <a:gd name="connsiteY77" fmla="*/ 1007463 h 2046608"/>
                <a:gd name="connsiteX78" fmla="*/ 190566 w 2041225"/>
                <a:gd name="connsiteY78" fmla="*/ 981199 h 2046608"/>
                <a:gd name="connsiteX79" fmla="*/ 15666 w 2041225"/>
                <a:gd name="connsiteY79" fmla="*/ 887949 h 2046608"/>
                <a:gd name="connsiteX80" fmla="*/ 1 w 2041225"/>
                <a:gd name="connsiteY80" fmla="*/ 878767 h 2046608"/>
                <a:gd name="connsiteX81" fmla="*/ 56 w 2041225"/>
                <a:gd name="connsiteY81" fmla="*/ 878378 h 2046608"/>
                <a:gd name="connsiteX82" fmla="*/ 46649 w 2041225"/>
                <a:gd name="connsiteY82" fmla="*/ 687084 h 2046608"/>
                <a:gd name="connsiteX83" fmla="*/ 69734 w 2041225"/>
                <a:gd name="connsiteY83" fmla="*/ 669308 h 2046608"/>
                <a:gd name="connsiteX84" fmla="*/ 272307 w 2041225"/>
                <a:gd name="connsiteY84" fmla="*/ 661396 h 2046608"/>
                <a:gd name="connsiteX85" fmla="*/ 298697 w 2041225"/>
                <a:gd name="connsiteY85" fmla="*/ 645012 h 2046608"/>
                <a:gd name="connsiteX86" fmla="*/ 341855 w 2041225"/>
                <a:gd name="connsiteY86" fmla="*/ 572241 h 2046608"/>
                <a:gd name="connsiteX87" fmla="*/ 342825 w 2041225"/>
                <a:gd name="connsiteY87" fmla="*/ 541641 h 2046608"/>
                <a:gd name="connsiteX88" fmla="*/ 246058 w 2041225"/>
                <a:gd name="connsiteY88" fmla="*/ 368553 h 2046608"/>
                <a:gd name="connsiteX89" fmla="*/ 249706 w 2041225"/>
                <a:gd name="connsiteY89" fmla="*/ 340073 h 2046608"/>
                <a:gd name="connsiteX90" fmla="*/ 385990 w 2041225"/>
                <a:gd name="connsiteY90" fmla="*/ 212467 h 2046608"/>
                <a:gd name="connsiteX91" fmla="*/ 415064 w 2041225"/>
                <a:gd name="connsiteY91" fmla="*/ 210047 h 2046608"/>
                <a:gd name="connsiteX92" fmla="*/ 590445 w 2041225"/>
                <a:gd name="connsiteY92" fmla="*/ 313315 h 2046608"/>
                <a:gd name="connsiteX93" fmla="*/ 621523 w 2041225"/>
                <a:gd name="connsiteY93" fmla="*/ 313829 h 2046608"/>
                <a:gd name="connsiteX94" fmla="*/ 684623 w 2041225"/>
                <a:gd name="connsiteY94" fmla="*/ 282095 h 2046608"/>
                <a:gd name="connsiteX95" fmla="*/ 701928 w 2041225"/>
                <a:gd name="connsiteY95" fmla="*/ 256761 h 2046608"/>
                <a:gd name="connsiteX96" fmla="*/ 714156 w 2041225"/>
                <a:gd name="connsiteY96" fmla="*/ 57890 h 2046608"/>
                <a:gd name="connsiteX97" fmla="*/ 732591 w 2041225"/>
                <a:gd name="connsiteY97" fmla="*/ 35763 h 204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41225" h="2046608">
                  <a:moveTo>
                    <a:pt x="1005075" y="426610"/>
                  </a:moveTo>
                  <a:cubicBezTo>
                    <a:pt x="975040" y="426970"/>
                    <a:pt x="945412" y="429593"/>
                    <a:pt x="916384" y="434335"/>
                  </a:cubicBezTo>
                  <a:cubicBezTo>
                    <a:pt x="664803" y="475430"/>
                    <a:pt x="458194" y="675670"/>
                    <a:pt x="420849" y="941383"/>
                  </a:cubicBezTo>
                  <a:cubicBezTo>
                    <a:pt x="374888" y="1268420"/>
                    <a:pt x="602747" y="1570785"/>
                    <a:pt x="929772" y="1616745"/>
                  </a:cubicBezTo>
                  <a:cubicBezTo>
                    <a:pt x="1256810" y="1662707"/>
                    <a:pt x="1559172" y="1434860"/>
                    <a:pt x="1605135" y="1107823"/>
                  </a:cubicBezTo>
                  <a:cubicBezTo>
                    <a:pt x="1651097" y="780785"/>
                    <a:pt x="1423250" y="478423"/>
                    <a:pt x="1096212" y="432461"/>
                  </a:cubicBezTo>
                  <a:cubicBezTo>
                    <a:pt x="1065553" y="428152"/>
                    <a:pt x="1035110" y="426249"/>
                    <a:pt x="1005075" y="426610"/>
                  </a:cubicBezTo>
                  <a:close/>
                  <a:moveTo>
                    <a:pt x="922033" y="169"/>
                  </a:moveTo>
                  <a:cubicBezTo>
                    <a:pt x="931773" y="-1107"/>
                    <a:pt x="943363" y="5019"/>
                    <a:pt x="947789" y="13788"/>
                  </a:cubicBezTo>
                  <a:lnTo>
                    <a:pt x="1039475" y="195433"/>
                  </a:lnTo>
                  <a:cubicBezTo>
                    <a:pt x="1043900" y="204208"/>
                    <a:pt x="1055547" y="211899"/>
                    <a:pt x="1065348" y="212531"/>
                  </a:cubicBezTo>
                  <a:cubicBezTo>
                    <a:pt x="1065348" y="212531"/>
                    <a:pt x="1101630" y="214871"/>
                    <a:pt x="1128917" y="218706"/>
                  </a:cubicBezTo>
                  <a:lnTo>
                    <a:pt x="1133404" y="219337"/>
                  </a:lnTo>
                  <a:cubicBezTo>
                    <a:pt x="1138308" y="220122"/>
                    <a:pt x="1147072" y="214282"/>
                    <a:pt x="1152881" y="206357"/>
                  </a:cubicBezTo>
                  <a:lnTo>
                    <a:pt x="1271510" y="44541"/>
                  </a:lnTo>
                  <a:cubicBezTo>
                    <a:pt x="1277321" y="36616"/>
                    <a:pt x="1289703" y="32657"/>
                    <a:pt x="1299035" y="35736"/>
                  </a:cubicBezTo>
                  <a:lnTo>
                    <a:pt x="1482026" y="107653"/>
                  </a:lnTo>
                  <a:cubicBezTo>
                    <a:pt x="1490940" y="111775"/>
                    <a:pt x="1497406" y="123139"/>
                    <a:pt x="1496388" y="132910"/>
                  </a:cubicBezTo>
                  <a:lnTo>
                    <a:pt x="1475412" y="334352"/>
                  </a:lnTo>
                  <a:cubicBezTo>
                    <a:pt x="1474394" y="344123"/>
                    <a:pt x="1480068" y="356844"/>
                    <a:pt x="1488016" y="362614"/>
                  </a:cubicBezTo>
                  <a:lnTo>
                    <a:pt x="1531491" y="396088"/>
                  </a:lnTo>
                  <a:cubicBezTo>
                    <a:pt x="1539108" y="402293"/>
                    <a:pt x="1552838" y="404493"/>
                    <a:pt x="1562010" y="400966"/>
                  </a:cubicBezTo>
                  <a:lnTo>
                    <a:pt x="1750481" y="328518"/>
                  </a:lnTo>
                  <a:cubicBezTo>
                    <a:pt x="1759648" y="324990"/>
                    <a:pt x="1772285" y="328293"/>
                    <a:pt x="1778558" y="335854"/>
                  </a:cubicBezTo>
                  <a:lnTo>
                    <a:pt x="1895683" y="494476"/>
                  </a:lnTo>
                  <a:cubicBezTo>
                    <a:pt x="1901063" y="502694"/>
                    <a:pt x="1900445" y="515696"/>
                    <a:pt x="1894304" y="523365"/>
                  </a:cubicBezTo>
                  <a:lnTo>
                    <a:pt x="1768795" y="680185"/>
                  </a:lnTo>
                  <a:cubicBezTo>
                    <a:pt x="1762655" y="687854"/>
                    <a:pt x="1760673" y="701572"/>
                    <a:pt x="1764385" y="710667"/>
                  </a:cubicBezTo>
                  <a:lnTo>
                    <a:pt x="1784646" y="764749"/>
                  </a:lnTo>
                  <a:cubicBezTo>
                    <a:pt x="1787825" y="774039"/>
                    <a:pt x="1798301" y="783274"/>
                    <a:pt x="1807923" y="785270"/>
                  </a:cubicBezTo>
                  <a:lnTo>
                    <a:pt x="2007034" y="826505"/>
                  </a:lnTo>
                  <a:cubicBezTo>
                    <a:pt x="2016650" y="828500"/>
                    <a:pt x="2025584" y="838095"/>
                    <a:pt x="2026873" y="847835"/>
                  </a:cubicBezTo>
                  <a:lnTo>
                    <a:pt x="2041222" y="1041309"/>
                  </a:lnTo>
                  <a:cubicBezTo>
                    <a:pt x="2041410" y="1051136"/>
                    <a:pt x="2033944" y="1061732"/>
                    <a:pt x="2024635" y="1064868"/>
                  </a:cubicBezTo>
                  <a:lnTo>
                    <a:pt x="1835506" y="1128518"/>
                  </a:lnTo>
                  <a:cubicBezTo>
                    <a:pt x="1826192" y="1131652"/>
                    <a:pt x="1817202" y="1142136"/>
                    <a:pt x="1815523" y="1151815"/>
                  </a:cubicBezTo>
                  <a:lnTo>
                    <a:pt x="1801953" y="1217826"/>
                  </a:lnTo>
                  <a:cubicBezTo>
                    <a:pt x="1799666" y="1227383"/>
                    <a:pt x="1803537" y="1240824"/>
                    <a:pt x="1810555" y="1247702"/>
                  </a:cubicBezTo>
                  <a:lnTo>
                    <a:pt x="1955996" y="1390263"/>
                  </a:lnTo>
                  <a:cubicBezTo>
                    <a:pt x="1963015" y="1397136"/>
                    <a:pt x="1965355" y="1410049"/>
                    <a:pt x="1961205" y="1418953"/>
                  </a:cubicBezTo>
                  <a:lnTo>
                    <a:pt x="1872541" y="1585100"/>
                  </a:lnTo>
                  <a:cubicBezTo>
                    <a:pt x="1867435" y="1593492"/>
                    <a:pt x="1855466" y="1598400"/>
                    <a:pt x="1845936" y="1596002"/>
                  </a:cubicBezTo>
                  <a:lnTo>
                    <a:pt x="1653355" y="1547532"/>
                  </a:lnTo>
                  <a:cubicBezTo>
                    <a:pt x="1643826" y="1545129"/>
                    <a:pt x="1630633" y="1549125"/>
                    <a:pt x="1624030" y="1556398"/>
                  </a:cubicBezTo>
                  <a:lnTo>
                    <a:pt x="1567593" y="1614303"/>
                  </a:lnTo>
                  <a:cubicBezTo>
                    <a:pt x="1560489" y="1621085"/>
                    <a:pt x="1556462" y="1634474"/>
                    <a:pt x="1558645" y="1644052"/>
                  </a:cubicBezTo>
                  <a:lnTo>
                    <a:pt x="1603781" y="1841997"/>
                  </a:lnTo>
                  <a:cubicBezTo>
                    <a:pt x="1605965" y="1851575"/>
                    <a:pt x="1600954" y="1863696"/>
                    <a:pt x="1592642" y="1868937"/>
                  </a:cubicBezTo>
                  <a:lnTo>
                    <a:pt x="1433889" y="1957569"/>
                  </a:lnTo>
                  <a:cubicBezTo>
                    <a:pt x="1425072" y="1961904"/>
                    <a:pt x="1412363" y="1959582"/>
                    <a:pt x="1405644" y="1952415"/>
                  </a:cubicBezTo>
                  <a:lnTo>
                    <a:pt x="1270121" y="1807821"/>
                  </a:lnTo>
                  <a:cubicBezTo>
                    <a:pt x="1263403" y="1800654"/>
                    <a:pt x="1250151" y="1796885"/>
                    <a:pt x="1240664" y="1799448"/>
                  </a:cubicBezTo>
                  <a:lnTo>
                    <a:pt x="1148902" y="1820234"/>
                  </a:lnTo>
                  <a:cubicBezTo>
                    <a:pt x="1139241" y="1822020"/>
                    <a:pt x="1128606" y="1831041"/>
                    <a:pt x="1125263" y="1840282"/>
                  </a:cubicBezTo>
                  <a:lnTo>
                    <a:pt x="1056659" y="2029980"/>
                  </a:lnTo>
                  <a:cubicBezTo>
                    <a:pt x="1053322" y="2039222"/>
                    <a:pt x="1042549" y="2046702"/>
                    <a:pt x="1032725" y="2046608"/>
                  </a:cubicBezTo>
                  <a:cubicBezTo>
                    <a:pt x="1032725" y="2046608"/>
                    <a:pt x="933052" y="2045648"/>
                    <a:pt x="873319" y="2037253"/>
                  </a:cubicBezTo>
                  <a:cubicBezTo>
                    <a:pt x="861798" y="2035634"/>
                    <a:pt x="856607" y="2034753"/>
                    <a:pt x="856607" y="2034753"/>
                  </a:cubicBezTo>
                  <a:cubicBezTo>
                    <a:pt x="846917" y="2033108"/>
                    <a:pt x="837539" y="2023860"/>
                    <a:pt x="835764" y="2014201"/>
                  </a:cubicBezTo>
                  <a:lnTo>
                    <a:pt x="799851" y="1818863"/>
                  </a:lnTo>
                  <a:cubicBezTo>
                    <a:pt x="798077" y="1809198"/>
                    <a:pt x="788982" y="1798793"/>
                    <a:pt x="779646" y="1795737"/>
                  </a:cubicBezTo>
                  <a:lnTo>
                    <a:pt x="683715" y="1759810"/>
                  </a:lnTo>
                  <a:cubicBezTo>
                    <a:pt x="674677" y="1755966"/>
                    <a:pt x="660894" y="1757697"/>
                    <a:pt x="653087" y="1763665"/>
                  </a:cubicBezTo>
                  <a:lnTo>
                    <a:pt x="493980" y="1885268"/>
                  </a:lnTo>
                  <a:cubicBezTo>
                    <a:pt x="486174" y="1891229"/>
                    <a:pt x="473164" y="1891560"/>
                    <a:pt x="465065" y="1885996"/>
                  </a:cubicBezTo>
                  <a:lnTo>
                    <a:pt x="326819" y="1780287"/>
                  </a:lnTo>
                  <a:cubicBezTo>
                    <a:pt x="319332" y="1773926"/>
                    <a:pt x="316257" y="1761282"/>
                    <a:pt x="319987" y="1752192"/>
                  </a:cubicBezTo>
                  <a:lnTo>
                    <a:pt x="395907" y="1567167"/>
                  </a:lnTo>
                  <a:cubicBezTo>
                    <a:pt x="399637" y="1558077"/>
                    <a:pt x="397703" y="1544337"/>
                    <a:pt x="391613" y="1536626"/>
                  </a:cubicBezTo>
                  <a:lnTo>
                    <a:pt x="331080" y="1452945"/>
                  </a:lnTo>
                  <a:cubicBezTo>
                    <a:pt x="325666" y="1444746"/>
                    <a:pt x="313229" y="1438693"/>
                    <a:pt x="303436" y="1439494"/>
                  </a:cubicBezTo>
                  <a:lnTo>
                    <a:pt x="105039" y="1455677"/>
                  </a:lnTo>
                  <a:cubicBezTo>
                    <a:pt x="95247" y="1456477"/>
                    <a:pt x="84187" y="1449692"/>
                    <a:pt x="80462" y="1440600"/>
                  </a:cubicBezTo>
                  <a:lnTo>
                    <a:pt x="22525" y="1275001"/>
                  </a:lnTo>
                  <a:cubicBezTo>
                    <a:pt x="19755" y="1265576"/>
                    <a:pt x="24076" y="1253262"/>
                    <a:pt x="32126" y="1247629"/>
                  </a:cubicBezTo>
                  <a:lnTo>
                    <a:pt x="197261" y="1132158"/>
                  </a:lnTo>
                  <a:cubicBezTo>
                    <a:pt x="205309" y="1126525"/>
                    <a:pt x="211224" y="1113912"/>
                    <a:pt x="210400" y="1104122"/>
                  </a:cubicBezTo>
                  <a:lnTo>
                    <a:pt x="206362" y="1007463"/>
                  </a:lnTo>
                  <a:cubicBezTo>
                    <a:pt x="206341" y="997641"/>
                    <a:pt x="199236" y="985820"/>
                    <a:pt x="190566" y="981199"/>
                  </a:cubicBezTo>
                  <a:lnTo>
                    <a:pt x="15666" y="887949"/>
                  </a:lnTo>
                  <a:cubicBezTo>
                    <a:pt x="7002" y="883329"/>
                    <a:pt x="-53" y="879198"/>
                    <a:pt x="1" y="878767"/>
                  </a:cubicBezTo>
                  <a:lnTo>
                    <a:pt x="56" y="878378"/>
                  </a:lnTo>
                  <a:cubicBezTo>
                    <a:pt x="10247" y="805856"/>
                    <a:pt x="46649" y="687084"/>
                    <a:pt x="46649" y="687084"/>
                  </a:cubicBezTo>
                  <a:cubicBezTo>
                    <a:pt x="49533" y="677689"/>
                    <a:pt x="59916" y="669690"/>
                    <a:pt x="69734" y="669308"/>
                  </a:cubicBezTo>
                  <a:lnTo>
                    <a:pt x="272307" y="661396"/>
                  </a:lnTo>
                  <a:cubicBezTo>
                    <a:pt x="282126" y="661015"/>
                    <a:pt x="294003" y="653641"/>
                    <a:pt x="298697" y="645012"/>
                  </a:cubicBezTo>
                  <a:lnTo>
                    <a:pt x="341855" y="572241"/>
                  </a:lnTo>
                  <a:cubicBezTo>
                    <a:pt x="347182" y="563983"/>
                    <a:pt x="347620" y="550215"/>
                    <a:pt x="342825" y="541641"/>
                  </a:cubicBezTo>
                  <a:lnTo>
                    <a:pt x="246058" y="368553"/>
                  </a:lnTo>
                  <a:cubicBezTo>
                    <a:pt x="241263" y="359978"/>
                    <a:pt x="242907" y="347162"/>
                    <a:pt x="249706" y="340073"/>
                  </a:cubicBezTo>
                  <a:lnTo>
                    <a:pt x="385990" y="212467"/>
                  </a:lnTo>
                  <a:cubicBezTo>
                    <a:pt x="393516" y="206153"/>
                    <a:pt x="406596" y="205063"/>
                    <a:pt x="415064" y="210047"/>
                  </a:cubicBezTo>
                  <a:lnTo>
                    <a:pt x="590445" y="313315"/>
                  </a:lnTo>
                  <a:cubicBezTo>
                    <a:pt x="598913" y="318300"/>
                    <a:pt x="612897" y="318528"/>
                    <a:pt x="621523" y="313829"/>
                  </a:cubicBezTo>
                  <a:lnTo>
                    <a:pt x="684623" y="282095"/>
                  </a:lnTo>
                  <a:cubicBezTo>
                    <a:pt x="693537" y="277966"/>
                    <a:pt x="701326" y="266567"/>
                    <a:pt x="701928" y="256761"/>
                  </a:cubicBezTo>
                  <a:lnTo>
                    <a:pt x="714156" y="57890"/>
                  </a:lnTo>
                  <a:cubicBezTo>
                    <a:pt x="714758" y="48084"/>
                    <a:pt x="723054" y="38126"/>
                    <a:pt x="732591" y="35763"/>
                  </a:cubicBezTo>
                  <a:close/>
                </a:path>
              </a:pathLst>
            </a:custGeom>
            <a:solidFill>
              <a:srgbClr val="B8657D"/>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sp>
          <p:nvSpPr>
            <p:cNvPr id="10" name="Oval 9">
              <a:extLst>
                <a:ext uri="{FF2B5EF4-FFF2-40B4-BE49-F238E27FC236}">
                  <a16:creationId xmlns:a16="http://schemas.microsoft.com/office/drawing/2014/main" id="{1BC36D56-71B3-CD76-1893-C317D4D8C39A}"/>
                </a:ext>
              </a:extLst>
            </p:cNvPr>
            <p:cNvSpPr/>
            <p:nvPr/>
          </p:nvSpPr>
          <p:spPr>
            <a:xfrm>
              <a:off x="5382400" y="2899932"/>
              <a:ext cx="1428795" cy="1438672"/>
            </a:xfrm>
            <a:prstGeom prst="ellipse">
              <a:avLst/>
            </a:prstGeom>
            <a:solidFill>
              <a:srgbClr val="001F33">
                <a:alpha val="3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pSp>
      <p:grpSp>
        <p:nvGrpSpPr>
          <p:cNvPr id="11" name="Group 10">
            <a:extLst>
              <a:ext uri="{FF2B5EF4-FFF2-40B4-BE49-F238E27FC236}">
                <a16:creationId xmlns:a16="http://schemas.microsoft.com/office/drawing/2014/main" id="{1DADD071-6538-CCA7-5A81-5D8C90E26861}"/>
              </a:ext>
            </a:extLst>
          </p:cNvPr>
          <p:cNvGrpSpPr/>
          <p:nvPr/>
        </p:nvGrpSpPr>
        <p:grpSpPr>
          <a:xfrm>
            <a:off x="5185781" y="2376000"/>
            <a:ext cx="1531299" cy="1533635"/>
            <a:chOff x="6999752" y="2596845"/>
            <a:chExt cx="2041732" cy="2044847"/>
          </a:xfrm>
        </p:grpSpPr>
        <p:sp>
          <p:nvSpPr>
            <p:cNvPr id="12" name="Freeform: Shape 11">
              <a:extLst>
                <a:ext uri="{FF2B5EF4-FFF2-40B4-BE49-F238E27FC236}">
                  <a16:creationId xmlns:a16="http://schemas.microsoft.com/office/drawing/2014/main" id="{56253D4E-6C2C-B2AE-D112-637B88B00A1E}"/>
                </a:ext>
              </a:extLst>
            </p:cNvPr>
            <p:cNvSpPr/>
            <p:nvPr/>
          </p:nvSpPr>
          <p:spPr>
            <a:xfrm>
              <a:off x="6999752" y="2596845"/>
              <a:ext cx="2041732" cy="2044847"/>
            </a:xfrm>
            <a:custGeom>
              <a:avLst/>
              <a:gdLst>
                <a:gd name="connsiteX0" fmla="*/ 989914 w 2041732"/>
                <a:gd name="connsiteY0" fmla="*/ 430241 h 2044847"/>
                <a:gd name="connsiteX1" fmla="*/ 436279 w 2041732"/>
                <a:gd name="connsiteY1" fmla="*/ 873120 h 2044847"/>
                <a:gd name="connsiteX2" fmla="*/ 859103 w 2041732"/>
                <a:gd name="connsiteY2" fmla="*/ 1605470 h 2044847"/>
                <a:gd name="connsiteX3" fmla="*/ 1591453 w 2041732"/>
                <a:gd name="connsiteY3" fmla="*/ 1182647 h 2044847"/>
                <a:gd name="connsiteX4" fmla="*/ 1168630 w 2041732"/>
                <a:gd name="connsiteY4" fmla="*/ 450297 h 2044847"/>
                <a:gd name="connsiteX5" fmla="*/ 989914 w 2041732"/>
                <a:gd name="connsiteY5" fmla="*/ 430241 h 2044847"/>
                <a:gd name="connsiteX6" fmla="*/ 1048433 w 2041732"/>
                <a:gd name="connsiteY6" fmla="*/ 1 h 2044847"/>
                <a:gd name="connsiteX7" fmla="*/ 1072337 w 2041732"/>
                <a:gd name="connsiteY7" fmla="*/ 16657 h 2044847"/>
                <a:gd name="connsiteX8" fmla="*/ 1141202 w 2041732"/>
                <a:gd name="connsiteY8" fmla="*/ 208122 h 2044847"/>
                <a:gd name="connsiteX9" fmla="*/ 1164799 w 2041732"/>
                <a:gd name="connsiteY9" fmla="*/ 228246 h 2044847"/>
                <a:gd name="connsiteX10" fmla="*/ 1227142 w 2041732"/>
                <a:gd name="connsiteY10" fmla="*/ 242122 h 2044847"/>
                <a:gd name="connsiteX11" fmla="*/ 1231518 w 2041732"/>
                <a:gd name="connsiteY11" fmla="*/ 243295 h 2044847"/>
                <a:gd name="connsiteX12" fmla="*/ 1252432 w 2041732"/>
                <a:gd name="connsiteY12" fmla="*/ 232785 h 2044847"/>
                <a:gd name="connsiteX13" fmla="*/ 1389897 w 2041732"/>
                <a:gd name="connsiteY13" fmla="*/ 86633 h 2044847"/>
                <a:gd name="connsiteX14" fmla="*/ 1418290 w 2041732"/>
                <a:gd name="connsiteY14" fmla="*/ 81247 h 2044847"/>
                <a:gd name="connsiteX15" fmla="*/ 1591152 w 2041732"/>
                <a:gd name="connsiteY15" fmla="*/ 174930 h 2044847"/>
                <a:gd name="connsiteX16" fmla="*/ 1602329 w 2041732"/>
                <a:gd name="connsiteY16" fmla="*/ 201748 h 2044847"/>
                <a:gd name="connsiteX17" fmla="*/ 1556960 w 2041732"/>
                <a:gd name="connsiteY17" fmla="*/ 399133 h 2044847"/>
                <a:gd name="connsiteX18" fmla="*/ 1566026 w 2041732"/>
                <a:gd name="connsiteY18" fmla="*/ 428720 h 2044847"/>
                <a:gd name="connsiteX19" fmla="*/ 1605097 w 2041732"/>
                <a:gd name="connsiteY19" fmla="*/ 467242 h 2044847"/>
                <a:gd name="connsiteX20" fmla="*/ 1634794 w 2041732"/>
                <a:gd name="connsiteY20" fmla="*/ 475803 h 2044847"/>
                <a:gd name="connsiteX21" fmla="*/ 1830690 w 2041732"/>
                <a:gd name="connsiteY21" fmla="*/ 426864 h 2044847"/>
                <a:gd name="connsiteX22" fmla="*/ 1857663 w 2041732"/>
                <a:gd name="connsiteY22" fmla="*/ 437568 h 2044847"/>
                <a:gd name="connsiteX23" fmla="*/ 1954584 w 2041732"/>
                <a:gd name="connsiteY23" fmla="*/ 609281 h 2044847"/>
                <a:gd name="connsiteX24" fmla="*/ 1949695 w 2041732"/>
                <a:gd name="connsiteY24" fmla="*/ 637787 h 2044847"/>
                <a:gd name="connsiteX25" fmla="*/ 1806010 w 2041732"/>
                <a:gd name="connsiteY25" fmla="*/ 778142 h 2044847"/>
                <a:gd name="connsiteX26" fmla="*/ 1797918 w 2041732"/>
                <a:gd name="connsiteY26" fmla="*/ 807860 h 2044847"/>
                <a:gd name="connsiteX27" fmla="*/ 1811437 w 2041732"/>
                <a:gd name="connsiteY27" fmla="*/ 864007 h 2044847"/>
                <a:gd name="connsiteX28" fmla="*/ 1832039 w 2041732"/>
                <a:gd name="connsiteY28" fmla="*/ 887212 h 2044847"/>
                <a:gd name="connsiteX29" fmla="*/ 2024641 w 2041732"/>
                <a:gd name="connsiteY29" fmla="*/ 952405 h 2044847"/>
                <a:gd name="connsiteX30" fmla="*/ 2041732 w 2041732"/>
                <a:gd name="connsiteY30" fmla="*/ 975995 h 2044847"/>
                <a:gd name="connsiteX31" fmla="*/ 2032396 w 2041732"/>
                <a:gd name="connsiteY31" fmla="*/ 1169775 h 2044847"/>
                <a:gd name="connsiteX32" fmla="*/ 2013062 w 2041732"/>
                <a:gd name="connsiteY32" fmla="*/ 1191137 h 2044847"/>
                <a:gd name="connsiteX33" fmla="*/ 1817585 w 2041732"/>
                <a:gd name="connsiteY33" fmla="*/ 1231263 h 2044847"/>
                <a:gd name="connsiteX34" fmla="*/ 1794912 w 2041732"/>
                <a:gd name="connsiteY34" fmla="*/ 1251952 h 2044847"/>
                <a:gd name="connsiteX35" fmla="*/ 1773398 w 2041732"/>
                <a:gd name="connsiteY35" fmla="*/ 1315817 h 2044847"/>
                <a:gd name="connsiteX36" fmla="*/ 1778296 w 2041732"/>
                <a:gd name="connsiteY36" fmla="*/ 1346518 h 2044847"/>
                <a:gd name="connsiteX37" fmla="*/ 1905278 w 2041732"/>
                <a:gd name="connsiteY37" fmla="*/ 1505741 h 2044847"/>
                <a:gd name="connsiteX38" fmla="*/ 1906952 w 2041732"/>
                <a:gd name="connsiteY38" fmla="*/ 1534853 h 2044847"/>
                <a:gd name="connsiteX39" fmla="*/ 1798701 w 2041732"/>
                <a:gd name="connsiteY39" fmla="*/ 1688956 h 2044847"/>
                <a:gd name="connsiteX40" fmla="*/ 1770966 w 2041732"/>
                <a:gd name="connsiteY40" fmla="*/ 1696534 h 2044847"/>
                <a:gd name="connsiteX41" fmla="*/ 1585727 w 2041732"/>
                <a:gd name="connsiteY41" fmla="*/ 1624955 h 2044847"/>
                <a:gd name="connsiteX42" fmla="*/ 1555540 w 2041732"/>
                <a:gd name="connsiteY42" fmla="*/ 1630182 h 2044847"/>
                <a:gd name="connsiteX43" fmla="*/ 1492467 w 2041732"/>
                <a:gd name="connsiteY43" fmla="*/ 1680777 h 2044847"/>
                <a:gd name="connsiteX44" fmla="*/ 1479960 w 2041732"/>
                <a:gd name="connsiteY44" fmla="*/ 1709214 h 2044847"/>
                <a:gd name="connsiteX45" fmla="*/ 1500637 w 2041732"/>
                <a:gd name="connsiteY45" fmla="*/ 1911184 h 2044847"/>
                <a:gd name="connsiteX46" fmla="*/ 1486297 w 2041732"/>
                <a:gd name="connsiteY46" fmla="*/ 1936566 h 2044847"/>
                <a:gd name="connsiteX47" fmla="*/ 1317926 w 2041732"/>
                <a:gd name="connsiteY47" fmla="*/ 2005190 h 2044847"/>
                <a:gd name="connsiteX48" fmla="*/ 1290520 w 2041732"/>
                <a:gd name="connsiteY48" fmla="*/ 1996632 h 2044847"/>
                <a:gd name="connsiteX49" fmla="*/ 1173629 w 2041732"/>
                <a:gd name="connsiteY49" fmla="*/ 1836600 h 2044847"/>
                <a:gd name="connsiteX50" fmla="*/ 1145411 w 2041732"/>
                <a:gd name="connsiteY50" fmla="*/ 1824699 h 2044847"/>
                <a:gd name="connsiteX51" fmla="*/ 1051801 w 2041732"/>
                <a:gd name="connsiteY51" fmla="*/ 1834147 h 2044847"/>
                <a:gd name="connsiteX52" fmla="*/ 1025895 w 2041732"/>
                <a:gd name="connsiteY52" fmla="*/ 1851165 h 2044847"/>
                <a:gd name="connsiteX53" fmla="*/ 934683 w 2041732"/>
                <a:gd name="connsiteY53" fmla="*/ 2031089 h 2044847"/>
                <a:gd name="connsiteX54" fmla="*/ 908901 w 2041732"/>
                <a:gd name="connsiteY54" fmla="*/ 2044676 h 2044847"/>
                <a:gd name="connsiteX55" fmla="*/ 751824 w 2041732"/>
                <a:gd name="connsiteY55" fmla="*/ 2015963 h 2044847"/>
                <a:gd name="connsiteX56" fmla="*/ 735541 w 2041732"/>
                <a:gd name="connsiteY56" fmla="*/ 2011445 h 2044847"/>
                <a:gd name="connsiteX57" fmla="*/ 717357 w 2041732"/>
                <a:gd name="connsiteY57" fmla="*/ 1988507 h 2044847"/>
                <a:gd name="connsiteX58" fmla="*/ 705518 w 2041732"/>
                <a:gd name="connsiteY58" fmla="*/ 1790248 h 2044847"/>
                <a:gd name="connsiteX59" fmla="*/ 688283 w 2041732"/>
                <a:gd name="connsiteY59" fmla="*/ 1764832 h 2044847"/>
                <a:gd name="connsiteX60" fmla="*/ 597445 w 2041732"/>
                <a:gd name="connsiteY60" fmla="*/ 1717482 h 2044847"/>
                <a:gd name="connsiteX61" fmla="*/ 566575 w 2041732"/>
                <a:gd name="connsiteY61" fmla="*/ 1717575 h 2044847"/>
                <a:gd name="connsiteX62" fmla="*/ 393835 w 2041732"/>
                <a:gd name="connsiteY62" fmla="*/ 1818882 h 2044847"/>
                <a:gd name="connsiteX63" fmla="*/ 365047 w 2041732"/>
                <a:gd name="connsiteY63" fmla="*/ 1816080 h 2044847"/>
                <a:gd name="connsiteX64" fmla="*/ 240713 w 2041732"/>
                <a:gd name="connsiteY64" fmla="*/ 1694311 h 2044847"/>
                <a:gd name="connsiteX65" fmla="*/ 237356 w 2041732"/>
                <a:gd name="connsiteY65" fmla="*/ 1665594 h 2044847"/>
                <a:gd name="connsiteX66" fmla="*/ 335260 w 2041732"/>
                <a:gd name="connsiteY66" fmla="*/ 1491200 h 2044847"/>
                <a:gd name="connsiteX67" fmla="*/ 334719 w 2041732"/>
                <a:gd name="connsiteY67" fmla="*/ 1460364 h 2044847"/>
                <a:gd name="connsiteX68" fmla="*/ 284835 w 2041732"/>
                <a:gd name="connsiteY68" fmla="*/ 1369928 h 2044847"/>
                <a:gd name="connsiteX69" fmla="*/ 259037 w 2041732"/>
                <a:gd name="connsiteY69" fmla="*/ 1353209 h 2044847"/>
                <a:gd name="connsiteX70" fmla="*/ 60146 w 2041732"/>
                <a:gd name="connsiteY70" fmla="*/ 1345093 h 2044847"/>
                <a:gd name="connsiteX71" fmla="*/ 37590 w 2041732"/>
                <a:gd name="connsiteY71" fmla="*/ 1327134 h 2044847"/>
                <a:gd name="connsiteX72" fmla="*/ 266 w 2041732"/>
                <a:gd name="connsiteY72" fmla="*/ 1155708 h 2044847"/>
                <a:gd name="connsiteX73" fmla="*/ 13131 w 2041732"/>
                <a:gd name="connsiteY73" fmla="*/ 1129710 h 2044847"/>
                <a:gd name="connsiteX74" fmla="*/ 191108 w 2041732"/>
                <a:gd name="connsiteY74" fmla="*/ 1035224 h 2044847"/>
                <a:gd name="connsiteX75" fmla="*/ 207566 w 2041732"/>
                <a:gd name="connsiteY75" fmla="*/ 1008999 h 2044847"/>
                <a:gd name="connsiteX76" fmla="*/ 215337 w 2041732"/>
                <a:gd name="connsiteY76" fmla="*/ 912568 h 2044847"/>
                <a:gd name="connsiteX77" fmla="*/ 202860 w 2041732"/>
                <a:gd name="connsiteY77" fmla="*/ 884574 h 2044847"/>
                <a:gd name="connsiteX78" fmla="*/ 40628 w 2041732"/>
                <a:gd name="connsiteY78" fmla="*/ 770705 h 2044847"/>
                <a:gd name="connsiteX79" fmla="*/ 26199 w 2041732"/>
                <a:gd name="connsiteY79" fmla="*/ 759682 h 2044847"/>
                <a:gd name="connsiteX80" fmla="*/ 26301 w 2041732"/>
                <a:gd name="connsiteY80" fmla="*/ 759302 h 2044847"/>
                <a:gd name="connsiteX81" fmla="*/ 95860 w 2041732"/>
                <a:gd name="connsiteY81" fmla="*/ 575113 h 2044847"/>
                <a:gd name="connsiteX82" fmla="*/ 120939 w 2041732"/>
                <a:gd name="connsiteY82" fmla="*/ 560283 h 2044847"/>
                <a:gd name="connsiteX83" fmla="*/ 322967 w 2041732"/>
                <a:gd name="connsiteY83" fmla="*/ 577118 h 2044847"/>
                <a:gd name="connsiteX84" fmla="*/ 351156 w 2041732"/>
                <a:gd name="connsiteY84" fmla="*/ 564071 h 2044847"/>
                <a:gd name="connsiteX85" fmla="*/ 402861 w 2041732"/>
                <a:gd name="connsiteY85" fmla="*/ 497102 h 2044847"/>
                <a:gd name="connsiteX86" fmla="*/ 407553 w 2041732"/>
                <a:gd name="connsiteY86" fmla="*/ 466849 h 2044847"/>
                <a:gd name="connsiteX87" fmla="*/ 332602 w 2041732"/>
                <a:gd name="connsiteY87" fmla="*/ 283258 h 2044847"/>
                <a:gd name="connsiteX88" fmla="*/ 339693 w 2041732"/>
                <a:gd name="connsiteY88" fmla="*/ 255435 h 2044847"/>
                <a:gd name="connsiteX89" fmla="*/ 490513 w 2041732"/>
                <a:gd name="connsiteY89" fmla="*/ 145389 h 2044847"/>
                <a:gd name="connsiteX90" fmla="*/ 519665 w 2041732"/>
                <a:gd name="connsiteY90" fmla="*/ 146530 h 2044847"/>
                <a:gd name="connsiteX91" fmla="*/ 681153 w 2041732"/>
                <a:gd name="connsiteY91" fmla="*/ 270402 h 2044847"/>
                <a:gd name="connsiteX92" fmla="*/ 711937 w 2041732"/>
                <a:gd name="connsiteY92" fmla="*/ 274700 h 2044847"/>
                <a:gd name="connsiteX93" fmla="*/ 778434 w 2041732"/>
                <a:gd name="connsiteY93" fmla="*/ 250892 h 2044847"/>
                <a:gd name="connsiteX94" fmla="*/ 798697 w 2041732"/>
                <a:gd name="connsiteY94" fmla="*/ 227856 h 2044847"/>
                <a:gd name="connsiteX95" fmla="*/ 835070 w 2041732"/>
                <a:gd name="connsiteY95" fmla="*/ 31957 h 2044847"/>
                <a:gd name="connsiteX96" fmla="*/ 856065 w 2041732"/>
                <a:gd name="connsiteY96" fmla="*/ 12242 h 2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041732" h="2044847">
                  <a:moveTo>
                    <a:pt x="989914" y="430241"/>
                  </a:moveTo>
                  <a:cubicBezTo>
                    <a:pt x="735200" y="440371"/>
                    <a:pt x="505728" y="613939"/>
                    <a:pt x="436279" y="873120"/>
                  </a:cubicBezTo>
                  <a:cubicBezTo>
                    <a:pt x="350805" y="1192118"/>
                    <a:pt x="540116" y="1519998"/>
                    <a:pt x="859103" y="1605470"/>
                  </a:cubicBezTo>
                  <a:cubicBezTo>
                    <a:pt x="1178101" y="1690945"/>
                    <a:pt x="1505978" y="1501645"/>
                    <a:pt x="1591453" y="1182647"/>
                  </a:cubicBezTo>
                  <a:cubicBezTo>
                    <a:pt x="1676928" y="863649"/>
                    <a:pt x="1487629" y="535772"/>
                    <a:pt x="1168630" y="450297"/>
                  </a:cubicBezTo>
                  <a:cubicBezTo>
                    <a:pt x="1108818" y="434270"/>
                    <a:pt x="1048694" y="427904"/>
                    <a:pt x="989914" y="430241"/>
                  </a:cubicBezTo>
                  <a:close/>
                  <a:moveTo>
                    <a:pt x="1048433" y="1"/>
                  </a:moveTo>
                  <a:cubicBezTo>
                    <a:pt x="1058256" y="-79"/>
                    <a:pt x="1069013" y="7414"/>
                    <a:pt x="1072337" y="16657"/>
                  </a:cubicBezTo>
                  <a:lnTo>
                    <a:pt x="1141202" y="208122"/>
                  </a:lnTo>
                  <a:cubicBezTo>
                    <a:pt x="1144525" y="217370"/>
                    <a:pt x="1155148" y="226424"/>
                    <a:pt x="1164799" y="228246"/>
                  </a:cubicBezTo>
                  <a:cubicBezTo>
                    <a:pt x="1164799" y="228246"/>
                    <a:pt x="1200525" y="234990"/>
                    <a:pt x="1227142" y="242122"/>
                  </a:cubicBezTo>
                  <a:lnTo>
                    <a:pt x="1231518" y="243295"/>
                  </a:lnTo>
                  <a:cubicBezTo>
                    <a:pt x="1236290" y="244671"/>
                    <a:pt x="1245700" y="239943"/>
                    <a:pt x="1252432" y="232785"/>
                  </a:cubicBezTo>
                  <a:lnTo>
                    <a:pt x="1389897" y="86633"/>
                  </a:lnTo>
                  <a:cubicBezTo>
                    <a:pt x="1396630" y="79475"/>
                    <a:pt x="1409403" y="77054"/>
                    <a:pt x="1418290" y="81247"/>
                  </a:cubicBezTo>
                  <a:lnTo>
                    <a:pt x="1591152" y="174930"/>
                  </a:lnTo>
                  <a:cubicBezTo>
                    <a:pt x="1599498" y="180106"/>
                    <a:pt x="1604530" y="192174"/>
                    <a:pt x="1602329" y="201748"/>
                  </a:cubicBezTo>
                  <a:lnTo>
                    <a:pt x="1556960" y="399133"/>
                  </a:lnTo>
                  <a:cubicBezTo>
                    <a:pt x="1554758" y="408706"/>
                    <a:pt x="1558840" y="422024"/>
                    <a:pt x="1566026" y="428720"/>
                  </a:cubicBezTo>
                  <a:lnTo>
                    <a:pt x="1605097" y="467242"/>
                  </a:lnTo>
                  <a:cubicBezTo>
                    <a:pt x="1611902" y="474329"/>
                    <a:pt x="1625261" y="478187"/>
                    <a:pt x="1634794" y="475803"/>
                  </a:cubicBezTo>
                  <a:lnTo>
                    <a:pt x="1830690" y="426864"/>
                  </a:lnTo>
                  <a:cubicBezTo>
                    <a:pt x="1840218" y="424480"/>
                    <a:pt x="1852358" y="429298"/>
                    <a:pt x="1857663" y="437568"/>
                  </a:cubicBezTo>
                  <a:lnTo>
                    <a:pt x="1954584" y="609281"/>
                  </a:lnTo>
                  <a:cubicBezTo>
                    <a:pt x="1958922" y="618093"/>
                    <a:pt x="1956725" y="630923"/>
                    <a:pt x="1949695" y="637787"/>
                  </a:cubicBezTo>
                  <a:lnTo>
                    <a:pt x="1806010" y="778142"/>
                  </a:lnTo>
                  <a:cubicBezTo>
                    <a:pt x="1798980" y="785006"/>
                    <a:pt x="1795342" y="798380"/>
                    <a:pt x="1797918" y="807860"/>
                  </a:cubicBezTo>
                  <a:lnTo>
                    <a:pt x="1811437" y="864007"/>
                  </a:lnTo>
                  <a:cubicBezTo>
                    <a:pt x="1813460" y="873616"/>
                    <a:pt x="1822732" y="884058"/>
                    <a:pt x="1832039" y="887212"/>
                  </a:cubicBezTo>
                  <a:lnTo>
                    <a:pt x="2024641" y="952405"/>
                  </a:lnTo>
                  <a:cubicBezTo>
                    <a:pt x="2033942" y="955557"/>
                    <a:pt x="2041640" y="966169"/>
                    <a:pt x="2041732" y="975995"/>
                  </a:cubicBezTo>
                  <a:lnTo>
                    <a:pt x="2032396" y="1169775"/>
                  </a:lnTo>
                  <a:cubicBezTo>
                    <a:pt x="2031385" y="1179552"/>
                    <a:pt x="2022684" y="1189159"/>
                    <a:pt x="2013062" y="1191137"/>
                  </a:cubicBezTo>
                  <a:lnTo>
                    <a:pt x="1817585" y="1231263"/>
                  </a:lnTo>
                  <a:cubicBezTo>
                    <a:pt x="1807958" y="1233239"/>
                    <a:pt x="1797758" y="1242550"/>
                    <a:pt x="1794912" y="1251952"/>
                  </a:cubicBezTo>
                  <a:lnTo>
                    <a:pt x="1773398" y="1315817"/>
                  </a:lnTo>
                  <a:cubicBezTo>
                    <a:pt x="1769964" y="1325024"/>
                    <a:pt x="1772168" y="1338837"/>
                    <a:pt x="1778296" y="1346518"/>
                  </a:cubicBezTo>
                  <a:lnTo>
                    <a:pt x="1905278" y="1505741"/>
                  </a:lnTo>
                  <a:cubicBezTo>
                    <a:pt x="1911408" y="1513419"/>
                    <a:pt x="1912156" y="1526521"/>
                    <a:pt x="1906952" y="1534853"/>
                  </a:cubicBezTo>
                  <a:lnTo>
                    <a:pt x="1798701" y="1688956"/>
                  </a:lnTo>
                  <a:cubicBezTo>
                    <a:pt x="1792610" y="1696663"/>
                    <a:pt x="1780132" y="1700075"/>
                    <a:pt x="1770966" y="1696534"/>
                  </a:cubicBezTo>
                  <a:lnTo>
                    <a:pt x="1585727" y="1624955"/>
                  </a:lnTo>
                  <a:cubicBezTo>
                    <a:pt x="1576562" y="1621409"/>
                    <a:pt x="1562980" y="1623767"/>
                    <a:pt x="1555540" y="1630182"/>
                  </a:cubicBezTo>
                  <a:lnTo>
                    <a:pt x="1492467" y="1680777"/>
                  </a:lnTo>
                  <a:cubicBezTo>
                    <a:pt x="1484590" y="1686643"/>
                    <a:pt x="1478960" y="1699441"/>
                    <a:pt x="1479960" y="1709214"/>
                  </a:cubicBezTo>
                  <a:lnTo>
                    <a:pt x="1500637" y="1911184"/>
                  </a:lnTo>
                  <a:cubicBezTo>
                    <a:pt x="1501637" y="1920956"/>
                    <a:pt x="1495186" y="1932377"/>
                    <a:pt x="1486297" y="1936566"/>
                  </a:cubicBezTo>
                  <a:lnTo>
                    <a:pt x="1317926" y="2005190"/>
                  </a:lnTo>
                  <a:cubicBezTo>
                    <a:pt x="1308647" y="2008418"/>
                    <a:pt x="1296315" y="2004564"/>
                    <a:pt x="1290520" y="1996632"/>
                  </a:cubicBezTo>
                  <a:lnTo>
                    <a:pt x="1173629" y="1836600"/>
                  </a:lnTo>
                  <a:cubicBezTo>
                    <a:pt x="1167834" y="1828667"/>
                    <a:pt x="1155140" y="1823312"/>
                    <a:pt x="1145411" y="1824699"/>
                  </a:cubicBezTo>
                  <a:lnTo>
                    <a:pt x="1051801" y="1834147"/>
                  </a:lnTo>
                  <a:cubicBezTo>
                    <a:pt x="1041993" y="1834743"/>
                    <a:pt x="1030338" y="1842401"/>
                    <a:pt x="1025895" y="1851165"/>
                  </a:cubicBezTo>
                  <a:lnTo>
                    <a:pt x="934683" y="2031089"/>
                  </a:lnTo>
                  <a:cubicBezTo>
                    <a:pt x="930245" y="2039854"/>
                    <a:pt x="918640" y="2045966"/>
                    <a:pt x="908901" y="2044676"/>
                  </a:cubicBezTo>
                  <a:cubicBezTo>
                    <a:pt x="908901" y="2044676"/>
                    <a:pt x="810089" y="2031575"/>
                    <a:pt x="751824" y="2015963"/>
                  </a:cubicBezTo>
                  <a:cubicBezTo>
                    <a:pt x="740586" y="2012952"/>
                    <a:pt x="735541" y="2011445"/>
                    <a:pt x="735541" y="2011445"/>
                  </a:cubicBezTo>
                  <a:cubicBezTo>
                    <a:pt x="726124" y="2008632"/>
                    <a:pt x="717943" y="1998310"/>
                    <a:pt x="717357" y="1988507"/>
                  </a:cubicBezTo>
                  <a:lnTo>
                    <a:pt x="705518" y="1790248"/>
                  </a:lnTo>
                  <a:cubicBezTo>
                    <a:pt x="704935" y="1780439"/>
                    <a:pt x="697176" y="1769003"/>
                    <a:pt x="688283" y="1764832"/>
                  </a:cubicBezTo>
                  <a:lnTo>
                    <a:pt x="597445" y="1717482"/>
                  </a:lnTo>
                  <a:cubicBezTo>
                    <a:pt x="588943" y="1712565"/>
                    <a:pt x="575051" y="1712604"/>
                    <a:pt x="566575" y="1717575"/>
                  </a:cubicBezTo>
                  <a:lnTo>
                    <a:pt x="393835" y="1818882"/>
                  </a:lnTo>
                  <a:cubicBezTo>
                    <a:pt x="385360" y="1823847"/>
                    <a:pt x="372407" y="1822590"/>
                    <a:pt x="365047" y="1816080"/>
                  </a:cubicBezTo>
                  <a:lnTo>
                    <a:pt x="240713" y="1694311"/>
                  </a:lnTo>
                  <a:cubicBezTo>
                    <a:pt x="234058" y="1687085"/>
                    <a:pt x="232546" y="1674161"/>
                    <a:pt x="237356" y="1665594"/>
                  </a:cubicBezTo>
                  <a:lnTo>
                    <a:pt x="335260" y="1491200"/>
                  </a:lnTo>
                  <a:cubicBezTo>
                    <a:pt x="340069" y="1482632"/>
                    <a:pt x="339824" y="1468758"/>
                    <a:pt x="334719" y="1460364"/>
                  </a:cubicBezTo>
                  <a:lnTo>
                    <a:pt x="284835" y="1369928"/>
                  </a:lnTo>
                  <a:cubicBezTo>
                    <a:pt x="280461" y="1361131"/>
                    <a:pt x="268854" y="1353608"/>
                    <a:pt x="259037" y="1353209"/>
                  </a:cubicBezTo>
                  <a:lnTo>
                    <a:pt x="60146" y="1345093"/>
                  </a:lnTo>
                  <a:cubicBezTo>
                    <a:pt x="50330" y="1344693"/>
                    <a:pt x="40180" y="1336611"/>
                    <a:pt x="37590" y="1327134"/>
                  </a:cubicBezTo>
                  <a:lnTo>
                    <a:pt x="266" y="1155708"/>
                  </a:lnTo>
                  <a:cubicBezTo>
                    <a:pt x="-1334" y="1146015"/>
                    <a:pt x="4455" y="1134319"/>
                    <a:pt x="13131" y="1129710"/>
                  </a:cubicBezTo>
                  <a:lnTo>
                    <a:pt x="191108" y="1035224"/>
                  </a:lnTo>
                  <a:cubicBezTo>
                    <a:pt x="199782" y="1030614"/>
                    <a:pt x="207191" y="1018816"/>
                    <a:pt x="207566" y="1008999"/>
                  </a:cubicBezTo>
                  <a:lnTo>
                    <a:pt x="215337" y="912568"/>
                  </a:lnTo>
                  <a:cubicBezTo>
                    <a:pt x="216514" y="902816"/>
                    <a:pt x="210902" y="890218"/>
                    <a:pt x="202860" y="884574"/>
                  </a:cubicBezTo>
                  <a:lnTo>
                    <a:pt x="40628" y="770705"/>
                  </a:lnTo>
                  <a:cubicBezTo>
                    <a:pt x="32592" y="765063"/>
                    <a:pt x="26092" y="760103"/>
                    <a:pt x="26199" y="759682"/>
                  </a:cubicBezTo>
                  <a:lnTo>
                    <a:pt x="26301" y="759302"/>
                  </a:lnTo>
                  <a:cubicBezTo>
                    <a:pt x="45255" y="688564"/>
                    <a:pt x="95860" y="575113"/>
                    <a:pt x="95860" y="575113"/>
                  </a:cubicBezTo>
                  <a:cubicBezTo>
                    <a:pt x="99867" y="566139"/>
                    <a:pt x="111148" y="559466"/>
                    <a:pt x="120939" y="560283"/>
                  </a:cubicBezTo>
                  <a:lnTo>
                    <a:pt x="322967" y="577118"/>
                  </a:lnTo>
                  <a:cubicBezTo>
                    <a:pt x="332758" y="577936"/>
                    <a:pt x="345445" y="572064"/>
                    <a:pt x="351156" y="564071"/>
                  </a:cubicBezTo>
                  <a:lnTo>
                    <a:pt x="402861" y="497102"/>
                  </a:lnTo>
                  <a:cubicBezTo>
                    <a:pt x="409155" y="489555"/>
                    <a:pt x="411268" y="475943"/>
                    <a:pt x="407553" y="466849"/>
                  </a:cubicBezTo>
                  <a:lnTo>
                    <a:pt x="332602" y="283258"/>
                  </a:lnTo>
                  <a:cubicBezTo>
                    <a:pt x="328887" y="274163"/>
                    <a:pt x="332081" y="261643"/>
                    <a:pt x="339693" y="255435"/>
                  </a:cubicBezTo>
                  <a:lnTo>
                    <a:pt x="490513" y="145389"/>
                  </a:lnTo>
                  <a:cubicBezTo>
                    <a:pt x="498752" y="140039"/>
                    <a:pt x="511867" y="140552"/>
                    <a:pt x="519665" y="146530"/>
                  </a:cubicBezTo>
                  <a:lnTo>
                    <a:pt x="681153" y="270402"/>
                  </a:lnTo>
                  <a:cubicBezTo>
                    <a:pt x="688950" y="276382"/>
                    <a:pt x="702802" y="278312"/>
                    <a:pt x="711937" y="274700"/>
                  </a:cubicBezTo>
                  <a:lnTo>
                    <a:pt x="778434" y="250892"/>
                  </a:lnTo>
                  <a:cubicBezTo>
                    <a:pt x="787785" y="247880"/>
                    <a:pt x="796904" y="237515"/>
                    <a:pt x="798697" y="227856"/>
                  </a:cubicBezTo>
                  <a:lnTo>
                    <a:pt x="835070" y="31957"/>
                  </a:lnTo>
                  <a:cubicBezTo>
                    <a:pt x="836863" y="22297"/>
                    <a:pt x="846311" y="13425"/>
                    <a:pt x="856065" y="12242"/>
                  </a:cubicBezTo>
                  <a:close/>
                </a:path>
              </a:pathLst>
            </a:custGeom>
            <a:solidFill>
              <a:srgbClr val="C07B53"/>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sp>
          <p:nvSpPr>
            <p:cNvPr id="13" name="Oval 12">
              <a:extLst>
                <a:ext uri="{FF2B5EF4-FFF2-40B4-BE49-F238E27FC236}">
                  <a16:creationId xmlns:a16="http://schemas.microsoft.com/office/drawing/2014/main" id="{93EEE4CF-F6B6-9207-4C2F-C3E37E299579}"/>
                </a:ext>
              </a:extLst>
            </p:cNvPr>
            <p:cNvSpPr/>
            <p:nvPr/>
          </p:nvSpPr>
          <p:spPr>
            <a:xfrm>
              <a:off x="7306221" y="2899932"/>
              <a:ext cx="1428795" cy="1438672"/>
            </a:xfrm>
            <a:prstGeom prst="ellipse">
              <a:avLst/>
            </a:prstGeom>
            <a:solidFill>
              <a:srgbClr val="001F33">
                <a:alpha val="3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pSp>
      <p:grpSp>
        <p:nvGrpSpPr>
          <p:cNvPr id="14" name="Group 13">
            <a:extLst>
              <a:ext uri="{FF2B5EF4-FFF2-40B4-BE49-F238E27FC236}">
                <a16:creationId xmlns:a16="http://schemas.microsoft.com/office/drawing/2014/main" id="{953D35D5-2EF1-77F6-CBD2-6EF486DFC19B}"/>
              </a:ext>
            </a:extLst>
          </p:cNvPr>
          <p:cNvGrpSpPr/>
          <p:nvPr/>
        </p:nvGrpSpPr>
        <p:grpSpPr>
          <a:xfrm>
            <a:off x="6628839" y="2375315"/>
            <a:ext cx="1530845" cy="1535004"/>
            <a:chOff x="8923828" y="2595932"/>
            <a:chExt cx="2041127" cy="2046672"/>
          </a:xfrm>
        </p:grpSpPr>
        <p:sp>
          <p:nvSpPr>
            <p:cNvPr id="15" name="Freeform: Shape 14">
              <a:extLst>
                <a:ext uri="{FF2B5EF4-FFF2-40B4-BE49-F238E27FC236}">
                  <a16:creationId xmlns:a16="http://schemas.microsoft.com/office/drawing/2014/main" id="{E80F378D-4CC8-7456-8B7F-989ACBD71F83}"/>
                </a:ext>
              </a:extLst>
            </p:cNvPr>
            <p:cNvSpPr/>
            <p:nvPr/>
          </p:nvSpPr>
          <p:spPr>
            <a:xfrm>
              <a:off x="8923828" y="2595932"/>
              <a:ext cx="2041127" cy="2046672"/>
            </a:xfrm>
            <a:custGeom>
              <a:avLst/>
              <a:gdLst>
                <a:gd name="connsiteX0" fmla="*/ 1005345 w 2041127"/>
                <a:gd name="connsiteY0" fmla="*/ 426657 h 2046672"/>
                <a:gd name="connsiteX1" fmla="*/ 916650 w 2041127"/>
                <a:gd name="connsiteY1" fmla="*/ 434329 h 2046672"/>
                <a:gd name="connsiteX2" fmla="*/ 420812 w 2041127"/>
                <a:gd name="connsiteY2" fmla="*/ 941081 h 2046672"/>
                <a:gd name="connsiteX3" fmla="*/ 929331 w 2041127"/>
                <a:gd name="connsiteY3" fmla="*/ 1616747 h 2046672"/>
                <a:gd name="connsiteX4" fmla="*/ 1604998 w 2041127"/>
                <a:gd name="connsiteY4" fmla="*/ 1108229 h 2046672"/>
                <a:gd name="connsiteX5" fmla="*/ 1096479 w 2041127"/>
                <a:gd name="connsiteY5" fmla="*/ 432563 h 2046672"/>
                <a:gd name="connsiteX6" fmla="*/ 1005345 w 2041127"/>
                <a:gd name="connsiteY6" fmla="*/ 426657 h 2046672"/>
                <a:gd name="connsiteX7" fmla="*/ 922558 w 2041127"/>
                <a:gd name="connsiteY7" fmla="*/ 167 h 2046672"/>
                <a:gd name="connsiteX8" fmla="*/ 948306 w 2041127"/>
                <a:gd name="connsiteY8" fmla="*/ 13802 h 2046672"/>
                <a:gd name="connsiteX9" fmla="*/ 1039884 w 2041127"/>
                <a:gd name="connsiteY9" fmla="*/ 195502 h 2046672"/>
                <a:gd name="connsiteX10" fmla="*/ 1065747 w 2041127"/>
                <a:gd name="connsiteY10" fmla="*/ 212615 h 2046672"/>
                <a:gd name="connsiteX11" fmla="*/ 1129312 w 2041127"/>
                <a:gd name="connsiteY11" fmla="*/ 218828 h 2046672"/>
                <a:gd name="connsiteX12" fmla="*/ 1133799 w 2041127"/>
                <a:gd name="connsiteY12" fmla="*/ 219462 h 2046672"/>
                <a:gd name="connsiteX13" fmla="*/ 1153283 w 2041127"/>
                <a:gd name="connsiteY13" fmla="*/ 206493 h 2046672"/>
                <a:gd name="connsiteX14" fmla="*/ 1272009 w 2041127"/>
                <a:gd name="connsiteY14" fmla="*/ 44748 h 2046672"/>
                <a:gd name="connsiteX15" fmla="*/ 1299539 w 2041127"/>
                <a:gd name="connsiteY15" fmla="*/ 35959 h 2046672"/>
                <a:gd name="connsiteX16" fmla="*/ 1482487 w 2041127"/>
                <a:gd name="connsiteY16" fmla="*/ 107986 h 2046672"/>
                <a:gd name="connsiteX17" fmla="*/ 1496834 w 2041127"/>
                <a:gd name="connsiteY17" fmla="*/ 133251 h 2046672"/>
                <a:gd name="connsiteX18" fmla="*/ 1475738 w 2041127"/>
                <a:gd name="connsiteY18" fmla="*/ 334681 h 2046672"/>
                <a:gd name="connsiteX19" fmla="*/ 1488325 w 2041127"/>
                <a:gd name="connsiteY19" fmla="*/ 362950 h 2046672"/>
                <a:gd name="connsiteX20" fmla="*/ 1531780 w 2041127"/>
                <a:gd name="connsiteY20" fmla="*/ 396450 h 2046672"/>
                <a:gd name="connsiteX21" fmla="*/ 1562296 w 2041127"/>
                <a:gd name="connsiteY21" fmla="*/ 401346 h 2046672"/>
                <a:gd name="connsiteX22" fmla="*/ 1750810 w 2041127"/>
                <a:gd name="connsiteY22" fmla="*/ 329011 h 2046672"/>
                <a:gd name="connsiteX23" fmla="*/ 1778882 w 2041127"/>
                <a:gd name="connsiteY23" fmla="*/ 336364 h 2046672"/>
                <a:gd name="connsiteX24" fmla="*/ 1895912 w 2041127"/>
                <a:gd name="connsiteY24" fmla="*/ 495056 h 2046672"/>
                <a:gd name="connsiteX25" fmla="*/ 1894517 w 2041127"/>
                <a:gd name="connsiteY25" fmla="*/ 523944 h 2046672"/>
                <a:gd name="connsiteX26" fmla="*/ 1768914 w 2041127"/>
                <a:gd name="connsiteY26" fmla="*/ 680689 h 2046672"/>
                <a:gd name="connsiteX27" fmla="*/ 1764486 w 2041127"/>
                <a:gd name="connsiteY27" fmla="*/ 711169 h 2046672"/>
                <a:gd name="connsiteX28" fmla="*/ 1784714 w 2041127"/>
                <a:gd name="connsiteY28" fmla="*/ 765262 h 2046672"/>
                <a:gd name="connsiteX29" fmla="*/ 1807979 w 2041127"/>
                <a:gd name="connsiteY29" fmla="*/ 785797 h 2046672"/>
                <a:gd name="connsiteX30" fmla="*/ 2007066 w 2041127"/>
                <a:gd name="connsiteY30" fmla="*/ 827151 h 2046672"/>
                <a:gd name="connsiteX31" fmla="*/ 2026891 w 2041127"/>
                <a:gd name="connsiteY31" fmla="*/ 848494 h 2046672"/>
                <a:gd name="connsiteX32" fmla="*/ 2041124 w 2041127"/>
                <a:gd name="connsiteY32" fmla="*/ 1041976 h 2046672"/>
                <a:gd name="connsiteX33" fmla="*/ 2024524 w 2041127"/>
                <a:gd name="connsiteY33" fmla="*/ 1065525 h 2046672"/>
                <a:gd name="connsiteX34" fmla="*/ 1835357 w 2041127"/>
                <a:gd name="connsiteY34" fmla="*/ 1129062 h 2046672"/>
                <a:gd name="connsiteX35" fmla="*/ 1815360 w 2041127"/>
                <a:gd name="connsiteY35" fmla="*/ 1152347 h 2046672"/>
                <a:gd name="connsiteX36" fmla="*/ 1801750 w 2041127"/>
                <a:gd name="connsiteY36" fmla="*/ 1218350 h 2046672"/>
                <a:gd name="connsiteX37" fmla="*/ 1810335 w 2041127"/>
                <a:gd name="connsiteY37" fmla="*/ 1248231 h 2046672"/>
                <a:gd name="connsiteX38" fmla="*/ 1955690 w 2041127"/>
                <a:gd name="connsiteY38" fmla="*/ 1390879 h 2046672"/>
                <a:gd name="connsiteX39" fmla="*/ 1960882 w 2041127"/>
                <a:gd name="connsiteY39" fmla="*/ 1419572 h 2046672"/>
                <a:gd name="connsiteX40" fmla="*/ 1872119 w 2041127"/>
                <a:gd name="connsiteY40" fmla="*/ 1585666 h 2046672"/>
                <a:gd name="connsiteX41" fmla="*/ 1845508 w 2041127"/>
                <a:gd name="connsiteY41" fmla="*/ 1596552 h 2046672"/>
                <a:gd name="connsiteX42" fmla="*/ 1652955 w 2041127"/>
                <a:gd name="connsiteY42" fmla="*/ 1547966 h 2046672"/>
                <a:gd name="connsiteX43" fmla="*/ 1623625 w 2041127"/>
                <a:gd name="connsiteY43" fmla="*/ 1556815 h 2046672"/>
                <a:gd name="connsiteX44" fmla="*/ 1567154 w 2041127"/>
                <a:gd name="connsiteY44" fmla="*/ 1614687 h 2046672"/>
                <a:gd name="connsiteX45" fmla="*/ 1558188 w 2041127"/>
                <a:gd name="connsiteY45" fmla="*/ 1644431 h 2046672"/>
                <a:gd name="connsiteX46" fmla="*/ 1603206 w 2041127"/>
                <a:gd name="connsiteY46" fmla="*/ 1842403 h 2046672"/>
                <a:gd name="connsiteX47" fmla="*/ 1592050 w 2041127"/>
                <a:gd name="connsiteY47" fmla="*/ 1869336 h 2046672"/>
                <a:gd name="connsiteX48" fmla="*/ 1433244 w 2041127"/>
                <a:gd name="connsiteY48" fmla="*/ 1957872 h 2046672"/>
                <a:gd name="connsiteX49" fmla="*/ 1405003 w 2041127"/>
                <a:gd name="connsiteY49" fmla="*/ 1952702 h 2046672"/>
                <a:gd name="connsiteX50" fmla="*/ 1269566 w 2041127"/>
                <a:gd name="connsiteY50" fmla="*/ 1808027 h 2046672"/>
                <a:gd name="connsiteX51" fmla="*/ 1240114 w 2041127"/>
                <a:gd name="connsiteY51" fmla="*/ 1799636 h 2046672"/>
                <a:gd name="connsiteX52" fmla="*/ 1148340 w 2041127"/>
                <a:gd name="connsiteY52" fmla="*/ 1820367 h 2046672"/>
                <a:gd name="connsiteX53" fmla="*/ 1124689 w 2041127"/>
                <a:gd name="connsiteY53" fmla="*/ 1840401 h 2046672"/>
                <a:gd name="connsiteX54" fmla="*/ 1055971 w 2041127"/>
                <a:gd name="connsiteY54" fmla="*/ 2030059 h 2046672"/>
                <a:gd name="connsiteX55" fmla="*/ 1032027 w 2041127"/>
                <a:gd name="connsiteY55" fmla="*/ 2046672 h 2046672"/>
                <a:gd name="connsiteX56" fmla="*/ 872627 w 2041127"/>
                <a:gd name="connsiteY56" fmla="*/ 2037221 h 2046672"/>
                <a:gd name="connsiteX57" fmla="*/ 855916 w 2041127"/>
                <a:gd name="connsiteY57" fmla="*/ 2034711 h 2046672"/>
                <a:gd name="connsiteX58" fmla="*/ 835085 w 2041127"/>
                <a:gd name="connsiteY58" fmla="*/ 2014147 h 2046672"/>
                <a:gd name="connsiteX59" fmla="*/ 799289 w 2041127"/>
                <a:gd name="connsiteY59" fmla="*/ 1818788 h 2046672"/>
                <a:gd name="connsiteX60" fmla="*/ 779099 w 2041127"/>
                <a:gd name="connsiteY60" fmla="*/ 1795650 h 2046672"/>
                <a:gd name="connsiteX61" fmla="*/ 683189 w 2041127"/>
                <a:gd name="connsiteY61" fmla="*/ 1759666 h 2046672"/>
                <a:gd name="connsiteX62" fmla="*/ 652558 w 2041127"/>
                <a:gd name="connsiteY62" fmla="*/ 1763502 h 2046672"/>
                <a:gd name="connsiteX63" fmla="*/ 493379 w 2041127"/>
                <a:gd name="connsiteY63" fmla="*/ 1885010 h 2046672"/>
                <a:gd name="connsiteX64" fmla="*/ 464464 w 2041127"/>
                <a:gd name="connsiteY64" fmla="*/ 1885721 h 2046672"/>
                <a:gd name="connsiteX65" fmla="*/ 326280 w 2041127"/>
                <a:gd name="connsiteY65" fmla="*/ 1779929 h 2046672"/>
                <a:gd name="connsiteX66" fmla="*/ 319465 w 2041127"/>
                <a:gd name="connsiteY66" fmla="*/ 1751830 h 2046672"/>
                <a:gd name="connsiteX67" fmla="*/ 395496 w 2041127"/>
                <a:gd name="connsiteY67" fmla="*/ 1566850 h 2046672"/>
                <a:gd name="connsiteX68" fmla="*/ 391220 w 2041127"/>
                <a:gd name="connsiteY68" fmla="*/ 1536307 h 2046672"/>
                <a:gd name="connsiteX69" fmla="*/ 330737 w 2041127"/>
                <a:gd name="connsiteY69" fmla="*/ 1452589 h 2046672"/>
                <a:gd name="connsiteX70" fmla="*/ 303101 w 2041127"/>
                <a:gd name="connsiteY70" fmla="*/ 1439122 h 2046672"/>
                <a:gd name="connsiteX71" fmla="*/ 104694 w 2041127"/>
                <a:gd name="connsiteY71" fmla="*/ 1455186 h 2046672"/>
                <a:gd name="connsiteX72" fmla="*/ 80126 w 2041127"/>
                <a:gd name="connsiteY72" fmla="*/ 1440095 h 2046672"/>
                <a:gd name="connsiteX73" fmla="*/ 22289 w 2041127"/>
                <a:gd name="connsiteY73" fmla="*/ 1274461 h 2046672"/>
                <a:gd name="connsiteX74" fmla="*/ 31906 w 2041127"/>
                <a:gd name="connsiteY74" fmla="*/ 1247095 h 2046672"/>
                <a:gd name="connsiteX75" fmla="*/ 197109 w 2041127"/>
                <a:gd name="connsiteY75" fmla="*/ 1131722 h 2046672"/>
                <a:gd name="connsiteX76" fmla="*/ 210265 w 2041127"/>
                <a:gd name="connsiteY76" fmla="*/ 1103695 h 2046672"/>
                <a:gd name="connsiteX77" fmla="*/ 206285 w 2041127"/>
                <a:gd name="connsiteY77" fmla="*/ 1007033 h 2046672"/>
                <a:gd name="connsiteX78" fmla="*/ 190505 w 2041127"/>
                <a:gd name="connsiteY78" fmla="*/ 980759 h 2046672"/>
                <a:gd name="connsiteX79" fmla="*/ 15660 w 2041127"/>
                <a:gd name="connsiteY79" fmla="*/ 887405 h 2046672"/>
                <a:gd name="connsiteX80" fmla="*/ 1 w 2041127"/>
                <a:gd name="connsiteY80" fmla="*/ 878214 h 2046672"/>
                <a:gd name="connsiteX81" fmla="*/ 56 w 2041127"/>
                <a:gd name="connsiteY81" fmla="*/ 877824 h 2046672"/>
                <a:gd name="connsiteX82" fmla="*/ 46764 w 2041127"/>
                <a:gd name="connsiteY82" fmla="*/ 686559 h 2046672"/>
                <a:gd name="connsiteX83" fmla="*/ 69860 w 2041127"/>
                <a:gd name="connsiteY83" fmla="*/ 668797 h 2046672"/>
                <a:gd name="connsiteX84" fmla="*/ 272438 w 2041127"/>
                <a:gd name="connsiteY84" fmla="*/ 661006 h 2046672"/>
                <a:gd name="connsiteX85" fmla="*/ 298837 w 2041127"/>
                <a:gd name="connsiteY85" fmla="*/ 644637 h 2046672"/>
                <a:gd name="connsiteX86" fmla="*/ 342039 w 2041127"/>
                <a:gd name="connsiteY86" fmla="*/ 571892 h 2046672"/>
                <a:gd name="connsiteX87" fmla="*/ 343026 w 2041127"/>
                <a:gd name="connsiteY87" fmla="*/ 541293 h 2046672"/>
                <a:gd name="connsiteX88" fmla="*/ 246363 w 2041127"/>
                <a:gd name="connsiteY88" fmla="*/ 368147 h 2046672"/>
                <a:gd name="connsiteX89" fmla="*/ 250028 w 2041127"/>
                <a:gd name="connsiteY89" fmla="*/ 339669 h 2046672"/>
                <a:gd name="connsiteX90" fmla="*/ 386389 w 2041127"/>
                <a:gd name="connsiteY90" fmla="*/ 212144 h 2046672"/>
                <a:gd name="connsiteX91" fmla="*/ 415464 w 2041127"/>
                <a:gd name="connsiteY91" fmla="*/ 209742 h 2046672"/>
                <a:gd name="connsiteX92" fmla="*/ 590783 w 2041127"/>
                <a:gd name="connsiteY92" fmla="*/ 313115 h 2046672"/>
                <a:gd name="connsiteX93" fmla="*/ 621861 w 2041127"/>
                <a:gd name="connsiteY93" fmla="*/ 313647 h 2046672"/>
                <a:gd name="connsiteX94" fmla="*/ 684980 w 2041127"/>
                <a:gd name="connsiteY94" fmla="*/ 281951 h 2046672"/>
                <a:gd name="connsiteX95" fmla="*/ 702300 w 2041127"/>
                <a:gd name="connsiteY95" fmla="*/ 256628 h 2046672"/>
                <a:gd name="connsiteX96" fmla="*/ 714647 w 2041127"/>
                <a:gd name="connsiteY96" fmla="*/ 57764 h 2046672"/>
                <a:gd name="connsiteX97" fmla="*/ 733095 w 2041127"/>
                <a:gd name="connsiteY97" fmla="*/ 35648 h 20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41127" h="2046672">
                  <a:moveTo>
                    <a:pt x="1005345" y="426657"/>
                  </a:moveTo>
                  <a:cubicBezTo>
                    <a:pt x="975310" y="426999"/>
                    <a:pt x="945681" y="429605"/>
                    <a:pt x="916650" y="434329"/>
                  </a:cubicBezTo>
                  <a:cubicBezTo>
                    <a:pt x="665044" y="475274"/>
                    <a:pt x="458315" y="675391"/>
                    <a:pt x="420812" y="941081"/>
                  </a:cubicBezTo>
                  <a:cubicBezTo>
                    <a:pt x="374655" y="1268090"/>
                    <a:pt x="602333" y="1570592"/>
                    <a:pt x="929331" y="1616747"/>
                  </a:cubicBezTo>
                  <a:cubicBezTo>
                    <a:pt x="1256341" y="1662905"/>
                    <a:pt x="1558840" y="1435239"/>
                    <a:pt x="1604998" y="1108229"/>
                  </a:cubicBezTo>
                  <a:cubicBezTo>
                    <a:pt x="1651155" y="781219"/>
                    <a:pt x="1423489" y="478720"/>
                    <a:pt x="1096479" y="432563"/>
                  </a:cubicBezTo>
                  <a:cubicBezTo>
                    <a:pt x="1065822" y="428235"/>
                    <a:pt x="1035380" y="426315"/>
                    <a:pt x="1005345" y="426657"/>
                  </a:cubicBezTo>
                  <a:close/>
                  <a:moveTo>
                    <a:pt x="922558" y="167"/>
                  </a:moveTo>
                  <a:cubicBezTo>
                    <a:pt x="932299" y="-1103"/>
                    <a:pt x="943886" y="5030"/>
                    <a:pt x="948306" y="13802"/>
                  </a:cubicBezTo>
                  <a:lnTo>
                    <a:pt x="1039884" y="195502"/>
                  </a:lnTo>
                  <a:cubicBezTo>
                    <a:pt x="1044303" y="204278"/>
                    <a:pt x="1055946" y="211977"/>
                    <a:pt x="1065747" y="212615"/>
                  </a:cubicBezTo>
                  <a:cubicBezTo>
                    <a:pt x="1065747" y="212615"/>
                    <a:pt x="1102027" y="214977"/>
                    <a:pt x="1129312" y="218828"/>
                  </a:cubicBezTo>
                  <a:lnTo>
                    <a:pt x="1133799" y="219462"/>
                  </a:lnTo>
                  <a:cubicBezTo>
                    <a:pt x="1138702" y="220249"/>
                    <a:pt x="1147469" y="214415"/>
                    <a:pt x="1153283" y="206493"/>
                  </a:cubicBezTo>
                  <a:lnTo>
                    <a:pt x="1272009" y="44748"/>
                  </a:lnTo>
                  <a:cubicBezTo>
                    <a:pt x="1277824" y="36827"/>
                    <a:pt x="1290209" y="32875"/>
                    <a:pt x="1299539" y="35959"/>
                  </a:cubicBezTo>
                  <a:lnTo>
                    <a:pt x="1482487" y="107986"/>
                  </a:lnTo>
                  <a:cubicBezTo>
                    <a:pt x="1491399" y="112113"/>
                    <a:pt x="1497858" y="123481"/>
                    <a:pt x="1496834" y="133251"/>
                  </a:cubicBezTo>
                  <a:lnTo>
                    <a:pt x="1475738" y="334681"/>
                  </a:lnTo>
                  <a:cubicBezTo>
                    <a:pt x="1474713" y="344451"/>
                    <a:pt x="1480380" y="357175"/>
                    <a:pt x="1488325" y="362950"/>
                  </a:cubicBezTo>
                  <a:lnTo>
                    <a:pt x="1531780" y="396450"/>
                  </a:lnTo>
                  <a:cubicBezTo>
                    <a:pt x="1539393" y="402660"/>
                    <a:pt x="1553122" y="404869"/>
                    <a:pt x="1562296" y="401346"/>
                  </a:cubicBezTo>
                  <a:lnTo>
                    <a:pt x="1750810" y="329011"/>
                  </a:lnTo>
                  <a:cubicBezTo>
                    <a:pt x="1759979" y="325489"/>
                    <a:pt x="1772614" y="328799"/>
                    <a:pt x="1778882" y="336364"/>
                  </a:cubicBezTo>
                  <a:lnTo>
                    <a:pt x="1895912" y="495056"/>
                  </a:lnTo>
                  <a:cubicBezTo>
                    <a:pt x="1901288" y="503277"/>
                    <a:pt x="1900662" y="516279"/>
                    <a:pt x="1894517" y="523944"/>
                  </a:cubicBezTo>
                  <a:lnTo>
                    <a:pt x="1768914" y="680689"/>
                  </a:lnTo>
                  <a:cubicBezTo>
                    <a:pt x="1762769" y="688354"/>
                    <a:pt x="1760779" y="702072"/>
                    <a:pt x="1764486" y="711169"/>
                  </a:cubicBezTo>
                  <a:lnTo>
                    <a:pt x="1784714" y="765262"/>
                  </a:lnTo>
                  <a:cubicBezTo>
                    <a:pt x="1787888" y="774555"/>
                    <a:pt x="1798358" y="783795"/>
                    <a:pt x="1807979" y="785797"/>
                  </a:cubicBezTo>
                  <a:lnTo>
                    <a:pt x="2007066" y="827151"/>
                  </a:lnTo>
                  <a:cubicBezTo>
                    <a:pt x="2016680" y="829152"/>
                    <a:pt x="2025609" y="838752"/>
                    <a:pt x="2026891" y="848494"/>
                  </a:cubicBezTo>
                  <a:lnTo>
                    <a:pt x="2041124" y="1041976"/>
                  </a:lnTo>
                  <a:cubicBezTo>
                    <a:pt x="2041307" y="1051803"/>
                    <a:pt x="2033835" y="1062395"/>
                    <a:pt x="2024524" y="1065525"/>
                  </a:cubicBezTo>
                  <a:lnTo>
                    <a:pt x="1835357" y="1129062"/>
                  </a:lnTo>
                  <a:cubicBezTo>
                    <a:pt x="1826041" y="1132190"/>
                    <a:pt x="1817045" y="1142669"/>
                    <a:pt x="1815360" y="1152347"/>
                  </a:cubicBezTo>
                  <a:lnTo>
                    <a:pt x="1801750" y="1218350"/>
                  </a:lnTo>
                  <a:cubicBezTo>
                    <a:pt x="1799457" y="1227905"/>
                    <a:pt x="1803321" y="1241349"/>
                    <a:pt x="1810335" y="1248231"/>
                  </a:cubicBezTo>
                  <a:lnTo>
                    <a:pt x="1955690" y="1390879"/>
                  </a:lnTo>
                  <a:cubicBezTo>
                    <a:pt x="1962705" y="1397756"/>
                    <a:pt x="1965037" y="1410671"/>
                    <a:pt x="1960882" y="1419572"/>
                  </a:cubicBezTo>
                  <a:lnTo>
                    <a:pt x="1872119" y="1585666"/>
                  </a:lnTo>
                  <a:cubicBezTo>
                    <a:pt x="1867008" y="1594055"/>
                    <a:pt x="1855036" y="1598955"/>
                    <a:pt x="1845508" y="1596552"/>
                  </a:cubicBezTo>
                  <a:lnTo>
                    <a:pt x="1652955" y="1547966"/>
                  </a:lnTo>
                  <a:cubicBezTo>
                    <a:pt x="1643428" y="1545558"/>
                    <a:pt x="1630232" y="1549546"/>
                    <a:pt x="1623625" y="1556815"/>
                  </a:cubicBezTo>
                  <a:lnTo>
                    <a:pt x="1567154" y="1614687"/>
                  </a:lnTo>
                  <a:cubicBezTo>
                    <a:pt x="1560046" y="1621465"/>
                    <a:pt x="1556010" y="1634851"/>
                    <a:pt x="1558188" y="1644431"/>
                  </a:cubicBezTo>
                  <a:lnTo>
                    <a:pt x="1603206" y="1842403"/>
                  </a:lnTo>
                  <a:cubicBezTo>
                    <a:pt x="1605384" y="1851981"/>
                    <a:pt x="1600366" y="1864100"/>
                    <a:pt x="1592050" y="1869336"/>
                  </a:cubicBezTo>
                  <a:lnTo>
                    <a:pt x="1433244" y="1957872"/>
                  </a:lnTo>
                  <a:cubicBezTo>
                    <a:pt x="1424425" y="1962202"/>
                    <a:pt x="1411717" y="1959873"/>
                    <a:pt x="1405003" y="1952702"/>
                  </a:cubicBezTo>
                  <a:lnTo>
                    <a:pt x="1269566" y="1808027"/>
                  </a:lnTo>
                  <a:cubicBezTo>
                    <a:pt x="1262852" y="1800855"/>
                    <a:pt x="1249602" y="1797079"/>
                    <a:pt x="1240114" y="1799636"/>
                  </a:cubicBezTo>
                  <a:lnTo>
                    <a:pt x="1148340" y="1820367"/>
                  </a:lnTo>
                  <a:cubicBezTo>
                    <a:pt x="1138677" y="1822148"/>
                    <a:pt x="1128036" y="1831163"/>
                    <a:pt x="1124689" y="1840401"/>
                  </a:cubicBezTo>
                  <a:lnTo>
                    <a:pt x="1055971" y="2030059"/>
                  </a:lnTo>
                  <a:cubicBezTo>
                    <a:pt x="1052629" y="2039298"/>
                    <a:pt x="1041851" y="2046772"/>
                    <a:pt x="1032027" y="2046672"/>
                  </a:cubicBezTo>
                  <a:cubicBezTo>
                    <a:pt x="1032027" y="2046672"/>
                    <a:pt x="932355" y="2045652"/>
                    <a:pt x="872627" y="2037221"/>
                  </a:cubicBezTo>
                  <a:cubicBezTo>
                    <a:pt x="861107" y="2035595"/>
                    <a:pt x="855916" y="2034711"/>
                    <a:pt x="855916" y="2034711"/>
                  </a:cubicBezTo>
                  <a:cubicBezTo>
                    <a:pt x="846228" y="2033061"/>
                    <a:pt x="836855" y="2023807"/>
                    <a:pt x="835085" y="2014147"/>
                  </a:cubicBezTo>
                  <a:lnTo>
                    <a:pt x="799289" y="1818788"/>
                  </a:lnTo>
                  <a:cubicBezTo>
                    <a:pt x="797521" y="1809122"/>
                    <a:pt x="788432" y="1798711"/>
                    <a:pt x="779099" y="1795650"/>
                  </a:cubicBezTo>
                  <a:lnTo>
                    <a:pt x="683189" y="1759666"/>
                  </a:lnTo>
                  <a:cubicBezTo>
                    <a:pt x="674153" y="1755816"/>
                    <a:pt x="660369" y="1757539"/>
                    <a:pt x="652558" y="1763502"/>
                  </a:cubicBezTo>
                  <a:lnTo>
                    <a:pt x="493379" y="1885010"/>
                  </a:lnTo>
                  <a:cubicBezTo>
                    <a:pt x="485569" y="1890966"/>
                    <a:pt x="472559" y="1891289"/>
                    <a:pt x="464464" y="1885721"/>
                  </a:cubicBezTo>
                  <a:lnTo>
                    <a:pt x="326280" y="1779929"/>
                  </a:lnTo>
                  <a:cubicBezTo>
                    <a:pt x="318798" y="1773563"/>
                    <a:pt x="315730" y="1760918"/>
                    <a:pt x="319465" y="1751830"/>
                  </a:cubicBezTo>
                  <a:lnTo>
                    <a:pt x="395496" y="1566850"/>
                  </a:lnTo>
                  <a:cubicBezTo>
                    <a:pt x="399231" y="1557762"/>
                    <a:pt x="397305" y="1544021"/>
                    <a:pt x="391220" y="1536307"/>
                  </a:cubicBezTo>
                  <a:lnTo>
                    <a:pt x="330737" y="1452589"/>
                  </a:lnTo>
                  <a:cubicBezTo>
                    <a:pt x="325328" y="1444387"/>
                    <a:pt x="312894" y="1438327"/>
                    <a:pt x="303101" y="1439122"/>
                  </a:cubicBezTo>
                  <a:lnTo>
                    <a:pt x="104694" y="1455186"/>
                  </a:lnTo>
                  <a:cubicBezTo>
                    <a:pt x="94902" y="1455980"/>
                    <a:pt x="83847" y="1449189"/>
                    <a:pt x="80126" y="1440095"/>
                  </a:cubicBezTo>
                  <a:lnTo>
                    <a:pt x="22289" y="1274461"/>
                  </a:lnTo>
                  <a:cubicBezTo>
                    <a:pt x="19524" y="1265034"/>
                    <a:pt x="23853" y="1252723"/>
                    <a:pt x="31906" y="1247095"/>
                  </a:cubicBezTo>
                  <a:lnTo>
                    <a:pt x="197109" y="1131722"/>
                  </a:lnTo>
                  <a:cubicBezTo>
                    <a:pt x="205161" y="1126095"/>
                    <a:pt x="211084" y="1113485"/>
                    <a:pt x="210265" y="1103695"/>
                  </a:cubicBezTo>
                  <a:lnTo>
                    <a:pt x="206285" y="1007033"/>
                  </a:lnTo>
                  <a:cubicBezTo>
                    <a:pt x="206270" y="997211"/>
                    <a:pt x="199172" y="985386"/>
                    <a:pt x="190505" y="980759"/>
                  </a:cubicBezTo>
                  <a:lnTo>
                    <a:pt x="15660" y="887405"/>
                  </a:lnTo>
                  <a:cubicBezTo>
                    <a:pt x="6999" y="882780"/>
                    <a:pt x="-53" y="878645"/>
                    <a:pt x="1" y="878214"/>
                  </a:cubicBezTo>
                  <a:lnTo>
                    <a:pt x="56" y="877824"/>
                  </a:lnTo>
                  <a:cubicBezTo>
                    <a:pt x="10291" y="805309"/>
                    <a:pt x="46764" y="686559"/>
                    <a:pt x="46764" y="686559"/>
                  </a:cubicBezTo>
                  <a:cubicBezTo>
                    <a:pt x="49653" y="677165"/>
                    <a:pt x="60042" y="669173"/>
                    <a:pt x="69860" y="668797"/>
                  </a:cubicBezTo>
                  <a:lnTo>
                    <a:pt x="272438" y="661006"/>
                  </a:lnTo>
                  <a:cubicBezTo>
                    <a:pt x="282256" y="660631"/>
                    <a:pt x="294138" y="653263"/>
                    <a:pt x="298837" y="644637"/>
                  </a:cubicBezTo>
                  <a:lnTo>
                    <a:pt x="342039" y="571892"/>
                  </a:lnTo>
                  <a:cubicBezTo>
                    <a:pt x="347370" y="563637"/>
                    <a:pt x="347817" y="549870"/>
                    <a:pt x="343026" y="541293"/>
                  </a:cubicBezTo>
                  <a:lnTo>
                    <a:pt x="246363" y="368147"/>
                  </a:lnTo>
                  <a:cubicBezTo>
                    <a:pt x="241573" y="359569"/>
                    <a:pt x="243225" y="346754"/>
                    <a:pt x="250028" y="339669"/>
                  </a:cubicBezTo>
                  <a:lnTo>
                    <a:pt x="386389" y="212144"/>
                  </a:lnTo>
                  <a:cubicBezTo>
                    <a:pt x="393918" y="205835"/>
                    <a:pt x="406999" y="204753"/>
                    <a:pt x="415464" y="209742"/>
                  </a:cubicBezTo>
                  <a:lnTo>
                    <a:pt x="590783" y="313115"/>
                  </a:lnTo>
                  <a:cubicBezTo>
                    <a:pt x="599248" y="318105"/>
                    <a:pt x="613232" y="318341"/>
                    <a:pt x="621861" y="313647"/>
                  </a:cubicBezTo>
                  <a:lnTo>
                    <a:pt x="684980" y="281951"/>
                  </a:lnTo>
                  <a:cubicBezTo>
                    <a:pt x="693897" y="277827"/>
                    <a:pt x="701692" y="266433"/>
                    <a:pt x="702300" y="256628"/>
                  </a:cubicBezTo>
                  <a:lnTo>
                    <a:pt x="714647" y="57764"/>
                  </a:lnTo>
                  <a:cubicBezTo>
                    <a:pt x="715255" y="47958"/>
                    <a:pt x="723557" y="38005"/>
                    <a:pt x="733095" y="35648"/>
                  </a:cubicBezTo>
                  <a:close/>
                </a:path>
              </a:pathLst>
            </a:custGeom>
            <a:solidFill>
              <a:srgbClr val="CEA303"/>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sp>
          <p:nvSpPr>
            <p:cNvPr id="16" name="Oval 15">
              <a:extLst>
                <a:ext uri="{FF2B5EF4-FFF2-40B4-BE49-F238E27FC236}">
                  <a16:creationId xmlns:a16="http://schemas.microsoft.com/office/drawing/2014/main" id="{2C33AF01-0A86-1B66-D1C2-0E2A62D8F8D9}"/>
                </a:ext>
              </a:extLst>
            </p:cNvPr>
            <p:cNvSpPr/>
            <p:nvPr/>
          </p:nvSpPr>
          <p:spPr>
            <a:xfrm>
              <a:off x="9229994" y="2899932"/>
              <a:ext cx="1428795" cy="1438672"/>
            </a:xfrm>
            <a:prstGeom prst="ellipse">
              <a:avLst/>
            </a:prstGeom>
            <a:solidFill>
              <a:srgbClr val="001F33">
                <a:alpha val="3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pSp>
      <p:grpSp>
        <p:nvGrpSpPr>
          <p:cNvPr id="17" name="Group 16">
            <a:extLst>
              <a:ext uri="{FF2B5EF4-FFF2-40B4-BE49-F238E27FC236}">
                <a16:creationId xmlns:a16="http://schemas.microsoft.com/office/drawing/2014/main" id="{78B5FDEB-C402-64C0-BDDA-590093E4D082}"/>
              </a:ext>
            </a:extLst>
          </p:cNvPr>
          <p:cNvGrpSpPr/>
          <p:nvPr/>
        </p:nvGrpSpPr>
        <p:grpSpPr>
          <a:xfrm>
            <a:off x="859288" y="2375544"/>
            <a:ext cx="1529006" cy="1534547"/>
            <a:chOff x="1231094" y="2596237"/>
            <a:chExt cx="2038675" cy="2046062"/>
          </a:xfrm>
        </p:grpSpPr>
        <p:sp>
          <p:nvSpPr>
            <p:cNvPr id="18" name="Freeform: Shape 17">
              <a:extLst>
                <a:ext uri="{FF2B5EF4-FFF2-40B4-BE49-F238E27FC236}">
                  <a16:creationId xmlns:a16="http://schemas.microsoft.com/office/drawing/2014/main" id="{9B2CE76A-18A4-1239-9453-0FCDF12FEF0D}"/>
                </a:ext>
              </a:extLst>
            </p:cNvPr>
            <p:cNvSpPr/>
            <p:nvPr/>
          </p:nvSpPr>
          <p:spPr>
            <a:xfrm>
              <a:off x="1231094" y="2596237"/>
              <a:ext cx="2038675" cy="2046062"/>
            </a:xfrm>
            <a:custGeom>
              <a:avLst/>
              <a:gdLst>
                <a:gd name="connsiteX0" fmla="*/ 993586 w 2038675"/>
                <a:gd name="connsiteY0" fmla="*/ 427354 h 2046062"/>
                <a:gd name="connsiteX1" fmla="*/ 762507 w 2038675"/>
                <a:gd name="connsiteY1" fmla="*/ 481997 h 2046062"/>
                <a:gd name="connsiteX2" fmla="*/ 612222 w 2038675"/>
                <a:gd name="connsiteY2" fmla="*/ 580770 h 2046062"/>
                <a:gd name="connsiteX3" fmla="*/ 469370 w 2038675"/>
                <a:gd name="connsiteY3" fmla="*/ 1275210 h 2046062"/>
                <a:gd name="connsiteX4" fmla="*/ 1262584 w 2038675"/>
                <a:gd name="connsiteY4" fmla="*/ 1568346 h 2046062"/>
                <a:gd name="connsiteX5" fmla="*/ 1555720 w 2038675"/>
                <a:gd name="connsiteY5" fmla="*/ 775133 h 2046062"/>
                <a:gd name="connsiteX6" fmla="*/ 993586 w 2038675"/>
                <a:gd name="connsiteY6" fmla="*/ 427354 h 2046062"/>
                <a:gd name="connsiteX7" fmla="*/ 911549 w 2038675"/>
                <a:gd name="connsiteY7" fmla="*/ 189 h 2046062"/>
                <a:gd name="connsiteX8" fmla="*/ 937283 w 2038675"/>
                <a:gd name="connsiteY8" fmla="*/ 13675 h 2046062"/>
                <a:gd name="connsiteX9" fmla="*/ 1028516 w 2038675"/>
                <a:gd name="connsiteY9" fmla="*/ 194495 h 2046062"/>
                <a:gd name="connsiteX10" fmla="*/ 1054396 w 2038675"/>
                <a:gd name="connsiteY10" fmla="*/ 211460 h 2046062"/>
                <a:gd name="connsiteX11" fmla="*/ 1109065 w 2038675"/>
                <a:gd name="connsiteY11" fmla="*/ 216125 h 2046062"/>
                <a:gd name="connsiteX12" fmla="*/ 1137379 w 2038675"/>
                <a:gd name="connsiteY12" fmla="*/ 203733 h 2046062"/>
                <a:gd name="connsiteX13" fmla="*/ 1256789 w 2038675"/>
                <a:gd name="connsiteY13" fmla="*/ 40910 h 2046062"/>
                <a:gd name="connsiteX14" fmla="*/ 1284377 w 2038675"/>
                <a:gd name="connsiteY14" fmla="*/ 31908 h 2046062"/>
                <a:gd name="connsiteX15" fmla="*/ 1468655 w 2038675"/>
                <a:gd name="connsiteY15" fmla="*/ 102056 h 2046062"/>
                <a:gd name="connsiteX16" fmla="*/ 1483109 w 2038675"/>
                <a:gd name="connsiteY16" fmla="*/ 127107 h 2046062"/>
                <a:gd name="connsiteX17" fmla="*/ 1462275 w 2038675"/>
                <a:gd name="connsiteY17" fmla="*/ 326884 h 2046062"/>
                <a:gd name="connsiteX18" fmla="*/ 1475041 w 2038675"/>
                <a:gd name="connsiteY18" fmla="*/ 354914 h 2046062"/>
                <a:gd name="connsiteX19" fmla="*/ 1521318 w 2038675"/>
                <a:gd name="connsiteY19" fmla="*/ 389463 h 2046062"/>
                <a:gd name="connsiteX20" fmla="*/ 1551993 w 2038675"/>
                <a:gd name="connsiteY20" fmla="*/ 394148 h 2046062"/>
                <a:gd name="connsiteX21" fmla="*/ 1741801 w 2038675"/>
                <a:gd name="connsiteY21" fmla="*/ 321220 h 2046062"/>
                <a:gd name="connsiteX22" fmla="*/ 1770022 w 2038675"/>
                <a:gd name="connsiteY22" fmla="*/ 328444 h 2046062"/>
                <a:gd name="connsiteX23" fmla="*/ 1886668 w 2038675"/>
                <a:gd name="connsiteY23" fmla="*/ 483465 h 2046062"/>
                <a:gd name="connsiteX24" fmla="*/ 1885447 w 2038675"/>
                <a:gd name="connsiteY24" fmla="*/ 512252 h 2046062"/>
                <a:gd name="connsiteX25" fmla="*/ 1760726 w 2038675"/>
                <a:gd name="connsiteY25" fmla="*/ 668028 h 2046062"/>
                <a:gd name="connsiteX26" fmla="*/ 1756507 w 2038675"/>
                <a:gd name="connsiteY26" fmla="*/ 698430 h 2046062"/>
                <a:gd name="connsiteX27" fmla="*/ 1780769 w 2038675"/>
                <a:gd name="connsiteY27" fmla="*/ 761302 h 2046062"/>
                <a:gd name="connsiteX28" fmla="*/ 1804154 w 2038675"/>
                <a:gd name="connsiteY28" fmla="*/ 781788 h 2046062"/>
                <a:gd name="connsiteX29" fmla="*/ 2003574 w 2038675"/>
                <a:gd name="connsiteY29" fmla="*/ 823120 h 2046062"/>
                <a:gd name="connsiteX30" fmla="*/ 2023465 w 2038675"/>
                <a:gd name="connsiteY30" fmla="*/ 844443 h 2046062"/>
                <a:gd name="connsiteX31" fmla="*/ 2038670 w 2038675"/>
                <a:gd name="connsiteY31" fmla="*/ 1032152 h 2046062"/>
                <a:gd name="connsiteX32" fmla="*/ 2022179 w 2038675"/>
                <a:gd name="connsiteY32" fmla="*/ 1055704 h 2046062"/>
                <a:gd name="connsiteX33" fmla="*/ 1833954 w 2038675"/>
                <a:gd name="connsiteY33" fmla="*/ 1119015 h 2046062"/>
                <a:gd name="connsiteX34" fmla="*/ 1814075 w 2038675"/>
                <a:gd name="connsiteY34" fmla="*/ 1142325 h 2046062"/>
                <a:gd name="connsiteX35" fmla="*/ 1797890 w 2038675"/>
                <a:gd name="connsiteY35" fmla="*/ 1221547 h 2046062"/>
                <a:gd name="connsiteX36" fmla="*/ 1806440 w 2038675"/>
                <a:gd name="connsiteY36" fmla="*/ 1251413 h 2046062"/>
                <a:gd name="connsiteX37" fmla="*/ 1951405 w 2038675"/>
                <a:gd name="connsiteY37" fmla="*/ 1393556 h 2046062"/>
                <a:gd name="connsiteX38" fmla="*/ 1956594 w 2038675"/>
                <a:gd name="connsiteY38" fmla="*/ 1422243 h 2046062"/>
                <a:gd name="connsiteX39" fmla="*/ 1870934 w 2038675"/>
                <a:gd name="connsiteY39" fmla="*/ 1582619 h 2046062"/>
                <a:gd name="connsiteX40" fmla="*/ 1844385 w 2038675"/>
                <a:gd name="connsiteY40" fmla="*/ 1593549 h 2046062"/>
                <a:gd name="connsiteX41" fmla="*/ 1652211 w 2038675"/>
                <a:gd name="connsiteY41" fmla="*/ 1545146 h 2046062"/>
                <a:gd name="connsiteX42" fmla="*/ 1622901 w 2038675"/>
                <a:gd name="connsiteY42" fmla="*/ 1554024 h 2046062"/>
                <a:gd name="connsiteX43" fmla="*/ 1556933 w 2038675"/>
                <a:gd name="connsiteY43" fmla="*/ 1621109 h 2046062"/>
                <a:gd name="connsiteX44" fmla="*/ 1547881 w 2038675"/>
                <a:gd name="connsiteY44" fmla="*/ 1650753 h 2046062"/>
                <a:gd name="connsiteX45" fmla="*/ 1592694 w 2038675"/>
                <a:gd name="connsiteY45" fmla="*/ 1847436 h 2046062"/>
                <a:gd name="connsiteX46" fmla="*/ 1581544 w 2038675"/>
                <a:gd name="connsiteY46" fmla="*/ 1874362 h 2046062"/>
                <a:gd name="connsiteX47" fmla="*/ 1442373 w 2038675"/>
                <a:gd name="connsiteY47" fmla="*/ 1952649 h 2046062"/>
                <a:gd name="connsiteX48" fmla="*/ 1426961 w 2038675"/>
                <a:gd name="connsiteY48" fmla="*/ 1959579 h 2046062"/>
                <a:gd name="connsiteX49" fmla="*/ 1398316 w 2038675"/>
                <a:gd name="connsiteY49" fmla="*/ 1953555 h 2046062"/>
                <a:gd name="connsiteX50" fmla="*/ 1262521 w 2038675"/>
                <a:gd name="connsiteY50" fmla="*/ 1808619 h 2046062"/>
                <a:gd name="connsiteX51" fmla="*/ 1233022 w 2038675"/>
                <a:gd name="connsiteY51" fmla="*/ 1800083 h 2046062"/>
                <a:gd name="connsiteX52" fmla="*/ 1132893 w 2038675"/>
                <a:gd name="connsiteY52" fmla="*/ 1821707 h 2046062"/>
                <a:gd name="connsiteX53" fmla="*/ 1109207 w 2038675"/>
                <a:gd name="connsiteY53" fmla="*/ 1841505 h 2046062"/>
                <a:gd name="connsiteX54" fmla="*/ 1041071 w 2038675"/>
                <a:gd name="connsiteY54" fmla="*/ 2029813 h 2046062"/>
                <a:gd name="connsiteX55" fmla="*/ 1017137 w 2038675"/>
                <a:gd name="connsiteY55" fmla="*/ 2046053 h 2046062"/>
                <a:gd name="connsiteX56" fmla="*/ 843688 w 2038675"/>
                <a:gd name="connsiteY56" fmla="*/ 2031839 h 2046062"/>
                <a:gd name="connsiteX57" fmla="*/ 822755 w 2038675"/>
                <a:gd name="connsiteY57" fmla="*/ 2011895 h 2046062"/>
                <a:gd name="connsiteX58" fmla="*/ 786624 w 2038675"/>
                <a:gd name="connsiteY58" fmla="*/ 1815189 h 2046062"/>
                <a:gd name="connsiteX59" fmla="*/ 766503 w 2038675"/>
                <a:gd name="connsiteY59" fmla="*/ 1791816 h 2046062"/>
                <a:gd name="connsiteX60" fmla="*/ 670343 w 2038675"/>
                <a:gd name="connsiteY60" fmla="*/ 1754129 h 2046062"/>
                <a:gd name="connsiteX61" fmla="*/ 639816 w 2038675"/>
                <a:gd name="connsiteY61" fmla="*/ 1757754 h 2046062"/>
                <a:gd name="connsiteX62" fmla="*/ 481643 w 2038675"/>
                <a:gd name="connsiteY62" fmla="*/ 1878604 h 2046062"/>
                <a:gd name="connsiteX63" fmla="*/ 452817 w 2038675"/>
                <a:gd name="connsiteY63" fmla="*/ 1879203 h 2046062"/>
                <a:gd name="connsiteX64" fmla="*/ 314565 w 2038675"/>
                <a:gd name="connsiteY64" fmla="*/ 1771193 h 2046062"/>
                <a:gd name="connsiteX65" fmla="*/ 307847 w 2038675"/>
                <a:gd name="connsiteY65" fmla="*/ 1742974 h 2046062"/>
                <a:gd name="connsiteX66" fmla="*/ 384370 w 2038675"/>
                <a:gd name="connsiteY66" fmla="*/ 1556567 h 2046062"/>
                <a:gd name="connsiteX67" fmla="*/ 380271 w 2038675"/>
                <a:gd name="connsiteY67" fmla="*/ 1525878 h 2046062"/>
                <a:gd name="connsiteX68" fmla="*/ 324629 w 2038675"/>
                <a:gd name="connsiteY68" fmla="*/ 1446737 h 2046062"/>
                <a:gd name="connsiteX69" fmla="*/ 297143 w 2038675"/>
                <a:gd name="connsiteY69" fmla="*/ 1433177 h 2046062"/>
                <a:gd name="connsiteX70" fmla="*/ 99591 w 2038675"/>
                <a:gd name="connsiteY70" fmla="*/ 1449257 h 2046062"/>
                <a:gd name="connsiteX71" fmla="*/ 81448 w 2038675"/>
                <a:gd name="connsiteY71" fmla="*/ 1449999 h 2046062"/>
                <a:gd name="connsiteX72" fmla="*/ 81283 w 2038675"/>
                <a:gd name="connsiteY72" fmla="*/ 1449641 h 2046062"/>
                <a:gd name="connsiteX73" fmla="*/ 17091 w 2038675"/>
                <a:gd name="connsiteY73" fmla="*/ 1263514 h 2046062"/>
                <a:gd name="connsiteX74" fmla="*/ 26905 w 2038675"/>
                <a:gd name="connsiteY74" fmla="*/ 1236081 h 2046062"/>
                <a:gd name="connsiteX75" fmla="*/ 193062 w 2038675"/>
                <a:gd name="connsiteY75" fmla="*/ 1119933 h 2046062"/>
                <a:gd name="connsiteX76" fmla="*/ 206408 w 2038675"/>
                <a:gd name="connsiteY76" fmla="*/ 1091884 h 2046062"/>
                <a:gd name="connsiteX77" fmla="*/ 203386 w 2038675"/>
                <a:gd name="connsiteY77" fmla="*/ 1007332 h 2046062"/>
                <a:gd name="connsiteX78" fmla="*/ 187663 w 2038675"/>
                <a:gd name="connsiteY78" fmla="*/ 981063 h 2046062"/>
                <a:gd name="connsiteX79" fmla="*/ 12694 w 2038675"/>
                <a:gd name="connsiteY79" fmla="*/ 887740 h 2046062"/>
                <a:gd name="connsiteX80" fmla="*/ 370 w 2038675"/>
                <a:gd name="connsiteY80" fmla="*/ 861806 h 2046062"/>
                <a:gd name="connsiteX81" fmla="*/ 46060 w 2038675"/>
                <a:gd name="connsiteY81" fmla="*/ 680784 h 2046062"/>
                <a:gd name="connsiteX82" fmla="*/ 69213 w 2038675"/>
                <a:gd name="connsiteY82" fmla="*/ 663033 h 2046062"/>
                <a:gd name="connsiteX83" fmla="*/ 272585 w 2038675"/>
                <a:gd name="connsiteY83" fmla="*/ 655123 h 2046062"/>
                <a:gd name="connsiteX84" fmla="*/ 299010 w 2038675"/>
                <a:gd name="connsiteY84" fmla="*/ 638758 h 2046062"/>
                <a:gd name="connsiteX85" fmla="*/ 334947 w 2038675"/>
                <a:gd name="connsiteY85" fmla="*/ 577953 h 2046062"/>
                <a:gd name="connsiteX86" fmla="*/ 335813 w 2038675"/>
                <a:gd name="connsiteY86" fmla="*/ 547285 h 2046062"/>
                <a:gd name="connsiteX87" fmla="*/ 238610 w 2038675"/>
                <a:gd name="connsiteY87" fmla="*/ 373357 h 2046062"/>
                <a:gd name="connsiteX88" fmla="*/ 242161 w 2038675"/>
                <a:gd name="connsiteY88" fmla="*/ 344776 h 2046062"/>
                <a:gd name="connsiteX89" fmla="*/ 382308 w 2038675"/>
                <a:gd name="connsiteY89" fmla="*/ 212436 h 2046062"/>
                <a:gd name="connsiteX90" fmla="*/ 411339 w 2038675"/>
                <a:gd name="connsiteY90" fmla="*/ 209973 h 2046062"/>
                <a:gd name="connsiteX91" fmla="*/ 586657 w 2038675"/>
                <a:gd name="connsiteY91" fmla="*/ 313242 h 2046062"/>
                <a:gd name="connsiteX92" fmla="*/ 617667 w 2038675"/>
                <a:gd name="connsiteY92" fmla="*/ 313643 h 2046062"/>
                <a:gd name="connsiteX93" fmla="*/ 674489 w 2038675"/>
                <a:gd name="connsiteY93" fmla="*/ 284479 h 2046062"/>
                <a:gd name="connsiteX94" fmla="*/ 678604 w 2038675"/>
                <a:gd name="connsiteY94" fmla="*/ 282585 h 2046062"/>
                <a:gd name="connsiteX95" fmla="*/ 687975 w 2038675"/>
                <a:gd name="connsiteY95" fmla="*/ 261136 h 2046062"/>
                <a:gd name="connsiteX96" fmla="*/ 700321 w 2038675"/>
                <a:gd name="connsiteY96" fmla="*/ 60875 h 2046062"/>
                <a:gd name="connsiteX97" fmla="*/ 718719 w 2038675"/>
                <a:gd name="connsiteY97" fmla="*/ 38589 h 20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38675" h="2046062">
                  <a:moveTo>
                    <a:pt x="993586" y="427354"/>
                  </a:moveTo>
                  <a:cubicBezTo>
                    <a:pt x="915949" y="429782"/>
                    <a:pt x="837505" y="447473"/>
                    <a:pt x="762507" y="481997"/>
                  </a:cubicBezTo>
                  <a:cubicBezTo>
                    <a:pt x="706258" y="507889"/>
                    <a:pt x="655943" y="541412"/>
                    <a:pt x="612222" y="580770"/>
                  </a:cubicBezTo>
                  <a:cubicBezTo>
                    <a:pt x="422770" y="751327"/>
                    <a:pt x="357171" y="1031470"/>
                    <a:pt x="469370" y="1275210"/>
                  </a:cubicBezTo>
                  <a:cubicBezTo>
                    <a:pt x="607465" y="1575202"/>
                    <a:pt x="962601" y="1706436"/>
                    <a:pt x="1262584" y="1568346"/>
                  </a:cubicBezTo>
                  <a:cubicBezTo>
                    <a:pt x="1562576" y="1430251"/>
                    <a:pt x="1693815" y="1075125"/>
                    <a:pt x="1555720" y="775133"/>
                  </a:cubicBezTo>
                  <a:cubicBezTo>
                    <a:pt x="1452149" y="550139"/>
                    <a:pt x="1226498" y="420068"/>
                    <a:pt x="993586" y="427354"/>
                  </a:cubicBezTo>
                  <a:close/>
                  <a:moveTo>
                    <a:pt x="911549" y="189"/>
                  </a:moveTo>
                  <a:cubicBezTo>
                    <a:pt x="921276" y="-1163"/>
                    <a:pt x="932859" y="4904"/>
                    <a:pt x="937283" y="13675"/>
                  </a:cubicBezTo>
                  <a:lnTo>
                    <a:pt x="1028516" y="194495"/>
                  </a:lnTo>
                  <a:cubicBezTo>
                    <a:pt x="1032939" y="203266"/>
                    <a:pt x="1044590" y="210902"/>
                    <a:pt x="1054396" y="211460"/>
                  </a:cubicBezTo>
                  <a:lnTo>
                    <a:pt x="1109065" y="216125"/>
                  </a:lnTo>
                  <a:cubicBezTo>
                    <a:pt x="1118828" y="217228"/>
                    <a:pt x="1131569" y="211659"/>
                    <a:pt x="1137379" y="203733"/>
                  </a:cubicBezTo>
                  <a:lnTo>
                    <a:pt x="1256789" y="40910"/>
                  </a:lnTo>
                  <a:cubicBezTo>
                    <a:pt x="1262595" y="32988"/>
                    <a:pt x="1275012" y="28936"/>
                    <a:pt x="1284377" y="31908"/>
                  </a:cubicBezTo>
                  <a:lnTo>
                    <a:pt x="1468655" y="102056"/>
                  </a:lnTo>
                  <a:cubicBezTo>
                    <a:pt x="1477623" y="106062"/>
                    <a:pt x="1484131" y="117335"/>
                    <a:pt x="1483109" y="127107"/>
                  </a:cubicBezTo>
                  <a:lnTo>
                    <a:pt x="1462275" y="326884"/>
                  </a:lnTo>
                  <a:cubicBezTo>
                    <a:pt x="1461254" y="336655"/>
                    <a:pt x="1467001" y="349268"/>
                    <a:pt x="1475041" y="354914"/>
                  </a:cubicBezTo>
                  <a:lnTo>
                    <a:pt x="1521318" y="389463"/>
                  </a:lnTo>
                  <a:cubicBezTo>
                    <a:pt x="1529014" y="395562"/>
                    <a:pt x="1542819" y="397669"/>
                    <a:pt x="1551993" y="394148"/>
                  </a:cubicBezTo>
                  <a:lnTo>
                    <a:pt x="1741801" y="321220"/>
                  </a:lnTo>
                  <a:cubicBezTo>
                    <a:pt x="1750971" y="317700"/>
                    <a:pt x="1763673" y="320944"/>
                    <a:pt x="1770022" y="328444"/>
                  </a:cubicBezTo>
                  <a:lnTo>
                    <a:pt x="1886668" y="483465"/>
                  </a:lnTo>
                  <a:cubicBezTo>
                    <a:pt x="1892138" y="491632"/>
                    <a:pt x="1891584" y="504582"/>
                    <a:pt x="1885447" y="512252"/>
                  </a:cubicBezTo>
                  <a:lnTo>
                    <a:pt x="1760726" y="668028"/>
                  </a:lnTo>
                  <a:cubicBezTo>
                    <a:pt x="1754585" y="675699"/>
                    <a:pt x="1752689" y="689379"/>
                    <a:pt x="1756507" y="698430"/>
                  </a:cubicBezTo>
                  <a:lnTo>
                    <a:pt x="1780769" y="761302"/>
                  </a:lnTo>
                  <a:cubicBezTo>
                    <a:pt x="1784010" y="770579"/>
                    <a:pt x="1794532" y="779796"/>
                    <a:pt x="1804154" y="781788"/>
                  </a:cubicBezTo>
                  <a:lnTo>
                    <a:pt x="2003574" y="823120"/>
                  </a:lnTo>
                  <a:cubicBezTo>
                    <a:pt x="2013195" y="825109"/>
                    <a:pt x="2022143" y="834709"/>
                    <a:pt x="2023465" y="844443"/>
                  </a:cubicBezTo>
                  <a:lnTo>
                    <a:pt x="2038670" y="1032152"/>
                  </a:lnTo>
                  <a:cubicBezTo>
                    <a:pt x="2038911" y="1041972"/>
                    <a:pt x="2031492" y="1052571"/>
                    <a:pt x="2022179" y="1055704"/>
                  </a:cubicBezTo>
                  <a:lnTo>
                    <a:pt x="1833954" y="1119015"/>
                  </a:lnTo>
                  <a:cubicBezTo>
                    <a:pt x="1824638" y="1122144"/>
                    <a:pt x="1815698" y="1132637"/>
                    <a:pt x="1814075" y="1142325"/>
                  </a:cubicBezTo>
                  <a:lnTo>
                    <a:pt x="1797890" y="1221547"/>
                  </a:lnTo>
                  <a:cubicBezTo>
                    <a:pt x="1795578" y="1231093"/>
                    <a:pt x="1799426" y="1244534"/>
                    <a:pt x="1806440" y="1251413"/>
                  </a:cubicBezTo>
                  <a:lnTo>
                    <a:pt x="1951405" y="1393556"/>
                  </a:lnTo>
                  <a:cubicBezTo>
                    <a:pt x="1958419" y="1400433"/>
                    <a:pt x="1960755" y="1413340"/>
                    <a:pt x="1956594" y="1422243"/>
                  </a:cubicBezTo>
                  <a:lnTo>
                    <a:pt x="1870934" y="1582619"/>
                  </a:lnTo>
                  <a:cubicBezTo>
                    <a:pt x="1865860" y="1591031"/>
                    <a:pt x="1853911" y="1595947"/>
                    <a:pt x="1844385" y="1593549"/>
                  </a:cubicBezTo>
                  <a:lnTo>
                    <a:pt x="1652211" y="1545146"/>
                  </a:lnTo>
                  <a:cubicBezTo>
                    <a:pt x="1642684" y="1542747"/>
                    <a:pt x="1629498" y="1546740"/>
                    <a:pt x="1622901" y="1554024"/>
                  </a:cubicBezTo>
                  <a:lnTo>
                    <a:pt x="1556933" y="1621109"/>
                  </a:lnTo>
                  <a:cubicBezTo>
                    <a:pt x="1549770" y="1627835"/>
                    <a:pt x="1545698" y="1641173"/>
                    <a:pt x="1547881" y="1650753"/>
                  </a:cubicBezTo>
                  <a:lnTo>
                    <a:pt x="1592694" y="1847436"/>
                  </a:lnTo>
                  <a:cubicBezTo>
                    <a:pt x="1594881" y="1857014"/>
                    <a:pt x="1589860" y="1869131"/>
                    <a:pt x="1581544" y="1874362"/>
                  </a:cubicBezTo>
                  <a:cubicBezTo>
                    <a:pt x="1581544" y="1874362"/>
                    <a:pt x="1497167" y="1927426"/>
                    <a:pt x="1442373" y="1952649"/>
                  </a:cubicBezTo>
                  <a:cubicBezTo>
                    <a:pt x="1431805" y="1957514"/>
                    <a:pt x="1426961" y="1959579"/>
                    <a:pt x="1426961" y="1959579"/>
                  </a:cubicBezTo>
                  <a:cubicBezTo>
                    <a:pt x="1417920" y="1963433"/>
                    <a:pt x="1405031" y="1960721"/>
                    <a:pt x="1398316" y="1953555"/>
                  </a:cubicBezTo>
                  <a:lnTo>
                    <a:pt x="1262521" y="1808619"/>
                  </a:lnTo>
                  <a:cubicBezTo>
                    <a:pt x="1255804" y="1801447"/>
                    <a:pt x="1242528" y="1797608"/>
                    <a:pt x="1233022" y="1800083"/>
                  </a:cubicBezTo>
                  <a:lnTo>
                    <a:pt x="1132893" y="1821707"/>
                  </a:lnTo>
                  <a:cubicBezTo>
                    <a:pt x="1123210" y="1823359"/>
                    <a:pt x="1112550" y="1832265"/>
                    <a:pt x="1109207" y="1841505"/>
                  </a:cubicBezTo>
                  <a:lnTo>
                    <a:pt x="1041071" y="2029813"/>
                  </a:lnTo>
                  <a:cubicBezTo>
                    <a:pt x="1037725" y="2039047"/>
                    <a:pt x="1026958" y="2046357"/>
                    <a:pt x="1017137" y="2046053"/>
                  </a:cubicBezTo>
                  <a:lnTo>
                    <a:pt x="843688" y="2031839"/>
                  </a:lnTo>
                  <a:cubicBezTo>
                    <a:pt x="833952" y="2030533"/>
                    <a:pt x="824530" y="2021558"/>
                    <a:pt x="822755" y="2011895"/>
                  </a:cubicBezTo>
                  <a:lnTo>
                    <a:pt x="786624" y="1815189"/>
                  </a:lnTo>
                  <a:cubicBezTo>
                    <a:pt x="784848" y="1805526"/>
                    <a:pt x="775794" y="1795011"/>
                    <a:pt x="766503" y="1791816"/>
                  </a:cubicBezTo>
                  <a:lnTo>
                    <a:pt x="670343" y="1754129"/>
                  </a:lnTo>
                  <a:cubicBezTo>
                    <a:pt x="661357" y="1750157"/>
                    <a:pt x="647622" y="1751788"/>
                    <a:pt x="639816" y="1757754"/>
                  </a:cubicBezTo>
                  <a:lnTo>
                    <a:pt x="481643" y="1878604"/>
                  </a:lnTo>
                  <a:cubicBezTo>
                    <a:pt x="473836" y="1884569"/>
                    <a:pt x="460865" y="1884838"/>
                    <a:pt x="452817" y="1879203"/>
                  </a:cubicBezTo>
                  <a:lnTo>
                    <a:pt x="314565" y="1771193"/>
                  </a:lnTo>
                  <a:cubicBezTo>
                    <a:pt x="307140" y="1764759"/>
                    <a:pt x="304119" y="1752064"/>
                    <a:pt x="307847" y="1742974"/>
                  </a:cubicBezTo>
                  <a:lnTo>
                    <a:pt x="384370" y="1556567"/>
                  </a:lnTo>
                  <a:cubicBezTo>
                    <a:pt x="388096" y="1547478"/>
                    <a:pt x="386256" y="1533669"/>
                    <a:pt x="380271" y="1525878"/>
                  </a:cubicBezTo>
                  <a:lnTo>
                    <a:pt x="324629" y="1446737"/>
                  </a:lnTo>
                  <a:cubicBezTo>
                    <a:pt x="319302" y="1438484"/>
                    <a:pt x="306936" y="1432380"/>
                    <a:pt x="297143" y="1433177"/>
                  </a:cubicBezTo>
                  <a:lnTo>
                    <a:pt x="99591" y="1449257"/>
                  </a:lnTo>
                  <a:cubicBezTo>
                    <a:pt x="89804" y="1450053"/>
                    <a:pt x="81635" y="1450390"/>
                    <a:pt x="81448" y="1449999"/>
                  </a:cubicBezTo>
                  <a:lnTo>
                    <a:pt x="81283" y="1449641"/>
                  </a:lnTo>
                  <a:cubicBezTo>
                    <a:pt x="50661" y="1383117"/>
                    <a:pt x="17091" y="1263514"/>
                    <a:pt x="17091" y="1263514"/>
                  </a:cubicBezTo>
                  <a:cubicBezTo>
                    <a:pt x="14438" y="1254050"/>
                    <a:pt x="18851" y="1241709"/>
                    <a:pt x="26905" y="1236081"/>
                  </a:cubicBezTo>
                  <a:lnTo>
                    <a:pt x="193062" y="1119933"/>
                  </a:lnTo>
                  <a:cubicBezTo>
                    <a:pt x="201116" y="1114305"/>
                    <a:pt x="207123" y="1101682"/>
                    <a:pt x="206408" y="1091884"/>
                  </a:cubicBezTo>
                  <a:lnTo>
                    <a:pt x="203386" y="1007332"/>
                  </a:lnTo>
                  <a:cubicBezTo>
                    <a:pt x="203405" y="997505"/>
                    <a:pt x="196331" y="985685"/>
                    <a:pt x="187663" y="981063"/>
                  </a:cubicBezTo>
                  <a:lnTo>
                    <a:pt x="12694" y="887740"/>
                  </a:lnTo>
                  <a:cubicBezTo>
                    <a:pt x="4025" y="883117"/>
                    <a:pt x="-1518" y="871446"/>
                    <a:pt x="370" y="861806"/>
                  </a:cubicBezTo>
                  <a:lnTo>
                    <a:pt x="46060" y="680784"/>
                  </a:lnTo>
                  <a:cubicBezTo>
                    <a:pt x="48978" y="671404"/>
                    <a:pt x="59395" y="663418"/>
                    <a:pt x="69213" y="663033"/>
                  </a:cubicBezTo>
                  <a:lnTo>
                    <a:pt x="272585" y="655123"/>
                  </a:lnTo>
                  <a:cubicBezTo>
                    <a:pt x="282404" y="654741"/>
                    <a:pt x="294292" y="647374"/>
                    <a:pt x="299010" y="638758"/>
                  </a:cubicBezTo>
                  <a:lnTo>
                    <a:pt x="334947" y="577953"/>
                  </a:lnTo>
                  <a:cubicBezTo>
                    <a:pt x="340215" y="569660"/>
                    <a:pt x="340606" y="555861"/>
                    <a:pt x="335813" y="547285"/>
                  </a:cubicBezTo>
                  <a:lnTo>
                    <a:pt x="238610" y="373357"/>
                  </a:lnTo>
                  <a:cubicBezTo>
                    <a:pt x="233816" y="364781"/>
                    <a:pt x="235414" y="351919"/>
                    <a:pt x="242161" y="344776"/>
                  </a:cubicBezTo>
                  <a:lnTo>
                    <a:pt x="382308" y="212436"/>
                  </a:lnTo>
                  <a:cubicBezTo>
                    <a:pt x="389813" y="206097"/>
                    <a:pt x="402875" y="204987"/>
                    <a:pt x="411339" y="209973"/>
                  </a:cubicBezTo>
                  <a:lnTo>
                    <a:pt x="586657" y="313242"/>
                  </a:lnTo>
                  <a:cubicBezTo>
                    <a:pt x="595123" y="318232"/>
                    <a:pt x="609080" y="318409"/>
                    <a:pt x="617667" y="313643"/>
                  </a:cubicBezTo>
                  <a:cubicBezTo>
                    <a:pt x="617667" y="313643"/>
                    <a:pt x="649457" y="296001"/>
                    <a:pt x="674489" y="284479"/>
                  </a:cubicBezTo>
                  <a:lnTo>
                    <a:pt x="678604" y="282585"/>
                  </a:lnTo>
                  <a:cubicBezTo>
                    <a:pt x="683154" y="280594"/>
                    <a:pt x="687371" y="270944"/>
                    <a:pt x="687975" y="261136"/>
                  </a:cubicBezTo>
                  <a:lnTo>
                    <a:pt x="700321" y="60875"/>
                  </a:lnTo>
                  <a:cubicBezTo>
                    <a:pt x="700926" y="51066"/>
                    <a:pt x="709204" y="41042"/>
                    <a:pt x="718719" y="38589"/>
                  </a:cubicBezTo>
                  <a:close/>
                </a:path>
              </a:pathLst>
            </a:custGeom>
            <a:solidFill>
              <a:srgbClr val="0C8AC5"/>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sp>
          <p:nvSpPr>
            <p:cNvPr id="19" name="Oval 18">
              <a:extLst>
                <a:ext uri="{FF2B5EF4-FFF2-40B4-BE49-F238E27FC236}">
                  <a16:creationId xmlns:a16="http://schemas.microsoft.com/office/drawing/2014/main" id="{CACEF18C-BF25-FF07-7735-A4B208B8A557}"/>
                </a:ext>
              </a:extLst>
            </p:cNvPr>
            <p:cNvSpPr/>
            <p:nvPr/>
          </p:nvSpPr>
          <p:spPr>
            <a:xfrm>
              <a:off x="1536034" y="2899932"/>
              <a:ext cx="1428795" cy="1438672"/>
            </a:xfrm>
            <a:prstGeom prst="ellipse">
              <a:avLst/>
            </a:prstGeom>
            <a:solidFill>
              <a:srgbClr val="001F33">
                <a:alpha val="3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pSp>
      <p:pic>
        <p:nvPicPr>
          <p:cNvPr id="20" name="Graphic 22">
            <a:extLst>
              <a:ext uri="{FF2B5EF4-FFF2-40B4-BE49-F238E27FC236}">
                <a16:creationId xmlns:a16="http://schemas.microsoft.com/office/drawing/2014/main" id="{95185C27-27DE-EFA0-CFD4-A38369E5D63D}"/>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rcRect/>
          <a:stretch/>
        </p:blipFill>
        <p:spPr>
          <a:xfrm>
            <a:off x="4235124" y="2848776"/>
            <a:ext cx="564833" cy="564833"/>
          </a:xfrm>
          <a:prstGeom prst="rect">
            <a:avLst/>
          </a:prstGeom>
        </p:spPr>
      </p:pic>
      <p:pic>
        <p:nvPicPr>
          <p:cNvPr id="21" name="Graphic 23">
            <a:extLst>
              <a:ext uri="{FF2B5EF4-FFF2-40B4-BE49-F238E27FC236}">
                <a16:creationId xmlns:a16="http://schemas.microsoft.com/office/drawing/2014/main" id="{CCA14D5F-3ED2-E74F-BFAB-83953FD5077A}"/>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rcRect/>
          <a:stretch/>
        </p:blipFill>
        <p:spPr>
          <a:xfrm>
            <a:off x="2820499" y="2865671"/>
            <a:ext cx="541585" cy="541585"/>
          </a:xfrm>
          <a:prstGeom prst="rect">
            <a:avLst/>
          </a:prstGeom>
        </p:spPr>
      </p:pic>
      <p:pic>
        <p:nvPicPr>
          <p:cNvPr id="22" name="Graphic 24">
            <a:extLst>
              <a:ext uri="{FF2B5EF4-FFF2-40B4-BE49-F238E27FC236}">
                <a16:creationId xmlns:a16="http://schemas.microsoft.com/office/drawing/2014/main" id="{F77DA8EC-710C-9878-8B3B-C4A486A0521A}"/>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rcRect/>
          <a:stretch/>
        </p:blipFill>
        <p:spPr>
          <a:xfrm>
            <a:off x="5678085" y="2890098"/>
            <a:ext cx="546689" cy="546689"/>
          </a:xfrm>
          <a:prstGeom prst="rect">
            <a:avLst/>
          </a:prstGeom>
        </p:spPr>
      </p:pic>
      <p:pic>
        <p:nvPicPr>
          <p:cNvPr id="23" name="Graphic 25">
            <a:extLst>
              <a:ext uri="{FF2B5EF4-FFF2-40B4-BE49-F238E27FC236}">
                <a16:creationId xmlns:a16="http://schemas.microsoft.com/office/drawing/2014/main" id="{D03DF680-5FB3-4F1D-24C4-A24EB8F1704F}"/>
              </a:ext>
            </a:extLst>
          </p:cNvPr>
          <p:cNvPicPr>
            <a:picLocks noChangeAspect="1"/>
          </p:cNvPicPr>
          <p:nvPr/>
        </p:nvPicPr>
        <p:blipFill>
          <a:blip r:embed="rId5">
            <a:lum bright="70000" contrast="-70000"/>
            <a:extLst>
              <a:ext uri="{28A0092B-C50C-407E-A947-70E740481C1C}">
                <a14:useLocalDpi xmlns:a14="http://schemas.microsoft.com/office/drawing/2010/main" val="0"/>
              </a:ext>
            </a:extLst>
          </a:blip>
          <a:srcRect/>
          <a:stretch/>
        </p:blipFill>
        <p:spPr>
          <a:xfrm>
            <a:off x="1351101" y="2920884"/>
            <a:ext cx="492725" cy="492725"/>
          </a:xfrm>
          <a:prstGeom prst="rect">
            <a:avLst/>
          </a:prstGeom>
        </p:spPr>
      </p:pic>
      <p:pic>
        <p:nvPicPr>
          <p:cNvPr id="24" name="Graphic 26">
            <a:extLst>
              <a:ext uri="{FF2B5EF4-FFF2-40B4-BE49-F238E27FC236}">
                <a16:creationId xmlns:a16="http://schemas.microsoft.com/office/drawing/2014/main" id="{36ECE7D5-586E-38B7-F61E-3F8F6E36A608}"/>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p:blipFill>
        <p:spPr>
          <a:xfrm>
            <a:off x="7086025" y="2842715"/>
            <a:ext cx="616472" cy="616472"/>
          </a:xfrm>
          <a:prstGeom prst="rect">
            <a:avLst/>
          </a:prstGeom>
        </p:spPr>
      </p:pic>
      <p:sp>
        <p:nvSpPr>
          <p:cNvPr id="25" name="Freeform: Shape 24">
            <a:extLst>
              <a:ext uri="{FF2B5EF4-FFF2-40B4-BE49-F238E27FC236}">
                <a16:creationId xmlns:a16="http://schemas.microsoft.com/office/drawing/2014/main" id="{D1D542E1-1175-06FC-A0BE-E037B3B6BDED}"/>
              </a:ext>
            </a:extLst>
          </p:cNvPr>
          <p:cNvSpPr/>
          <p:nvPr/>
        </p:nvSpPr>
        <p:spPr>
          <a:xfrm rot="10800000">
            <a:off x="3635930" y="2075258"/>
            <a:ext cx="1689280" cy="514835"/>
          </a:xfrm>
          <a:custGeom>
            <a:avLst/>
            <a:gdLst>
              <a:gd name="connsiteX0" fmla="*/ 2859343 w 2859342"/>
              <a:gd name="connsiteY0" fmla="*/ -4 h 1202976"/>
              <a:gd name="connsiteX1" fmla="*/ 1429662 w 2859342"/>
              <a:gd name="connsiteY1" fmla="*/ 1202973 h 1202976"/>
              <a:gd name="connsiteX2" fmla="*/ 0 w 2859342"/>
              <a:gd name="connsiteY2" fmla="*/ -4 h 1202976"/>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4813"/>
              <a:gd name="connsiteX1" fmla="*/ 1429662 w 2859343"/>
              <a:gd name="connsiteY1" fmla="*/ 1202977 h 1204813"/>
              <a:gd name="connsiteX2" fmla="*/ 0 w 2859343"/>
              <a:gd name="connsiteY2" fmla="*/ 0 h 1204813"/>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3993"/>
              <a:gd name="connsiteX1" fmla="*/ 1429662 w 2859343"/>
              <a:gd name="connsiteY1" fmla="*/ 1202977 h 1203993"/>
              <a:gd name="connsiteX2" fmla="*/ 0 w 2859343"/>
              <a:gd name="connsiteY2" fmla="*/ 0 h 1203993"/>
              <a:gd name="connsiteX0" fmla="*/ 2859343 w 2859343"/>
              <a:gd name="connsiteY0" fmla="*/ 0 h 1203044"/>
              <a:gd name="connsiteX1" fmla="*/ 1429662 w 2859343"/>
              <a:gd name="connsiteY1" fmla="*/ 1202977 h 1203044"/>
              <a:gd name="connsiteX2" fmla="*/ 0 w 2859343"/>
              <a:gd name="connsiteY2" fmla="*/ 0 h 1203044"/>
              <a:gd name="connsiteX0" fmla="*/ 2859343 w 2859343"/>
              <a:gd name="connsiteY0" fmla="*/ 0 h 1203057"/>
              <a:gd name="connsiteX1" fmla="*/ 1429662 w 2859343"/>
              <a:gd name="connsiteY1" fmla="*/ 1202977 h 1203057"/>
              <a:gd name="connsiteX2" fmla="*/ 0 w 2859343"/>
              <a:gd name="connsiteY2" fmla="*/ 0 h 1203057"/>
              <a:gd name="connsiteX0" fmla="*/ 2859343 w 2859343"/>
              <a:gd name="connsiteY0" fmla="*/ 0 h 1203128"/>
              <a:gd name="connsiteX1" fmla="*/ 1429662 w 2859343"/>
              <a:gd name="connsiteY1" fmla="*/ 1202977 h 1203128"/>
              <a:gd name="connsiteX2" fmla="*/ 0 w 2859343"/>
              <a:gd name="connsiteY2" fmla="*/ 0 h 1203128"/>
              <a:gd name="connsiteX0" fmla="*/ 2640444 w 2640444"/>
              <a:gd name="connsiteY0" fmla="*/ 0 h 1239517"/>
              <a:gd name="connsiteX1" fmla="*/ 1210763 w 2640444"/>
              <a:gd name="connsiteY1" fmla="*/ 1202977 h 1239517"/>
              <a:gd name="connsiteX2" fmla="*/ 0 w 2640444"/>
              <a:gd name="connsiteY2" fmla="*/ 506319 h 1239517"/>
              <a:gd name="connsiteX0" fmla="*/ 2640444 w 2640444"/>
              <a:gd name="connsiteY0" fmla="*/ 0 h 1212231"/>
              <a:gd name="connsiteX1" fmla="*/ 1210763 w 2640444"/>
              <a:gd name="connsiteY1" fmla="*/ 1202977 h 1212231"/>
              <a:gd name="connsiteX2" fmla="*/ 0 w 2640444"/>
              <a:gd name="connsiteY2" fmla="*/ 506319 h 1212231"/>
              <a:gd name="connsiteX0" fmla="*/ 2640444 w 2640444"/>
              <a:gd name="connsiteY0" fmla="*/ 0 h 1204062"/>
              <a:gd name="connsiteX1" fmla="*/ 1210763 w 2640444"/>
              <a:gd name="connsiteY1" fmla="*/ 1202977 h 1204062"/>
              <a:gd name="connsiteX2" fmla="*/ 0 w 2640444"/>
              <a:gd name="connsiteY2" fmla="*/ 506319 h 1204062"/>
              <a:gd name="connsiteX0" fmla="*/ 2640444 w 2640444"/>
              <a:gd name="connsiteY0" fmla="*/ 0 h 1203287"/>
              <a:gd name="connsiteX1" fmla="*/ 1210763 w 2640444"/>
              <a:gd name="connsiteY1" fmla="*/ 1202977 h 1203287"/>
              <a:gd name="connsiteX2" fmla="*/ 0 w 2640444"/>
              <a:gd name="connsiteY2" fmla="*/ 506319 h 1203287"/>
              <a:gd name="connsiteX0" fmla="*/ 2640444 w 2640444"/>
              <a:gd name="connsiteY0" fmla="*/ 0 h 1203288"/>
              <a:gd name="connsiteX1" fmla="*/ 1210763 w 2640444"/>
              <a:gd name="connsiteY1" fmla="*/ 1202977 h 1203288"/>
              <a:gd name="connsiteX2" fmla="*/ 0 w 2640444"/>
              <a:gd name="connsiteY2" fmla="*/ 506319 h 1203288"/>
              <a:gd name="connsiteX0" fmla="*/ 2640444 w 2640444"/>
              <a:gd name="connsiteY0" fmla="*/ 0 h 1203288"/>
              <a:gd name="connsiteX1" fmla="*/ 1210763 w 2640444"/>
              <a:gd name="connsiteY1" fmla="*/ 1202977 h 1203288"/>
              <a:gd name="connsiteX2" fmla="*/ 0 w 2640444"/>
              <a:gd name="connsiteY2" fmla="*/ 506319 h 1203288"/>
              <a:gd name="connsiteX0" fmla="*/ 2491339 w 2491339"/>
              <a:gd name="connsiteY0" fmla="*/ 0 h 803904"/>
              <a:gd name="connsiteX1" fmla="*/ 1210763 w 2491339"/>
              <a:gd name="connsiteY1" fmla="*/ 802712 h 803904"/>
              <a:gd name="connsiteX2" fmla="*/ 0 w 2491339"/>
              <a:gd name="connsiteY2" fmla="*/ 106054 h 803904"/>
              <a:gd name="connsiteX0" fmla="*/ 2484994 w 2484994"/>
              <a:gd name="connsiteY0" fmla="*/ 0 h 817487"/>
              <a:gd name="connsiteX1" fmla="*/ 1210763 w 2484994"/>
              <a:gd name="connsiteY1" fmla="*/ 816396 h 817487"/>
              <a:gd name="connsiteX2" fmla="*/ 0 w 2484994"/>
              <a:gd name="connsiteY2" fmla="*/ 119738 h 817487"/>
              <a:gd name="connsiteX0" fmla="*/ 2484994 w 2484994"/>
              <a:gd name="connsiteY0" fmla="*/ 0 h 816695"/>
              <a:gd name="connsiteX1" fmla="*/ 1210763 w 2484994"/>
              <a:gd name="connsiteY1" fmla="*/ 816396 h 816695"/>
              <a:gd name="connsiteX2" fmla="*/ 0 w 2484994"/>
              <a:gd name="connsiteY2" fmla="*/ 119738 h 816695"/>
              <a:gd name="connsiteX0" fmla="*/ 2484994 w 2484994"/>
              <a:gd name="connsiteY0" fmla="*/ 0 h 816695"/>
              <a:gd name="connsiteX1" fmla="*/ 1210763 w 2484994"/>
              <a:gd name="connsiteY1" fmla="*/ 816396 h 816695"/>
              <a:gd name="connsiteX2" fmla="*/ 0 w 2484994"/>
              <a:gd name="connsiteY2" fmla="*/ 119738 h 816695"/>
            </a:gdLst>
            <a:ahLst/>
            <a:cxnLst>
              <a:cxn ang="0">
                <a:pos x="connsiteX0" y="connsiteY0"/>
              </a:cxn>
              <a:cxn ang="0">
                <a:pos x="connsiteX1" y="connsiteY1"/>
              </a:cxn>
              <a:cxn ang="0">
                <a:pos x="connsiteX2" y="connsiteY2"/>
              </a:cxn>
            </a:cxnLst>
            <a:rect l="l" t="t" r="r" b="b"/>
            <a:pathLst>
              <a:path w="2484994" h="816695">
                <a:moveTo>
                  <a:pt x="2484994" y="0"/>
                </a:moveTo>
                <a:cubicBezTo>
                  <a:pt x="2352061" y="291488"/>
                  <a:pt x="1844357" y="831220"/>
                  <a:pt x="1210763" y="816396"/>
                </a:cubicBezTo>
                <a:cubicBezTo>
                  <a:pt x="554961" y="811835"/>
                  <a:pt x="136100" y="394123"/>
                  <a:pt x="0" y="119738"/>
                </a:cubicBezTo>
              </a:path>
            </a:pathLst>
          </a:custGeom>
          <a:noFill/>
          <a:ln w="19050" cap="rnd">
            <a:solidFill>
              <a:srgbClr val="B8657D"/>
            </a:solidFill>
            <a:prstDash val="solid"/>
            <a:miter/>
            <a:tailEnd type="arrow"/>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26" name="Freeform: Shape 25">
            <a:extLst>
              <a:ext uri="{FF2B5EF4-FFF2-40B4-BE49-F238E27FC236}">
                <a16:creationId xmlns:a16="http://schemas.microsoft.com/office/drawing/2014/main" id="{889609C3-F6DC-9E54-C214-DA45FF5C0BB9}"/>
              </a:ext>
            </a:extLst>
          </p:cNvPr>
          <p:cNvSpPr/>
          <p:nvPr/>
        </p:nvSpPr>
        <p:spPr>
          <a:xfrm>
            <a:off x="2238488" y="3634572"/>
            <a:ext cx="1544788" cy="439166"/>
          </a:xfrm>
          <a:custGeom>
            <a:avLst/>
            <a:gdLst>
              <a:gd name="connsiteX0" fmla="*/ 2859343 w 2859342"/>
              <a:gd name="connsiteY0" fmla="*/ -4 h 1202976"/>
              <a:gd name="connsiteX1" fmla="*/ 1429662 w 2859342"/>
              <a:gd name="connsiteY1" fmla="*/ 1202973 h 1202976"/>
              <a:gd name="connsiteX2" fmla="*/ 0 w 2859342"/>
              <a:gd name="connsiteY2" fmla="*/ -4 h 1202976"/>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4813"/>
              <a:gd name="connsiteX1" fmla="*/ 1429662 w 2859343"/>
              <a:gd name="connsiteY1" fmla="*/ 1202977 h 1204813"/>
              <a:gd name="connsiteX2" fmla="*/ 0 w 2859343"/>
              <a:gd name="connsiteY2" fmla="*/ 0 h 1204813"/>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3993"/>
              <a:gd name="connsiteX1" fmla="*/ 1429662 w 2859343"/>
              <a:gd name="connsiteY1" fmla="*/ 1202977 h 1203993"/>
              <a:gd name="connsiteX2" fmla="*/ 0 w 2859343"/>
              <a:gd name="connsiteY2" fmla="*/ 0 h 1203993"/>
              <a:gd name="connsiteX0" fmla="*/ 2859343 w 2859343"/>
              <a:gd name="connsiteY0" fmla="*/ 0 h 1203044"/>
              <a:gd name="connsiteX1" fmla="*/ 1429662 w 2859343"/>
              <a:gd name="connsiteY1" fmla="*/ 1202977 h 1203044"/>
              <a:gd name="connsiteX2" fmla="*/ 0 w 2859343"/>
              <a:gd name="connsiteY2" fmla="*/ 0 h 1203044"/>
              <a:gd name="connsiteX0" fmla="*/ 2859343 w 2859343"/>
              <a:gd name="connsiteY0" fmla="*/ 0 h 1203057"/>
              <a:gd name="connsiteX1" fmla="*/ 1429662 w 2859343"/>
              <a:gd name="connsiteY1" fmla="*/ 1202977 h 1203057"/>
              <a:gd name="connsiteX2" fmla="*/ 0 w 2859343"/>
              <a:gd name="connsiteY2" fmla="*/ 0 h 1203057"/>
              <a:gd name="connsiteX0" fmla="*/ 2859343 w 2859343"/>
              <a:gd name="connsiteY0" fmla="*/ 0 h 1203128"/>
              <a:gd name="connsiteX1" fmla="*/ 1429662 w 2859343"/>
              <a:gd name="connsiteY1" fmla="*/ 1202977 h 1203128"/>
              <a:gd name="connsiteX2" fmla="*/ 0 w 2859343"/>
              <a:gd name="connsiteY2" fmla="*/ 0 h 1203128"/>
              <a:gd name="connsiteX0" fmla="*/ 2640444 w 2640444"/>
              <a:gd name="connsiteY0" fmla="*/ 0 h 1239517"/>
              <a:gd name="connsiteX1" fmla="*/ 1210763 w 2640444"/>
              <a:gd name="connsiteY1" fmla="*/ 1202977 h 1239517"/>
              <a:gd name="connsiteX2" fmla="*/ 0 w 2640444"/>
              <a:gd name="connsiteY2" fmla="*/ 506319 h 1239517"/>
              <a:gd name="connsiteX0" fmla="*/ 2640444 w 2640444"/>
              <a:gd name="connsiteY0" fmla="*/ 0 h 1212231"/>
              <a:gd name="connsiteX1" fmla="*/ 1210763 w 2640444"/>
              <a:gd name="connsiteY1" fmla="*/ 1202977 h 1212231"/>
              <a:gd name="connsiteX2" fmla="*/ 0 w 2640444"/>
              <a:gd name="connsiteY2" fmla="*/ 506319 h 1212231"/>
              <a:gd name="connsiteX0" fmla="*/ 2640444 w 2640444"/>
              <a:gd name="connsiteY0" fmla="*/ 0 h 1204062"/>
              <a:gd name="connsiteX1" fmla="*/ 1210763 w 2640444"/>
              <a:gd name="connsiteY1" fmla="*/ 1202977 h 1204062"/>
              <a:gd name="connsiteX2" fmla="*/ 0 w 2640444"/>
              <a:gd name="connsiteY2" fmla="*/ 506319 h 1204062"/>
              <a:gd name="connsiteX0" fmla="*/ 2640444 w 2640444"/>
              <a:gd name="connsiteY0" fmla="*/ 0 h 1203287"/>
              <a:gd name="connsiteX1" fmla="*/ 1210763 w 2640444"/>
              <a:gd name="connsiteY1" fmla="*/ 1202977 h 1203287"/>
              <a:gd name="connsiteX2" fmla="*/ 0 w 2640444"/>
              <a:gd name="connsiteY2" fmla="*/ 506319 h 1203287"/>
              <a:gd name="connsiteX0" fmla="*/ 2640444 w 2640444"/>
              <a:gd name="connsiteY0" fmla="*/ 0 h 1203288"/>
              <a:gd name="connsiteX1" fmla="*/ 1210763 w 2640444"/>
              <a:gd name="connsiteY1" fmla="*/ 1202977 h 1203288"/>
              <a:gd name="connsiteX2" fmla="*/ 0 w 2640444"/>
              <a:gd name="connsiteY2" fmla="*/ 506319 h 1203288"/>
              <a:gd name="connsiteX0" fmla="*/ 2640444 w 2640444"/>
              <a:gd name="connsiteY0" fmla="*/ 0 h 1203288"/>
              <a:gd name="connsiteX1" fmla="*/ 1210763 w 2640444"/>
              <a:gd name="connsiteY1" fmla="*/ 1202977 h 1203288"/>
              <a:gd name="connsiteX2" fmla="*/ 0 w 2640444"/>
              <a:gd name="connsiteY2" fmla="*/ 506319 h 1203288"/>
              <a:gd name="connsiteX0" fmla="*/ 2272441 w 2272441"/>
              <a:gd name="connsiteY0" fmla="*/ 225789 h 739527"/>
              <a:gd name="connsiteX1" fmla="*/ 1210763 w 2272441"/>
              <a:gd name="connsiteY1" fmla="*/ 696657 h 739527"/>
              <a:gd name="connsiteX2" fmla="*/ 0 w 2272441"/>
              <a:gd name="connsiteY2" fmla="*/ -1 h 739527"/>
              <a:gd name="connsiteX0" fmla="*/ 2272441 w 2272441"/>
              <a:gd name="connsiteY0" fmla="*/ 225790 h 697230"/>
              <a:gd name="connsiteX1" fmla="*/ 1210763 w 2272441"/>
              <a:gd name="connsiteY1" fmla="*/ 696658 h 697230"/>
              <a:gd name="connsiteX2" fmla="*/ 0 w 2272441"/>
              <a:gd name="connsiteY2" fmla="*/ 0 h 697230"/>
              <a:gd name="connsiteX0" fmla="*/ 2272441 w 2272441"/>
              <a:gd name="connsiteY0" fmla="*/ 225790 h 697151"/>
              <a:gd name="connsiteX1" fmla="*/ 1210763 w 2272441"/>
              <a:gd name="connsiteY1" fmla="*/ 696658 h 697151"/>
              <a:gd name="connsiteX2" fmla="*/ 0 w 2272441"/>
              <a:gd name="connsiteY2" fmla="*/ 0 h 697151"/>
              <a:gd name="connsiteX0" fmla="*/ 2272441 w 2272441"/>
              <a:gd name="connsiteY0" fmla="*/ 225790 h 697144"/>
              <a:gd name="connsiteX1" fmla="*/ 1210763 w 2272441"/>
              <a:gd name="connsiteY1" fmla="*/ 696658 h 697144"/>
              <a:gd name="connsiteX2" fmla="*/ 0 w 2272441"/>
              <a:gd name="connsiteY2" fmla="*/ 0 h 697144"/>
              <a:gd name="connsiteX0" fmla="*/ 2272441 w 2272441"/>
              <a:gd name="connsiteY0" fmla="*/ 225790 h 696659"/>
              <a:gd name="connsiteX1" fmla="*/ 1210763 w 2272441"/>
              <a:gd name="connsiteY1" fmla="*/ 696658 h 696659"/>
              <a:gd name="connsiteX2" fmla="*/ 0 w 2272441"/>
              <a:gd name="connsiteY2" fmla="*/ 0 h 696659"/>
            </a:gdLst>
            <a:ahLst/>
            <a:cxnLst>
              <a:cxn ang="0">
                <a:pos x="connsiteX0" y="connsiteY0"/>
              </a:cxn>
              <a:cxn ang="0">
                <a:pos x="connsiteX1" y="connsiteY1"/>
              </a:cxn>
              <a:cxn ang="0">
                <a:pos x="connsiteX2" y="connsiteY2"/>
              </a:cxn>
            </a:cxnLst>
            <a:rect l="l" t="t" r="r" b="b"/>
            <a:pathLst>
              <a:path w="2272441" h="696659">
                <a:moveTo>
                  <a:pt x="2272441" y="225790"/>
                </a:moveTo>
                <a:cubicBezTo>
                  <a:pt x="2108578" y="383855"/>
                  <a:pt x="1858632" y="675561"/>
                  <a:pt x="1210763" y="696658"/>
                </a:cubicBezTo>
                <a:cubicBezTo>
                  <a:pt x="577169" y="681834"/>
                  <a:pt x="136100" y="274385"/>
                  <a:pt x="0" y="0"/>
                </a:cubicBezTo>
              </a:path>
            </a:pathLst>
          </a:custGeom>
          <a:noFill/>
          <a:ln w="19050" cap="rnd">
            <a:solidFill>
              <a:srgbClr val="6F638B"/>
            </a:solidFill>
            <a:prstDash val="solid"/>
            <a:miter/>
            <a:headEnd type="arrow"/>
            <a:tailEnd type="none"/>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27" name="Freeform: Shape 26">
            <a:extLst>
              <a:ext uri="{FF2B5EF4-FFF2-40B4-BE49-F238E27FC236}">
                <a16:creationId xmlns:a16="http://schemas.microsoft.com/office/drawing/2014/main" id="{7A5EF171-709B-5CAC-060C-3DDF1E0E5EEF}"/>
              </a:ext>
            </a:extLst>
          </p:cNvPr>
          <p:cNvSpPr/>
          <p:nvPr/>
        </p:nvSpPr>
        <p:spPr>
          <a:xfrm>
            <a:off x="5120384" y="3634572"/>
            <a:ext cx="1544788" cy="439166"/>
          </a:xfrm>
          <a:custGeom>
            <a:avLst/>
            <a:gdLst>
              <a:gd name="connsiteX0" fmla="*/ 2859343 w 2859342"/>
              <a:gd name="connsiteY0" fmla="*/ -4 h 1202976"/>
              <a:gd name="connsiteX1" fmla="*/ 1429662 w 2859342"/>
              <a:gd name="connsiteY1" fmla="*/ 1202973 h 1202976"/>
              <a:gd name="connsiteX2" fmla="*/ 0 w 2859342"/>
              <a:gd name="connsiteY2" fmla="*/ -4 h 1202976"/>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4813"/>
              <a:gd name="connsiteX1" fmla="*/ 1429662 w 2859343"/>
              <a:gd name="connsiteY1" fmla="*/ 1202977 h 1204813"/>
              <a:gd name="connsiteX2" fmla="*/ 0 w 2859343"/>
              <a:gd name="connsiteY2" fmla="*/ 0 h 1204813"/>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3993"/>
              <a:gd name="connsiteX1" fmla="*/ 1429662 w 2859343"/>
              <a:gd name="connsiteY1" fmla="*/ 1202977 h 1203993"/>
              <a:gd name="connsiteX2" fmla="*/ 0 w 2859343"/>
              <a:gd name="connsiteY2" fmla="*/ 0 h 1203993"/>
              <a:gd name="connsiteX0" fmla="*/ 2859343 w 2859343"/>
              <a:gd name="connsiteY0" fmla="*/ 0 h 1203044"/>
              <a:gd name="connsiteX1" fmla="*/ 1429662 w 2859343"/>
              <a:gd name="connsiteY1" fmla="*/ 1202977 h 1203044"/>
              <a:gd name="connsiteX2" fmla="*/ 0 w 2859343"/>
              <a:gd name="connsiteY2" fmla="*/ 0 h 1203044"/>
              <a:gd name="connsiteX0" fmla="*/ 2859343 w 2859343"/>
              <a:gd name="connsiteY0" fmla="*/ 0 h 1203057"/>
              <a:gd name="connsiteX1" fmla="*/ 1429662 w 2859343"/>
              <a:gd name="connsiteY1" fmla="*/ 1202977 h 1203057"/>
              <a:gd name="connsiteX2" fmla="*/ 0 w 2859343"/>
              <a:gd name="connsiteY2" fmla="*/ 0 h 1203057"/>
              <a:gd name="connsiteX0" fmla="*/ 2859343 w 2859343"/>
              <a:gd name="connsiteY0" fmla="*/ 0 h 1203128"/>
              <a:gd name="connsiteX1" fmla="*/ 1429662 w 2859343"/>
              <a:gd name="connsiteY1" fmla="*/ 1202977 h 1203128"/>
              <a:gd name="connsiteX2" fmla="*/ 0 w 2859343"/>
              <a:gd name="connsiteY2" fmla="*/ 0 h 1203128"/>
              <a:gd name="connsiteX0" fmla="*/ 2640444 w 2640444"/>
              <a:gd name="connsiteY0" fmla="*/ 0 h 1239517"/>
              <a:gd name="connsiteX1" fmla="*/ 1210763 w 2640444"/>
              <a:gd name="connsiteY1" fmla="*/ 1202977 h 1239517"/>
              <a:gd name="connsiteX2" fmla="*/ 0 w 2640444"/>
              <a:gd name="connsiteY2" fmla="*/ 506319 h 1239517"/>
              <a:gd name="connsiteX0" fmla="*/ 2640444 w 2640444"/>
              <a:gd name="connsiteY0" fmla="*/ 0 h 1212231"/>
              <a:gd name="connsiteX1" fmla="*/ 1210763 w 2640444"/>
              <a:gd name="connsiteY1" fmla="*/ 1202977 h 1212231"/>
              <a:gd name="connsiteX2" fmla="*/ 0 w 2640444"/>
              <a:gd name="connsiteY2" fmla="*/ 506319 h 1212231"/>
              <a:gd name="connsiteX0" fmla="*/ 2640444 w 2640444"/>
              <a:gd name="connsiteY0" fmla="*/ 0 h 1204062"/>
              <a:gd name="connsiteX1" fmla="*/ 1210763 w 2640444"/>
              <a:gd name="connsiteY1" fmla="*/ 1202977 h 1204062"/>
              <a:gd name="connsiteX2" fmla="*/ 0 w 2640444"/>
              <a:gd name="connsiteY2" fmla="*/ 506319 h 1204062"/>
              <a:gd name="connsiteX0" fmla="*/ 2640444 w 2640444"/>
              <a:gd name="connsiteY0" fmla="*/ 0 h 1203287"/>
              <a:gd name="connsiteX1" fmla="*/ 1210763 w 2640444"/>
              <a:gd name="connsiteY1" fmla="*/ 1202977 h 1203287"/>
              <a:gd name="connsiteX2" fmla="*/ 0 w 2640444"/>
              <a:gd name="connsiteY2" fmla="*/ 506319 h 1203287"/>
              <a:gd name="connsiteX0" fmla="*/ 2640444 w 2640444"/>
              <a:gd name="connsiteY0" fmla="*/ 0 h 1203288"/>
              <a:gd name="connsiteX1" fmla="*/ 1210763 w 2640444"/>
              <a:gd name="connsiteY1" fmla="*/ 1202977 h 1203288"/>
              <a:gd name="connsiteX2" fmla="*/ 0 w 2640444"/>
              <a:gd name="connsiteY2" fmla="*/ 506319 h 1203288"/>
              <a:gd name="connsiteX0" fmla="*/ 2640444 w 2640444"/>
              <a:gd name="connsiteY0" fmla="*/ 0 h 1203288"/>
              <a:gd name="connsiteX1" fmla="*/ 1210763 w 2640444"/>
              <a:gd name="connsiteY1" fmla="*/ 1202977 h 1203288"/>
              <a:gd name="connsiteX2" fmla="*/ 0 w 2640444"/>
              <a:gd name="connsiteY2" fmla="*/ 506319 h 1203288"/>
              <a:gd name="connsiteX0" fmla="*/ 2272441 w 2272441"/>
              <a:gd name="connsiteY0" fmla="*/ 225789 h 739527"/>
              <a:gd name="connsiteX1" fmla="*/ 1210763 w 2272441"/>
              <a:gd name="connsiteY1" fmla="*/ 696657 h 739527"/>
              <a:gd name="connsiteX2" fmla="*/ 0 w 2272441"/>
              <a:gd name="connsiteY2" fmla="*/ -1 h 739527"/>
              <a:gd name="connsiteX0" fmla="*/ 2272441 w 2272441"/>
              <a:gd name="connsiteY0" fmla="*/ 225790 h 697230"/>
              <a:gd name="connsiteX1" fmla="*/ 1210763 w 2272441"/>
              <a:gd name="connsiteY1" fmla="*/ 696658 h 697230"/>
              <a:gd name="connsiteX2" fmla="*/ 0 w 2272441"/>
              <a:gd name="connsiteY2" fmla="*/ 0 h 697230"/>
              <a:gd name="connsiteX0" fmla="*/ 2272441 w 2272441"/>
              <a:gd name="connsiteY0" fmla="*/ 225790 h 697151"/>
              <a:gd name="connsiteX1" fmla="*/ 1210763 w 2272441"/>
              <a:gd name="connsiteY1" fmla="*/ 696658 h 697151"/>
              <a:gd name="connsiteX2" fmla="*/ 0 w 2272441"/>
              <a:gd name="connsiteY2" fmla="*/ 0 h 697151"/>
              <a:gd name="connsiteX0" fmla="*/ 2272441 w 2272441"/>
              <a:gd name="connsiteY0" fmla="*/ 225790 h 697144"/>
              <a:gd name="connsiteX1" fmla="*/ 1210763 w 2272441"/>
              <a:gd name="connsiteY1" fmla="*/ 696658 h 697144"/>
              <a:gd name="connsiteX2" fmla="*/ 0 w 2272441"/>
              <a:gd name="connsiteY2" fmla="*/ 0 h 697144"/>
              <a:gd name="connsiteX0" fmla="*/ 2272441 w 2272441"/>
              <a:gd name="connsiteY0" fmla="*/ 225790 h 696659"/>
              <a:gd name="connsiteX1" fmla="*/ 1210763 w 2272441"/>
              <a:gd name="connsiteY1" fmla="*/ 696658 h 696659"/>
              <a:gd name="connsiteX2" fmla="*/ 0 w 2272441"/>
              <a:gd name="connsiteY2" fmla="*/ 0 h 696659"/>
            </a:gdLst>
            <a:ahLst/>
            <a:cxnLst>
              <a:cxn ang="0">
                <a:pos x="connsiteX0" y="connsiteY0"/>
              </a:cxn>
              <a:cxn ang="0">
                <a:pos x="connsiteX1" y="connsiteY1"/>
              </a:cxn>
              <a:cxn ang="0">
                <a:pos x="connsiteX2" y="connsiteY2"/>
              </a:cxn>
            </a:cxnLst>
            <a:rect l="l" t="t" r="r" b="b"/>
            <a:pathLst>
              <a:path w="2272441" h="696659">
                <a:moveTo>
                  <a:pt x="2272441" y="225790"/>
                </a:moveTo>
                <a:cubicBezTo>
                  <a:pt x="2108578" y="383855"/>
                  <a:pt x="1858632" y="675561"/>
                  <a:pt x="1210763" y="696658"/>
                </a:cubicBezTo>
                <a:cubicBezTo>
                  <a:pt x="577169" y="681834"/>
                  <a:pt x="136100" y="274385"/>
                  <a:pt x="0" y="0"/>
                </a:cubicBezTo>
              </a:path>
            </a:pathLst>
          </a:custGeom>
          <a:noFill/>
          <a:ln w="19050" cap="rnd">
            <a:solidFill>
              <a:srgbClr val="C07B53"/>
            </a:solidFill>
            <a:prstDash val="solid"/>
            <a:miter/>
            <a:headEnd type="arrow"/>
            <a:tailEnd type="none"/>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28" name="Freeform: Shape 27">
            <a:extLst>
              <a:ext uri="{FF2B5EF4-FFF2-40B4-BE49-F238E27FC236}">
                <a16:creationId xmlns:a16="http://schemas.microsoft.com/office/drawing/2014/main" id="{C192CC56-0589-8520-12AD-D242DCE12DBF}"/>
              </a:ext>
            </a:extLst>
          </p:cNvPr>
          <p:cNvSpPr/>
          <p:nvPr/>
        </p:nvSpPr>
        <p:spPr>
          <a:xfrm rot="10800000">
            <a:off x="6515364" y="2069036"/>
            <a:ext cx="1689280" cy="514835"/>
          </a:xfrm>
          <a:custGeom>
            <a:avLst/>
            <a:gdLst>
              <a:gd name="connsiteX0" fmla="*/ 2859343 w 2859342"/>
              <a:gd name="connsiteY0" fmla="*/ -4 h 1202976"/>
              <a:gd name="connsiteX1" fmla="*/ 1429662 w 2859342"/>
              <a:gd name="connsiteY1" fmla="*/ 1202973 h 1202976"/>
              <a:gd name="connsiteX2" fmla="*/ 0 w 2859342"/>
              <a:gd name="connsiteY2" fmla="*/ -4 h 1202976"/>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4813"/>
              <a:gd name="connsiteX1" fmla="*/ 1429662 w 2859343"/>
              <a:gd name="connsiteY1" fmla="*/ 1202977 h 1204813"/>
              <a:gd name="connsiteX2" fmla="*/ 0 w 2859343"/>
              <a:gd name="connsiteY2" fmla="*/ 0 h 1204813"/>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3993"/>
              <a:gd name="connsiteX1" fmla="*/ 1429662 w 2859343"/>
              <a:gd name="connsiteY1" fmla="*/ 1202977 h 1203993"/>
              <a:gd name="connsiteX2" fmla="*/ 0 w 2859343"/>
              <a:gd name="connsiteY2" fmla="*/ 0 h 1203993"/>
              <a:gd name="connsiteX0" fmla="*/ 2859343 w 2859343"/>
              <a:gd name="connsiteY0" fmla="*/ 0 h 1203044"/>
              <a:gd name="connsiteX1" fmla="*/ 1429662 w 2859343"/>
              <a:gd name="connsiteY1" fmla="*/ 1202977 h 1203044"/>
              <a:gd name="connsiteX2" fmla="*/ 0 w 2859343"/>
              <a:gd name="connsiteY2" fmla="*/ 0 h 1203044"/>
              <a:gd name="connsiteX0" fmla="*/ 2859343 w 2859343"/>
              <a:gd name="connsiteY0" fmla="*/ 0 h 1203057"/>
              <a:gd name="connsiteX1" fmla="*/ 1429662 w 2859343"/>
              <a:gd name="connsiteY1" fmla="*/ 1202977 h 1203057"/>
              <a:gd name="connsiteX2" fmla="*/ 0 w 2859343"/>
              <a:gd name="connsiteY2" fmla="*/ 0 h 1203057"/>
              <a:gd name="connsiteX0" fmla="*/ 2859343 w 2859343"/>
              <a:gd name="connsiteY0" fmla="*/ 0 h 1203128"/>
              <a:gd name="connsiteX1" fmla="*/ 1429662 w 2859343"/>
              <a:gd name="connsiteY1" fmla="*/ 1202977 h 1203128"/>
              <a:gd name="connsiteX2" fmla="*/ 0 w 2859343"/>
              <a:gd name="connsiteY2" fmla="*/ 0 h 1203128"/>
              <a:gd name="connsiteX0" fmla="*/ 2640444 w 2640444"/>
              <a:gd name="connsiteY0" fmla="*/ 0 h 1239517"/>
              <a:gd name="connsiteX1" fmla="*/ 1210763 w 2640444"/>
              <a:gd name="connsiteY1" fmla="*/ 1202977 h 1239517"/>
              <a:gd name="connsiteX2" fmla="*/ 0 w 2640444"/>
              <a:gd name="connsiteY2" fmla="*/ 506319 h 1239517"/>
              <a:gd name="connsiteX0" fmla="*/ 2640444 w 2640444"/>
              <a:gd name="connsiteY0" fmla="*/ 0 h 1212231"/>
              <a:gd name="connsiteX1" fmla="*/ 1210763 w 2640444"/>
              <a:gd name="connsiteY1" fmla="*/ 1202977 h 1212231"/>
              <a:gd name="connsiteX2" fmla="*/ 0 w 2640444"/>
              <a:gd name="connsiteY2" fmla="*/ 506319 h 1212231"/>
              <a:gd name="connsiteX0" fmla="*/ 2640444 w 2640444"/>
              <a:gd name="connsiteY0" fmla="*/ 0 h 1204062"/>
              <a:gd name="connsiteX1" fmla="*/ 1210763 w 2640444"/>
              <a:gd name="connsiteY1" fmla="*/ 1202977 h 1204062"/>
              <a:gd name="connsiteX2" fmla="*/ 0 w 2640444"/>
              <a:gd name="connsiteY2" fmla="*/ 506319 h 1204062"/>
              <a:gd name="connsiteX0" fmla="*/ 2640444 w 2640444"/>
              <a:gd name="connsiteY0" fmla="*/ 0 h 1203287"/>
              <a:gd name="connsiteX1" fmla="*/ 1210763 w 2640444"/>
              <a:gd name="connsiteY1" fmla="*/ 1202977 h 1203287"/>
              <a:gd name="connsiteX2" fmla="*/ 0 w 2640444"/>
              <a:gd name="connsiteY2" fmla="*/ 506319 h 1203287"/>
              <a:gd name="connsiteX0" fmla="*/ 2640444 w 2640444"/>
              <a:gd name="connsiteY0" fmla="*/ 0 h 1203288"/>
              <a:gd name="connsiteX1" fmla="*/ 1210763 w 2640444"/>
              <a:gd name="connsiteY1" fmla="*/ 1202977 h 1203288"/>
              <a:gd name="connsiteX2" fmla="*/ 0 w 2640444"/>
              <a:gd name="connsiteY2" fmla="*/ 506319 h 1203288"/>
              <a:gd name="connsiteX0" fmla="*/ 2640444 w 2640444"/>
              <a:gd name="connsiteY0" fmla="*/ 0 h 1203288"/>
              <a:gd name="connsiteX1" fmla="*/ 1210763 w 2640444"/>
              <a:gd name="connsiteY1" fmla="*/ 1202977 h 1203288"/>
              <a:gd name="connsiteX2" fmla="*/ 0 w 2640444"/>
              <a:gd name="connsiteY2" fmla="*/ 506319 h 1203288"/>
              <a:gd name="connsiteX0" fmla="*/ 2491339 w 2491339"/>
              <a:gd name="connsiteY0" fmla="*/ 0 h 803904"/>
              <a:gd name="connsiteX1" fmla="*/ 1210763 w 2491339"/>
              <a:gd name="connsiteY1" fmla="*/ 802712 h 803904"/>
              <a:gd name="connsiteX2" fmla="*/ 0 w 2491339"/>
              <a:gd name="connsiteY2" fmla="*/ 106054 h 803904"/>
              <a:gd name="connsiteX0" fmla="*/ 2484994 w 2484994"/>
              <a:gd name="connsiteY0" fmla="*/ 0 h 817487"/>
              <a:gd name="connsiteX1" fmla="*/ 1210763 w 2484994"/>
              <a:gd name="connsiteY1" fmla="*/ 816396 h 817487"/>
              <a:gd name="connsiteX2" fmla="*/ 0 w 2484994"/>
              <a:gd name="connsiteY2" fmla="*/ 119738 h 817487"/>
              <a:gd name="connsiteX0" fmla="*/ 2484994 w 2484994"/>
              <a:gd name="connsiteY0" fmla="*/ 0 h 816695"/>
              <a:gd name="connsiteX1" fmla="*/ 1210763 w 2484994"/>
              <a:gd name="connsiteY1" fmla="*/ 816396 h 816695"/>
              <a:gd name="connsiteX2" fmla="*/ 0 w 2484994"/>
              <a:gd name="connsiteY2" fmla="*/ 119738 h 816695"/>
              <a:gd name="connsiteX0" fmla="*/ 2484994 w 2484994"/>
              <a:gd name="connsiteY0" fmla="*/ 0 h 816695"/>
              <a:gd name="connsiteX1" fmla="*/ 1210763 w 2484994"/>
              <a:gd name="connsiteY1" fmla="*/ 816396 h 816695"/>
              <a:gd name="connsiteX2" fmla="*/ 0 w 2484994"/>
              <a:gd name="connsiteY2" fmla="*/ 119738 h 816695"/>
            </a:gdLst>
            <a:ahLst/>
            <a:cxnLst>
              <a:cxn ang="0">
                <a:pos x="connsiteX0" y="connsiteY0"/>
              </a:cxn>
              <a:cxn ang="0">
                <a:pos x="connsiteX1" y="connsiteY1"/>
              </a:cxn>
              <a:cxn ang="0">
                <a:pos x="connsiteX2" y="connsiteY2"/>
              </a:cxn>
            </a:cxnLst>
            <a:rect l="l" t="t" r="r" b="b"/>
            <a:pathLst>
              <a:path w="2484994" h="816695">
                <a:moveTo>
                  <a:pt x="2484994" y="0"/>
                </a:moveTo>
                <a:cubicBezTo>
                  <a:pt x="2352061" y="291488"/>
                  <a:pt x="1844357" y="831220"/>
                  <a:pt x="1210763" y="816396"/>
                </a:cubicBezTo>
                <a:cubicBezTo>
                  <a:pt x="554961" y="811835"/>
                  <a:pt x="136100" y="394123"/>
                  <a:pt x="0" y="119738"/>
                </a:cubicBezTo>
              </a:path>
            </a:pathLst>
          </a:custGeom>
          <a:noFill/>
          <a:ln w="19050" cap="rnd">
            <a:solidFill>
              <a:srgbClr val="CEA303"/>
            </a:solidFill>
            <a:prstDash val="solid"/>
            <a:miter/>
            <a:tailEnd type="arrow"/>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29" name="Freeform: Shape 28">
            <a:extLst>
              <a:ext uri="{FF2B5EF4-FFF2-40B4-BE49-F238E27FC236}">
                <a16:creationId xmlns:a16="http://schemas.microsoft.com/office/drawing/2014/main" id="{B41CA7FA-B02B-3045-56AD-28F381ABCBE1}"/>
              </a:ext>
            </a:extLst>
          </p:cNvPr>
          <p:cNvSpPr/>
          <p:nvPr/>
        </p:nvSpPr>
        <p:spPr>
          <a:xfrm rot="10800000">
            <a:off x="650823" y="2075248"/>
            <a:ext cx="1794953" cy="758540"/>
          </a:xfrm>
          <a:custGeom>
            <a:avLst/>
            <a:gdLst>
              <a:gd name="connsiteX0" fmla="*/ 2859343 w 2859342"/>
              <a:gd name="connsiteY0" fmla="*/ -4 h 1202976"/>
              <a:gd name="connsiteX1" fmla="*/ 1429662 w 2859342"/>
              <a:gd name="connsiteY1" fmla="*/ 1202973 h 1202976"/>
              <a:gd name="connsiteX2" fmla="*/ 0 w 2859342"/>
              <a:gd name="connsiteY2" fmla="*/ -4 h 1202976"/>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4813"/>
              <a:gd name="connsiteX1" fmla="*/ 1429662 w 2859343"/>
              <a:gd name="connsiteY1" fmla="*/ 1202977 h 1204813"/>
              <a:gd name="connsiteX2" fmla="*/ 0 w 2859343"/>
              <a:gd name="connsiteY2" fmla="*/ 0 h 1204813"/>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2994"/>
              <a:gd name="connsiteX1" fmla="*/ 1429662 w 2859343"/>
              <a:gd name="connsiteY1" fmla="*/ 1202977 h 1202994"/>
              <a:gd name="connsiteX2" fmla="*/ 0 w 2859343"/>
              <a:gd name="connsiteY2" fmla="*/ 0 h 1202994"/>
              <a:gd name="connsiteX0" fmla="*/ 2859343 w 2859343"/>
              <a:gd name="connsiteY0" fmla="*/ 0 h 1203993"/>
              <a:gd name="connsiteX1" fmla="*/ 1429662 w 2859343"/>
              <a:gd name="connsiteY1" fmla="*/ 1202977 h 1203993"/>
              <a:gd name="connsiteX2" fmla="*/ 0 w 2859343"/>
              <a:gd name="connsiteY2" fmla="*/ 0 h 1203993"/>
              <a:gd name="connsiteX0" fmla="*/ 2859343 w 2859343"/>
              <a:gd name="connsiteY0" fmla="*/ 0 h 1203044"/>
              <a:gd name="connsiteX1" fmla="*/ 1429662 w 2859343"/>
              <a:gd name="connsiteY1" fmla="*/ 1202977 h 1203044"/>
              <a:gd name="connsiteX2" fmla="*/ 0 w 2859343"/>
              <a:gd name="connsiteY2" fmla="*/ 0 h 1203044"/>
              <a:gd name="connsiteX0" fmla="*/ 2859343 w 2859343"/>
              <a:gd name="connsiteY0" fmla="*/ 0 h 1203057"/>
              <a:gd name="connsiteX1" fmla="*/ 1429662 w 2859343"/>
              <a:gd name="connsiteY1" fmla="*/ 1202977 h 1203057"/>
              <a:gd name="connsiteX2" fmla="*/ 0 w 2859343"/>
              <a:gd name="connsiteY2" fmla="*/ 0 h 1203057"/>
              <a:gd name="connsiteX0" fmla="*/ 2859343 w 2859343"/>
              <a:gd name="connsiteY0" fmla="*/ 0 h 1203128"/>
              <a:gd name="connsiteX1" fmla="*/ 1429662 w 2859343"/>
              <a:gd name="connsiteY1" fmla="*/ 1202977 h 1203128"/>
              <a:gd name="connsiteX2" fmla="*/ 0 w 2859343"/>
              <a:gd name="connsiteY2" fmla="*/ 0 h 1203128"/>
              <a:gd name="connsiteX0" fmla="*/ 2640444 w 2640444"/>
              <a:gd name="connsiteY0" fmla="*/ 0 h 1239517"/>
              <a:gd name="connsiteX1" fmla="*/ 1210763 w 2640444"/>
              <a:gd name="connsiteY1" fmla="*/ 1202977 h 1239517"/>
              <a:gd name="connsiteX2" fmla="*/ 0 w 2640444"/>
              <a:gd name="connsiteY2" fmla="*/ 506319 h 1239517"/>
              <a:gd name="connsiteX0" fmla="*/ 2640444 w 2640444"/>
              <a:gd name="connsiteY0" fmla="*/ 0 h 1212231"/>
              <a:gd name="connsiteX1" fmla="*/ 1210763 w 2640444"/>
              <a:gd name="connsiteY1" fmla="*/ 1202977 h 1212231"/>
              <a:gd name="connsiteX2" fmla="*/ 0 w 2640444"/>
              <a:gd name="connsiteY2" fmla="*/ 506319 h 1212231"/>
              <a:gd name="connsiteX0" fmla="*/ 2640444 w 2640444"/>
              <a:gd name="connsiteY0" fmla="*/ 0 h 1204062"/>
              <a:gd name="connsiteX1" fmla="*/ 1210763 w 2640444"/>
              <a:gd name="connsiteY1" fmla="*/ 1202977 h 1204062"/>
              <a:gd name="connsiteX2" fmla="*/ 0 w 2640444"/>
              <a:gd name="connsiteY2" fmla="*/ 506319 h 1204062"/>
              <a:gd name="connsiteX0" fmla="*/ 2640444 w 2640444"/>
              <a:gd name="connsiteY0" fmla="*/ 0 h 1203287"/>
              <a:gd name="connsiteX1" fmla="*/ 1210763 w 2640444"/>
              <a:gd name="connsiteY1" fmla="*/ 1202977 h 1203287"/>
              <a:gd name="connsiteX2" fmla="*/ 0 w 2640444"/>
              <a:gd name="connsiteY2" fmla="*/ 506319 h 1203287"/>
              <a:gd name="connsiteX0" fmla="*/ 2640444 w 2640444"/>
              <a:gd name="connsiteY0" fmla="*/ 0 h 1203288"/>
              <a:gd name="connsiteX1" fmla="*/ 1210763 w 2640444"/>
              <a:gd name="connsiteY1" fmla="*/ 1202977 h 1203288"/>
              <a:gd name="connsiteX2" fmla="*/ 0 w 2640444"/>
              <a:gd name="connsiteY2" fmla="*/ 506319 h 1203288"/>
              <a:gd name="connsiteX0" fmla="*/ 2640444 w 2640444"/>
              <a:gd name="connsiteY0" fmla="*/ 0 h 1203288"/>
              <a:gd name="connsiteX1" fmla="*/ 1210763 w 2640444"/>
              <a:gd name="connsiteY1" fmla="*/ 1202977 h 1203288"/>
              <a:gd name="connsiteX2" fmla="*/ 0 w 2640444"/>
              <a:gd name="connsiteY2" fmla="*/ 506319 h 1203288"/>
            </a:gdLst>
            <a:ahLst/>
            <a:cxnLst>
              <a:cxn ang="0">
                <a:pos x="connsiteX0" y="connsiteY0"/>
              </a:cxn>
              <a:cxn ang="0">
                <a:pos x="connsiteX1" y="connsiteY1"/>
              </a:cxn>
              <a:cxn ang="0">
                <a:pos x="connsiteX2" y="connsiteY2"/>
              </a:cxn>
            </a:cxnLst>
            <a:rect l="l" t="t" r="r" b="b"/>
            <a:pathLst>
              <a:path w="2640444" h="1203288">
                <a:moveTo>
                  <a:pt x="2640444" y="0"/>
                </a:moveTo>
                <a:cubicBezTo>
                  <a:pt x="2485304" y="702017"/>
                  <a:pt x="1844357" y="1217801"/>
                  <a:pt x="1210763" y="1202977"/>
                </a:cubicBezTo>
                <a:cubicBezTo>
                  <a:pt x="577169" y="1188153"/>
                  <a:pt x="136100" y="780704"/>
                  <a:pt x="0" y="506319"/>
                </a:cubicBezTo>
              </a:path>
            </a:pathLst>
          </a:custGeom>
          <a:noFill/>
          <a:ln w="19050" cap="rnd">
            <a:solidFill>
              <a:srgbClr val="0C8AC5"/>
            </a:solidFill>
            <a:prstDash val="solid"/>
            <a:miter/>
            <a:tailEnd type="arrow"/>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211003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 name="Oval 484">
            <a:extLst>
              <a:ext uri="{FF2B5EF4-FFF2-40B4-BE49-F238E27FC236}">
                <a16:creationId xmlns:a16="http://schemas.microsoft.com/office/drawing/2014/main" id="{3D2FE4C5-48D6-9E0F-1F35-89282931B59E}"/>
              </a:ext>
            </a:extLst>
          </p:cNvPr>
          <p:cNvSpPr/>
          <p:nvPr/>
        </p:nvSpPr>
        <p:spPr>
          <a:xfrm>
            <a:off x="1798624" y="1992200"/>
            <a:ext cx="1127439" cy="112743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82" name="Oval 481">
            <a:extLst>
              <a:ext uri="{FF2B5EF4-FFF2-40B4-BE49-F238E27FC236}">
                <a16:creationId xmlns:a16="http://schemas.microsoft.com/office/drawing/2014/main" id="{439599F5-5283-B9C2-2BC7-B2C34CF5599E}"/>
              </a:ext>
            </a:extLst>
          </p:cNvPr>
          <p:cNvSpPr/>
          <p:nvPr/>
        </p:nvSpPr>
        <p:spPr>
          <a:xfrm>
            <a:off x="4520966" y="1992201"/>
            <a:ext cx="1127439" cy="112743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8" name="Oval 477">
            <a:extLst>
              <a:ext uri="{FF2B5EF4-FFF2-40B4-BE49-F238E27FC236}">
                <a16:creationId xmlns:a16="http://schemas.microsoft.com/office/drawing/2014/main" id="{4048B49C-8413-F740-8E88-56FDFF26AD1F}"/>
              </a:ext>
            </a:extLst>
          </p:cNvPr>
          <p:cNvSpPr/>
          <p:nvPr/>
        </p:nvSpPr>
        <p:spPr>
          <a:xfrm>
            <a:off x="7254089" y="1992202"/>
            <a:ext cx="1127439" cy="112743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7" name="Oval 476">
            <a:extLst>
              <a:ext uri="{FF2B5EF4-FFF2-40B4-BE49-F238E27FC236}">
                <a16:creationId xmlns:a16="http://schemas.microsoft.com/office/drawing/2014/main" id="{27F7F877-5FC4-E11B-DA7E-716DFD0278A2}"/>
              </a:ext>
            </a:extLst>
          </p:cNvPr>
          <p:cNvSpPr/>
          <p:nvPr/>
        </p:nvSpPr>
        <p:spPr>
          <a:xfrm>
            <a:off x="9898828" y="1992202"/>
            <a:ext cx="1127439" cy="1127439"/>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 Placeholder 6">
            <a:extLst>
              <a:ext uri="{FF2B5EF4-FFF2-40B4-BE49-F238E27FC236}">
                <a16:creationId xmlns:a16="http://schemas.microsoft.com/office/drawing/2014/main" id="{E6A22021-0AEA-4361-5F1C-09A209089CE0}"/>
              </a:ext>
            </a:extLst>
          </p:cNvPr>
          <p:cNvSpPr>
            <a:spLocks noGrp="1"/>
          </p:cNvSpPr>
          <p:nvPr>
            <p:ph type="body" sz="quarter" idx="11"/>
          </p:nvPr>
        </p:nvSpPr>
        <p:spPr/>
        <p:txBody>
          <a:bodyPr>
            <a:normAutofit/>
          </a:bodyPr>
          <a:lstStyle/>
          <a:p>
            <a:r>
              <a:rPr lang="en-US"/>
              <a:t>Our data led approach utilizes deep security and data skills to accelerate delivery</a:t>
            </a:r>
          </a:p>
        </p:txBody>
      </p:sp>
      <p:sp>
        <p:nvSpPr>
          <p:cNvPr id="315" name="Content Placeholder 2">
            <a:extLst>
              <a:ext uri="{FF2B5EF4-FFF2-40B4-BE49-F238E27FC236}">
                <a16:creationId xmlns:a16="http://schemas.microsoft.com/office/drawing/2014/main" id="{9AB88496-DD4A-88B1-1238-9D6FF2689C4C}"/>
              </a:ext>
            </a:extLst>
          </p:cNvPr>
          <p:cNvSpPr txBox="1">
            <a:spLocks/>
          </p:cNvSpPr>
          <p:nvPr/>
        </p:nvSpPr>
        <p:spPr>
          <a:xfrm>
            <a:off x="942753" y="1076168"/>
            <a:ext cx="11070439" cy="209464"/>
          </a:xfrm>
          <a:prstGeom prst="rect">
            <a:avLst/>
          </a:prstGeom>
        </p:spPr>
        <p:txBody>
          <a:bodyPr vert="horz" lIns="0" tIns="0" rIns="0" bIns="0" rtlCol="0" anchor="t" anchorCtr="0">
            <a:noAutofit/>
          </a:bodyPr>
          <a:lstStyle>
            <a:defPPr>
              <a:defRPr lang="en-US"/>
            </a:defPPr>
            <a:lvl1pPr marR="0" indent="0" algn="ctr" fontAlgn="auto">
              <a:lnSpc>
                <a:spcPct val="100000"/>
              </a:lnSpc>
              <a:spcBef>
                <a:spcPct val="20000"/>
              </a:spcBef>
              <a:spcAft>
                <a:spcPts val="0"/>
              </a:spcAft>
              <a:buClr>
                <a:srgbClr val="FFE600"/>
              </a:buClr>
              <a:buSzPct val="70000"/>
              <a:buFont typeface="Arial" pitchFamily="34" charset="0"/>
              <a:buNone/>
              <a:tabLst/>
              <a:defRPr sz="1200">
                <a:solidFill>
                  <a:schemeClr val="bg1"/>
                </a:solidFill>
                <a:latin typeface="EYInterstate Light" panose="02000506000000020004" pitchFamily="2" charset="0"/>
              </a:defRPr>
            </a:lvl1pPr>
            <a:lvl2pPr marL="713232" marR="0" indent="-356616" fontAlgn="auto">
              <a:lnSpc>
                <a:spcPct val="100000"/>
              </a:lnSpc>
              <a:spcBef>
                <a:spcPct val="20000"/>
              </a:spcBef>
              <a:spcAft>
                <a:spcPts val="0"/>
              </a:spcAft>
              <a:buClr>
                <a:srgbClr val="FFE600"/>
              </a:buClr>
              <a:buSzPct val="70000"/>
              <a:buFont typeface="Arial" pitchFamily="34" charset="0"/>
              <a:buChar char="►"/>
              <a:tabLst/>
              <a:defRPr>
                <a:solidFill>
                  <a:schemeClr val="bg1"/>
                </a:solidFill>
                <a:latin typeface="EYInterstate Light" panose="02000506000000020004" pitchFamily="2" charset="0"/>
              </a:defRPr>
            </a:lvl2pPr>
            <a:lvl3pPr marL="1069848" marR="0" indent="-356616" fontAlgn="auto">
              <a:lnSpc>
                <a:spcPct val="100000"/>
              </a:lnSpc>
              <a:spcBef>
                <a:spcPct val="20000"/>
              </a:spcBef>
              <a:spcAft>
                <a:spcPts val="0"/>
              </a:spcAft>
              <a:buClr>
                <a:srgbClr val="FFE600"/>
              </a:buClr>
              <a:buSzPct val="70000"/>
              <a:buFont typeface="Arial" pitchFamily="34" charset="0"/>
              <a:buChar char="►"/>
              <a:tabLst/>
              <a:defRPr sz="1600">
                <a:solidFill>
                  <a:schemeClr val="bg1"/>
                </a:solidFill>
                <a:latin typeface="EYInterstate Light" panose="02000506000000020004" pitchFamily="2" charset="0"/>
              </a:defRPr>
            </a:lvl3pPr>
            <a:lvl4pPr marL="1426464" marR="0" indent="-356616" fontAlgn="auto">
              <a:lnSpc>
                <a:spcPct val="100000"/>
              </a:lnSpc>
              <a:spcBef>
                <a:spcPct val="20000"/>
              </a:spcBef>
              <a:spcAft>
                <a:spcPts val="0"/>
              </a:spcAft>
              <a:buClr>
                <a:srgbClr val="FFE600"/>
              </a:buClr>
              <a:buSzPct val="70000"/>
              <a:buFont typeface="Arial" pitchFamily="34" charset="0"/>
              <a:buChar char="►"/>
              <a:tabLst/>
              <a:defRPr sz="1400">
                <a:solidFill>
                  <a:schemeClr val="bg1"/>
                </a:solidFill>
                <a:latin typeface="EYInterstate Light" panose="02000506000000020004" pitchFamily="2" charset="0"/>
              </a:defRPr>
            </a:lvl4pPr>
            <a:lvl5pPr marL="1783080" marR="0" indent="-356616" fontAlgn="auto">
              <a:lnSpc>
                <a:spcPct val="100000"/>
              </a:lnSpc>
              <a:spcBef>
                <a:spcPct val="20000"/>
              </a:spcBef>
              <a:spcAft>
                <a:spcPts val="0"/>
              </a:spcAft>
              <a:buClr>
                <a:srgbClr val="FFE600"/>
              </a:buClr>
              <a:buSzPct val="70000"/>
              <a:buFont typeface="Arial" pitchFamily="34" charset="0"/>
              <a:buChar char="►"/>
              <a:tabLst/>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GB" sz="1100" b="0" i="0" u="none" strike="noStrike" kern="0" cap="none" spc="0" normalizeH="0" baseline="0" noProof="0">
                <a:ln>
                  <a:noFill/>
                </a:ln>
                <a:solidFill>
                  <a:srgbClr val="1A1A24"/>
                </a:solidFill>
                <a:effectLst/>
                <a:uLnTx/>
                <a:uFillTx/>
                <a:latin typeface="EYInterstate Light" panose="02000506000000020004" pitchFamily="2" charset="0"/>
                <a:ea typeface="+mn-ea"/>
                <a:cs typeface="+mn-cs"/>
              </a:rPr>
              <a:t>Our plan is broken down into 4 key phases:</a:t>
            </a:r>
          </a:p>
        </p:txBody>
      </p:sp>
      <p:sp>
        <p:nvSpPr>
          <p:cNvPr id="316" name="Content Placeholder 2" descr="Progress Diagram.">
            <a:extLst>
              <a:ext uri="{FF2B5EF4-FFF2-40B4-BE49-F238E27FC236}">
                <a16:creationId xmlns:a16="http://schemas.microsoft.com/office/drawing/2014/main" id="{E3F77445-167C-3730-9A99-EDE099BA71A9}"/>
              </a:ext>
            </a:extLst>
          </p:cNvPr>
          <p:cNvSpPr txBox="1">
            <a:spLocks/>
          </p:cNvSpPr>
          <p:nvPr/>
        </p:nvSpPr>
        <p:spPr>
          <a:xfrm>
            <a:off x="1176708" y="3768349"/>
            <a:ext cx="2520000" cy="2124000"/>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E154B"/>
              </a:buClr>
              <a:buSzPct val="100000"/>
              <a:buFont typeface="Arial" pitchFamily="34" charset="0"/>
              <a:buNone/>
              <a:tabLst/>
              <a:defRPr/>
            </a:pPr>
            <a:r>
              <a:rPr kumimoji="0" lang="en-US" sz="1100" b="1" i="0" u="none" strike="noStrike" kern="1200" cap="none" spc="0" normalizeH="0" baseline="0" noProof="0">
                <a:ln>
                  <a:noFill/>
                </a:ln>
                <a:solidFill>
                  <a:srgbClr val="1A1A24"/>
                </a:solidFill>
                <a:effectLst/>
                <a:uLnTx/>
                <a:uFillTx/>
                <a:latin typeface="EYInterstate Regular" panose="02000503020000020004" pitchFamily="2" charset="0"/>
                <a:ea typeface="+mn-ea"/>
                <a:cs typeface="+mn-cs"/>
              </a:rPr>
              <a:t>Project planning</a:t>
            </a:r>
            <a:endParaRPr kumimoji="0" lang="en-GB" sz="1100" b="1"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Establish a project approach aligning with stakeholders’ objectives, to facilitate effective decision-making through the formation of working and steering committees.</a:t>
            </a: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Define a framework for consistent Management Information System (MIS) reporting to support informed management decisions, to reach a consensus on the execution strategy to drive project success.</a:t>
            </a:r>
            <a:endParaRPr kumimoji="0" lang="en-US"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18" name="Content Placeholder 2" descr="Progress Diagram.">
            <a:extLst>
              <a:ext uri="{FF2B5EF4-FFF2-40B4-BE49-F238E27FC236}">
                <a16:creationId xmlns:a16="http://schemas.microsoft.com/office/drawing/2014/main" id="{1B864B66-B0EA-CA1B-120C-E331DF074F00}"/>
              </a:ext>
            </a:extLst>
          </p:cNvPr>
          <p:cNvSpPr txBox="1">
            <a:spLocks/>
          </p:cNvSpPr>
          <p:nvPr/>
        </p:nvSpPr>
        <p:spPr>
          <a:xfrm>
            <a:off x="9238381" y="3768349"/>
            <a:ext cx="2520000" cy="2700000"/>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E154B"/>
              </a:buClr>
              <a:buSzPct val="100000"/>
              <a:buFont typeface="Arial" pitchFamily="34" charset="0"/>
              <a:buNone/>
              <a:tabLst/>
              <a:defRPr/>
            </a:pPr>
            <a:r>
              <a:rPr kumimoji="0" lang="en-US" sz="1100" b="1" i="0" u="none" strike="noStrike" kern="1200" cap="none" spc="0" normalizeH="0" baseline="0" noProof="0">
                <a:ln>
                  <a:noFill/>
                </a:ln>
                <a:solidFill>
                  <a:srgbClr val="1A1A24"/>
                </a:solidFill>
                <a:effectLst/>
                <a:uLnTx/>
                <a:uFillTx/>
                <a:latin typeface="EYInterstate Regular" panose="02000503020000020004" pitchFamily="2" charset="0"/>
                <a:ea typeface="+mn-ea"/>
                <a:cs typeface="+mn-cs"/>
              </a:rPr>
              <a:t>Handover, knowledge transfer and exit</a:t>
            </a:r>
            <a:endParaRPr kumimoji="0" lang="en-GB" sz="1100" b="1"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Support through operationalisation such as BAU reporting to ensure successful completion of all deliverables and sustainability of the processes. </a:t>
            </a: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Facilitate a formal handover including knowledge and skills transfer to equip Absa key stakeholders.</a:t>
            </a: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Provide a training plan on script execution, investigation and remediation.</a:t>
            </a: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Achieve a  structured project closeout.</a:t>
            </a:r>
            <a:b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br>
            <a:endParaRPr kumimoji="0" lang="en-US"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02" name="Freeform: Shape 301">
            <a:extLst>
              <a:ext uri="{FF2B5EF4-FFF2-40B4-BE49-F238E27FC236}">
                <a16:creationId xmlns:a16="http://schemas.microsoft.com/office/drawing/2014/main" id="{0B01114F-2F36-B4CB-66F3-DFD522893C7A}"/>
              </a:ext>
            </a:extLst>
          </p:cNvPr>
          <p:cNvSpPr>
            <a:spLocks/>
          </p:cNvSpPr>
          <p:nvPr/>
        </p:nvSpPr>
        <p:spPr>
          <a:xfrm>
            <a:off x="4273713" y="1427910"/>
            <a:ext cx="4348835" cy="2206630"/>
          </a:xfrm>
          <a:custGeom>
            <a:avLst/>
            <a:gdLst>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443800 w 7726630"/>
              <a:gd name="connsiteY24" fmla="*/ 1754240 h 3920548"/>
              <a:gd name="connsiteX25" fmla="*/ 3394038 w 7726630"/>
              <a:gd name="connsiteY25" fmla="*/ 1877596 h 3920548"/>
              <a:gd name="connsiteX26" fmla="*/ 3264524 w 7726630"/>
              <a:gd name="connsiteY26" fmla="*/ 1742934 h 3920548"/>
              <a:gd name="connsiteX27" fmla="*/ 2002166 w 7726630"/>
              <a:gd name="connsiteY27" fmla="*/ 626688 h 3920548"/>
              <a:gd name="connsiteX28" fmla="*/ 427389 w 7726630"/>
              <a:gd name="connsiteY28" fmla="*/ 900950 h 3920548"/>
              <a:gd name="connsiteX29" fmla="*/ 134002 w 7726630"/>
              <a:gd name="connsiteY29" fmla="*/ 942886 h 3920548"/>
              <a:gd name="connsiteX30" fmla="*/ 89597 w 7726630"/>
              <a:gd name="connsiteY30" fmla="*/ 526321 h 3920548"/>
              <a:gd name="connsiteX31" fmla="*/ 1501103 w 7726630"/>
              <a:gd name="connsiteY31"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394038 w 7726630"/>
              <a:gd name="connsiteY24" fmla="*/ 1877596 h 3920548"/>
              <a:gd name="connsiteX25" fmla="*/ 3264524 w 7726630"/>
              <a:gd name="connsiteY25" fmla="*/ 1742934 h 3920548"/>
              <a:gd name="connsiteX26" fmla="*/ 2002166 w 7726630"/>
              <a:gd name="connsiteY26" fmla="*/ 626688 h 3920548"/>
              <a:gd name="connsiteX27" fmla="*/ 427389 w 7726630"/>
              <a:gd name="connsiteY27" fmla="*/ 900950 h 3920548"/>
              <a:gd name="connsiteX28" fmla="*/ 134002 w 7726630"/>
              <a:gd name="connsiteY28" fmla="*/ 942886 h 3920548"/>
              <a:gd name="connsiteX29" fmla="*/ 89597 w 7726630"/>
              <a:gd name="connsiteY29" fmla="*/ 526321 h 3920548"/>
              <a:gd name="connsiteX30" fmla="*/ 1501103 w 7726630"/>
              <a:gd name="connsiteY30"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394038 w 7726630"/>
              <a:gd name="connsiteY23" fmla="*/ 1877596 h 3920548"/>
              <a:gd name="connsiteX24" fmla="*/ 3264524 w 7726630"/>
              <a:gd name="connsiteY24" fmla="*/ 1742934 h 3920548"/>
              <a:gd name="connsiteX25" fmla="*/ 2002166 w 7726630"/>
              <a:gd name="connsiteY25" fmla="*/ 626688 h 3920548"/>
              <a:gd name="connsiteX26" fmla="*/ 427389 w 7726630"/>
              <a:gd name="connsiteY26" fmla="*/ 900950 h 3920548"/>
              <a:gd name="connsiteX27" fmla="*/ 134002 w 7726630"/>
              <a:gd name="connsiteY27" fmla="*/ 942886 h 3920548"/>
              <a:gd name="connsiteX28" fmla="*/ 89597 w 7726630"/>
              <a:gd name="connsiteY28" fmla="*/ 526321 h 3920548"/>
              <a:gd name="connsiteX29" fmla="*/ 1501103 w 7726630"/>
              <a:gd name="connsiteY29"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3394038 w 7726630"/>
              <a:gd name="connsiteY22" fmla="*/ 1877596 h 3920548"/>
              <a:gd name="connsiteX23" fmla="*/ 3264524 w 7726630"/>
              <a:gd name="connsiteY23" fmla="*/ 1742934 h 3920548"/>
              <a:gd name="connsiteX24" fmla="*/ 2002166 w 7726630"/>
              <a:gd name="connsiteY24" fmla="*/ 626688 h 3920548"/>
              <a:gd name="connsiteX25" fmla="*/ 427389 w 7726630"/>
              <a:gd name="connsiteY25" fmla="*/ 900950 h 3920548"/>
              <a:gd name="connsiteX26" fmla="*/ 134002 w 7726630"/>
              <a:gd name="connsiteY26" fmla="*/ 942886 h 3920548"/>
              <a:gd name="connsiteX27" fmla="*/ 89597 w 7726630"/>
              <a:gd name="connsiteY27" fmla="*/ 526321 h 3920548"/>
              <a:gd name="connsiteX28" fmla="*/ 1501103 w 7726630"/>
              <a:gd name="connsiteY28"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3394038 w 7726630"/>
              <a:gd name="connsiteY21" fmla="*/ 1877596 h 3920548"/>
              <a:gd name="connsiteX22" fmla="*/ 3264524 w 7726630"/>
              <a:gd name="connsiteY22" fmla="*/ 1742934 h 3920548"/>
              <a:gd name="connsiteX23" fmla="*/ 2002166 w 7726630"/>
              <a:gd name="connsiteY23" fmla="*/ 626688 h 3920548"/>
              <a:gd name="connsiteX24" fmla="*/ 427389 w 7726630"/>
              <a:gd name="connsiteY24" fmla="*/ 900950 h 3920548"/>
              <a:gd name="connsiteX25" fmla="*/ 134002 w 7726630"/>
              <a:gd name="connsiteY25" fmla="*/ 942886 h 3920548"/>
              <a:gd name="connsiteX26" fmla="*/ 89597 w 7726630"/>
              <a:gd name="connsiteY26" fmla="*/ 526321 h 3920548"/>
              <a:gd name="connsiteX27" fmla="*/ 1501103 w 7726630"/>
              <a:gd name="connsiteY27"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314136 w 7726630"/>
              <a:gd name="connsiteY6" fmla="*/ 2108176 h 3920548"/>
              <a:gd name="connsiteX7" fmla="*/ 4457569 w 7726630"/>
              <a:gd name="connsiteY7" fmla="*/ 2259327 h 3920548"/>
              <a:gd name="connsiteX8" fmla="*/ 6414726 w 7726630"/>
              <a:gd name="connsiteY8" fmla="*/ 3407390 h 3920548"/>
              <a:gd name="connsiteX9" fmla="*/ 7127167 w 7726630"/>
              <a:gd name="connsiteY9" fmla="*/ 3100088 h 3920548"/>
              <a:gd name="connsiteX10" fmla="*/ 7026764 w 7726630"/>
              <a:gd name="connsiteY10" fmla="*/ 2999730 h 3920548"/>
              <a:gd name="connsiteX11" fmla="*/ 7063672 w 7726630"/>
              <a:gd name="connsiteY11" fmla="*/ 2907004 h 3920548"/>
              <a:gd name="connsiteX12" fmla="*/ 7602070 w 7726630"/>
              <a:gd name="connsiteY12" fmla="*/ 2896828 h 3920548"/>
              <a:gd name="connsiteX13" fmla="*/ 7726611 w 7726630"/>
              <a:gd name="connsiteY13" fmla="*/ 3023854 h 3920548"/>
              <a:gd name="connsiteX14" fmla="*/ 7716466 w 7726630"/>
              <a:gd name="connsiteY14" fmla="*/ 3562313 h 3920548"/>
              <a:gd name="connsiteX15" fmla="*/ 7623759 w 7726630"/>
              <a:gd name="connsiteY15" fmla="*/ 3599158 h 3920548"/>
              <a:gd name="connsiteX16" fmla="*/ 7485224 w 7726630"/>
              <a:gd name="connsiteY16" fmla="*/ 3460727 h 3920548"/>
              <a:gd name="connsiteX17" fmla="*/ 6450234 w 7726630"/>
              <a:gd name="connsiteY17" fmla="*/ 3911636 h 3920548"/>
              <a:gd name="connsiteX18" fmla="*/ 4124875 w 7726630"/>
              <a:gd name="connsiteY18" fmla="*/ 2639003 h 3920548"/>
              <a:gd name="connsiteX19" fmla="*/ 3949607 w 7726630"/>
              <a:gd name="connsiteY19" fmla="*/ 2457411 h 3920548"/>
              <a:gd name="connsiteX20" fmla="*/ 3394038 w 7726630"/>
              <a:gd name="connsiteY20" fmla="*/ 1877596 h 3920548"/>
              <a:gd name="connsiteX21" fmla="*/ 3264524 w 7726630"/>
              <a:gd name="connsiteY21" fmla="*/ 1742934 h 3920548"/>
              <a:gd name="connsiteX22" fmla="*/ 2002166 w 7726630"/>
              <a:gd name="connsiteY22" fmla="*/ 626688 h 3920548"/>
              <a:gd name="connsiteX23" fmla="*/ 427389 w 7726630"/>
              <a:gd name="connsiteY23" fmla="*/ 900950 h 3920548"/>
              <a:gd name="connsiteX24" fmla="*/ 134002 w 7726630"/>
              <a:gd name="connsiteY24" fmla="*/ 942886 h 3920548"/>
              <a:gd name="connsiteX25" fmla="*/ 89597 w 7726630"/>
              <a:gd name="connsiteY25" fmla="*/ 526321 h 3920548"/>
              <a:gd name="connsiteX26" fmla="*/ 1501103 w 7726630"/>
              <a:gd name="connsiteY26"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4314136 w 7726630"/>
              <a:gd name="connsiteY5" fmla="*/ 2108176 h 3920548"/>
              <a:gd name="connsiteX6" fmla="*/ 4457569 w 7726630"/>
              <a:gd name="connsiteY6" fmla="*/ 2259327 h 3920548"/>
              <a:gd name="connsiteX7" fmla="*/ 6414726 w 7726630"/>
              <a:gd name="connsiteY7" fmla="*/ 3407390 h 3920548"/>
              <a:gd name="connsiteX8" fmla="*/ 7127167 w 7726630"/>
              <a:gd name="connsiteY8" fmla="*/ 3100088 h 3920548"/>
              <a:gd name="connsiteX9" fmla="*/ 7026764 w 7726630"/>
              <a:gd name="connsiteY9" fmla="*/ 2999730 h 3920548"/>
              <a:gd name="connsiteX10" fmla="*/ 7063672 w 7726630"/>
              <a:gd name="connsiteY10" fmla="*/ 2907004 h 3920548"/>
              <a:gd name="connsiteX11" fmla="*/ 7602070 w 7726630"/>
              <a:gd name="connsiteY11" fmla="*/ 2896828 h 3920548"/>
              <a:gd name="connsiteX12" fmla="*/ 7726611 w 7726630"/>
              <a:gd name="connsiteY12" fmla="*/ 3023854 h 3920548"/>
              <a:gd name="connsiteX13" fmla="*/ 7716466 w 7726630"/>
              <a:gd name="connsiteY13" fmla="*/ 3562313 h 3920548"/>
              <a:gd name="connsiteX14" fmla="*/ 7623759 w 7726630"/>
              <a:gd name="connsiteY14" fmla="*/ 3599158 h 3920548"/>
              <a:gd name="connsiteX15" fmla="*/ 7485224 w 7726630"/>
              <a:gd name="connsiteY15" fmla="*/ 3460727 h 3920548"/>
              <a:gd name="connsiteX16" fmla="*/ 6450234 w 7726630"/>
              <a:gd name="connsiteY16" fmla="*/ 3911636 h 3920548"/>
              <a:gd name="connsiteX17" fmla="*/ 4124875 w 7726630"/>
              <a:gd name="connsiteY17" fmla="*/ 2639003 h 3920548"/>
              <a:gd name="connsiteX18" fmla="*/ 3949607 w 7726630"/>
              <a:gd name="connsiteY18" fmla="*/ 2457411 h 3920548"/>
              <a:gd name="connsiteX19" fmla="*/ 3394038 w 7726630"/>
              <a:gd name="connsiteY19" fmla="*/ 1877596 h 3920548"/>
              <a:gd name="connsiteX20" fmla="*/ 3264524 w 7726630"/>
              <a:gd name="connsiteY20" fmla="*/ 1742934 h 3920548"/>
              <a:gd name="connsiteX21" fmla="*/ 2002166 w 7726630"/>
              <a:gd name="connsiteY21" fmla="*/ 626688 h 3920548"/>
              <a:gd name="connsiteX22" fmla="*/ 427389 w 7726630"/>
              <a:gd name="connsiteY22" fmla="*/ 900950 h 3920548"/>
              <a:gd name="connsiteX23" fmla="*/ 134002 w 7726630"/>
              <a:gd name="connsiteY23" fmla="*/ 942886 h 3920548"/>
              <a:gd name="connsiteX24" fmla="*/ 89597 w 7726630"/>
              <a:gd name="connsiteY24" fmla="*/ 526321 h 3920548"/>
              <a:gd name="connsiteX25" fmla="*/ 1501103 w 7726630"/>
              <a:gd name="connsiteY25"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4314136 w 7726630"/>
              <a:gd name="connsiteY4" fmla="*/ 2108176 h 3920548"/>
              <a:gd name="connsiteX5" fmla="*/ 4457569 w 7726630"/>
              <a:gd name="connsiteY5" fmla="*/ 2259327 h 3920548"/>
              <a:gd name="connsiteX6" fmla="*/ 6414726 w 7726630"/>
              <a:gd name="connsiteY6" fmla="*/ 3407390 h 3920548"/>
              <a:gd name="connsiteX7" fmla="*/ 7127167 w 7726630"/>
              <a:gd name="connsiteY7" fmla="*/ 3100088 h 3920548"/>
              <a:gd name="connsiteX8" fmla="*/ 7026764 w 7726630"/>
              <a:gd name="connsiteY8" fmla="*/ 2999730 h 3920548"/>
              <a:gd name="connsiteX9" fmla="*/ 7063672 w 7726630"/>
              <a:gd name="connsiteY9" fmla="*/ 2907004 h 3920548"/>
              <a:gd name="connsiteX10" fmla="*/ 7602070 w 7726630"/>
              <a:gd name="connsiteY10" fmla="*/ 2896828 h 3920548"/>
              <a:gd name="connsiteX11" fmla="*/ 7726611 w 7726630"/>
              <a:gd name="connsiteY11" fmla="*/ 3023854 h 3920548"/>
              <a:gd name="connsiteX12" fmla="*/ 7716466 w 7726630"/>
              <a:gd name="connsiteY12" fmla="*/ 3562313 h 3920548"/>
              <a:gd name="connsiteX13" fmla="*/ 7623759 w 7726630"/>
              <a:gd name="connsiteY13" fmla="*/ 3599158 h 3920548"/>
              <a:gd name="connsiteX14" fmla="*/ 7485224 w 7726630"/>
              <a:gd name="connsiteY14" fmla="*/ 3460727 h 3920548"/>
              <a:gd name="connsiteX15" fmla="*/ 6450234 w 7726630"/>
              <a:gd name="connsiteY15" fmla="*/ 3911636 h 3920548"/>
              <a:gd name="connsiteX16" fmla="*/ 4124875 w 7726630"/>
              <a:gd name="connsiteY16" fmla="*/ 2639003 h 3920548"/>
              <a:gd name="connsiteX17" fmla="*/ 3949607 w 7726630"/>
              <a:gd name="connsiteY17" fmla="*/ 2457411 h 3920548"/>
              <a:gd name="connsiteX18" fmla="*/ 3394038 w 7726630"/>
              <a:gd name="connsiteY18" fmla="*/ 1877596 h 3920548"/>
              <a:gd name="connsiteX19" fmla="*/ 3264524 w 7726630"/>
              <a:gd name="connsiteY19" fmla="*/ 1742934 h 3920548"/>
              <a:gd name="connsiteX20" fmla="*/ 2002166 w 7726630"/>
              <a:gd name="connsiteY20" fmla="*/ 626688 h 3920548"/>
              <a:gd name="connsiteX21" fmla="*/ 427389 w 7726630"/>
              <a:gd name="connsiteY21" fmla="*/ 900950 h 3920548"/>
              <a:gd name="connsiteX22" fmla="*/ 134002 w 7726630"/>
              <a:gd name="connsiteY22" fmla="*/ 942886 h 3920548"/>
              <a:gd name="connsiteX23" fmla="*/ 89597 w 7726630"/>
              <a:gd name="connsiteY23" fmla="*/ 526321 h 3920548"/>
              <a:gd name="connsiteX24" fmla="*/ 1501103 w 7726630"/>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30" h="3920548">
                <a:moveTo>
                  <a:pt x="1501103" y="914"/>
                </a:moveTo>
                <a:cubicBezTo>
                  <a:pt x="1679131" y="6348"/>
                  <a:pt x="1855737" y="36111"/>
                  <a:pt x="2022430" y="93260"/>
                </a:cubicBezTo>
                <a:cubicBezTo>
                  <a:pt x="2560923" y="277407"/>
                  <a:pt x="2874574" y="570773"/>
                  <a:pt x="3602316" y="1367093"/>
                </a:cubicBezTo>
                <a:cubicBezTo>
                  <a:pt x="3618880" y="1383588"/>
                  <a:pt x="3675971" y="1444535"/>
                  <a:pt x="3755970" y="1527103"/>
                </a:cubicBezTo>
                <a:lnTo>
                  <a:pt x="4314136" y="2108176"/>
                </a:lnTo>
                <a:lnTo>
                  <a:pt x="4457569" y="2259327"/>
                </a:lnTo>
                <a:cubicBezTo>
                  <a:pt x="5153568" y="3021310"/>
                  <a:pt x="5746714" y="3515380"/>
                  <a:pt x="6414726" y="3407390"/>
                </a:cubicBezTo>
                <a:cubicBezTo>
                  <a:pt x="6779080" y="3347737"/>
                  <a:pt x="6991256" y="3211850"/>
                  <a:pt x="7127167" y="3100088"/>
                </a:cubicBezTo>
                <a:lnTo>
                  <a:pt x="7026764" y="2999730"/>
                </a:lnTo>
                <a:cubicBezTo>
                  <a:pt x="6977262" y="2950165"/>
                  <a:pt x="6993705" y="2908320"/>
                  <a:pt x="7063672" y="2907004"/>
                </a:cubicBezTo>
                <a:lnTo>
                  <a:pt x="7602070" y="2896828"/>
                </a:lnTo>
                <a:cubicBezTo>
                  <a:pt x="7672036" y="2895600"/>
                  <a:pt x="7727836" y="2952709"/>
                  <a:pt x="7726611" y="3023854"/>
                </a:cubicBezTo>
                <a:lnTo>
                  <a:pt x="7716466" y="3562313"/>
                </a:lnTo>
                <a:cubicBezTo>
                  <a:pt x="7715066" y="3632230"/>
                  <a:pt x="7673261" y="3648723"/>
                  <a:pt x="7623759" y="3599158"/>
                </a:cubicBezTo>
                <a:lnTo>
                  <a:pt x="7485224" y="3460727"/>
                </a:lnTo>
                <a:cubicBezTo>
                  <a:pt x="7266752" y="3643635"/>
                  <a:pt x="6873186" y="3873475"/>
                  <a:pt x="6450234" y="3911636"/>
                </a:cubicBezTo>
                <a:cubicBezTo>
                  <a:pt x="5441832" y="4003046"/>
                  <a:pt x="4831019" y="3378177"/>
                  <a:pt x="4124875" y="2639003"/>
                </a:cubicBezTo>
                <a:cubicBezTo>
                  <a:pt x="4122251" y="2637775"/>
                  <a:pt x="4051234" y="2562857"/>
                  <a:pt x="3949607" y="2457411"/>
                </a:cubicBezTo>
                <a:lnTo>
                  <a:pt x="3394038" y="1877596"/>
                </a:lnTo>
                <a:lnTo>
                  <a:pt x="3264524" y="1742934"/>
                </a:lnTo>
                <a:cubicBezTo>
                  <a:pt x="2567267" y="981002"/>
                  <a:pt x="2356521" y="793035"/>
                  <a:pt x="2002166" y="626688"/>
                </a:cubicBezTo>
                <a:cubicBezTo>
                  <a:pt x="1498033" y="389143"/>
                  <a:pt x="826149" y="513647"/>
                  <a:pt x="427389" y="900950"/>
                </a:cubicBezTo>
                <a:cubicBezTo>
                  <a:pt x="349857" y="975876"/>
                  <a:pt x="229330" y="993676"/>
                  <a:pt x="134002" y="942886"/>
                </a:cubicBezTo>
                <a:cubicBezTo>
                  <a:pt x="-19652" y="861623"/>
                  <a:pt x="-50136" y="644394"/>
                  <a:pt x="89597" y="526321"/>
                </a:cubicBezTo>
                <a:cubicBezTo>
                  <a:pt x="420120" y="187267"/>
                  <a:pt x="967017" y="-15389"/>
                  <a:pt x="1501103" y="914"/>
                </a:cubicBezTo>
                <a:close/>
              </a:path>
            </a:pathLst>
          </a:custGeom>
          <a:solidFill>
            <a:srgbClr val="5A003D"/>
          </a:solidFill>
          <a:ln w="25400" cap="flat">
            <a:noFill/>
            <a:prstDash val="solid"/>
            <a:miter lim="400000"/>
          </a:ln>
          <a:effectLst/>
          <a:sp3d/>
        </p:spPr>
        <p:txBody>
          <a:bodyPr rot="0" spcFirstLastPara="1" vertOverflow="overflow" horzOverflow="overflow" vert="horz" wrap="square" lIns="38100" tIns="38100" rIns="38100" bIns="38100" numCol="1" spcCol="3810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3000" b="0" i="0" u="none" strike="noStrike" kern="0" cap="none" spc="0" normalizeH="0" baseline="0" noProof="0">
              <a:ln>
                <a:noFill/>
              </a:ln>
              <a:solidFill>
                <a:srgbClr val="FFFFFF"/>
              </a:solidFill>
              <a:effectLst/>
              <a:uLnTx/>
              <a:uFillTx/>
              <a:latin typeface="EYInterstate Regular" panose="02000503020000020004" pitchFamily="2" charset="0"/>
              <a:ea typeface="+mn-ea"/>
              <a:cs typeface="+mn-cs"/>
            </a:endParaRPr>
          </a:p>
        </p:txBody>
      </p:sp>
      <p:sp>
        <p:nvSpPr>
          <p:cNvPr id="306" name="Figure">
            <a:extLst>
              <a:ext uri="{FF2B5EF4-FFF2-40B4-BE49-F238E27FC236}">
                <a16:creationId xmlns:a16="http://schemas.microsoft.com/office/drawing/2014/main" id="{7099E011-A46D-F054-4B5A-1158FA4FAB54}"/>
              </a:ext>
            </a:extLst>
          </p:cNvPr>
          <p:cNvSpPr>
            <a:spLocks/>
          </p:cNvSpPr>
          <p:nvPr/>
        </p:nvSpPr>
        <p:spPr>
          <a:xfrm>
            <a:off x="1550261" y="3036203"/>
            <a:ext cx="1666675" cy="635020"/>
          </a:xfrm>
          <a:custGeom>
            <a:avLst/>
            <a:gdLst/>
            <a:ahLst/>
            <a:cxnLst>
              <a:cxn ang="0">
                <a:pos x="wd2" y="hd2"/>
              </a:cxn>
              <a:cxn ang="5400000">
                <a:pos x="wd2" y="hd2"/>
              </a:cxn>
              <a:cxn ang="10800000">
                <a:pos x="wd2" y="hd2"/>
              </a:cxn>
              <a:cxn ang="16200000">
                <a:pos x="wd2" y="hd2"/>
              </a:cxn>
            </a:cxnLst>
            <a:rect l="0" t="0" r="r" b="b"/>
            <a:pathLst>
              <a:path w="21295" h="20880" extrusionOk="0">
                <a:moveTo>
                  <a:pt x="20692" y="15"/>
                </a:moveTo>
                <a:lnTo>
                  <a:pt x="15815" y="1777"/>
                </a:lnTo>
                <a:cubicBezTo>
                  <a:pt x="15486" y="1895"/>
                  <a:pt x="15413" y="2459"/>
                  <a:pt x="15669" y="3023"/>
                </a:cubicBezTo>
                <a:lnTo>
                  <a:pt x="16820" y="5608"/>
                </a:lnTo>
                <a:cubicBezTo>
                  <a:pt x="16089" y="6972"/>
                  <a:pt x="15039" y="8734"/>
                  <a:pt x="13897" y="9839"/>
                </a:cubicBezTo>
                <a:cubicBezTo>
                  <a:pt x="11541" y="12119"/>
                  <a:pt x="9011" y="12001"/>
                  <a:pt x="6910" y="10145"/>
                </a:cubicBezTo>
                <a:cubicBezTo>
                  <a:pt x="4061" y="7630"/>
                  <a:pt x="3239" y="4010"/>
                  <a:pt x="2481" y="3235"/>
                </a:cubicBezTo>
                <a:cubicBezTo>
                  <a:pt x="1960" y="2694"/>
                  <a:pt x="1348" y="2811"/>
                  <a:pt x="873" y="3564"/>
                </a:cubicBezTo>
                <a:cubicBezTo>
                  <a:pt x="-141" y="5138"/>
                  <a:pt x="-305" y="8852"/>
                  <a:pt x="554" y="10944"/>
                </a:cubicBezTo>
                <a:cubicBezTo>
                  <a:pt x="2188" y="15174"/>
                  <a:pt x="4974" y="18841"/>
                  <a:pt x="6865" y="19828"/>
                </a:cubicBezTo>
                <a:cubicBezTo>
                  <a:pt x="9605" y="21497"/>
                  <a:pt x="12262" y="21074"/>
                  <a:pt x="14363" y="19311"/>
                </a:cubicBezTo>
                <a:cubicBezTo>
                  <a:pt x="16555" y="17642"/>
                  <a:pt x="18646" y="13905"/>
                  <a:pt x="19614" y="11907"/>
                </a:cubicBezTo>
                <a:lnTo>
                  <a:pt x="20811" y="14587"/>
                </a:lnTo>
                <a:cubicBezTo>
                  <a:pt x="21067" y="15151"/>
                  <a:pt x="21277" y="14916"/>
                  <a:pt x="21277" y="14046"/>
                </a:cubicBezTo>
                <a:lnTo>
                  <a:pt x="21295" y="1378"/>
                </a:lnTo>
                <a:cubicBezTo>
                  <a:pt x="21295" y="508"/>
                  <a:pt x="21021" y="-103"/>
                  <a:pt x="20692" y="15"/>
                </a:cubicBezTo>
                <a:close/>
              </a:path>
            </a:pathLst>
          </a:custGeom>
          <a:solidFill>
            <a:srgbClr val="AF154B"/>
          </a:solidFill>
          <a:ln w="25400" cap="flat">
            <a:noFill/>
            <a:prstDash val="solid"/>
            <a:miter lim="400000"/>
          </a:ln>
          <a:effectLst/>
          <a:sp3d/>
        </p:spPr>
        <p:txBody>
          <a:bodyPr rot="0" spcFirstLastPara="1" vertOverflow="overflow" horzOverflow="overflow" vert="horz" wrap="square" lIns="38100" tIns="38100" rIns="38100" bIns="38100" numCol="1" spcCol="3810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3000" b="0" i="0" u="none" strike="noStrike" kern="0" cap="none" spc="0" normalizeH="0" baseline="0" noProof="0">
              <a:ln>
                <a:noFill/>
              </a:ln>
              <a:solidFill>
                <a:srgbClr val="FFFFFF"/>
              </a:solidFill>
              <a:effectLst/>
              <a:uLnTx/>
              <a:uFillTx/>
              <a:latin typeface="EYInterstate Regular" panose="02000503020000020004" pitchFamily="2" charset="0"/>
              <a:ea typeface="+mn-ea"/>
              <a:cs typeface="+mn-cs"/>
            </a:endParaRPr>
          </a:p>
        </p:txBody>
      </p:sp>
      <p:sp>
        <p:nvSpPr>
          <p:cNvPr id="307" name="Freeform: Shape 306">
            <a:extLst>
              <a:ext uri="{FF2B5EF4-FFF2-40B4-BE49-F238E27FC236}">
                <a16:creationId xmlns:a16="http://schemas.microsoft.com/office/drawing/2014/main" id="{F37718C7-FE73-620C-5056-D319FB4EB571}"/>
              </a:ext>
            </a:extLst>
          </p:cNvPr>
          <p:cNvSpPr>
            <a:spLocks/>
          </p:cNvSpPr>
          <p:nvPr/>
        </p:nvSpPr>
        <p:spPr>
          <a:xfrm>
            <a:off x="1557460" y="1427910"/>
            <a:ext cx="4348835" cy="2206630"/>
          </a:xfrm>
          <a:custGeom>
            <a:avLst/>
            <a:gdLst>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4084467 w 7726629"/>
              <a:gd name="connsiteY23" fmla="*/ 2406216 h 3920548"/>
              <a:gd name="connsiteX24" fmla="*/ 3434669 w 7726629"/>
              <a:gd name="connsiteY24" fmla="*/ 1776874 h 3920548"/>
              <a:gd name="connsiteX25" fmla="*/ 3394037 w 7726629"/>
              <a:gd name="connsiteY25" fmla="*/ 1877596 h 3920548"/>
              <a:gd name="connsiteX26" fmla="*/ 3264524 w 7726629"/>
              <a:gd name="connsiteY26" fmla="*/ 1742934 h 3920548"/>
              <a:gd name="connsiteX27" fmla="*/ 2002166 w 7726629"/>
              <a:gd name="connsiteY27" fmla="*/ 626688 h 3920548"/>
              <a:gd name="connsiteX28" fmla="*/ 427389 w 7726629"/>
              <a:gd name="connsiteY28" fmla="*/ 900950 h 3920548"/>
              <a:gd name="connsiteX29" fmla="*/ 134002 w 7726629"/>
              <a:gd name="connsiteY29" fmla="*/ 942886 h 3920548"/>
              <a:gd name="connsiteX30" fmla="*/ 89597 w 7726629"/>
              <a:gd name="connsiteY30" fmla="*/ 526321 h 3920548"/>
              <a:gd name="connsiteX31" fmla="*/ 1501102 w 7726629"/>
              <a:gd name="connsiteY31"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434669 w 7726629"/>
              <a:gd name="connsiteY23" fmla="*/ 1776874 h 3920548"/>
              <a:gd name="connsiteX24" fmla="*/ 3394037 w 7726629"/>
              <a:gd name="connsiteY24" fmla="*/ 1877596 h 3920548"/>
              <a:gd name="connsiteX25" fmla="*/ 3264524 w 7726629"/>
              <a:gd name="connsiteY25" fmla="*/ 1742934 h 3920548"/>
              <a:gd name="connsiteX26" fmla="*/ 2002166 w 7726629"/>
              <a:gd name="connsiteY26" fmla="*/ 626688 h 3920548"/>
              <a:gd name="connsiteX27" fmla="*/ 427389 w 7726629"/>
              <a:gd name="connsiteY27" fmla="*/ 900950 h 3920548"/>
              <a:gd name="connsiteX28" fmla="*/ 134002 w 7726629"/>
              <a:gd name="connsiteY28" fmla="*/ 942886 h 3920548"/>
              <a:gd name="connsiteX29" fmla="*/ 89597 w 7726629"/>
              <a:gd name="connsiteY29" fmla="*/ 526321 h 3920548"/>
              <a:gd name="connsiteX30" fmla="*/ 1501102 w 7726629"/>
              <a:gd name="connsiteY30"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394037 w 7726629"/>
              <a:gd name="connsiteY23" fmla="*/ 1877596 h 3920548"/>
              <a:gd name="connsiteX24" fmla="*/ 3264524 w 7726629"/>
              <a:gd name="connsiteY24" fmla="*/ 1742934 h 3920548"/>
              <a:gd name="connsiteX25" fmla="*/ 2002166 w 7726629"/>
              <a:gd name="connsiteY25" fmla="*/ 626688 h 3920548"/>
              <a:gd name="connsiteX26" fmla="*/ 427389 w 7726629"/>
              <a:gd name="connsiteY26" fmla="*/ 900950 h 3920548"/>
              <a:gd name="connsiteX27" fmla="*/ 134002 w 7726629"/>
              <a:gd name="connsiteY27" fmla="*/ 942886 h 3920548"/>
              <a:gd name="connsiteX28" fmla="*/ 89597 w 7726629"/>
              <a:gd name="connsiteY28" fmla="*/ 526321 h 3920548"/>
              <a:gd name="connsiteX29" fmla="*/ 1501102 w 7726629"/>
              <a:gd name="connsiteY29"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3394037 w 7726629"/>
              <a:gd name="connsiteY22" fmla="*/ 1877596 h 3920548"/>
              <a:gd name="connsiteX23" fmla="*/ 3264524 w 7726629"/>
              <a:gd name="connsiteY23" fmla="*/ 1742934 h 3920548"/>
              <a:gd name="connsiteX24" fmla="*/ 2002166 w 7726629"/>
              <a:gd name="connsiteY24" fmla="*/ 626688 h 3920548"/>
              <a:gd name="connsiteX25" fmla="*/ 427389 w 7726629"/>
              <a:gd name="connsiteY25" fmla="*/ 900950 h 3920548"/>
              <a:gd name="connsiteX26" fmla="*/ 134002 w 7726629"/>
              <a:gd name="connsiteY26" fmla="*/ 942886 h 3920548"/>
              <a:gd name="connsiteX27" fmla="*/ 89597 w 7726629"/>
              <a:gd name="connsiteY27" fmla="*/ 526321 h 3920548"/>
              <a:gd name="connsiteX28" fmla="*/ 1501102 w 7726629"/>
              <a:gd name="connsiteY28"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314137 w 7726629"/>
              <a:gd name="connsiteY7" fmla="*/ 2108176 h 3920548"/>
              <a:gd name="connsiteX8" fmla="*/ 4457570 w 7726629"/>
              <a:gd name="connsiteY8" fmla="*/ 2259327 h 3920548"/>
              <a:gd name="connsiteX9" fmla="*/ 6414726 w 7726629"/>
              <a:gd name="connsiteY9" fmla="*/ 3407390 h 3920548"/>
              <a:gd name="connsiteX10" fmla="*/ 7127166 w 7726629"/>
              <a:gd name="connsiteY10" fmla="*/ 3100088 h 3920548"/>
              <a:gd name="connsiteX11" fmla="*/ 7026764 w 7726629"/>
              <a:gd name="connsiteY11" fmla="*/ 2999730 h 3920548"/>
              <a:gd name="connsiteX12" fmla="*/ 7063671 w 7726629"/>
              <a:gd name="connsiteY12" fmla="*/ 2907004 h 3920548"/>
              <a:gd name="connsiteX13" fmla="*/ 7602068 w 7726629"/>
              <a:gd name="connsiteY13" fmla="*/ 2896828 h 3920548"/>
              <a:gd name="connsiteX14" fmla="*/ 7726610 w 7726629"/>
              <a:gd name="connsiteY14" fmla="*/ 3023854 h 3920548"/>
              <a:gd name="connsiteX15" fmla="*/ 7716465 w 7726629"/>
              <a:gd name="connsiteY15" fmla="*/ 3562313 h 3920548"/>
              <a:gd name="connsiteX16" fmla="*/ 7623758 w 7726629"/>
              <a:gd name="connsiteY16" fmla="*/ 3599158 h 3920548"/>
              <a:gd name="connsiteX17" fmla="*/ 7485223 w 7726629"/>
              <a:gd name="connsiteY17" fmla="*/ 3460727 h 3920548"/>
              <a:gd name="connsiteX18" fmla="*/ 6450234 w 7726629"/>
              <a:gd name="connsiteY18" fmla="*/ 3911636 h 3920548"/>
              <a:gd name="connsiteX19" fmla="*/ 4124876 w 7726629"/>
              <a:gd name="connsiteY19" fmla="*/ 2639003 h 3920548"/>
              <a:gd name="connsiteX20" fmla="*/ 3949608 w 7726629"/>
              <a:gd name="connsiteY20" fmla="*/ 2457411 h 3920548"/>
              <a:gd name="connsiteX21" fmla="*/ 3394037 w 7726629"/>
              <a:gd name="connsiteY21" fmla="*/ 1877596 h 3920548"/>
              <a:gd name="connsiteX22" fmla="*/ 3264524 w 7726629"/>
              <a:gd name="connsiteY22" fmla="*/ 1742934 h 3920548"/>
              <a:gd name="connsiteX23" fmla="*/ 2002166 w 7726629"/>
              <a:gd name="connsiteY23" fmla="*/ 626688 h 3920548"/>
              <a:gd name="connsiteX24" fmla="*/ 427389 w 7726629"/>
              <a:gd name="connsiteY24" fmla="*/ 900950 h 3920548"/>
              <a:gd name="connsiteX25" fmla="*/ 134002 w 7726629"/>
              <a:gd name="connsiteY25" fmla="*/ 942886 h 3920548"/>
              <a:gd name="connsiteX26" fmla="*/ 89597 w 7726629"/>
              <a:gd name="connsiteY26" fmla="*/ 526321 h 3920548"/>
              <a:gd name="connsiteX27" fmla="*/ 1501102 w 7726629"/>
              <a:gd name="connsiteY27"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314137 w 7726629"/>
              <a:gd name="connsiteY6" fmla="*/ 2108176 h 3920548"/>
              <a:gd name="connsiteX7" fmla="*/ 4457570 w 7726629"/>
              <a:gd name="connsiteY7" fmla="*/ 2259327 h 3920548"/>
              <a:gd name="connsiteX8" fmla="*/ 6414726 w 7726629"/>
              <a:gd name="connsiteY8" fmla="*/ 3407390 h 3920548"/>
              <a:gd name="connsiteX9" fmla="*/ 7127166 w 7726629"/>
              <a:gd name="connsiteY9" fmla="*/ 3100088 h 3920548"/>
              <a:gd name="connsiteX10" fmla="*/ 7026764 w 7726629"/>
              <a:gd name="connsiteY10" fmla="*/ 2999730 h 3920548"/>
              <a:gd name="connsiteX11" fmla="*/ 7063671 w 7726629"/>
              <a:gd name="connsiteY11" fmla="*/ 2907004 h 3920548"/>
              <a:gd name="connsiteX12" fmla="*/ 7602068 w 7726629"/>
              <a:gd name="connsiteY12" fmla="*/ 2896828 h 3920548"/>
              <a:gd name="connsiteX13" fmla="*/ 7726610 w 7726629"/>
              <a:gd name="connsiteY13" fmla="*/ 3023854 h 3920548"/>
              <a:gd name="connsiteX14" fmla="*/ 7716465 w 7726629"/>
              <a:gd name="connsiteY14" fmla="*/ 3562313 h 3920548"/>
              <a:gd name="connsiteX15" fmla="*/ 7623758 w 7726629"/>
              <a:gd name="connsiteY15" fmla="*/ 3599158 h 3920548"/>
              <a:gd name="connsiteX16" fmla="*/ 7485223 w 7726629"/>
              <a:gd name="connsiteY16" fmla="*/ 3460727 h 3920548"/>
              <a:gd name="connsiteX17" fmla="*/ 6450234 w 7726629"/>
              <a:gd name="connsiteY17" fmla="*/ 3911636 h 3920548"/>
              <a:gd name="connsiteX18" fmla="*/ 4124876 w 7726629"/>
              <a:gd name="connsiteY18" fmla="*/ 2639003 h 3920548"/>
              <a:gd name="connsiteX19" fmla="*/ 3949608 w 7726629"/>
              <a:gd name="connsiteY19" fmla="*/ 2457411 h 3920548"/>
              <a:gd name="connsiteX20" fmla="*/ 3394037 w 7726629"/>
              <a:gd name="connsiteY20" fmla="*/ 1877596 h 3920548"/>
              <a:gd name="connsiteX21" fmla="*/ 3264524 w 7726629"/>
              <a:gd name="connsiteY21" fmla="*/ 1742934 h 3920548"/>
              <a:gd name="connsiteX22" fmla="*/ 2002166 w 7726629"/>
              <a:gd name="connsiteY22" fmla="*/ 626688 h 3920548"/>
              <a:gd name="connsiteX23" fmla="*/ 427389 w 7726629"/>
              <a:gd name="connsiteY23" fmla="*/ 900950 h 3920548"/>
              <a:gd name="connsiteX24" fmla="*/ 134002 w 7726629"/>
              <a:gd name="connsiteY24" fmla="*/ 942886 h 3920548"/>
              <a:gd name="connsiteX25" fmla="*/ 89597 w 7726629"/>
              <a:gd name="connsiteY25" fmla="*/ 526321 h 3920548"/>
              <a:gd name="connsiteX26" fmla="*/ 1501102 w 7726629"/>
              <a:gd name="connsiteY26"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4314137 w 7726629"/>
              <a:gd name="connsiteY5" fmla="*/ 2108176 h 3920548"/>
              <a:gd name="connsiteX6" fmla="*/ 4457570 w 7726629"/>
              <a:gd name="connsiteY6" fmla="*/ 2259327 h 3920548"/>
              <a:gd name="connsiteX7" fmla="*/ 6414726 w 7726629"/>
              <a:gd name="connsiteY7" fmla="*/ 3407390 h 3920548"/>
              <a:gd name="connsiteX8" fmla="*/ 7127166 w 7726629"/>
              <a:gd name="connsiteY8" fmla="*/ 3100088 h 3920548"/>
              <a:gd name="connsiteX9" fmla="*/ 7026764 w 7726629"/>
              <a:gd name="connsiteY9" fmla="*/ 2999730 h 3920548"/>
              <a:gd name="connsiteX10" fmla="*/ 7063671 w 7726629"/>
              <a:gd name="connsiteY10" fmla="*/ 2907004 h 3920548"/>
              <a:gd name="connsiteX11" fmla="*/ 7602068 w 7726629"/>
              <a:gd name="connsiteY11" fmla="*/ 2896828 h 3920548"/>
              <a:gd name="connsiteX12" fmla="*/ 7726610 w 7726629"/>
              <a:gd name="connsiteY12" fmla="*/ 3023854 h 3920548"/>
              <a:gd name="connsiteX13" fmla="*/ 7716465 w 7726629"/>
              <a:gd name="connsiteY13" fmla="*/ 3562313 h 3920548"/>
              <a:gd name="connsiteX14" fmla="*/ 7623758 w 7726629"/>
              <a:gd name="connsiteY14" fmla="*/ 3599158 h 3920548"/>
              <a:gd name="connsiteX15" fmla="*/ 7485223 w 7726629"/>
              <a:gd name="connsiteY15" fmla="*/ 3460727 h 3920548"/>
              <a:gd name="connsiteX16" fmla="*/ 6450234 w 7726629"/>
              <a:gd name="connsiteY16" fmla="*/ 3911636 h 3920548"/>
              <a:gd name="connsiteX17" fmla="*/ 4124876 w 7726629"/>
              <a:gd name="connsiteY17" fmla="*/ 2639003 h 3920548"/>
              <a:gd name="connsiteX18" fmla="*/ 3949608 w 7726629"/>
              <a:gd name="connsiteY18" fmla="*/ 2457411 h 3920548"/>
              <a:gd name="connsiteX19" fmla="*/ 3394037 w 7726629"/>
              <a:gd name="connsiteY19" fmla="*/ 1877596 h 3920548"/>
              <a:gd name="connsiteX20" fmla="*/ 3264524 w 7726629"/>
              <a:gd name="connsiteY20" fmla="*/ 1742934 h 3920548"/>
              <a:gd name="connsiteX21" fmla="*/ 2002166 w 7726629"/>
              <a:gd name="connsiteY21" fmla="*/ 626688 h 3920548"/>
              <a:gd name="connsiteX22" fmla="*/ 427389 w 7726629"/>
              <a:gd name="connsiteY22" fmla="*/ 900950 h 3920548"/>
              <a:gd name="connsiteX23" fmla="*/ 134002 w 7726629"/>
              <a:gd name="connsiteY23" fmla="*/ 942886 h 3920548"/>
              <a:gd name="connsiteX24" fmla="*/ 89597 w 7726629"/>
              <a:gd name="connsiteY24" fmla="*/ 526321 h 3920548"/>
              <a:gd name="connsiteX25" fmla="*/ 1501102 w 7726629"/>
              <a:gd name="connsiteY25"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4314137 w 7726629"/>
              <a:gd name="connsiteY4" fmla="*/ 2108176 h 3920548"/>
              <a:gd name="connsiteX5" fmla="*/ 4457570 w 7726629"/>
              <a:gd name="connsiteY5" fmla="*/ 2259327 h 3920548"/>
              <a:gd name="connsiteX6" fmla="*/ 6414726 w 7726629"/>
              <a:gd name="connsiteY6" fmla="*/ 3407390 h 3920548"/>
              <a:gd name="connsiteX7" fmla="*/ 7127166 w 7726629"/>
              <a:gd name="connsiteY7" fmla="*/ 3100088 h 3920548"/>
              <a:gd name="connsiteX8" fmla="*/ 7026764 w 7726629"/>
              <a:gd name="connsiteY8" fmla="*/ 2999730 h 3920548"/>
              <a:gd name="connsiteX9" fmla="*/ 7063671 w 7726629"/>
              <a:gd name="connsiteY9" fmla="*/ 2907004 h 3920548"/>
              <a:gd name="connsiteX10" fmla="*/ 7602068 w 7726629"/>
              <a:gd name="connsiteY10" fmla="*/ 2896828 h 3920548"/>
              <a:gd name="connsiteX11" fmla="*/ 7726610 w 7726629"/>
              <a:gd name="connsiteY11" fmla="*/ 3023854 h 3920548"/>
              <a:gd name="connsiteX12" fmla="*/ 7716465 w 7726629"/>
              <a:gd name="connsiteY12" fmla="*/ 3562313 h 3920548"/>
              <a:gd name="connsiteX13" fmla="*/ 7623758 w 7726629"/>
              <a:gd name="connsiteY13" fmla="*/ 3599158 h 3920548"/>
              <a:gd name="connsiteX14" fmla="*/ 7485223 w 7726629"/>
              <a:gd name="connsiteY14" fmla="*/ 3460727 h 3920548"/>
              <a:gd name="connsiteX15" fmla="*/ 6450234 w 7726629"/>
              <a:gd name="connsiteY15" fmla="*/ 3911636 h 3920548"/>
              <a:gd name="connsiteX16" fmla="*/ 4124876 w 7726629"/>
              <a:gd name="connsiteY16" fmla="*/ 2639003 h 3920548"/>
              <a:gd name="connsiteX17" fmla="*/ 3949608 w 7726629"/>
              <a:gd name="connsiteY17" fmla="*/ 2457411 h 3920548"/>
              <a:gd name="connsiteX18" fmla="*/ 3394037 w 7726629"/>
              <a:gd name="connsiteY18" fmla="*/ 1877596 h 3920548"/>
              <a:gd name="connsiteX19" fmla="*/ 3264524 w 7726629"/>
              <a:gd name="connsiteY19" fmla="*/ 1742934 h 3920548"/>
              <a:gd name="connsiteX20" fmla="*/ 2002166 w 7726629"/>
              <a:gd name="connsiteY20" fmla="*/ 626688 h 3920548"/>
              <a:gd name="connsiteX21" fmla="*/ 427389 w 7726629"/>
              <a:gd name="connsiteY21" fmla="*/ 900950 h 3920548"/>
              <a:gd name="connsiteX22" fmla="*/ 134002 w 7726629"/>
              <a:gd name="connsiteY22" fmla="*/ 942886 h 3920548"/>
              <a:gd name="connsiteX23" fmla="*/ 89597 w 7726629"/>
              <a:gd name="connsiteY23" fmla="*/ 526321 h 3920548"/>
              <a:gd name="connsiteX24" fmla="*/ 1501102 w 7726629"/>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29" h="3920548">
                <a:moveTo>
                  <a:pt x="1501102" y="914"/>
                </a:moveTo>
                <a:cubicBezTo>
                  <a:pt x="1679131" y="6348"/>
                  <a:pt x="1855736" y="36111"/>
                  <a:pt x="2022430" y="93260"/>
                </a:cubicBezTo>
                <a:cubicBezTo>
                  <a:pt x="2559690" y="277407"/>
                  <a:pt x="2873341" y="570773"/>
                  <a:pt x="3602316" y="1367093"/>
                </a:cubicBezTo>
                <a:cubicBezTo>
                  <a:pt x="3617470" y="1383588"/>
                  <a:pt x="3675971" y="1444535"/>
                  <a:pt x="3755970" y="1527103"/>
                </a:cubicBezTo>
                <a:lnTo>
                  <a:pt x="4314137" y="2108176"/>
                </a:lnTo>
                <a:lnTo>
                  <a:pt x="4457570" y="2259327"/>
                </a:lnTo>
                <a:cubicBezTo>
                  <a:pt x="5153568" y="3021310"/>
                  <a:pt x="5746715" y="3515380"/>
                  <a:pt x="6414726" y="3407390"/>
                </a:cubicBezTo>
                <a:cubicBezTo>
                  <a:pt x="6779080" y="3347737"/>
                  <a:pt x="6991255" y="3211850"/>
                  <a:pt x="7127166" y="3100088"/>
                </a:cubicBezTo>
                <a:lnTo>
                  <a:pt x="7026764" y="2999730"/>
                </a:lnTo>
                <a:cubicBezTo>
                  <a:pt x="6977262" y="2950165"/>
                  <a:pt x="6993704" y="2908320"/>
                  <a:pt x="7063671" y="2907004"/>
                </a:cubicBezTo>
                <a:lnTo>
                  <a:pt x="7602068" y="2896828"/>
                </a:lnTo>
                <a:cubicBezTo>
                  <a:pt x="7672036" y="2895600"/>
                  <a:pt x="7727834" y="2952709"/>
                  <a:pt x="7726610" y="3023854"/>
                </a:cubicBezTo>
                <a:lnTo>
                  <a:pt x="7716465" y="3562313"/>
                </a:lnTo>
                <a:cubicBezTo>
                  <a:pt x="7715066" y="3632230"/>
                  <a:pt x="7673260" y="3648723"/>
                  <a:pt x="7623758" y="3599158"/>
                </a:cubicBezTo>
                <a:lnTo>
                  <a:pt x="7485223" y="3460727"/>
                </a:lnTo>
                <a:cubicBezTo>
                  <a:pt x="7266751" y="3643635"/>
                  <a:pt x="6873186" y="3873475"/>
                  <a:pt x="6450234" y="3911636"/>
                </a:cubicBezTo>
                <a:cubicBezTo>
                  <a:pt x="5440608" y="4003046"/>
                  <a:pt x="4829795" y="3378177"/>
                  <a:pt x="4124876" y="2639003"/>
                </a:cubicBezTo>
                <a:cubicBezTo>
                  <a:pt x="4122252" y="2637775"/>
                  <a:pt x="4051236" y="2562857"/>
                  <a:pt x="3949608" y="2457411"/>
                </a:cubicBezTo>
                <a:lnTo>
                  <a:pt x="3394037" y="1877596"/>
                </a:lnTo>
                <a:lnTo>
                  <a:pt x="3264524" y="1742934"/>
                </a:lnTo>
                <a:cubicBezTo>
                  <a:pt x="2567267" y="981002"/>
                  <a:pt x="2356521" y="793035"/>
                  <a:pt x="2002166" y="626688"/>
                </a:cubicBezTo>
                <a:cubicBezTo>
                  <a:pt x="1498033" y="389143"/>
                  <a:pt x="826149" y="513647"/>
                  <a:pt x="427389" y="900950"/>
                </a:cubicBezTo>
                <a:cubicBezTo>
                  <a:pt x="349857" y="975876"/>
                  <a:pt x="229331" y="993676"/>
                  <a:pt x="134002" y="942886"/>
                </a:cubicBezTo>
                <a:cubicBezTo>
                  <a:pt x="-19652" y="861623"/>
                  <a:pt x="-50136" y="644394"/>
                  <a:pt x="89597" y="526321"/>
                </a:cubicBezTo>
                <a:cubicBezTo>
                  <a:pt x="420121" y="187267"/>
                  <a:pt x="967017" y="-15389"/>
                  <a:pt x="1501102" y="914"/>
                </a:cubicBezTo>
                <a:close/>
              </a:path>
            </a:pathLst>
          </a:custGeom>
          <a:solidFill>
            <a:srgbClr val="AF154B"/>
          </a:solidFill>
          <a:ln w="25400" cap="flat">
            <a:noFill/>
            <a:prstDash val="solid"/>
            <a:miter lim="400000"/>
          </a:ln>
          <a:effectLst/>
          <a:sp3d/>
        </p:spPr>
        <p:txBody>
          <a:bodyPr rot="0" spcFirstLastPara="1" vertOverflow="overflow" horzOverflow="overflow" vert="horz" wrap="square" lIns="38100" tIns="38100" rIns="38100" bIns="38100" numCol="1" spcCol="3810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3000" b="0" i="0" u="none" strike="noStrike" kern="0" cap="none" spc="0" normalizeH="0" baseline="0" noProof="0">
              <a:ln>
                <a:noFill/>
              </a:ln>
              <a:solidFill>
                <a:srgbClr val="FFFFFF"/>
              </a:solidFill>
              <a:effectLst/>
              <a:uLnTx/>
              <a:uFillTx/>
              <a:latin typeface="EYInterstate Regular" panose="02000503020000020004" pitchFamily="2" charset="0"/>
              <a:ea typeface="+mn-ea"/>
              <a:cs typeface="+mn-cs"/>
            </a:endParaRPr>
          </a:p>
        </p:txBody>
      </p:sp>
      <p:sp>
        <p:nvSpPr>
          <p:cNvPr id="309" name="Oval 308">
            <a:extLst>
              <a:ext uri="{FF2B5EF4-FFF2-40B4-BE49-F238E27FC236}">
                <a16:creationId xmlns:a16="http://schemas.microsoft.com/office/drawing/2014/main" id="{FBE899D2-A20D-00C4-0283-BA5B198D9879}"/>
              </a:ext>
            </a:extLst>
          </p:cNvPr>
          <p:cNvSpPr>
            <a:spLocks/>
          </p:cNvSpPr>
          <p:nvPr/>
        </p:nvSpPr>
        <p:spPr>
          <a:xfrm>
            <a:off x="2716543" y="2292473"/>
            <a:ext cx="526898" cy="526898"/>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EYInterstate Regular" panose="02000503020000020004" pitchFamily="2" charset="0"/>
                <a:ea typeface="+mn-ea"/>
                <a:cs typeface="+mn-cs"/>
              </a:rPr>
              <a:t>01</a:t>
            </a:r>
          </a:p>
        </p:txBody>
      </p:sp>
      <p:sp>
        <p:nvSpPr>
          <p:cNvPr id="310" name="Oval 309">
            <a:extLst>
              <a:ext uri="{FF2B5EF4-FFF2-40B4-BE49-F238E27FC236}">
                <a16:creationId xmlns:a16="http://schemas.microsoft.com/office/drawing/2014/main" id="{7E5433CF-C013-9A26-E756-43F31D9DD49B}"/>
              </a:ext>
            </a:extLst>
          </p:cNvPr>
          <p:cNvSpPr>
            <a:spLocks/>
          </p:cNvSpPr>
          <p:nvPr/>
        </p:nvSpPr>
        <p:spPr>
          <a:xfrm>
            <a:off x="5420155" y="2267775"/>
            <a:ext cx="526898" cy="526898"/>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EYInterstate Regular" panose="02000503020000020004" pitchFamily="2" charset="0"/>
                <a:ea typeface="+mn-ea"/>
                <a:cs typeface="+mn-cs"/>
              </a:rPr>
              <a:t>02</a:t>
            </a:r>
          </a:p>
        </p:txBody>
      </p:sp>
      <p:sp>
        <p:nvSpPr>
          <p:cNvPr id="311" name="Oval 310">
            <a:extLst>
              <a:ext uri="{FF2B5EF4-FFF2-40B4-BE49-F238E27FC236}">
                <a16:creationId xmlns:a16="http://schemas.microsoft.com/office/drawing/2014/main" id="{E361CBD3-6299-93F3-7763-A8684D0A5799}"/>
              </a:ext>
            </a:extLst>
          </p:cNvPr>
          <p:cNvSpPr>
            <a:spLocks/>
          </p:cNvSpPr>
          <p:nvPr/>
        </p:nvSpPr>
        <p:spPr>
          <a:xfrm>
            <a:off x="8205453" y="2275106"/>
            <a:ext cx="526898" cy="526898"/>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EYInterstate Regular" panose="02000503020000020004" pitchFamily="2" charset="0"/>
                <a:ea typeface="+mn-ea"/>
                <a:cs typeface="+mn-cs"/>
              </a:rPr>
              <a:t>03</a:t>
            </a:r>
          </a:p>
        </p:txBody>
      </p:sp>
      <p:grpSp>
        <p:nvGrpSpPr>
          <p:cNvPr id="319" name="Group 57">
            <a:extLst>
              <a:ext uri="{FF2B5EF4-FFF2-40B4-BE49-F238E27FC236}">
                <a16:creationId xmlns:a16="http://schemas.microsoft.com/office/drawing/2014/main" id="{37BFFC4D-3D74-5859-FA76-5DA583A192D4}"/>
              </a:ext>
            </a:extLst>
          </p:cNvPr>
          <p:cNvGrpSpPr>
            <a:grpSpLocks noChangeAspect="1"/>
          </p:cNvGrpSpPr>
          <p:nvPr/>
        </p:nvGrpSpPr>
        <p:grpSpPr bwMode="auto">
          <a:xfrm>
            <a:off x="2101493" y="2235935"/>
            <a:ext cx="522493" cy="640076"/>
            <a:chOff x="1987" y="1920"/>
            <a:chExt cx="600" cy="735"/>
          </a:xfrm>
          <a:solidFill>
            <a:schemeClr val="bg1"/>
          </a:solidFill>
        </p:grpSpPr>
        <p:sp>
          <p:nvSpPr>
            <p:cNvPr id="320" name="Freeform 58">
              <a:extLst>
                <a:ext uri="{FF2B5EF4-FFF2-40B4-BE49-F238E27FC236}">
                  <a16:creationId xmlns:a16="http://schemas.microsoft.com/office/drawing/2014/main" id="{4AE2E035-4E44-87AB-C698-E142373F91DA}"/>
                </a:ext>
              </a:extLst>
            </p:cNvPr>
            <p:cNvSpPr>
              <a:spLocks/>
            </p:cNvSpPr>
            <p:nvPr/>
          </p:nvSpPr>
          <p:spPr bwMode="auto">
            <a:xfrm>
              <a:off x="2470" y="2221"/>
              <a:ext cx="28" cy="26"/>
            </a:xfrm>
            <a:custGeom>
              <a:avLst/>
              <a:gdLst>
                <a:gd name="T0" fmla="*/ 28 w 28"/>
                <a:gd name="T1" fmla="*/ 0 h 26"/>
                <a:gd name="T2" fmla="*/ 0 w 28"/>
                <a:gd name="T3" fmla="*/ 24 h 26"/>
                <a:gd name="T4" fmla="*/ 0 w 28"/>
                <a:gd name="T5" fmla="*/ 26 h 26"/>
                <a:gd name="T6" fmla="*/ 27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4"/>
                  </a:lnTo>
                  <a:lnTo>
                    <a:pt x="0" y="26"/>
                  </a:lnTo>
                  <a:lnTo>
                    <a:pt x="27" y="2"/>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1" name="Freeform 59">
              <a:extLst>
                <a:ext uri="{FF2B5EF4-FFF2-40B4-BE49-F238E27FC236}">
                  <a16:creationId xmlns:a16="http://schemas.microsoft.com/office/drawing/2014/main" id="{081187E7-256C-5ABB-615A-BF51CEC6625E}"/>
                </a:ext>
              </a:extLst>
            </p:cNvPr>
            <p:cNvSpPr>
              <a:spLocks/>
            </p:cNvSpPr>
            <p:nvPr/>
          </p:nvSpPr>
          <p:spPr bwMode="auto">
            <a:xfrm>
              <a:off x="2076" y="2221"/>
              <a:ext cx="28" cy="26"/>
            </a:xfrm>
            <a:custGeom>
              <a:avLst/>
              <a:gdLst>
                <a:gd name="T0" fmla="*/ 28 w 28"/>
                <a:gd name="T1" fmla="*/ 26 h 26"/>
                <a:gd name="T2" fmla="*/ 27 w 28"/>
                <a:gd name="T3" fmla="*/ 24 h 26"/>
                <a:gd name="T4" fmla="*/ 0 w 28"/>
                <a:gd name="T5" fmla="*/ 0 h 26"/>
                <a:gd name="T6" fmla="*/ 0 w 28"/>
                <a:gd name="T7" fmla="*/ 2 h 26"/>
                <a:gd name="T8" fmla="*/ 28 w 28"/>
                <a:gd name="T9" fmla="*/ 26 h 26"/>
              </a:gdLst>
              <a:ahLst/>
              <a:cxnLst>
                <a:cxn ang="0">
                  <a:pos x="T0" y="T1"/>
                </a:cxn>
                <a:cxn ang="0">
                  <a:pos x="T2" y="T3"/>
                </a:cxn>
                <a:cxn ang="0">
                  <a:pos x="T4" y="T5"/>
                </a:cxn>
                <a:cxn ang="0">
                  <a:pos x="T6" y="T7"/>
                </a:cxn>
                <a:cxn ang="0">
                  <a:pos x="T8" y="T9"/>
                </a:cxn>
              </a:cxnLst>
              <a:rect l="0" t="0" r="r" b="b"/>
              <a:pathLst>
                <a:path w="28" h="26">
                  <a:moveTo>
                    <a:pt x="28" y="26"/>
                  </a:moveTo>
                  <a:lnTo>
                    <a:pt x="27" y="24"/>
                  </a:lnTo>
                  <a:lnTo>
                    <a:pt x="0" y="0"/>
                  </a:lnTo>
                  <a:lnTo>
                    <a:pt x="0" y="2"/>
                  </a:lnTo>
                  <a:lnTo>
                    <a:pt x="2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2" name="Freeform 60">
              <a:extLst>
                <a:ext uri="{FF2B5EF4-FFF2-40B4-BE49-F238E27FC236}">
                  <a16:creationId xmlns:a16="http://schemas.microsoft.com/office/drawing/2014/main" id="{06B9CCA5-1392-648A-56EC-3177F9D9EF8D}"/>
                </a:ext>
              </a:extLst>
            </p:cNvPr>
            <p:cNvSpPr>
              <a:spLocks/>
            </p:cNvSpPr>
            <p:nvPr/>
          </p:nvSpPr>
          <p:spPr bwMode="auto">
            <a:xfrm>
              <a:off x="2340" y="2213"/>
              <a:ext cx="7" cy="12"/>
            </a:xfrm>
            <a:custGeom>
              <a:avLst/>
              <a:gdLst>
                <a:gd name="T0" fmla="*/ 0 w 21"/>
                <a:gd name="T1" fmla="*/ 36 h 36"/>
                <a:gd name="T2" fmla="*/ 21 w 21"/>
                <a:gd name="T3" fmla="*/ 7 h 36"/>
                <a:gd name="T4" fmla="*/ 3 w 21"/>
                <a:gd name="T5" fmla="*/ 0 h 36"/>
                <a:gd name="T6" fmla="*/ 0 w 21"/>
                <a:gd name="T7" fmla="*/ 36 h 36"/>
              </a:gdLst>
              <a:ahLst/>
              <a:cxnLst>
                <a:cxn ang="0">
                  <a:pos x="T0" y="T1"/>
                </a:cxn>
                <a:cxn ang="0">
                  <a:pos x="T2" y="T3"/>
                </a:cxn>
                <a:cxn ang="0">
                  <a:pos x="T4" y="T5"/>
                </a:cxn>
                <a:cxn ang="0">
                  <a:pos x="T6" y="T7"/>
                </a:cxn>
              </a:cxnLst>
              <a:rect l="0" t="0" r="r" b="b"/>
              <a:pathLst>
                <a:path w="21" h="36">
                  <a:moveTo>
                    <a:pt x="0" y="36"/>
                  </a:moveTo>
                  <a:cubicBezTo>
                    <a:pt x="21" y="7"/>
                    <a:pt x="21" y="7"/>
                    <a:pt x="21" y="7"/>
                  </a:cubicBezTo>
                  <a:cubicBezTo>
                    <a:pt x="15" y="5"/>
                    <a:pt x="9" y="3"/>
                    <a:pt x="3" y="0"/>
                  </a:cubicBez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3" name="Freeform 61">
              <a:extLst>
                <a:ext uri="{FF2B5EF4-FFF2-40B4-BE49-F238E27FC236}">
                  <a16:creationId xmlns:a16="http://schemas.microsoft.com/office/drawing/2014/main" id="{AE7F05F5-3A29-F675-2C00-D208123503D4}"/>
                </a:ext>
              </a:extLst>
            </p:cNvPr>
            <p:cNvSpPr>
              <a:spLocks/>
            </p:cNvSpPr>
            <p:nvPr/>
          </p:nvSpPr>
          <p:spPr bwMode="auto">
            <a:xfrm>
              <a:off x="2226" y="2213"/>
              <a:ext cx="8" cy="11"/>
            </a:xfrm>
            <a:custGeom>
              <a:avLst/>
              <a:gdLst>
                <a:gd name="T0" fmla="*/ 0 w 22"/>
                <a:gd name="T1" fmla="*/ 7 h 35"/>
                <a:gd name="T2" fmla="*/ 22 w 22"/>
                <a:gd name="T3" fmla="*/ 35 h 35"/>
                <a:gd name="T4" fmla="*/ 18 w 22"/>
                <a:gd name="T5" fmla="*/ 0 h 35"/>
                <a:gd name="T6" fmla="*/ 0 w 22"/>
                <a:gd name="T7" fmla="*/ 7 h 35"/>
              </a:gdLst>
              <a:ahLst/>
              <a:cxnLst>
                <a:cxn ang="0">
                  <a:pos x="T0" y="T1"/>
                </a:cxn>
                <a:cxn ang="0">
                  <a:pos x="T2" y="T3"/>
                </a:cxn>
                <a:cxn ang="0">
                  <a:pos x="T4" y="T5"/>
                </a:cxn>
                <a:cxn ang="0">
                  <a:pos x="T6" y="T7"/>
                </a:cxn>
              </a:cxnLst>
              <a:rect l="0" t="0" r="r" b="b"/>
              <a:pathLst>
                <a:path w="22" h="35">
                  <a:moveTo>
                    <a:pt x="0" y="7"/>
                  </a:moveTo>
                  <a:cubicBezTo>
                    <a:pt x="22" y="35"/>
                    <a:pt x="22" y="35"/>
                    <a:pt x="22" y="35"/>
                  </a:cubicBezTo>
                  <a:cubicBezTo>
                    <a:pt x="18" y="0"/>
                    <a:pt x="18" y="0"/>
                    <a:pt x="18" y="0"/>
                  </a:cubicBezTo>
                  <a:cubicBezTo>
                    <a:pt x="12" y="2"/>
                    <a:pt x="6" y="5"/>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4" name="Freeform 62">
              <a:extLst>
                <a:ext uri="{FF2B5EF4-FFF2-40B4-BE49-F238E27FC236}">
                  <a16:creationId xmlns:a16="http://schemas.microsoft.com/office/drawing/2014/main" id="{CFDA95BA-2D19-D9B4-63CA-B0B1DA68EFFB}"/>
                </a:ext>
              </a:extLst>
            </p:cNvPr>
            <p:cNvSpPr>
              <a:spLocks/>
            </p:cNvSpPr>
            <p:nvPr/>
          </p:nvSpPr>
          <p:spPr bwMode="auto">
            <a:xfrm>
              <a:off x="2509" y="2436"/>
              <a:ext cx="6" cy="6"/>
            </a:xfrm>
            <a:custGeom>
              <a:avLst/>
              <a:gdLst>
                <a:gd name="T0" fmla="*/ 0 w 18"/>
                <a:gd name="T1" fmla="*/ 13 h 19"/>
                <a:gd name="T2" fmla="*/ 14 w 18"/>
                <a:gd name="T3" fmla="*/ 19 h 19"/>
                <a:gd name="T4" fmla="*/ 18 w 18"/>
                <a:gd name="T5" fmla="*/ 7 h 19"/>
                <a:gd name="T6" fmla="*/ 8 w 18"/>
                <a:gd name="T7" fmla="*/ 0 h 19"/>
                <a:gd name="T8" fmla="*/ 0 w 18"/>
                <a:gd name="T9" fmla="*/ 13 h 19"/>
              </a:gdLst>
              <a:ahLst/>
              <a:cxnLst>
                <a:cxn ang="0">
                  <a:pos x="T0" y="T1"/>
                </a:cxn>
                <a:cxn ang="0">
                  <a:pos x="T2" y="T3"/>
                </a:cxn>
                <a:cxn ang="0">
                  <a:pos x="T4" y="T5"/>
                </a:cxn>
                <a:cxn ang="0">
                  <a:pos x="T6" y="T7"/>
                </a:cxn>
                <a:cxn ang="0">
                  <a:pos x="T8" y="T9"/>
                </a:cxn>
              </a:cxnLst>
              <a:rect l="0" t="0" r="r" b="b"/>
              <a:pathLst>
                <a:path w="18" h="19">
                  <a:moveTo>
                    <a:pt x="0" y="13"/>
                  </a:moveTo>
                  <a:cubicBezTo>
                    <a:pt x="14" y="19"/>
                    <a:pt x="14" y="19"/>
                    <a:pt x="14" y="19"/>
                  </a:cubicBezTo>
                  <a:cubicBezTo>
                    <a:pt x="16" y="15"/>
                    <a:pt x="17" y="11"/>
                    <a:pt x="18" y="7"/>
                  </a:cubicBezTo>
                  <a:cubicBezTo>
                    <a:pt x="8" y="0"/>
                    <a:pt x="8" y="0"/>
                    <a:pt x="8" y="0"/>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5" name="Freeform 63">
              <a:extLst>
                <a:ext uri="{FF2B5EF4-FFF2-40B4-BE49-F238E27FC236}">
                  <a16:creationId xmlns:a16="http://schemas.microsoft.com/office/drawing/2014/main" id="{6EA85C28-FD94-2C5D-D8AA-864490D36BE5}"/>
                </a:ext>
              </a:extLst>
            </p:cNvPr>
            <p:cNvSpPr>
              <a:spLocks/>
            </p:cNvSpPr>
            <p:nvPr/>
          </p:nvSpPr>
          <p:spPr bwMode="auto">
            <a:xfrm>
              <a:off x="2437" y="2537"/>
              <a:ext cx="6" cy="7"/>
            </a:xfrm>
            <a:custGeom>
              <a:avLst/>
              <a:gdLst>
                <a:gd name="T0" fmla="*/ 0 w 19"/>
                <a:gd name="T1" fmla="*/ 7 h 19"/>
                <a:gd name="T2" fmla="*/ 9 w 19"/>
                <a:gd name="T3" fmla="*/ 19 h 19"/>
                <a:gd name="T4" fmla="*/ 19 w 19"/>
                <a:gd name="T5" fmla="*/ 10 h 19"/>
                <a:gd name="T6" fmla="*/ 13 w 19"/>
                <a:gd name="T7" fmla="*/ 0 h 19"/>
                <a:gd name="T8" fmla="*/ 0 w 19"/>
                <a:gd name="T9" fmla="*/ 7 h 19"/>
              </a:gdLst>
              <a:ahLst/>
              <a:cxnLst>
                <a:cxn ang="0">
                  <a:pos x="T0" y="T1"/>
                </a:cxn>
                <a:cxn ang="0">
                  <a:pos x="T2" y="T3"/>
                </a:cxn>
                <a:cxn ang="0">
                  <a:pos x="T4" y="T5"/>
                </a:cxn>
                <a:cxn ang="0">
                  <a:pos x="T6" y="T7"/>
                </a:cxn>
                <a:cxn ang="0">
                  <a:pos x="T8" y="T9"/>
                </a:cxn>
              </a:cxnLst>
              <a:rect l="0" t="0" r="r" b="b"/>
              <a:pathLst>
                <a:path w="19" h="19">
                  <a:moveTo>
                    <a:pt x="0" y="7"/>
                  </a:moveTo>
                  <a:cubicBezTo>
                    <a:pt x="9" y="19"/>
                    <a:pt x="9" y="19"/>
                    <a:pt x="9" y="19"/>
                  </a:cubicBezTo>
                  <a:cubicBezTo>
                    <a:pt x="13" y="16"/>
                    <a:pt x="16" y="13"/>
                    <a:pt x="19" y="10"/>
                  </a:cubicBezTo>
                  <a:cubicBezTo>
                    <a:pt x="13" y="0"/>
                    <a:pt x="13" y="0"/>
                    <a:pt x="13" y="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6" name="Freeform 64">
              <a:extLst>
                <a:ext uri="{FF2B5EF4-FFF2-40B4-BE49-F238E27FC236}">
                  <a16:creationId xmlns:a16="http://schemas.microsoft.com/office/drawing/2014/main" id="{C08B230E-7DD6-386E-DF04-7143A0A3493F}"/>
                </a:ext>
              </a:extLst>
            </p:cNvPr>
            <p:cNvSpPr>
              <a:spLocks/>
            </p:cNvSpPr>
            <p:nvPr/>
          </p:nvSpPr>
          <p:spPr bwMode="auto">
            <a:xfrm>
              <a:off x="2521" y="2314"/>
              <a:ext cx="5" cy="5"/>
            </a:xfrm>
            <a:custGeom>
              <a:avLst/>
              <a:gdLst>
                <a:gd name="T0" fmla="*/ 0 w 15"/>
                <a:gd name="T1" fmla="*/ 15 h 15"/>
                <a:gd name="T2" fmla="*/ 15 w 15"/>
                <a:gd name="T3" fmla="*/ 13 h 15"/>
                <a:gd name="T4" fmla="*/ 13 w 15"/>
                <a:gd name="T5" fmla="*/ 0 h 15"/>
                <a:gd name="T6" fmla="*/ 1 w 15"/>
                <a:gd name="T7" fmla="*/ 0 h 15"/>
                <a:gd name="T8" fmla="*/ 0 w 15"/>
                <a:gd name="T9" fmla="*/ 15 h 15"/>
              </a:gdLst>
              <a:ahLst/>
              <a:cxnLst>
                <a:cxn ang="0">
                  <a:pos x="T0" y="T1"/>
                </a:cxn>
                <a:cxn ang="0">
                  <a:pos x="T2" y="T3"/>
                </a:cxn>
                <a:cxn ang="0">
                  <a:pos x="T4" y="T5"/>
                </a:cxn>
                <a:cxn ang="0">
                  <a:pos x="T6" y="T7"/>
                </a:cxn>
                <a:cxn ang="0">
                  <a:pos x="T8" y="T9"/>
                </a:cxn>
              </a:cxnLst>
              <a:rect l="0" t="0" r="r" b="b"/>
              <a:pathLst>
                <a:path w="15" h="15">
                  <a:moveTo>
                    <a:pt x="0" y="15"/>
                  </a:moveTo>
                  <a:cubicBezTo>
                    <a:pt x="15" y="13"/>
                    <a:pt x="15" y="13"/>
                    <a:pt x="15" y="13"/>
                  </a:cubicBezTo>
                  <a:cubicBezTo>
                    <a:pt x="15" y="9"/>
                    <a:pt x="14" y="5"/>
                    <a:pt x="13" y="0"/>
                  </a:cubicBezTo>
                  <a:cubicBezTo>
                    <a:pt x="1" y="0"/>
                    <a:pt x="1" y="0"/>
                    <a:pt x="1" y="0"/>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7" name="Freeform 65">
              <a:extLst>
                <a:ext uri="{FF2B5EF4-FFF2-40B4-BE49-F238E27FC236}">
                  <a16:creationId xmlns:a16="http://schemas.microsoft.com/office/drawing/2014/main" id="{F067F18B-2B0B-32DC-8AFE-D4705D97EA6D}"/>
                </a:ext>
              </a:extLst>
            </p:cNvPr>
            <p:cNvSpPr>
              <a:spLocks/>
            </p:cNvSpPr>
            <p:nvPr/>
          </p:nvSpPr>
          <p:spPr bwMode="auto">
            <a:xfrm>
              <a:off x="2367" y="2578"/>
              <a:ext cx="6" cy="6"/>
            </a:xfrm>
            <a:custGeom>
              <a:avLst/>
              <a:gdLst>
                <a:gd name="T0" fmla="*/ 13 w 18"/>
                <a:gd name="T1" fmla="*/ 0 h 19"/>
                <a:gd name="T2" fmla="*/ 0 w 18"/>
                <a:gd name="T3" fmla="*/ 9 h 19"/>
                <a:gd name="T4" fmla="*/ 6 w 18"/>
                <a:gd name="T5" fmla="*/ 19 h 19"/>
                <a:gd name="T6" fmla="*/ 18 w 18"/>
                <a:gd name="T7" fmla="*/ 15 h 19"/>
                <a:gd name="T8" fmla="*/ 13 w 18"/>
                <a:gd name="T9" fmla="*/ 0 h 19"/>
              </a:gdLst>
              <a:ahLst/>
              <a:cxnLst>
                <a:cxn ang="0">
                  <a:pos x="T0" y="T1"/>
                </a:cxn>
                <a:cxn ang="0">
                  <a:pos x="T2" y="T3"/>
                </a:cxn>
                <a:cxn ang="0">
                  <a:pos x="T4" y="T5"/>
                </a:cxn>
                <a:cxn ang="0">
                  <a:pos x="T6" y="T7"/>
                </a:cxn>
                <a:cxn ang="0">
                  <a:pos x="T8" y="T9"/>
                </a:cxn>
              </a:cxnLst>
              <a:rect l="0" t="0" r="r" b="b"/>
              <a:pathLst>
                <a:path w="18" h="19">
                  <a:moveTo>
                    <a:pt x="13" y="0"/>
                  </a:moveTo>
                  <a:cubicBezTo>
                    <a:pt x="0" y="9"/>
                    <a:pt x="0" y="9"/>
                    <a:pt x="0" y="9"/>
                  </a:cubicBezTo>
                  <a:cubicBezTo>
                    <a:pt x="6" y="19"/>
                    <a:pt x="6" y="19"/>
                    <a:pt x="6" y="19"/>
                  </a:cubicBezTo>
                  <a:cubicBezTo>
                    <a:pt x="10" y="18"/>
                    <a:pt x="14" y="16"/>
                    <a:pt x="18" y="15"/>
                  </a:cubicBez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8" name="Freeform 66">
              <a:extLst>
                <a:ext uri="{FF2B5EF4-FFF2-40B4-BE49-F238E27FC236}">
                  <a16:creationId xmlns:a16="http://schemas.microsoft.com/office/drawing/2014/main" id="{75CCE9AF-061D-45E0-2BA2-38F7A38E3449}"/>
                </a:ext>
              </a:extLst>
            </p:cNvPr>
            <p:cNvSpPr>
              <a:spLocks/>
            </p:cNvSpPr>
            <p:nvPr/>
          </p:nvSpPr>
          <p:spPr bwMode="auto">
            <a:xfrm>
              <a:off x="2048" y="2314"/>
              <a:ext cx="5" cy="5"/>
            </a:xfrm>
            <a:custGeom>
              <a:avLst/>
              <a:gdLst>
                <a:gd name="T0" fmla="*/ 15 w 15"/>
                <a:gd name="T1" fmla="*/ 15 h 15"/>
                <a:gd name="T2" fmla="*/ 14 w 15"/>
                <a:gd name="T3" fmla="*/ 0 h 15"/>
                <a:gd name="T4" fmla="*/ 2 w 15"/>
                <a:gd name="T5" fmla="*/ 0 h 15"/>
                <a:gd name="T6" fmla="*/ 0 w 15"/>
                <a:gd name="T7" fmla="*/ 13 h 15"/>
                <a:gd name="T8" fmla="*/ 15 w 15"/>
                <a:gd name="T9" fmla="*/ 15 h 15"/>
              </a:gdLst>
              <a:ahLst/>
              <a:cxnLst>
                <a:cxn ang="0">
                  <a:pos x="T0" y="T1"/>
                </a:cxn>
                <a:cxn ang="0">
                  <a:pos x="T2" y="T3"/>
                </a:cxn>
                <a:cxn ang="0">
                  <a:pos x="T4" y="T5"/>
                </a:cxn>
                <a:cxn ang="0">
                  <a:pos x="T6" y="T7"/>
                </a:cxn>
                <a:cxn ang="0">
                  <a:pos x="T8" y="T9"/>
                </a:cxn>
              </a:cxnLst>
              <a:rect l="0" t="0" r="r" b="b"/>
              <a:pathLst>
                <a:path w="15" h="15">
                  <a:moveTo>
                    <a:pt x="15" y="15"/>
                  </a:moveTo>
                  <a:cubicBezTo>
                    <a:pt x="14" y="0"/>
                    <a:pt x="14" y="0"/>
                    <a:pt x="14" y="0"/>
                  </a:cubicBezTo>
                  <a:cubicBezTo>
                    <a:pt x="2" y="0"/>
                    <a:pt x="2" y="0"/>
                    <a:pt x="2" y="0"/>
                  </a:cubicBezTo>
                  <a:cubicBezTo>
                    <a:pt x="1" y="5"/>
                    <a:pt x="0" y="9"/>
                    <a:pt x="0" y="13"/>
                  </a:cubicBezTo>
                  <a:lnTo>
                    <a:pt x="15"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29" name="Freeform 67">
              <a:extLst>
                <a:ext uri="{FF2B5EF4-FFF2-40B4-BE49-F238E27FC236}">
                  <a16:creationId xmlns:a16="http://schemas.microsoft.com/office/drawing/2014/main" id="{8500A6C6-7D87-7903-C906-DF25FE928D92}"/>
                </a:ext>
              </a:extLst>
            </p:cNvPr>
            <p:cNvSpPr>
              <a:spLocks/>
            </p:cNvSpPr>
            <p:nvPr/>
          </p:nvSpPr>
          <p:spPr bwMode="auto">
            <a:xfrm>
              <a:off x="2509" y="2272"/>
              <a:ext cx="6" cy="6"/>
            </a:xfrm>
            <a:custGeom>
              <a:avLst/>
              <a:gdLst>
                <a:gd name="T0" fmla="*/ 0 w 18"/>
                <a:gd name="T1" fmla="*/ 6 h 19"/>
                <a:gd name="T2" fmla="*/ 8 w 18"/>
                <a:gd name="T3" fmla="*/ 19 h 19"/>
                <a:gd name="T4" fmla="*/ 18 w 18"/>
                <a:gd name="T5" fmla="*/ 12 h 19"/>
                <a:gd name="T6" fmla="*/ 14 w 18"/>
                <a:gd name="T7" fmla="*/ 0 h 19"/>
                <a:gd name="T8" fmla="*/ 0 w 18"/>
                <a:gd name="T9" fmla="*/ 6 h 19"/>
              </a:gdLst>
              <a:ahLst/>
              <a:cxnLst>
                <a:cxn ang="0">
                  <a:pos x="T0" y="T1"/>
                </a:cxn>
                <a:cxn ang="0">
                  <a:pos x="T2" y="T3"/>
                </a:cxn>
                <a:cxn ang="0">
                  <a:pos x="T4" y="T5"/>
                </a:cxn>
                <a:cxn ang="0">
                  <a:pos x="T6" y="T7"/>
                </a:cxn>
                <a:cxn ang="0">
                  <a:pos x="T8" y="T9"/>
                </a:cxn>
              </a:cxnLst>
              <a:rect l="0" t="0" r="r" b="b"/>
              <a:pathLst>
                <a:path w="18" h="19">
                  <a:moveTo>
                    <a:pt x="0" y="6"/>
                  </a:moveTo>
                  <a:cubicBezTo>
                    <a:pt x="8" y="19"/>
                    <a:pt x="8" y="19"/>
                    <a:pt x="8" y="19"/>
                  </a:cubicBezTo>
                  <a:cubicBezTo>
                    <a:pt x="18" y="12"/>
                    <a:pt x="18" y="12"/>
                    <a:pt x="18" y="12"/>
                  </a:cubicBezTo>
                  <a:cubicBezTo>
                    <a:pt x="17" y="8"/>
                    <a:pt x="16" y="4"/>
                    <a:pt x="14" y="0"/>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0" name="Freeform 68">
              <a:extLst>
                <a:ext uri="{FF2B5EF4-FFF2-40B4-BE49-F238E27FC236}">
                  <a16:creationId xmlns:a16="http://schemas.microsoft.com/office/drawing/2014/main" id="{527FBB71-1DA1-5BE6-E4FA-A1FB67F3A0BE}"/>
                </a:ext>
              </a:extLst>
            </p:cNvPr>
            <p:cNvSpPr>
              <a:spLocks/>
            </p:cNvSpPr>
            <p:nvPr/>
          </p:nvSpPr>
          <p:spPr bwMode="auto">
            <a:xfrm>
              <a:off x="2059" y="2272"/>
              <a:ext cx="6" cy="6"/>
            </a:xfrm>
            <a:custGeom>
              <a:avLst/>
              <a:gdLst>
                <a:gd name="T0" fmla="*/ 18 w 18"/>
                <a:gd name="T1" fmla="*/ 6 h 19"/>
                <a:gd name="T2" fmla="*/ 4 w 18"/>
                <a:gd name="T3" fmla="*/ 0 h 19"/>
                <a:gd name="T4" fmla="*/ 0 w 18"/>
                <a:gd name="T5" fmla="*/ 12 h 19"/>
                <a:gd name="T6" fmla="*/ 10 w 18"/>
                <a:gd name="T7" fmla="*/ 19 h 19"/>
                <a:gd name="T8" fmla="*/ 18 w 18"/>
                <a:gd name="T9" fmla="*/ 6 h 19"/>
              </a:gdLst>
              <a:ahLst/>
              <a:cxnLst>
                <a:cxn ang="0">
                  <a:pos x="T0" y="T1"/>
                </a:cxn>
                <a:cxn ang="0">
                  <a:pos x="T2" y="T3"/>
                </a:cxn>
                <a:cxn ang="0">
                  <a:pos x="T4" y="T5"/>
                </a:cxn>
                <a:cxn ang="0">
                  <a:pos x="T6" y="T7"/>
                </a:cxn>
                <a:cxn ang="0">
                  <a:pos x="T8" y="T9"/>
                </a:cxn>
              </a:cxnLst>
              <a:rect l="0" t="0" r="r" b="b"/>
              <a:pathLst>
                <a:path w="18" h="19">
                  <a:moveTo>
                    <a:pt x="18" y="6"/>
                  </a:moveTo>
                  <a:cubicBezTo>
                    <a:pt x="4" y="0"/>
                    <a:pt x="4" y="0"/>
                    <a:pt x="4" y="0"/>
                  </a:cubicBezTo>
                  <a:cubicBezTo>
                    <a:pt x="2" y="4"/>
                    <a:pt x="1" y="8"/>
                    <a:pt x="0" y="12"/>
                  </a:cubicBezTo>
                  <a:cubicBezTo>
                    <a:pt x="10" y="19"/>
                    <a:pt x="10" y="19"/>
                    <a:pt x="10" y="19"/>
                  </a:cubicBezTo>
                  <a:lnTo>
                    <a:pt x="1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1" name="Freeform 69">
              <a:extLst>
                <a:ext uri="{FF2B5EF4-FFF2-40B4-BE49-F238E27FC236}">
                  <a16:creationId xmlns:a16="http://schemas.microsoft.com/office/drawing/2014/main" id="{B67AF773-D250-FBC9-1975-8F377FA50E77}"/>
                </a:ext>
              </a:extLst>
            </p:cNvPr>
            <p:cNvSpPr>
              <a:spLocks/>
            </p:cNvSpPr>
            <p:nvPr/>
          </p:nvSpPr>
          <p:spPr bwMode="auto">
            <a:xfrm>
              <a:off x="2325" y="2590"/>
              <a:ext cx="5" cy="5"/>
            </a:xfrm>
            <a:custGeom>
              <a:avLst/>
              <a:gdLst>
                <a:gd name="T0" fmla="*/ 0 w 16"/>
                <a:gd name="T1" fmla="*/ 0 h 15"/>
                <a:gd name="T2" fmla="*/ 3 w 16"/>
                <a:gd name="T3" fmla="*/ 15 h 15"/>
                <a:gd name="T4" fmla="*/ 15 w 16"/>
                <a:gd name="T5" fmla="*/ 12 h 15"/>
                <a:gd name="T6" fmla="*/ 16 w 16"/>
                <a:gd name="T7" fmla="*/ 0 h 15"/>
                <a:gd name="T8" fmla="*/ 0 w 16"/>
                <a:gd name="T9" fmla="*/ 0 h 15"/>
              </a:gdLst>
              <a:ahLst/>
              <a:cxnLst>
                <a:cxn ang="0">
                  <a:pos x="T0" y="T1"/>
                </a:cxn>
                <a:cxn ang="0">
                  <a:pos x="T2" y="T3"/>
                </a:cxn>
                <a:cxn ang="0">
                  <a:pos x="T4" y="T5"/>
                </a:cxn>
                <a:cxn ang="0">
                  <a:pos x="T6" y="T7"/>
                </a:cxn>
                <a:cxn ang="0">
                  <a:pos x="T8" y="T9"/>
                </a:cxn>
              </a:cxnLst>
              <a:rect l="0" t="0" r="r" b="b"/>
              <a:pathLst>
                <a:path w="16" h="15">
                  <a:moveTo>
                    <a:pt x="0" y="0"/>
                  </a:moveTo>
                  <a:cubicBezTo>
                    <a:pt x="3" y="15"/>
                    <a:pt x="3" y="15"/>
                    <a:pt x="3" y="15"/>
                  </a:cubicBezTo>
                  <a:cubicBezTo>
                    <a:pt x="7" y="14"/>
                    <a:pt x="11" y="13"/>
                    <a:pt x="15" y="12"/>
                  </a:cubicBezTo>
                  <a:cubicBezTo>
                    <a:pt x="16" y="0"/>
                    <a:pt x="16" y="0"/>
                    <a:pt x="1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2" name="Freeform 70">
              <a:extLst>
                <a:ext uri="{FF2B5EF4-FFF2-40B4-BE49-F238E27FC236}">
                  <a16:creationId xmlns:a16="http://schemas.microsoft.com/office/drawing/2014/main" id="{07CE2940-1BF1-8660-8359-8EB017583EEE}"/>
                </a:ext>
              </a:extLst>
            </p:cNvPr>
            <p:cNvSpPr>
              <a:spLocks/>
            </p:cNvSpPr>
            <p:nvPr/>
          </p:nvSpPr>
          <p:spPr bwMode="auto">
            <a:xfrm>
              <a:off x="2468" y="2506"/>
              <a:ext cx="6" cy="6"/>
            </a:xfrm>
            <a:custGeom>
              <a:avLst/>
              <a:gdLst>
                <a:gd name="T0" fmla="*/ 7 w 19"/>
                <a:gd name="T1" fmla="*/ 0 h 19"/>
                <a:gd name="T2" fmla="*/ 0 w 19"/>
                <a:gd name="T3" fmla="*/ 14 h 19"/>
                <a:gd name="T4" fmla="*/ 11 w 19"/>
                <a:gd name="T5" fmla="*/ 19 h 19"/>
                <a:gd name="T6" fmla="*/ 19 w 19"/>
                <a:gd name="T7" fmla="*/ 10 h 19"/>
                <a:gd name="T8" fmla="*/ 7 w 19"/>
                <a:gd name="T9" fmla="*/ 0 h 19"/>
              </a:gdLst>
              <a:ahLst/>
              <a:cxnLst>
                <a:cxn ang="0">
                  <a:pos x="T0" y="T1"/>
                </a:cxn>
                <a:cxn ang="0">
                  <a:pos x="T2" y="T3"/>
                </a:cxn>
                <a:cxn ang="0">
                  <a:pos x="T4" y="T5"/>
                </a:cxn>
                <a:cxn ang="0">
                  <a:pos x="T6" y="T7"/>
                </a:cxn>
                <a:cxn ang="0">
                  <a:pos x="T8" y="T9"/>
                </a:cxn>
              </a:cxnLst>
              <a:rect l="0" t="0" r="r" b="b"/>
              <a:pathLst>
                <a:path w="19" h="19">
                  <a:moveTo>
                    <a:pt x="7" y="0"/>
                  </a:moveTo>
                  <a:cubicBezTo>
                    <a:pt x="0" y="14"/>
                    <a:pt x="0" y="14"/>
                    <a:pt x="0" y="14"/>
                  </a:cubicBezTo>
                  <a:cubicBezTo>
                    <a:pt x="11" y="19"/>
                    <a:pt x="11" y="19"/>
                    <a:pt x="11" y="19"/>
                  </a:cubicBezTo>
                  <a:cubicBezTo>
                    <a:pt x="14" y="16"/>
                    <a:pt x="17" y="13"/>
                    <a:pt x="19" y="1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3" name="Freeform 71">
              <a:extLst>
                <a:ext uri="{FF2B5EF4-FFF2-40B4-BE49-F238E27FC236}">
                  <a16:creationId xmlns:a16="http://schemas.microsoft.com/office/drawing/2014/main" id="{4E90D783-5830-64E4-2721-B1ECE5D0AC8F}"/>
                </a:ext>
              </a:extLst>
            </p:cNvPr>
            <p:cNvSpPr>
              <a:spLocks/>
            </p:cNvSpPr>
            <p:nvPr/>
          </p:nvSpPr>
          <p:spPr bwMode="auto">
            <a:xfrm>
              <a:off x="2201" y="2578"/>
              <a:ext cx="6" cy="6"/>
            </a:xfrm>
            <a:custGeom>
              <a:avLst/>
              <a:gdLst>
                <a:gd name="T0" fmla="*/ 5 w 18"/>
                <a:gd name="T1" fmla="*/ 0 h 19"/>
                <a:gd name="T2" fmla="*/ 0 w 18"/>
                <a:gd name="T3" fmla="*/ 15 h 19"/>
                <a:gd name="T4" fmla="*/ 12 w 18"/>
                <a:gd name="T5" fmla="*/ 19 h 19"/>
                <a:gd name="T6" fmla="*/ 18 w 18"/>
                <a:gd name="T7" fmla="*/ 9 h 19"/>
                <a:gd name="T8" fmla="*/ 5 w 18"/>
                <a:gd name="T9" fmla="*/ 0 h 19"/>
              </a:gdLst>
              <a:ahLst/>
              <a:cxnLst>
                <a:cxn ang="0">
                  <a:pos x="T0" y="T1"/>
                </a:cxn>
                <a:cxn ang="0">
                  <a:pos x="T2" y="T3"/>
                </a:cxn>
                <a:cxn ang="0">
                  <a:pos x="T4" y="T5"/>
                </a:cxn>
                <a:cxn ang="0">
                  <a:pos x="T6" y="T7"/>
                </a:cxn>
                <a:cxn ang="0">
                  <a:pos x="T8" y="T9"/>
                </a:cxn>
              </a:cxnLst>
              <a:rect l="0" t="0" r="r" b="b"/>
              <a:pathLst>
                <a:path w="18" h="19">
                  <a:moveTo>
                    <a:pt x="5" y="0"/>
                  </a:moveTo>
                  <a:cubicBezTo>
                    <a:pt x="0" y="15"/>
                    <a:pt x="0" y="15"/>
                    <a:pt x="0" y="15"/>
                  </a:cubicBezTo>
                  <a:cubicBezTo>
                    <a:pt x="4" y="16"/>
                    <a:pt x="8" y="18"/>
                    <a:pt x="12" y="19"/>
                  </a:cubicBezTo>
                  <a:cubicBezTo>
                    <a:pt x="18" y="9"/>
                    <a:pt x="18" y="9"/>
                    <a:pt x="18" y="9"/>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4" name="Freeform 72">
              <a:extLst>
                <a:ext uri="{FF2B5EF4-FFF2-40B4-BE49-F238E27FC236}">
                  <a16:creationId xmlns:a16="http://schemas.microsoft.com/office/drawing/2014/main" id="{378584ED-4F3C-87C9-C930-BFA01828E66D}"/>
                </a:ext>
              </a:extLst>
            </p:cNvPr>
            <p:cNvSpPr>
              <a:spLocks/>
            </p:cNvSpPr>
            <p:nvPr/>
          </p:nvSpPr>
          <p:spPr bwMode="auto">
            <a:xfrm>
              <a:off x="2130" y="2537"/>
              <a:ext cx="7" cy="7"/>
            </a:xfrm>
            <a:custGeom>
              <a:avLst/>
              <a:gdLst>
                <a:gd name="T0" fmla="*/ 20 w 20"/>
                <a:gd name="T1" fmla="*/ 7 h 19"/>
                <a:gd name="T2" fmla="*/ 6 w 20"/>
                <a:gd name="T3" fmla="*/ 0 h 19"/>
                <a:gd name="T4" fmla="*/ 0 w 20"/>
                <a:gd name="T5" fmla="*/ 10 h 19"/>
                <a:gd name="T6" fmla="*/ 10 w 20"/>
                <a:gd name="T7" fmla="*/ 19 h 19"/>
                <a:gd name="T8" fmla="*/ 20 w 20"/>
                <a:gd name="T9" fmla="*/ 7 h 19"/>
              </a:gdLst>
              <a:ahLst/>
              <a:cxnLst>
                <a:cxn ang="0">
                  <a:pos x="T0" y="T1"/>
                </a:cxn>
                <a:cxn ang="0">
                  <a:pos x="T2" y="T3"/>
                </a:cxn>
                <a:cxn ang="0">
                  <a:pos x="T4" y="T5"/>
                </a:cxn>
                <a:cxn ang="0">
                  <a:pos x="T6" y="T7"/>
                </a:cxn>
                <a:cxn ang="0">
                  <a:pos x="T8" y="T9"/>
                </a:cxn>
              </a:cxnLst>
              <a:rect l="0" t="0" r="r" b="b"/>
              <a:pathLst>
                <a:path w="20" h="19">
                  <a:moveTo>
                    <a:pt x="20" y="7"/>
                  </a:moveTo>
                  <a:cubicBezTo>
                    <a:pt x="6" y="0"/>
                    <a:pt x="6" y="0"/>
                    <a:pt x="6" y="0"/>
                  </a:cubicBezTo>
                  <a:cubicBezTo>
                    <a:pt x="0" y="10"/>
                    <a:pt x="0" y="10"/>
                    <a:pt x="0" y="10"/>
                  </a:cubicBezTo>
                  <a:cubicBezTo>
                    <a:pt x="3" y="13"/>
                    <a:pt x="7" y="16"/>
                    <a:pt x="10" y="19"/>
                  </a:cubicBezTo>
                  <a:lnTo>
                    <a:pt x="2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5" name="Freeform 73">
              <a:extLst>
                <a:ext uri="{FF2B5EF4-FFF2-40B4-BE49-F238E27FC236}">
                  <a16:creationId xmlns:a16="http://schemas.microsoft.com/office/drawing/2014/main" id="{974FA9BD-AC02-ED79-36AE-9082ABE8ECEF}"/>
                </a:ext>
              </a:extLst>
            </p:cNvPr>
            <p:cNvSpPr>
              <a:spLocks/>
            </p:cNvSpPr>
            <p:nvPr/>
          </p:nvSpPr>
          <p:spPr bwMode="auto">
            <a:xfrm>
              <a:off x="1989" y="2174"/>
              <a:ext cx="595" cy="478"/>
            </a:xfrm>
            <a:custGeom>
              <a:avLst/>
              <a:gdLst>
                <a:gd name="T0" fmla="*/ 1645 w 1824"/>
                <a:gd name="T1" fmla="*/ 684 h 1476"/>
                <a:gd name="T2" fmla="*/ 1824 w 1824"/>
                <a:gd name="T3" fmla="*/ 439 h 1476"/>
                <a:gd name="T4" fmla="*/ 1630 w 1824"/>
                <a:gd name="T5" fmla="*/ 447 h 1476"/>
                <a:gd name="T6" fmla="*/ 1611 w 1824"/>
                <a:gd name="T7" fmla="*/ 313 h 1476"/>
                <a:gd name="T8" fmla="*/ 1607 w 1824"/>
                <a:gd name="T9" fmla="*/ 301 h 1476"/>
                <a:gd name="T10" fmla="*/ 1639 w 1824"/>
                <a:gd name="T11" fmla="*/ 0 h 1476"/>
                <a:gd name="T12" fmla="*/ 1627 w 1824"/>
                <a:gd name="T13" fmla="*/ 41 h 1476"/>
                <a:gd name="T14" fmla="*/ 1579 w 1824"/>
                <a:gd name="T15" fmla="*/ 312 h 1476"/>
                <a:gd name="T16" fmla="*/ 1793 w 1824"/>
                <a:gd name="T17" fmla="*/ 469 h 1476"/>
                <a:gd name="T18" fmla="*/ 1615 w 1824"/>
                <a:gd name="T19" fmla="*/ 679 h 1476"/>
                <a:gd name="T20" fmla="*/ 1723 w 1824"/>
                <a:gd name="T21" fmla="*/ 922 h 1476"/>
                <a:gd name="T22" fmla="*/ 1463 w 1824"/>
                <a:gd name="T23" fmla="*/ 1015 h 1476"/>
                <a:gd name="T24" fmla="*/ 1435 w 1824"/>
                <a:gd name="T25" fmla="*/ 1280 h 1476"/>
                <a:gd name="T26" fmla="*/ 1164 w 1824"/>
                <a:gd name="T27" fmla="*/ 1231 h 1476"/>
                <a:gd name="T28" fmla="*/ 1008 w 1824"/>
                <a:gd name="T29" fmla="*/ 1445 h 1476"/>
                <a:gd name="T30" fmla="*/ 797 w 1824"/>
                <a:gd name="T31" fmla="*/ 1267 h 1476"/>
                <a:gd name="T32" fmla="*/ 554 w 1824"/>
                <a:gd name="T33" fmla="*/ 1375 h 1476"/>
                <a:gd name="T34" fmla="*/ 461 w 1824"/>
                <a:gd name="T35" fmla="*/ 1116 h 1476"/>
                <a:gd name="T36" fmla="*/ 197 w 1824"/>
                <a:gd name="T37" fmla="*/ 1088 h 1476"/>
                <a:gd name="T38" fmla="*/ 245 w 1824"/>
                <a:gd name="T39" fmla="*/ 817 h 1476"/>
                <a:gd name="T40" fmla="*/ 31 w 1824"/>
                <a:gd name="T41" fmla="*/ 660 h 1476"/>
                <a:gd name="T42" fmla="*/ 209 w 1824"/>
                <a:gd name="T43" fmla="*/ 450 h 1476"/>
                <a:gd name="T44" fmla="*/ 101 w 1824"/>
                <a:gd name="T45" fmla="*/ 207 h 1476"/>
                <a:gd name="T46" fmla="*/ 251 w 1824"/>
                <a:gd name="T47" fmla="*/ 35 h 1476"/>
                <a:gd name="T48" fmla="*/ 213 w 1824"/>
                <a:gd name="T49" fmla="*/ 313 h 1476"/>
                <a:gd name="T50" fmla="*/ 223 w 1824"/>
                <a:gd name="T51" fmla="*/ 320 h 1476"/>
                <a:gd name="T52" fmla="*/ 193 w 1824"/>
                <a:gd name="T53" fmla="*/ 432 h 1476"/>
                <a:gd name="T54" fmla="*/ 181 w 1824"/>
                <a:gd name="T55" fmla="*/ 432 h 1476"/>
                <a:gd name="T56" fmla="*/ 181 w 1824"/>
                <a:gd name="T57" fmla="*/ 697 h 1476"/>
                <a:gd name="T58" fmla="*/ 193 w 1824"/>
                <a:gd name="T59" fmla="*/ 697 h 1476"/>
                <a:gd name="T60" fmla="*/ 223 w 1824"/>
                <a:gd name="T61" fmla="*/ 809 h 1476"/>
                <a:gd name="T62" fmla="*/ 213 w 1824"/>
                <a:gd name="T63" fmla="*/ 816 h 1476"/>
                <a:gd name="T64" fmla="*/ 345 w 1824"/>
                <a:gd name="T65" fmla="*/ 1044 h 1476"/>
                <a:gd name="T66" fmla="*/ 356 w 1824"/>
                <a:gd name="T67" fmla="*/ 1039 h 1476"/>
                <a:gd name="T68" fmla="*/ 438 w 1824"/>
                <a:gd name="T69" fmla="*/ 1121 h 1476"/>
                <a:gd name="T70" fmla="*/ 432 w 1824"/>
                <a:gd name="T71" fmla="*/ 1131 h 1476"/>
                <a:gd name="T72" fmla="*/ 661 w 1824"/>
                <a:gd name="T73" fmla="*/ 1264 h 1476"/>
                <a:gd name="T74" fmla="*/ 667 w 1824"/>
                <a:gd name="T75" fmla="*/ 1254 h 1476"/>
                <a:gd name="T76" fmla="*/ 779 w 1824"/>
                <a:gd name="T77" fmla="*/ 1283 h 1476"/>
                <a:gd name="T78" fmla="*/ 780 w 1824"/>
                <a:gd name="T79" fmla="*/ 1295 h 1476"/>
                <a:gd name="T80" fmla="*/ 1044 w 1824"/>
                <a:gd name="T81" fmla="*/ 1295 h 1476"/>
                <a:gd name="T82" fmla="*/ 1045 w 1824"/>
                <a:gd name="T83" fmla="*/ 1283 h 1476"/>
                <a:gd name="T84" fmla="*/ 1157 w 1824"/>
                <a:gd name="T85" fmla="*/ 1254 h 1476"/>
                <a:gd name="T86" fmla="*/ 1163 w 1824"/>
                <a:gd name="T87" fmla="*/ 1264 h 1476"/>
                <a:gd name="T88" fmla="*/ 1392 w 1824"/>
                <a:gd name="T89" fmla="*/ 1131 h 1476"/>
                <a:gd name="T90" fmla="*/ 1386 w 1824"/>
                <a:gd name="T91" fmla="*/ 1121 h 1476"/>
                <a:gd name="T92" fmla="*/ 1468 w 1824"/>
                <a:gd name="T93" fmla="*/ 1039 h 1476"/>
                <a:gd name="T94" fmla="*/ 1479 w 1824"/>
                <a:gd name="T95" fmla="*/ 1044 h 1476"/>
                <a:gd name="T96" fmla="*/ 1611 w 1824"/>
                <a:gd name="T97" fmla="*/ 816 h 1476"/>
                <a:gd name="T98" fmla="*/ 1601 w 1824"/>
                <a:gd name="T99" fmla="*/ 809 h 1476"/>
                <a:gd name="T100" fmla="*/ 1631 w 1824"/>
                <a:gd name="T101" fmla="*/ 697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4" h="1476">
                  <a:moveTo>
                    <a:pt x="1631" y="697"/>
                  </a:moveTo>
                  <a:cubicBezTo>
                    <a:pt x="1630" y="682"/>
                    <a:pt x="1630" y="682"/>
                    <a:pt x="1630" y="682"/>
                  </a:cubicBezTo>
                  <a:cubicBezTo>
                    <a:pt x="1645" y="684"/>
                    <a:pt x="1645" y="684"/>
                    <a:pt x="1645" y="684"/>
                  </a:cubicBezTo>
                  <a:cubicBezTo>
                    <a:pt x="1645" y="688"/>
                    <a:pt x="1644" y="692"/>
                    <a:pt x="1643" y="697"/>
                  </a:cubicBezTo>
                  <a:cubicBezTo>
                    <a:pt x="1824" y="690"/>
                    <a:pt x="1824" y="690"/>
                    <a:pt x="1824" y="690"/>
                  </a:cubicBezTo>
                  <a:cubicBezTo>
                    <a:pt x="1824" y="439"/>
                    <a:pt x="1824" y="439"/>
                    <a:pt x="1824" y="439"/>
                  </a:cubicBezTo>
                  <a:cubicBezTo>
                    <a:pt x="1643" y="432"/>
                    <a:pt x="1643" y="432"/>
                    <a:pt x="1643" y="432"/>
                  </a:cubicBezTo>
                  <a:cubicBezTo>
                    <a:pt x="1644" y="437"/>
                    <a:pt x="1645" y="441"/>
                    <a:pt x="1645" y="445"/>
                  </a:cubicBezTo>
                  <a:cubicBezTo>
                    <a:pt x="1630" y="447"/>
                    <a:pt x="1630" y="447"/>
                    <a:pt x="1630" y="447"/>
                  </a:cubicBezTo>
                  <a:cubicBezTo>
                    <a:pt x="1631" y="432"/>
                    <a:pt x="1631" y="432"/>
                    <a:pt x="1631" y="432"/>
                  </a:cubicBezTo>
                  <a:cubicBezTo>
                    <a:pt x="1643" y="432"/>
                    <a:pt x="1643" y="432"/>
                    <a:pt x="1643" y="432"/>
                  </a:cubicBezTo>
                  <a:cubicBezTo>
                    <a:pt x="1636" y="391"/>
                    <a:pt x="1625" y="351"/>
                    <a:pt x="1611" y="313"/>
                  </a:cubicBezTo>
                  <a:cubicBezTo>
                    <a:pt x="1601" y="320"/>
                    <a:pt x="1601" y="320"/>
                    <a:pt x="1601" y="320"/>
                  </a:cubicBezTo>
                  <a:cubicBezTo>
                    <a:pt x="1593" y="307"/>
                    <a:pt x="1593" y="307"/>
                    <a:pt x="1593" y="307"/>
                  </a:cubicBezTo>
                  <a:cubicBezTo>
                    <a:pt x="1607" y="301"/>
                    <a:pt x="1607" y="301"/>
                    <a:pt x="1607" y="301"/>
                  </a:cubicBezTo>
                  <a:cubicBezTo>
                    <a:pt x="1609" y="305"/>
                    <a:pt x="1610" y="309"/>
                    <a:pt x="1611" y="313"/>
                  </a:cubicBezTo>
                  <a:cubicBezTo>
                    <a:pt x="1764" y="217"/>
                    <a:pt x="1764" y="217"/>
                    <a:pt x="1764" y="217"/>
                  </a:cubicBezTo>
                  <a:cubicBezTo>
                    <a:pt x="1639" y="0"/>
                    <a:pt x="1639" y="0"/>
                    <a:pt x="1639" y="0"/>
                  </a:cubicBezTo>
                  <a:cubicBezTo>
                    <a:pt x="1573" y="35"/>
                    <a:pt x="1573" y="35"/>
                    <a:pt x="1573" y="35"/>
                  </a:cubicBezTo>
                  <a:cubicBezTo>
                    <a:pt x="1570" y="72"/>
                    <a:pt x="1570" y="72"/>
                    <a:pt x="1570" y="72"/>
                  </a:cubicBezTo>
                  <a:cubicBezTo>
                    <a:pt x="1627" y="41"/>
                    <a:pt x="1627" y="41"/>
                    <a:pt x="1627" y="41"/>
                  </a:cubicBezTo>
                  <a:cubicBezTo>
                    <a:pt x="1723" y="207"/>
                    <a:pt x="1723" y="207"/>
                    <a:pt x="1723" y="207"/>
                  </a:cubicBezTo>
                  <a:cubicBezTo>
                    <a:pt x="1574" y="300"/>
                    <a:pt x="1574" y="300"/>
                    <a:pt x="1574" y="300"/>
                  </a:cubicBezTo>
                  <a:cubicBezTo>
                    <a:pt x="1579" y="312"/>
                    <a:pt x="1579" y="312"/>
                    <a:pt x="1579" y="312"/>
                  </a:cubicBezTo>
                  <a:cubicBezTo>
                    <a:pt x="1595" y="356"/>
                    <a:pt x="1607" y="402"/>
                    <a:pt x="1615" y="450"/>
                  </a:cubicBezTo>
                  <a:cubicBezTo>
                    <a:pt x="1617" y="462"/>
                    <a:pt x="1617" y="462"/>
                    <a:pt x="1617" y="462"/>
                  </a:cubicBezTo>
                  <a:cubicBezTo>
                    <a:pt x="1793" y="469"/>
                    <a:pt x="1793" y="469"/>
                    <a:pt x="1793" y="469"/>
                  </a:cubicBezTo>
                  <a:cubicBezTo>
                    <a:pt x="1793" y="660"/>
                    <a:pt x="1793" y="660"/>
                    <a:pt x="1793" y="660"/>
                  </a:cubicBezTo>
                  <a:cubicBezTo>
                    <a:pt x="1617" y="667"/>
                    <a:pt x="1617" y="667"/>
                    <a:pt x="1617" y="667"/>
                  </a:cubicBezTo>
                  <a:cubicBezTo>
                    <a:pt x="1615" y="679"/>
                    <a:pt x="1615" y="679"/>
                    <a:pt x="1615" y="679"/>
                  </a:cubicBezTo>
                  <a:cubicBezTo>
                    <a:pt x="1607" y="727"/>
                    <a:pt x="1595" y="773"/>
                    <a:pt x="1579" y="817"/>
                  </a:cubicBezTo>
                  <a:cubicBezTo>
                    <a:pt x="1574" y="829"/>
                    <a:pt x="1574" y="829"/>
                    <a:pt x="1574" y="829"/>
                  </a:cubicBezTo>
                  <a:cubicBezTo>
                    <a:pt x="1723" y="922"/>
                    <a:pt x="1723" y="922"/>
                    <a:pt x="1723" y="922"/>
                  </a:cubicBezTo>
                  <a:cubicBezTo>
                    <a:pt x="1627" y="1088"/>
                    <a:pt x="1627" y="1088"/>
                    <a:pt x="1627" y="1088"/>
                  </a:cubicBezTo>
                  <a:cubicBezTo>
                    <a:pt x="1471" y="1006"/>
                    <a:pt x="1471" y="1006"/>
                    <a:pt x="1471" y="1006"/>
                  </a:cubicBezTo>
                  <a:cubicBezTo>
                    <a:pt x="1463" y="1015"/>
                    <a:pt x="1463" y="1015"/>
                    <a:pt x="1463" y="1015"/>
                  </a:cubicBezTo>
                  <a:cubicBezTo>
                    <a:pt x="1433" y="1052"/>
                    <a:pt x="1400" y="1086"/>
                    <a:pt x="1363" y="1116"/>
                  </a:cubicBezTo>
                  <a:cubicBezTo>
                    <a:pt x="1353" y="1124"/>
                    <a:pt x="1353" y="1124"/>
                    <a:pt x="1353" y="1124"/>
                  </a:cubicBezTo>
                  <a:cubicBezTo>
                    <a:pt x="1435" y="1280"/>
                    <a:pt x="1435" y="1280"/>
                    <a:pt x="1435" y="1280"/>
                  </a:cubicBezTo>
                  <a:cubicBezTo>
                    <a:pt x="1270" y="1375"/>
                    <a:pt x="1270" y="1375"/>
                    <a:pt x="1270" y="1375"/>
                  </a:cubicBezTo>
                  <a:cubicBezTo>
                    <a:pt x="1176" y="1227"/>
                    <a:pt x="1176" y="1227"/>
                    <a:pt x="1176" y="1227"/>
                  </a:cubicBezTo>
                  <a:cubicBezTo>
                    <a:pt x="1164" y="1231"/>
                    <a:pt x="1164" y="1231"/>
                    <a:pt x="1164" y="1231"/>
                  </a:cubicBezTo>
                  <a:cubicBezTo>
                    <a:pt x="1121" y="1248"/>
                    <a:pt x="1075" y="1260"/>
                    <a:pt x="1027" y="1267"/>
                  </a:cubicBezTo>
                  <a:cubicBezTo>
                    <a:pt x="1014" y="1269"/>
                    <a:pt x="1014" y="1269"/>
                    <a:pt x="1014" y="1269"/>
                  </a:cubicBezTo>
                  <a:cubicBezTo>
                    <a:pt x="1008" y="1445"/>
                    <a:pt x="1008" y="1445"/>
                    <a:pt x="1008" y="1445"/>
                  </a:cubicBezTo>
                  <a:cubicBezTo>
                    <a:pt x="816" y="1445"/>
                    <a:pt x="816" y="1445"/>
                    <a:pt x="816" y="1445"/>
                  </a:cubicBezTo>
                  <a:cubicBezTo>
                    <a:pt x="810" y="1269"/>
                    <a:pt x="810" y="1269"/>
                    <a:pt x="810" y="1269"/>
                  </a:cubicBezTo>
                  <a:cubicBezTo>
                    <a:pt x="797" y="1267"/>
                    <a:pt x="797" y="1267"/>
                    <a:pt x="797" y="1267"/>
                  </a:cubicBezTo>
                  <a:cubicBezTo>
                    <a:pt x="750" y="1260"/>
                    <a:pt x="703" y="1248"/>
                    <a:pt x="660" y="1231"/>
                  </a:cubicBezTo>
                  <a:cubicBezTo>
                    <a:pt x="648" y="1227"/>
                    <a:pt x="648" y="1227"/>
                    <a:pt x="648" y="1227"/>
                  </a:cubicBezTo>
                  <a:cubicBezTo>
                    <a:pt x="554" y="1375"/>
                    <a:pt x="554" y="1375"/>
                    <a:pt x="554" y="1375"/>
                  </a:cubicBezTo>
                  <a:cubicBezTo>
                    <a:pt x="389" y="1280"/>
                    <a:pt x="389" y="1280"/>
                    <a:pt x="389" y="1280"/>
                  </a:cubicBezTo>
                  <a:cubicBezTo>
                    <a:pt x="471" y="1124"/>
                    <a:pt x="471" y="1124"/>
                    <a:pt x="471" y="1124"/>
                  </a:cubicBezTo>
                  <a:cubicBezTo>
                    <a:pt x="461" y="1116"/>
                    <a:pt x="461" y="1116"/>
                    <a:pt x="461" y="1116"/>
                  </a:cubicBezTo>
                  <a:cubicBezTo>
                    <a:pt x="425" y="1086"/>
                    <a:pt x="391" y="1052"/>
                    <a:pt x="361" y="1015"/>
                  </a:cubicBezTo>
                  <a:cubicBezTo>
                    <a:pt x="353" y="1006"/>
                    <a:pt x="353" y="1006"/>
                    <a:pt x="353" y="1006"/>
                  </a:cubicBezTo>
                  <a:cubicBezTo>
                    <a:pt x="197" y="1088"/>
                    <a:pt x="197" y="1088"/>
                    <a:pt x="197" y="1088"/>
                  </a:cubicBezTo>
                  <a:cubicBezTo>
                    <a:pt x="101" y="922"/>
                    <a:pt x="101" y="922"/>
                    <a:pt x="101" y="922"/>
                  </a:cubicBezTo>
                  <a:cubicBezTo>
                    <a:pt x="250" y="829"/>
                    <a:pt x="250" y="829"/>
                    <a:pt x="250" y="829"/>
                  </a:cubicBezTo>
                  <a:cubicBezTo>
                    <a:pt x="245" y="817"/>
                    <a:pt x="245" y="817"/>
                    <a:pt x="245" y="817"/>
                  </a:cubicBezTo>
                  <a:cubicBezTo>
                    <a:pt x="229" y="773"/>
                    <a:pt x="217" y="727"/>
                    <a:pt x="209" y="679"/>
                  </a:cubicBezTo>
                  <a:cubicBezTo>
                    <a:pt x="207" y="667"/>
                    <a:pt x="207" y="667"/>
                    <a:pt x="207" y="667"/>
                  </a:cubicBezTo>
                  <a:cubicBezTo>
                    <a:pt x="31" y="660"/>
                    <a:pt x="31" y="660"/>
                    <a:pt x="31" y="660"/>
                  </a:cubicBezTo>
                  <a:cubicBezTo>
                    <a:pt x="31" y="469"/>
                    <a:pt x="31" y="469"/>
                    <a:pt x="31" y="469"/>
                  </a:cubicBezTo>
                  <a:cubicBezTo>
                    <a:pt x="207" y="462"/>
                    <a:pt x="207" y="462"/>
                    <a:pt x="207" y="462"/>
                  </a:cubicBezTo>
                  <a:cubicBezTo>
                    <a:pt x="209" y="450"/>
                    <a:pt x="209" y="450"/>
                    <a:pt x="209" y="450"/>
                  </a:cubicBezTo>
                  <a:cubicBezTo>
                    <a:pt x="217" y="402"/>
                    <a:pt x="229" y="356"/>
                    <a:pt x="245" y="312"/>
                  </a:cubicBezTo>
                  <a:cubicBezTo>
                    <a:pt x="250" y="300"/>
                    <a:pt x="250" y="300"/>
                    <a:pt x="250" y="300"/>
                  </a:cubicBezTo>
                  <a:cubicBezTo>
                    <a:pt x="101" y="207"/>
                    <a:pt x="101" y="207"/>
                    <a:pt x="101" y="207"/>
                  </a:cubicBezTo>
                  <a:cubicBezTo>
                    <a:pt x="197" y="41"/>
                    <a:pt x="197" y="41"/>
                    <a:pt x="197" y="41"/>
                  </a:cubicBezTo>
                  <a:cubicBezTo>
                    <a:pt x="254" y="71"/>
                    <a:pt x="254" y="71"/>
                    <a:pt x="254" y="71"/>
                  </a:cubicBezTo>
                  <a:cubicBezTo>
                    <a:pt x="251" y="35"/>
                    <a:pt x="251" y="35"/>
                    <a:pt x="251" y="35"/>
                  </a:cubicBezTo>
                  <a:cubicBezTo>
                    <a:pt x="185" y="0"/>
                    <a:pt x="185" y="0"/>
                    <a:pt x="185" y="0"/>
                  </a:cubicBezTo>
                  <a:cubicBezTo>
                    <a:pt x="60" y="217"/>
                    <a:pt x="60" y="217"/>
                    <a:pt x="60" y="217"/>
                  </a:cubicBezTo>
                  <a:cubicBezTo>
                    <a:pt x="213" y="313"/>
                    <a:pt x="213" y="313"/>
                    <a:pt x="213" y="313"/>
                  </a:cubicBezTo>
                  <a:cubicBezTo>
                    <a:pt x="214" y="309"/>
                    <a:pt x="215" y="305"/>
                    <a:pt x="217" y="301"/>
                  </a:cubicBezTo>
                  <a:cubicBezTo>
                    <a:pt x="231" y="307"/>
                    <a:pt x="231" y="307"/>
                    <a:pt x="231" y="307"/>
                  </a:cubicBezTo>
                  <a:cubicBezTo>
                    <a:pt x="223" y="320"/>
                    <a:pt x="223" y="320"/>
                    <a:pt x="223" y="320"/>
                  </a:cubicBezTo>
                  <a:cubicBezTo>
                    <a:pt x="213" y="313"/>
                    <a:pt x="213" y="313"/>
                    <a:pt x="213" y="313"/>
                  </a:cubicBezTo>
                  <a:cubicBezTo>
                    <a:pt x="199" y="351"/>
                    <a:pt x="188" y="391"/>
                    <a:pt x="181" y="432"/>
                  </a:cubicBezTo>
                  <a:cubicBezTo>
                    <a:pt x="193" y="432"/>
                    <a:pt x="193" y="432"/>
                    <a:pt x="193" y="432"/>
                  </a:cubicBezTo>
                  <a:cubicBezTo>
                    <a:pt x="194" y="447"/>
                    <a:pt x="194" y="447"/>
                    <a:pt x="194" y="447"/>
                  </a:cubicBezTo>
                  <a:cubicBezTo>
                    <a:pt x="179" y="445"/>
                    <a:pt x="179" y="445"/>
                    <a:pt x="179" y="445"/>
                  </a:cubicBezTo>
                  <a:cubicBezTo>
                    <a:pt x="179" y="441"/>
                    <a:pt x="180" y="437"/>
                    <a:pt x="181" y="432"/>
                  </a:cubicBezTo>
                  <a:cubicBezTo>
                    <a:pt x="0" y="439"/>
                    <a:pt x="0" y="439"/>
                    <a:pt x="0" y="439"/>
                  </a:cubicBezTo>
                  <a:cubicBezTo>
                    <a:pt x="0" y="690"/>
                    <a:pt x="0" y="690"/>
                    <a:pt x="0" y="690"/>
                  </a:cubicBezTo>
                  <a:cubicBezTo>
                    <a:pt x="181" y="697"/>
                    <a:pt x="181" y="697"/>
                    <a:pt x="181" y="697"/>
                  </a:cubicBezTo>
                  <a:cubicBezTo>
                    <a:pt x="180" y="692"/>
                    <a:pt x="179" y="688"/>
                    <a:pt x="179" y="684"/>
                  </a:cubicBezTo>
                  <a:cubicBezTo>
                    <a:pt x="194" y="682"/>
                    <a:pt x="194" y="682"/>
                    <a:pt x="194" y="682"/>
                  </a:cubicBezTo>
                  <a:cubicBezTo>
                    <a:pt x="193" y="697"/>
                    <a:pt x="193" y="697"/>
                    <a:pt x="193" y="697"/>
                  </a:cubicBezTo>
                  <a:cubicBezTo>
                    <a:pt x="181" y="697"/>
                    <a:pt x="181" y="697"/>
                    <a:pt x="181" y="697"/>
                  </a:cubicBezTo>
                  <a:cubicBezTo>
                    <a:pt x="188" y="738"/>
                    <a:pt x="199" y="778"/>
                    <a:pt x="213" y="816"/>
                  </a:cubicBezTo>
                  <a:cubicBezTo>
                    <a:pt x="223" y="809"/>
                    <a:pt x="223" y="809"/>
                    <a:pt x="223" y="809"/>
                  </a:cubicBezTo>
                  <a:cubicBezTo>
                    <a:pt x="231" y="822"/>
                    <a:pt x="231" y="822"/>
                    <a:pt x="231" y="822"/>
                  </a:cubicBezTo>
                  <a:cubicBezTo>
                    <a:pt x="217" y="828"/>
                    <a:pt x="217" y="828"/>
                    <a:pt x="217" y="828"/>
                  </a:cubicBezTo>
                  <a:cubicBezTo>
                    <a:pt x="215" y="824"/>
                    <a:pt x="214" y="820"/>
                    <a:pt x="213" y="816"/>
                  </a:cubicBezTo>
                  <a:cubicBezTo>
                    <a:pt x="60" y="912"/>
                    <a:pt x="60" y="912"/>
                    <a:pt x="60" y="912"/>
                  </a:cubicBezTo>
                  <a:cubicBezTo>
                    <a:pt x="185" y="1129"/>
                    <a:pt x="185" y="1129"/>
                    <a:pt x="185" y="1129"/>
                  </a:cubicBezTo>
                  <a:cubicBezTo>
                    <a:pt x="345" y="1044"/>
                    <a:pt x="345" y="1044"/>
                    <a:pt x="345" y="1044"/>
                  </a:cubicBezTo>
                  <a:cubicBezTo>
                    <a:pt x="342" y="1041"/>
                    <a:pt x="340" y="1038"/>
                    <a:pt x="337" y="1035"/>
                  </a:cubicBezTo>
                  <a:cubicBezTo>
                    <a:pt x="349" y="1025"/>
                    <a:pt x="349" y="1025"/>
                    <a:pt x="349" y="1025"/>
                  </a:cubicBezTo>
                  <a:cubicBezTo>
                    <a:pt x="356" y="1039"/>
                    <a:pt x="356" y="1039"/>
                    <a:pt x="356" y="1039"/>
                  </a:cubicBezTo>
                  <a:cubicBezTo>
                    <a:pt x="345" y="1044"/>
                    <a:pt x="345" y="1044"/>
                    <a:pt x="345" y="1044"/>
                  </a:cubicBezTo>
                  <a:cubicBezTo>
                    <a:pt x="372" y="1076"/>
                    <a:pt x="401" y="1105"/>
                    <a:pt x="432" y="1131"/>
                  </a:cubicBezTo>
                  <a:cubicBezTo>
                    <a:pt x="438" y="1121"/>
                    <a:pt x="438" y="1121"/>
                    <a:pt x="438" y="1121"/>
                  </a:cubicBezTo>
                  <a:cubicBezTo>
                    <a:pt x="452" y="1128"/>
                    <a:pt x="452" y="1128"/>
                    <a:pt x="452" y="1128"/>
                  </a:cubicBezTo>
                  <a:cubicBezTo>
                    <a:pt x="442" y="1140"/>
                    <a:pt x="442" y="1140"/>
                    <a:pt x="442" y="1140"/>
                  </a:cubicBezTo>
                  <a:cubicBezTo>
                    <a:pt x="439" y="1137"/>
                    <a:pt x="435" y="1134"/>
                    <a:pt x="432" y="1131"/>
                  </a:cubicBezTo>
                  <a:cubicBezTo>
                    <a:pt x="348" y="1291"/>
                    <a:pt x="348" y="1291"/>
                    <a:pt x="348" y="1291"/>
                  </a:cubicBezTo>
                  <a:cubicBezTo>
                    <a:pt x="565" y="1417"/>
                    <a:pt x="565" y="1417"/>
                    <a:pt x="565" y="1417"/>
                  </a:cubicBezTo>
                  <a:cubicBezTo>
                    <a:pt x="661" y="1264"/>
                    <a:pt x="661" y="1264"/>
                    <a:pt x="661" y="1264"/>
                  </a:cubicBezTo>
                  <a:cubicBezTo>
                    <a:pt x="657" y="1263"/>
                    <a:pt x="653" y="1261"/>
                    <a:pt x="649" y="1260"/>
                  </a:cubicBezTo>
                  <a:cubicBezTo>
                    <a:pt x="654" y="1245"/>
                    <a:pt x="654" y="1245"/>
                    <a:pt x="654" y="1245"/>
                  </a:cubicBezTo>
                  <a:cubicBezTo>
                    <a:pt x="667" y="1254"/>
                    <a:pt x="667" y="1254"/>
                    <a:pt x="667" y="1254"/>
                  </a:cubicBezTo>
                  <a:cubicBezTo>
                    <a:pt x="661" y="1264"/>
                    <a:pt x="661" y="1264"/>
                    <a:pt x="661" y="1264"/>
                  </a:cubicBezTo>
                  <a:cubicBezTo>
                    <a:pt x="699" y="1278"/>
                    <a:pt x="739" y="1288"/>
                    <a:pt x="780" y="1295"/>
                  </a:cubicBezTo>
                  <a:cubicBezTo>
                    <a:pt x="779" y="1283"/>
                    <a:pt x="779" y="1283"/>
                    <a:pt x="779" y="1283"/>
                  </a:cubicBezTo>
                  <a:cubicBezTo>
                    <a:pt x="795" y="1283"/>
                    <a:pt x="795" y="1283"/>
                    <a:pt x="795" y="1283"/>
                  </a:cubicBezTo>
                  <a:cubicBezTo>
                    <a:pt x="792" y="1298"/>
                    <a:pt x="792" y="1298"/>
                    <a:pt x="792" y="1298"/>
                  </a:cubicBezTo>
                  <a:cubicBezTo>
                    <a:pt x="788" y="1297"/>
                    <a:pt x="784" y="1296"/>
                    <a:pt x="780" y="1295"/>
                  </a:cubicBezTo>
                  <a:cubicBezTo>
                    <a:pt x="787" y="1476"/>
                    <a:pt x="787" y="1476"/>
                    <a:pt x="787" y="1476"/>
                  </a:cubicBezTo>
                  <a:cubicBezTo>
                    <a:pt x="1037" y="1476"/>
                    <a:pt x="1037" y="1476"/>
                    <a:pt x="1037" y="1476"/>
                  </a:cubicBezTo>
                  <a:cubicBezTo>
                    <a:pt x="1044" y="1295"/>
                    <a:pt x="1044" y="1295"/>
                    <a:pt x="1044" y="1295"/>
                  </a:cubicBezTo>
                  <a:cubicBezTo>
                    <a:pt x="1040" y="1296"/>
                    <a:pt x="1036" y="1297"/>
                    <a:pt x="1032" y="1298"/>
                  </a:cubicBezTo>
                  <a:cubicBezTo>
                    <a:pt x="1029" y="1283"/>
                    <a:pt x="1029" y="1283"/>
                    <a:pt x="1029" y="1283"/>
                  </a:cubicBezTo>
                  <a:cubicBezTo>
                    <a:pt x="1045" y="1283"/>
                    <a:pt x="1045" y="1283"/>
                    <a:pt x="1045" y="1283"/>
                  </a:cubicBezTo>
                  <a:cubicBezTo>
                    <a:pt x="1044" y="1295"/>
                    <a:pt x="1044" y="1295"/>
                    <a:pt x="1044" y="1295"/>
                  </a:cubicBezTo>
                  <a:cubicBezTo>
                    <a:pt x="1085" y="1288"/>
                    <a:pt x="1125" y="1278"/>
                    <a:pt x="1163" y="1264"/>
                  </a:cubicBezTo>
                  <a:cubicBezTo>
                    <a:pt x="1157" y="1254"/>
                    <a:pt x="1157" y="1254"/>
                    <a:pt x="1157" y="1254"/>
                  </a:cubicBezTo>
                  <a:cubicBezTo>
                    <a:pt x="1170" y="1245"/>
                    <a:pt x="1170" y="1245"/>
                    <a:pt x="1170" y="1245"/>
                  </a:cubicBezTo>
                  <a:cubicBezTo>
                    <a:pt x="1175" y="1260"/>
                    <a:pt x="1175" y="1260"/>
                    <a:pt x="1175" y="1260"/>
                  </a:cubicBezTo>
                  <a:cubicBezTo>
                    <a:pt x="1171" y="1261"/>
                    <a:pt x="1167" y="1263"/>
                    <a:pt x="1163" y="1264"/>
                  </a:cubicBezTo>
                  <a:cubicBezTo>
                    <a:pt x="1259" y="1417"/>
                    <a:pt x="1259" y="1417"/>
                    <a:pt x="1259" y="1417"/>
                  </a:cubicBezTo>
                  <a:cubicBezTo>
                    <a:pt x="1476" y="1291"/>
                    <a:pt x="1476" y="1291"/>
                    <a:pt x="1476" y="1291"/>
                  </a:cubicBezTo>
                  <a:cubicBezTo>
                    <a:pt x="1392" y="1131"/>
                    <a:pt x="1392" y="1131"/>
                    <a:pt x="1392" y="1131"/>
                  </a:cubicBezTo>
                  <a:cubicBezTo>
                    <a:pt x="1389" y="1134"/>
                    <a:pt x="1386" y="1137"/>
                    <a:pt x="1382" y="1140"/>
                  </a:cubicBezTo>
                  <a:cubicBezTo>
                    <a:pt x="1373" y="1128"/>
                    <a:pt x="1373" y="1128"/>
                    <a:pt x="1373" y="1128"/>
                  </a:cubicBezTo>
                  <a:cubicBezTo>
                    <a:pt x="1386" y="1121"/>
                    <a:pt x="1386" y="1121"/>
                    <a:pt x="1386" y="1121"/>
                  </a:cubicBezTo>
                  <a:cubicBezTo>
                    <a:pt x="1392" y="1131"/>
                    <a:pt x="1392" y="1131"/>
                    <a:pt x="1392" y="1131"/>
                  </a:cubicBezTo>
                  <a:cubicBezTo>
                    <a:pt x="1423" y="1105"/>
                    <a:pt x="1452" y="1076"/>
                    <a:pt x="1479" y="1044"/>
                  </a:cubicBezTo>
                  <a:cubicBezTo>
                    <a:pt x="1468" y="1039"/>
                    <a:pt x="1468" y="1039"/>
                    <a:pt x="1468" y="1039"/>
                  </a:cubicBezTo>
                  <a:cubicBezTo>
                    <a:pt x="1475" y="1025"/>
                    <a:pt x="1475" y="1025"/>
                    <a:pt x="1475" y="1025"/>
                  </a:cubicBezTo>
                  <a:cubicBezTo>
                    <a:pt x="1487" y="1035"/>
                    <a:pt x="1487" y="1035"/>
                    <a:pt x="1487" y="1035"/>
                  </a:cubicBezTo>
                  <a:cubicBezTo>
                    <a:pt x="1485" y="1038"/>
                    <a:pt x="1482" y="1041"/>
                    <a:pt x="1479" y="1044"/>
                  </a:cubicBezTo>
                  <a:cubicBezTo>
                    <a:pt x="1639" y="1129"/>
                    <a:pt x="1639" y="1129"/>
                    <a:pt x="1639" y="1129"/>
                  </a:cubicBezTo>
                  <a:cubicBezTo>
                    <a:pt x="1764" y="912"/>
                    <a:pt x="1764" y="912"/>
                    <a:pt x="1764" y="912"/>
                  </a:cubicBezTo>
                  <a:cubicBezTo>
                    <a:pt x="1611" y="816"/>
                    <a:pt x="1611" y="816"/>
                    <a:pt x="1611" y="816"/>
                  </a:cubicBezTo>
                  <a:cubicBezTo>
                    <a:pt x="1610" y="820"/>
                    <a:pt x="1609" y="824"/>
                    <a:pt x="1607" y="828"/>
                  </a:cubicBezTo>
                  <a:cubicBezTo>
                    <a:pt x="1593" y="822"/>
                    <a:pt x="1593" y="822"/>
                    <a:pt x="1593" y="822"/>
                  </a:cubicBezTo>
                  <a:cubicBezTo>
                    <a:pt x="1601" y="809"/>
                    <a:pt x="1601" y="809"/>
                    <a:pt x="1601" y="809"/>
                  </a:cubicBezTo>
                  <a:cubicBezTo>
                    <a:pt x="1611" y="816"/>
                    <a:pt x="1611" y="816"/>
                    <a:pt x="1611" y="816"/>
                  </a:cubicBezTo>
                  <a:cubicBezTo>
                    <a:pt x="1625" y="778"/>
                    <a:pt x="1636" y="738"/>
                    <a:pt x="1643" y="697"/>
                  </a:cubicBezTo>
                  <a:lnTo>
                    <a:pt x="1631"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6" name="Freeform 74">
              <a:extLst>
                <a:ext uri="{FF2B5EF4-FFF2-40B4-BE49-F238E27FC236}">
                  <a16:creationId xmlns:a16="http://schemas.microsoft.com/office/drawing/2014/main" id="{238459EC-926A-BD90-1081-8AF8B7C1EF20}"/>
                </a:ext>
              </a:extLst>
            </p:cNvPr>
            <p:cNvSpPr>
              <a:spLocks noEditPoints="1"/>
            </p:cNvSpPr>
            <p:nvPr/>
          </p:nvSpPr>
          <p:spPr bwMode="auto">
            <a:xfrm>
              <a:off x="1987" y="2171"/>
              <a:ext cx="600" cy="484"/>
            </a:xfrm>
            <a:custGeom>
              <a:avLst/>
              <a:gdLst>
                <a:gd name="T0" fmla="*/ 575 w 1840"/>
                <a:gd name="T1" fmla="*/ 1439 h 1495"/>
                <a:gd name="T2" fmla="*/ 57 w 1840"/>
                <a:gd name="T3" fmla="*/ 920 h 1495"/>
                <a:gd name="T4" fmla="*/ 182 w 1840"/>
                <a:gd name="T5" fmla="*/ 435 h 1495"/>
                <a:gd name="T6" fmla="*/ 272 w 1840"/>
                <a:gd name="T7" fmla="*/ 97 h 1495"/>
                <a:gd name="T8" fmla="*/ 225 w 1840"/>
                <a:gd name="T9" fmla="*/ 462 h 1495"/>
                <a:gd name="T10" fmla="*/ 225 w 1840"/>
                <a:gd name="T11" fmla="*/ 689 h 1495"/>
                <a:gd name="T12" fmla="*/ 363 w 1840"/>
                <a:gd name="T13" fmla="*/ 1006 h 1495"/>
                <a:gd name="T14" fmla="*/ 560 w 1840"/>
                <a:gd name="T15" fmla="*/ 1375 h 1495"/>
                <a:gd name="T16" fmla="*/ 832 w 1840"/>
                <a:gd name="T17" fmla="*/ 1448 h 1495"/>
                <a:gd name="T18" fmla="*/ 1188 w 1840"/>
                <a:gd name="T19" fmla="*/ 1228 h 1495"/>
                <a:gd name="T20" fmla="*/ 1465 w 1840"/>
                <a:gd name="T21" fmla="*/ 1021 h 1495"/>
                <a:gd name="T22" fmla="*/ 1579 w 1840"/>
                <a:gd name="T23" fmla="*/ 825 h 1495"/>
                <a:gd name="T24" fmla="*/ 1618 w 1840"/>
                <a:gd name="T25" fmla="*/ 481 h 1495"/>
                <a:gd name="T26" fmla="*/ 1632 w 1840"/>
                <a:gd name="T27" fmla="*/ 63 h 1495"/>
                <a:gd name="T28" fmla="*/ 1629 w 1840"/>
                <a:gd name="T29" fmla="*/ 328 h 1495"/>
                <a:gd name="T30" fmla="*/ 1629 w 1840"/>
                <a:gd name="T31" fmla="*/ 823 h 1495"/>
                <a:gd name="T32" fmla="*/ 1495 w 1840"/>
                <a:gd name="T33" fmla="*/ 1306 h 1495"/>
                <a:gd name="T34" fmla="*/ 803 w 1840"/>
                <a:gd name="T35" fmla="*/ 1479 h 1495"/>
                <a:gd name="T36" fmla="*/ 1030 w 1840"/>
                <a:gd name="T37" fmla="*/ 1300 h 1495"/>
                <a:gd name="T38" fmla="*/ 799 w 1840"/>
                <a:gd name="T39" fmla="*/ 1317 h 1495"/>
                <a:gd name="T40" fmla="*/ 656 w 1840"/>
                <a:gd name="T41" fmla="*/ 1279 h 1495"/>
                <a:gd name="T42" fmla="*/ 386 w 1840"/>
                <a:gd name="T43" fmla="*/ 1294 h 1495"/>
                <a:gd name="T44" fmla="*/ 367 w 1840"/>
                <a:gd name="T45" fmla="*/ 1299 h 1495"/>
                <a:gd name="T46" fmla="*/ 1396 w 1840"/>
                <a:gd name="T47" fmla="*/ 1157 h 1495"/>
                <a:gd name="T48" fmla="*/ 1187 w 1840"/>
                <a:gd name="T49" fmla="*/ 1258 h 1495"/>
                <a:gd name="T50" fmla="*/ 1061 w 1840"/>
                <a:gd name="T51" fmla="*/ 1286 h 1495"/>
                <a:gd name="T52" fmla="*/ 1042 w 1840"/>
                <a:gd name="T53" fmla="*/ 1286 h 1495"/>
                <a:gd name="T54" fmla="*/ 671 w 1840"/>
                <a:gd name="T55" fmla="*/ 1252 h 1495"/>
                <a:gd name="T56" fmla="*/ 442 w 1840"/>
                <a:gd name="T57" fmla="*/ 1120 h 1495"/>
                <a:gd name="T58" fmla="*/ 1398 w 1840"/>
                <a:gd name="T59" fmla="*/ 1120 h 1495"/>
                <a:gd name="T60" fmla="*/ 1381 w 1840"/>
                <a:gd name="T61" fmla="*/ 1129 h 1495"/>
                <a:gd name="T62" fmla="*/ 1624 w 1840"/>
                <a:gd name="T63" fmla="*/ 839 h 1495"/>
                <a:gd name="T64" fmla="*/ 1638 w 1840"/>
                <a:gd name="T65" fmla="*/ 1110 h 1495"/>
                <a:gd name="T66" fmla="*/ 79 w 1840"/>
                <a:gd name="T67" fmla="*/ 926 h 1495"/>
                <a:gd name="T68" fmla="*/ 348 w 1840"/>
                <a:gd name="T69" fmla="*/ 1033 h 1495"/>
                <a:gd name="T70" fmla="*/ 217 w 1840"/>
                <a:gd name="T71" fmla="*/ 842 h 1495"/>
                <a:gd name="T72" fmla="*/ 210 w 1840"/>
                <a:gd name="T73" fmla="*/ 698 h 1495"/>
                <a:gd name="T74" fmla="*/ 1630 w 1840"/>
                <a:gd name="T75" fmla="*/ 698 h 1495"/>
                <a:gd name="T76" fmla="*/ 1631 w 1840"/>
                <a:gd name="T77" fmla="*/ 717 h 1495"/>
                <a:gd name="T78" fmla="*/ 1661 w 1840"/>
                <a:gd name="T79" fmla="*/ 699 h 1495"/>
                <a:gd name="T80" fmla="*/ 1663 w 1840"/>
                <a:gd name="T81" fmla="*/ 463 h 1495"/>
                <a:gd name="T82" fmla="*/ 17 w 1840"/>
                <a:gd name="T83" fmla="*/ 693 h 1495"/>
                <a:gd name="T84" fmla="*/ 31 w 1840"/>
                <a:gd name="T85" fmla="*/ 679 h 1495"/>
                <a:gd name="T86" fmla="*/ 179 w 1840"/>
                <a:gd name="T87" fmla="*/ 452 h 1495"/>
                <a:gd name="T88" fmla="*/ 244 w 1840"/>
                <a:gd name="T89" fmla="*/ 326 h 1495"/>
                <a:gd name="T90" fmla="*/ 1596 w 1840"/>
                <a:gd name="T91" fmla="*/ 326 h 1495"/>
                <a:gd name="T92" fmla="*/ 1607 w 1840"/>
                <a:gd name="T93" fmla="*/ 342 h 1495"/>
                <a:gd name="T94" fmla="*/ 1761 w 1840"/>
                <a:gd name="T95" fmla="*/ 225 h 1495"/>
                <a:gd name="T96" fmla="*/ 1742 w 1840"/>
                <a:gd name="T97" fmla="*/ 221 h 1495"/>
                <a:gd name="T98" fmla="*/ 217 w 1840"/>
                <a:gd name="T99" fmla="*/ 309 h 1495"/>
                <a:gd name="T100" fmla="*/ 253 w 1840"/>
                <a:gd name="T101" fmla="*/ 68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0" h="1495">
                  <a:moveTo>
                    <a:pt x="1053" y="1495"/>
                  </a:moveTo>
                  <a:cubicBezTo>
                    <a:pt x="787" y="1495"/>
                    <a:pt x="787" y="1495"/>
                    <a:pt x="787" y="1495"/>
                  </a:cubicBezTo>
                  <a:cubicBezTo>
                    <a:pt x="780" y="1313"/>
                    <a:pt x="780" y="1313"/>
                    <a:pt x="780" y="1313"/>
                  </a:cubicBezTo>
                  <a:cubicBezTo>
                    <a:pt x="743" y="1306"/>
                    <a:pt x="707" y="1297"/>
                    <a:pt x="672" y="1285"/>
                  </a:cubicBezTo>
                  <a:cubicBezTo>
                    <a:pt x="575" y="1439"/>
                    <a:pt x="575" y="1439"/>
                    <a:pt x="575" y="1439"/>
                  </a:cubicBezTo>
                  <a:cubicBezTo>
                    <a:pt x="345" y="1306"/>
                    <a:pt x="345" y="1306"/>
                    <a:pt x="345" y="1306"/>
                  </a:cubicBezTo>
                  <a:cubicBezTo>
                    <a:pt x="430" y="1144"/>
                    <a:pt x="430" y="1144"/>
                    <a:pt x="430" y="1144"/>
                  </a:cubicBezTo>
                  <a:cubicBezTo>
                    <a:pt x="402" y="1120"/>
                    <a:pt x="375" y="1094"/>
                    <a:pt x="351" y="1066"/>
                  </a:cubicBezTo>
                  <a:cubicBezTo>
                    <a:pt x="190" y="1151"/>
                    <a:pt x="190" y="1151"/>
                    <a:pt x="190" y="1151"/>
                  </a:cubicBezTo>
                  <a:cubicBezTo>
                    <a:pt x="57" y="920"/>
                    <a:pt x="57" y="920"/>
                    <a:pt x="57" y="920"/>
                  </a:cubicBezTo>
                  <a:cubicBezTo>
                    <a:pt x="211" y="823"/>
                    <a:pt x="211" y="823"/>
                    <a:pt x="211" y="823"/>
                  </a:cubicBezTo>
                  <a:cubicBezTo>
                    <a:pt x="199" y="789"/>
                    <a:pt x="189" y="752"/>
                    <a:pt x="182" y="716"/>
                  </a:cubicBezTo>
                  <a:cubicBezTo>
                    <a:pt x="0" y="709"/>
                    <a:pt x="0" y="709"/>
                    <a:pt x="0" y="709"/>
                  </a:cubicBezTo>
                  <a:cubicBezTo>
                    <a:pt x="0" y="442"/>
                    <a:pt x="0" y="442"/>
                    <a:pt x="0" y="442"/>
                  </a:cubicBezTo>
                  <a:cubicBezTo>
                    <a:pt x="182" y="435"/>
                    <a:pt x="182" y="435"/>
                    <a:pt x="182" y="435"/>
                  </a:cubicBezTo>
                  <a:cubicBezTo>
                    <a:pt x="189" y="398"/>
                    <a:pt x="199" y="362"/>
                    <a:pt x="211" y="328"/>
                  </a:cubicBezTo>
                  <a:cubicBezTo>
                    <a:pt x="57" y="231"/>
                    <a:pt x="57" y="231"/>
                    <a:pt x="57" y="231"/>
                  </a:cubicBezTo>
                  <a:cubicBezTo>
                    <a:pt x="190" y="0"/>
                    <a:pt x="190" y="0"/>
                    <a:pt x="190" y="0"/>
                  </a:cubicBezTo>
                  <a:cubicBezTo>
                    <a:pt x="267" y="41"/>
                    <a:pt x="267" y="41"/>
                    <a:pt x="267" y="41"/>
                  </a:cubicBezTo>
                  <a:cubicBezTo>
                    <a:pt x="272" y="97"/>
                    <a:pt x="272" y="97"/>
                    <a:pt x="272" y="97"/>
                  </a:cubicBezTo>
                  <a:cubicBezTo>
                    <a:pt x="208" y="63"/>
                    <a:pt x="208" y="63"/>
                    <a:pt x="208" y="63"/>
                  </a:cubicBezTo>
                  <a:cubicBezTo>
                    <a:pt x="120" y="215"/>
                    <a:pt x="120" y="215"/>
                    <a:pt x="120" y="215"/>
                  </a:cubicBezTo>
                  <a:cubicBezTo>
                    <a:pt x="268" y="308"/>
                    <a:pt x="268" y="308"/>
                    <a:pt x="268" y="308"/>
                  </a:cubicBezTo>
                  <a:cubicBezTo>
                    <a:pt x="261" y="326"/>
                    <a:pt x="261" y="326"/>
                    <a:pt x="261" y="326"/>
                  </a:cubicBezTo>
                  <a:cubicBezTo>
                    <a:pt x="245" y="369"/>
                    <a:pt x="233" y="415"/>
                    <a:pt x="225" y="462"/>
                  </a:cubicBezTo>
                  <a:cubicBezTo>
                    <a:pt x="222" y="481"/>
                    <a:pt x="222" y="481"/>
                    <a:pt x="222" y="481"/>
                  </a:cubicBezTo>
                  <a:cubicBezTo>
                    <a:pt x="47" y="488"/>
                    <a:pt x="47" y="488"/>
                    <a:pt x="47" y="488"/>
                  </a:cubicBezTo>
                  <a:cubicBezTo>
                    <a:pt x="47" y="663"/>
                    <a:pt x="47" y="663"/>
                    <a:pt x="47" y="663"/>
                  </a:cubicBezTo>
                  <a:cubicBezTo>
                    <a:pt x="222" y="670"/>
                    <a:pt x="222" y="670"/>
                    <a:pt x="222" y="670"/>
                  </a:cubicBezTo>
                  <a:cubicBezTo>
                    <a:pt x="225" y="689"/>
                    <a:pt x="225" y="689"/>
                    <a:pt x="225" y="689"/>
                  </a:cubicBezTo>
                  <a:cubicBezTo>
                    <a:pt x="233" y="736"/>
                    <a:pt x="245" y="782"/>
                    <a:pt x="261" y="825"/>
                  </a:cubicBezTo>
                  <a:cubicBezTo>
                    <a:pt x="268" y="843"/>
                    <a:pt x="268" y="843"/>
                    <a:pt x="268" y="843"/>
                  </a:cubicBezTo>
                  <a:cubicBezTo>
                    <a:pt x="120" y="936"/>
                    <a:pt x="120" y="936"/>
                    <a:pt x="120" y="936"/>
                  </a:cubicBezTo>
                  <a:cubicBezTo>
                    <a:pt x="208" y="1088"/>
                    <a:pt x="208" y="1088"/>
                    <a:pt x="208" y="1088"/>
                  </a:cubicBezTo>
                  <a:cubicBezTo>
                    <a:pt x="363" y="1006"/>
                    <a:pt x="363" y="1006"/>
                    <a:pt x="363" y="1006"/>
                  </a:cubicBezTo>
                  <a:cubicBezTo>
                    <a:pt x="375" y="1021"/>
                    <a:pt x="375" y="1021"/>
                    <a:pt x="375" y="1021"/>
                  </a:cubicBezTo>
                  <a:cubicBezTo>
                    <a:pt x="405" y="1057"/>
                    <a:pt x="438" y="1091"/>
                    <a:pt x="474" y="1120"/>
                  </a:cubicBezTo>
                  <a:cubicBezTo>
                    <a:pt x="489" y="1133"/>
                    <a:pt x="489" y="1133"/>
                    <a:pt x="489" y="1133"/>
                  </a:cubicBezTo>
                  <a:cubicBezTo>
                    <a:pt x="408" y="1287"/>
                    <a:pt x="408" y="1287"/>
                    <a:pt x="408" y="1287"/>
                  </a:cubicBezTo>
                  <a:cubicBezTo>
                    <a:pt x="560" y="1375"/>
                    <a:pt x="560" y="1375"/>
                    <a:pt x="560" y="1375"/>
                  </a:cubicBezTo>
                  <a:cubicBezTo>
                    <a:pt x="653" y="1228"/>
                    <a:pt x="653" y="1228"/>
                    <a:pt x="653" y="1228"/>
                  </a:cubicBezTo>
                  <a:cubicBezTo>
                    <a:pt x="671" y="1234"/>
                    <a:pt x="671" y="1234"/>
                    <a:pt x="671" y="1234"/>
                  </a:cubicBezTo>
                  <a:cubicBezTo>
                    <a:pt x="714" y="1251"/>
                    <a:pt x="759" y="1263"/>
                    <a:pt x="807" y="1270"/>
                  </a:cubicBezTo>
                  <a:cubicBezTo>
                    <a:pt x="826" y="1273"/>
                    <a:pt x="826" y="1273"/>
                    <a:pt x="826" y="1273"/>
                  </a:cubicBezTo>
                  <a:cubicBezTo>
                    <a:pt x="832" y="1448"/>
                    <a:pt x="832" y="1448"/>
                    <a:pt x="832" y="1448"/>
                  </a:cubicBezTo>
                  <a:cubicBezTo>
                    <a:pt x="1008" y="1448"/>
                    <a:pt x="1008" y="1448"/>
                    <a:pt x="1008" y="1448"/>
                  </a:cubicBezTo>
                  <a:cubicBezTo>
                    <a:pt x="1014" y="1273"/>
                    <a:pt x="1014" y="1273"/>
                    <a:pt x="1014" y="1273"/>
                  </a:cubicBezTo>
                  <a:cubicBezTo>
                    <a:pt x="1033" y="1270"/>
                    <a:pt x="1033" y="1270"/>
                    <a:pt x="1033" y="1270"/>
                  </a:cubicBezTo>
                  <a:cubicBezTo>
                    <a:pt x="1081" y="1263"/>
                    <a:pt x="1126" y="1251"/>
                    <a:pt x="1170" y="1234"/>
                  </a:cubicBezTo>
                  <a:cubicBezTo>
                    <a:pt x="1188" y="1228"/>
                    <a:pt x="1188" y="1228"/>
                    <a:pt x="1188" y="1228"/>
                  </a:cubicBezTo>
                  <a:cubicBezTo>
                    <a:pt x="1280" y="1375"/>
                    <a:pt x="1280" y="1375"/>
                    <a:pt x="1280" y="1375"/>
                  </a:cubicBezTo>
                  <a:cubicBezTo>
                    <a:pt x="1432" y="1287"/>
                    <a:pt x="1432" y="1287"/>
                    <a:pt x="1432" y="1287"/>
                  </a:cubicBezTo>
                  <a:cubicBezTo>
                    <a:pt x="1351" y="1133"/>
                    <a:pt x="1351" y="1133"/>
                    <a:pt x="1351" y="1133"/>
                  </a:cubicBezTo>
                  <a:cubicBezTo>
                    <a:pt x="1366" y="1120"/>
                    <a:pt x="1366" y="1120"/>
                    <a:pt x="1366" y="1120"/>
                  </a:cubicBezTo>
                  <a:cubicBezTo>
                    <a:pt x="1402" y="1091"/>
                    <a:pt x="1435" y="1057"/>
                    <a:pt x="1465" y="1021"/>
                  </a:cubicBezTo>
                  <a:cubicBezTo>
                    <a:pt x="1477" y="1006"/>
                    <a:pt x="1477" y="1006"/>
                    <a:pt x="1477" y="1006"/>
                  </a:cubicBezTo>
                  <a:cubicBezTo>
                    <a:pt x="1632" y="1088"/>
                    <a:pt x="1632" y="1088"/>
                    <a:pt x="1632" y="1088"/>
                  </a:cubicBezTo>
                  <a:cubicBezTo>
                    <a:pt x="1720" y="936"/>
                    <a:pt x="1720" y="936"/>
                    <a:pt x="1720" y="936"/>
                  </a:cubicBezTo>
                  <a:cubicBezTo>
                    <a:pt x="1572" y="843"/>
                    <a:pt x="1572" y="843"/>
                    <a:pt x="1572" y="843"/>
                  </a:cubicBezTo>
                  <a:cubicBezTo>
                    <a:pt x="1579" y="825"/>
                    <a:pt x="1579" y="825"/>
                    <a:pt x="1579" y="825"/>
                  </a:cubicBezTo>
                  <a:cubicBezTo>
                    <a:pt x="1595" y="782"/>
                    <a:pt x="1607" y="736"/>
                    <a:pt x="1615" y="689"/>
                  </a:cubicBezTo>
                  <a:cubicBezTo>
                    <a:pt x="1618" y="670"/>
                    <a:pt x="1618" y="670"/>
                    <a:pt x="1618" y="670"/>
                  </a:cubicBezTo>
                  <a:cubicBezTo>
                    <a:pt x="1793" y="663"/>
                    <a:pt x="1793" y="663"/>
                    <a:pt x="1793" y="663"/>
                  </a:cubicBezTo>
                  <a:cubicBezTo>
                    <a:pt x="1793" y="488"/>
                    <a:pt x="1793" y="488"/>
                    <a:pt x="1793" y="488"/>
                  </a:cubicBezTo>
                  <a:cubicBezTo>
                    <a:pt x="1618" y="481"/>
                    <a:pt x="1618" y="481"/>
                    <a:pt x="1618" y="481"/>
                  </a:cubicBezTo>
                  <a:cubicBezTo>
                    <a:pt x="1615" y="462"/>
                    <a:pt x="1615" y="462"/>
                    <a:pt x="1615" y="462"/>
                  </a:cubicBezTo>
                  <a:cubicBezTo>
                    <a:pt x="1607" y="415"/>
                    <a:pt x="1595" y="369"/>
                    <a:pt x="1579" y="326"/>
                  </a:cubicBezTo>
                  <a:cubicBezTo>
                    <a:pt x="1572" y="308"/>
                    <a:pt x="1572" y="308"/>
                    <a:pt x="1572" y="308"/>
                  </a:cubicBezTo>
                  <a:cubicBezTo>
                    <a:pt x="1720" y="215"/>
                    <a:pt x="1720" y="215"/>
                    <a:pt x="1720" y="215"/>
                  </a:cubicBezTo>
                  <a:cubicBezTo>
                    <a:pt x="1632" y="63"/>
                    <a:pt x="1632" y="63"/>
                    <a:pt x="1632" y="63"/>
                  </a:cubicBezTo>
                  <a:cubicBezTo>
                    <a:pt x="1568" y="97"/>
                    <a:pt x="1568" y="97"/>
                    <a:pt x="1568" y="97"/>
                  </a:cubicBezTo>
                  <a:cubicBezTo>
                    <a:pt x="1573" y="41"/>
                    <a:pt x="1573" y="41"/>
                    <a:pt x="1573" y="41"/>
                  </a:cubicBezTo>
                  <a:cubicBezTo>
                    <a:pt x="1650" y="0"/>
                    <a:pt x="1650" y="0"/>
                    <a:pt x="1650" y="0"/>
                  </a:cubicBezTo>
                  <a:cubicBezTo>
                    <a:pt x="1783" y="231"/>
                    <a:pt x="1783" y="231"/>
                    <a:pt x="1783" y="231"/>
                  </a:cubicBezTo>
                  <a:cubicBezTo>
                    <a:pt x="1629" y="328"/>
                    <a:pt x="1629" y="328"/>
                    <a:pt x="1629" y="328"/>
                  </a:cubicBezTo>
                  <a:cubicBezTo>
                    <a:pt x="1641" y="362"/>
                    <a:pt x="1651" y="399"/>
                    <a:pt x="1658" y="435"/>
                  </a:cubicBezTo>
                  <a:cubicBezTo>
                    <a:pt x="1840" y="442"/>
                    <a:pt x="1840" y="442"/>
                    <a:pt x="1840" y="442"/>
                  </a:cubicBezTo>
                  <a:cubicBezTo>
                    <a:pt x="1840" y="709"/>
                    <a:pt x="1840" y="709"/>
                    <a:pt x="1840" y="709"/>
                  </a:cubicBezTo>
                  <a:cubicBezTo>
                    <a:pt x="1658" y="716"/>
                    <a:pt x="1658" y="716"/>
                    <a:pt x="1658" y="716"/>
                  </a:cubicBezTo>
                  <a:cubicBezTo>
                    <a:pt x="1651" y="752"/>
                    <a:pt x="1641" y="789"/>
                    <a:pt x="1629" y="823"/>
                  </a:cubicBezTo>
                  <a:cubicBezTo>
                    <a:pt x="1783" y="920"/>
                    <a:pt x="1783" y="920"/>
                    <a:pt x="1783" y="920"/>
                  </a:cubicBezTo>
                  <a:cubicBezTo>
                    <a:pt x="1650" y="1151"/>
                    <a:pt x="1650" y="1151"/>
                    <a:pt x="1650" y="1151"/>
                  </a:cubicBezTo>
                  <a:cubicBezTo>
                    <a:pt x="1489" y="1066"/>
                    <a:pt x="1489" y="1066"/>
                    <a:pt x="1489" y="1066"/>
                  </a:cubicBezTo>
                  <a:cubicBezTo>
                    <a:pt x="1465" y="1094"/>
                    <a:pt x="1438" y="1120"/>
                    <a:pt x="1410" y="1144"/>
                  </a:cubicBezTo>
                  <a:cubicBezTo>
                    <a:pt x="1495" y="1306"/>
                    <a:pt x="1495" y="1306"/>
                    <a:pt x="1495" y="1306"/>
                  </a:cubicBezTo>
                  <a:cubicBezTo>
                    <a:pt x="1265" y="1439"/>
                    <a:pt x="1265" y="1439"/>
                    <a:pt x="1265" y="1439"/>
                  </a:cubicBezTo>
                  <a:cubicBezTo>
                    <a:pt x="1168" y="1285"/>
                    <a:pt x="1168" y="1285"/>
                    <a:pt x="1168" y="1285"/>
                  </a:cubicBezTo>
                  <a:cubicBezTo>
                    <a:pt x="1133" y="1297"/>
                    <a:pt x="1097" y="1306"/>
                    <a:pt x="1060" y="1313"/>
                  </a:cubicBezTo>
                  <a:lnTo>
                    <a:pt x="1053" y="1495"/>
                  </a:lnTo>
                  <a:close/>
                  <a:moveTo>
                    <a:pt x="803" y="1479"/>
                  </a:moveTo>
                  <a:cubicBezTo>
                    <a:pt x="1037" y="1479"/>
                    <a:pt x="1037" y="1479"/>
                    <a:pt x="1037" y="1479"/>
                  </a:cubicBezTo>
                  <a:cubicBezTo>
                    <a:pt x="1043" y="1316"/>
                    <a:pt x="1043" y="1316"/>
                    <a:pt x="1043" y="1316"/>
                  </a:cubicBezTo>
                  <a:cubicBezTo>
                    <a:pt x="1043" y="1317"/>
                    <a:pt x="1042" y="1317"/>
                    <a:pt x="1041" y="1317"/>
                  </a:cubicBezTo>
                  <a:cubicBezTo>
                    <a:pt x="1033" y="1318"/>
                    <a:pt x="1033" y="1318"/>
                    <a:pt x="1033" y="1318"/>
                  </a:cubicBezTo>
                  <a:cubicBezTo>
                    <a:pt x="1030" y="1300"/>
                    <a:pt x="1030" y="1300"/>
                    <a:pt x="1030" y="1300"/>
                  </a:cubicBezTo>
                  <a:cubicBezTo>
                    <a:pt x="1024" y="1465"/>
                    <a:pt x="1024" y="1465"/>
                    <a:pt x="1024" y="1465"/>
                  </a:cubicBezTo>
                  <a:cubicBezTo>
                    <a:pt x="817" y="1465"/>
                    <a:pt x="817" y="1465"/>
                    <a:pt x="817" y="1465"/>
                  </a:cubicBezTo>
                  <a:cubicBezTo>
                    <a:pt x="810" y="1300"/>
                    <a:pt x="810" y="1300"/>
                    <a:pt x="810" y="1300"/>
                  </a:cubicBezTo>
                  <a:cubicBezTo>
                    <a:pt x="807" y="1318"/>
                    <a:pt x="807" y="1318"/>
                    <a:pt x="807" y="1318"/>
                  </a:cubicBezTo>
                  <a:cubicBezTo>
                    <a:pt x="799" y="1317"/>
                    <a:pt x="799" y="1317"/>
                    <a:pt x="799" y="1317"/>
                  </a:cubicBezTo>
                  <a:cubicBezTo>
                    <a:pt x="798" y="1317"/>
                    <a:pt x="797" y="1317"/>
                    <a:pt x="797" y="1316"/>
                  </a:cubicBezTo>
                  <a:lnTo>
                    <a:pt x="803" y="1479"/>
                  </a:lnTo>
                  <a:close/>
                  <a:moveTo>
                    <a:pt x="367" y="1299"/>
                  </a:moveTo>
                  <a:cubicBezTo>
                    <a:pt x="570" y="1416"/>
                    <a:pt x="570" y="1416"/>
                    <a:pt x="570" y="1416"/>
                  </a:cubicBezTo>
                  <a:cubicBezTo>
                    <a:pt x="656" y="1279"/>
                    <a:pt x="656" y="1279"/>
                    <a:pt x="656" y="1279"/>
                  </a:cubicBezTo>
                  <a:cubicBezTo>
                    <a:pt x="655" y="1279"/>
                    <a:pt x="655" y="1279"/>
                    <a:pt x="654" y="1279"/>
                  </a:cubicBezTo>
                  <a:cubicBezTo>
                    <a:pt x="646" y="1276"/>
                    <a:pt x="646" y="1276"/>
                    <a:pt x="646" y="1276"/>
                  </a:cubicBezTo>
                  <a:cubicBezTo>
                    <a:pt x="653" y="1258"/>
                    <a:pt x="653" y="1258"/>
                    <a:pt x="653" y="1258"/>
                  </a:cubicBezTo>
                  <a:cubicBezTo>
                    <a:pt x="565" y="1397"/>
                    <a:pt x="565" y="1397"/>
                    <a:pt x="565" y="1397"/>
                  </a:cubicBezTo>
                  <a:cubicBezTo>
                    <a:pt x="386" y="1294"/>
                    <a:pt x="386" y="1294"/>
                    <a:pt x="386" y="1294"/>
                  </a:cubicBezTo>
                  <a:cubicBezTo>
                    <a:pt x="463" y="1148"/>
                    <a:pt x="463" y="1148"/>
                    <a:pt x="463" y="1148"/>
                  </a:cubicBezTo>
                  <a:cubicBezTo>
                    <a:pt x="451" y="1162"/>
                    <a:pt x="451" y="1162"/>
                    <a:pt x="451" y="1162"/>
                  </a:cubicBezTo>
                  <a:cubicBezTo>
                    <a:pt x="445" y="1157"/>
                    <a:pt x="445" y="1157"/>
                    <a:pt x="445" y="1157"/>
                  </a:cubicBezTo>
                  <a:cubicBezTo>
                    <a:pt x="444" y="1156"/>
                    <a:pt x="443" y="1156"/>
                    <a:pt x="443" y="1155"/>
                  </a:cubicBezTo>
                  <a:lnTo>
                    <a:pt x="367" y="1299"/>
                  </a:lnTo>
                  <a:close/>
                  <a:moveTo>
                    <a:pt x="1184" y="1279"/>
                  </a:moveTo>
                  <a:cubicBezTo>
                    <a:pt x="1270" y="1416"/>
                    <a:pt x="1270" y="1416"/>
                    <a:pt x="1270" y="1416"/>
                  </a:cubicBezTo>
                  <a:cubicBezTo>
                    <a:pt x="1473" y="1299"/>
                    <a:pt x="1473" y="1299"/>
                    <a:pt x="1473" y="1299"/>
                  </a:cubicBezTo>
                  <a:cubicBezTo>
                    <a:pt x="1397" y="1155"/>
                    <a:pt x="1397" y="1155"/>
                    <a:pt x="1397" y="1155"/>
                  </a:cubicBezTo>
                  <a:cubicBezTo>
                    <a:pt x="1397" y="1156"/>
                    <a:pt x="1396" y="1156"/>
                    <a:pt x="1396" y="1157"/>
                  </a:cubicBezTo>
                  <a:cubicBezTo>
                    <a:pt x="1389" y="1162"/>
                    <a:pt x="1389" y="1162"/>
                    <a:pt x="1389" y="1162"/>
                  </a:cubicBezTo>
                  <a:cubicBezTo>
                    <a:pt x="1377" y="1148"/>
                    <a:pt x="1377" y="1148"/>
                    <a:pt x="1377" y="1148"/>
                  </a:cubicBezTo>
                  <a:cubicBezTo>
                    <a:pt x="1454" y="1294"/>
                    <a:pt x="1454" y="1294"/>
                    <a:pt x="1454" y="1294"/>
                  </a:cubicBezTo>
                  <a:cubicBezTo>
                    <a:pt x="1275" y="1397"/>
                    <a:pt x="1275" y="1397"/>
                    <a:pt x="1275" y="1397"/>
                  </a:cubicBezTo>
                  <a:cubicBezTo>
                    <a:pt x="1187" y="1258"/>
                    <a:pt x="1187" y="1258"/>
                    <a:pt x="1187" y="1258"/>
                  </a:cubicBezTo>
                  <a:cubicBezTo>
                    <a:pt x="1194" y="1276"/>
                    <a:pt x="1194" y="1276"/>
                    <a:pt x="1194" y="1276"/>
                  </a:cubicBezTo>
                  <a:cubicBezTo>
                    <a:pt x="1186" y="1279"/>
                    <a:pt x="1186" y="1279"/>
                    <a:pt x="1186" y="1279"/>
                  </a:cubicBezTo>
                  <a:cubicBezTo>
                    <a:pt x="1185" y="1279"/>
                    <a:pt x="1185" y="1279"/>
                    <a:pt x="1184" y="1279"/>
                  </a:cubicBezTo>
                  <a:close/>
                  <a:moveTo>
                    <a:pt x="1042" y="1286"/>
                  </a:moveTo>
                  <a:cubicBezTo>
                    <a:pt x="1061" y="1286"/>
                    <a:pt x="1061" y="1286"/>
                    <a:pt x="1061" y="1286"/>
                  </a:cubicBezTo>
                  <a:cubicBezTo>
                    <a:pt x="1061" y="1296"/>
                    <a:pt x="1061" y="1296"/>
                    <a:pt x="1061" y="1296"/>
                  </a:cubicBezTo>
                  <a:cubicBezTo>
                    <a:pt x="1094" y="1290"/>
                    <a:pt x="1127" y="1281"/>
                    <a:pt x="1159" y="1271"/>
                  </a:cubicBezTo>
                  <a:cubicBezTo>
                    <a:pt x="1153" y="1262"/>
                    <a:pt x="1153" y="1262"/>
                    <a:pt x="1153" y="1262"/>
                  </a:cubicBezTo>
                  <a:cubicBezTo>
                    <a:pt x="1170" y="1252"/>
                    <a:pt x="1170" y="1252"/>
                    <a:pt x="1170" y="1252"/>
                  </a:cubicBezTo>
                  <a:cubicBezTo>
                    <a:pt x="1129" y="1267"/>
                    <a:pt x="1086" y="1278"/>
                    <a:pt x="1042" y="1286"/>
                  </a:cubicBezTo>
                  <a:close/>
                  <a:moveTo>
                    <a:pt x="681" y="1271"/>
                  </a:moveTo>
                  <a:cubicBezTo>
                    <a:pt x="713" y="1281"/>
                    <a:pt x="746" y="1290"/>
                    <a:pt x="779" y="1296"/>
                  </a:cubicBezTo>
                  <a:cubicBezTo>
                    <a:pt x="779" y="1286"/>
                    <a:pt x="779" y="1286"/>
                    <a:pt x="779" y="1286"/>
                  </a:cubicBezTo>
                  <a:cubicBezTo>
                    <a:pt x="798" y="1286"/>
                    <a:pt x="798" y="1286"/>
                    <a:pt x="798" y="1286"/>
                  </a:cubicBezTo>
                  <a:cubicBezTo>
                    <a:pt x="754" y="1278"/>
                    <a:pt x="711" y="1267"/>
                    <a:pt x="671" y="1252"/>
                  </a:cubicBezTo>
                  <a:cubicBezTo>
                    <a:pt x="687" y="1262"/>
                    <a:pt x="687" y="1262"/>
                    <a:pt x="687" y="1262"/>
                  </a:cubicBezTo>
                  <a:lnTo>
                    <a:pt x="681" y="1271"/>
                  </a:lnTo>
                  <a:close/>
                  <a:moveTo>
                    <a:pt x="366" y="1058"/>
                  </a:moveTo>
                  <a:cubicBezTo>
                    <a:pt x="388" y="1083"/>
                    <a:pt x="412" y="1107"/>
                    <a:pt x="438" y="1129"/>
                  </a:cubicBezTo>
                  <a:cubicBezTo>
                    <a:pt x="442" y="1120"/>
                    <a:pt x="442" y="1120"/>
                    <a:pt x="442" y="1120"/>
                  </a:cubicBezTo>
                  <a:cubicBezTo>
                    <a:pt x="459" y="1129"/>
                    <a:pt x="459" y="1129"/>
                    <a:pt x="459" y="1129"/>
                  </a:cubicBezTo>
                  <a:cubicBezTo>
                    <a:pt x="426" y="1101"/>
                    <a:pt x="394" y="1070"/>
                    <a:pt x="366" y="1036"/>
                  </a:cubicBezTo>
                  <a:cubicBezTo>
                    <a:pt x="375" y="1053"/>
                    <a:pt x="375" y="1053"/>
                    <a:pt x="375" y="1053"/>
                  </a:cubicBezTo>
                  <a:lnTo>
                    <a:pt x="366" y="1058"/>
                  </a:lnTo>
                  <a:close/>
                  <a:moveTo>
                    <a:pt x="1398" y="1120"/>
                  </a:moveTo>
                  <a:cubicBezTo>
                    <a:pt x="1402" y="1129"/>
                    <a:pt x="1402" y="1129"/>
                    <a:pt x="1402" y="1129"/>
                  </a:cubicBezTo>
                  <a:cubicBezTo>
                    <a:pt x="1428" y="1107"/>
                    <a:pt x="1452" y="1083"/>
                    <a:pt x="1474" y="1058"/>
                  </a:cubicBezTo>
                  <a:cubicBezTo>
                    <a:pt x="1465" y="1053"/>
                    <a:pt x="1465" y="1053"/>
                    <a:pt x="1465" y="1053"/>
                  </a:cubicBezTo>
                  <a:cubicBezTo>
                    <a:pt x="1474" y="1036"/>
                    <a:pt x="1474" y="1036"/>
                    <a:pt x="1474" y="1036"/>
                  </a:cubicBezTo>
                  <a:cubicBezTo>
                    <a:pt x="1446" y="1070"/>
                    <a:pt x="1415" y="1101"/>
                    <a:pt x="1381" y="1129"/>
                  </a:cubicBezTo>
                  <a:lnTo>
                    <a:pt x="1398" y="1120"/>
                  </a:lnTo>
                  <a:close/>
                  <a:moveTo>
                    <a:pt x="1500" y="1053"/>
                  </a:moveTo>
                  <a:cubicBezTo>
                    <a:pt x="1644" y="1129"/>
                    <a:pt x="1644" y="1129"/>
                    <a:pt x="1644" y="1129"/>
                  </a:cubicBezTo>
                  <a:cubicBezTo>
                    <a:pt x="1761" y="926"/>
                    <a:pt x="1761" y="926"/>
                    <a:pt x="1761" y="926"/>
                  </a:cubicBezTo>
                  <a:cubicBezTo>
                    <a:pt x="1624" y="839"/>
                    <a:pt x="1624" y="839"/>
                    <a:pt x="1624" y="839"/>
                  </a:cubicBezTo>
                  <a:cubicBezTo>
                    <a:pt x="1624" y="840"/>
                    <a:pt x="1623" y="841"/>
                    <a:pt x="1623" y="842"/>
                  </a:cubicBezTo>
                  <a:cubicBezTo>
                    <a:pt x="1620" y="849"/>
                    <a:pt x="1620" y="849"/>
                    <a:pt x="1620" y="849"/>
                  </a:cubicBezTo>
                  <a:cubicBezTo>
                    <a:pt x="1603" y="843"/>
                    <a:pt x="1603" y="843"/>
                    <a:pt x="1603" y="843"/>
                  </a:cubicBezTo>
                  <a:cubicBezTo>
                    <a:pt x="1742" y="930"/>
                    <a:pt x="1742" y="930"/>
                    <a:pt x="1742" y="930"/>
                  </a:cubicBezTo>
                  <a:cubicBezTo>
                    <a:pt x="1638" y="1110"/>
                    <a:pt x="1638" y="1110"/>
                    <a:pt x="1638" y="1110"/>
                  </a:cubicBezTo>
                  <a:cubicBezTo>
                    <a:pt x="1492" y="1033"/>
                    <a:pt x="1492" y="1033"/>
                    <a:pt x="1492" y="1033"/>
                  </a:cubicBezTo>
                  <a:cubicBezTo>
                    <a:pt x="1507" y="1045"/>
                    <a:pt x="1507" y="1045"/>
                    <a:pt x="1507" y="1045"/>
                  </a:cubicBezTo>
                  <a:cubicBezTo>
                    <a:pt x="1502" y="1051"/>
                    <a:pt x="1502" y="1051"/>
                    <a:pt x="1502" y="1051"/>
                  </a:cubicBezTo>
                  <a:cubicBezTo>
                    <a:pt x="1501" y="1052"/>
                    <a:pt x="1501" y="1052"/>
                    <a:pt x="1500" y="1053"/>
                  </a:cubicBezTo>
                  <a:close/>
                  <a:moveTo>
                    <a:pt x="79" y="926"/>
                  </a:moveTo>
                  <a:cubicBezTo>
                    <a:pt x="196" y="1129"/>
                    <a:pt x="196" y="1129"/>
                    <a:pt x="196" y="1129"/>
                  </a:cubicBezTo>
                  <a:cubicBezTo>
                    <a:pt x="340" y="1053"/>
                    <a:pt x="340" y="1053"/>
                    <a:pt x="340" y="1053"/>
                  </a:cubicBezTo>
                  <a:cubicBezTo>
                    <a:pt x="340" y="1052"/>
                    <a:pt x="339" y="1052"/>
                    <a:pt x="339" y="1051"/>
                  </a:cubicBezTo>
                  <a:cubicBezTo>
                    <a:pt x="333" y="1045"/>
                    <a:pt x="333" y="1045"/>
                    <a:pt x="333" y="1045"/>
                  </a:cubicBezTo>
                  <a:cubicBezTo>
                    <a:pt x="348" y="1033"/>
                    <a:pt x="348" y="1033"/>
                    <a:pt x="348" y="1033"/>
                  </a:cubicBezTo>
                  <a:cubicBezTo>
                    <a:pt x="202" y="1110"/>
                    <a:pt x="202" y="1110"/>
                    <a:pt x="202" y="1110"/>
                  </a:cubicBezTo>
                  <a:cubicBezTo>
                    <a:pt x="98" y="930"/>
                    <a:pt x="98" y="930"/>
                    <a:pt x="98" y="930"/>
                  </a:cubicBezTo>
                  <a:cubicBezTo>
                    <a:pt x="238" y="843"/>
                    <a:pt x="238" y="843"/>
                    <a:pt x="238" y="843"/>
                  </a:cubicBezTo>
                  <a:cubicBezTo>
                    <a:pt x="220" y="849"/>
                    <a:pt x="220" y="849"/>
                    <a:pt x="220" y="849"/>
                  </a:cubicBezTo>
                  <a:cubicBezTo>
                    <a:pt x="217" y="842"/>
                    <a:pt x="217" y="842"/>
                    <a:pt x="217" y="842"/>
                  </a:cubicBezTo>
                  <a:cubicBezTo>
                    <a:pt x="217" y="841"/>
                    <a:pt x="216" y="840"/>
                    <a:pt x="216" y="839"/>
                  </a:cubicBezTo>
                  <a:lnTo>
                    <a:pt x="79" y="926"/>
                  </a:lnTo>
                  <a:close/>
                  <a:moveTo>
                    <a:pt x="233" y="809"/>
                  </a:moveTo>
                  <a:cubicBezTo>
                    <a:pt x="244" y="825"/>
                    <a:pt x="244" y="825"/>
                    <a:pt x="244" y="825"/>
                  </a:cubicBezTo>
                  <a:cubicBezTo>
                    <a:pt x="229" y="784"/>
                    <a:pt x="217" y="742"/>
                    <a:pt x="210" y="698"/>
                  </a:cubicBezTo>
                  <a:cubicBezTo>
                    <a:pt x="209" y="717"/>
                    <a:pt x="209" y="717"/>
                    <a:pt x="209" y="717"/>
                  </a:cubicBezTo>
                  <a:cubicBezTo>
                    <a:pt x="199" y="716"/>
                    <a:pt x="199" y="716"/>
                    <a:pt x="199" y="716"/>
                  </a:cubicBezTo>
                  <a:cubicBezTo>
                    <a:pt x="205" y="750"/>
                    <a:pt x="214" y="783"/>
                    <a:pt x="225" y="814"/>
                  </a:cubicBezTo>
                  <a:lnTo>
                    <a:pt x="233" y="809"/>
                  </a:lnTo>
                  <a:close/>
                  <a:moveTo>
                    <a:pt x="1630" y="698"/>
                  </a:moveTo>
                  <a:cubicBezTo>
                    <a:pt x="1623" y="742"/>
                    <a:pt x="1611" y="784"/>
                    <a:pt x="1596" y="825"/>
                  </a:cubicBezTo>
                  <a:cubicBezTo>
                    <a:pt x="1607" y="809"/>
                    <a:pt x="1607" y="809"/>
                    <a:pt x="1607" y="809"/>
                  </a:cubicBezTo>
                  <a:cubicBezTo>
                    <a:pt x="1615" y="814"/>
                    <a:pt x="1615" y="814"/>
                    <a:pt x="1615" y="814"/>
                  </a:cubicBezTo>
                  <a:cubicBezTo>
                    <a:pt x="1626" y="783"/>
                    <a:pt x="1635" y="750"/>
                    <a:pt x="1641" y="716"/>
                  </a:cubicBezTo>
                  <a:cubicBezTo>
                    <a:pt x="1631" y="717"/>
                    <a:pt x="1631" y="717"/>
                    <a:pt x="1631" y="717"/>
                  </a:cubicBezTo>
                  <a:lnTo>
                    <a:pt x="1630" y="698"/>
                  </a:lnTo>
                  <a:close/>
                  <a:moveTo>
                    <a:pt x="1644" y="685"/>
                  </a:moveTo>
                  <a:cubicBezTo>
                    <a:pt x="1663" y="688"/>
                    <a:pt x="1663" y="688"/>
                    <a:pt x="1663" y="688"/>
                  </a:cubicBezTo>
                  <a:cubicBezTo>
                    <a:pt x="1661" y="696"/>
                    <a:pt x="1661" y="696"/>
                    <a:pt x="1661" y="696"/>
                  </a:cubicBezTo>
                  <a:cubicBezTo>
                    <a:pt x="1661" y="697"/>
                    <a:pt x="1661" y="698"/>
                    <a:pt x="1661" y="699"/>
                  </a:cubicBezTo>
                  <a:cubicBezTo>
                    <a:pt x="1823" y="693"/>
                    <a:pt x="1823" y="693"/>
                    <a:pt x="1823" y="693"/>
                  </a:cubicBezTo>
                  <a:cubicBezTo>
                    <a:pt x="1823" y="458"/>
                    <a:pt x="1823" y="458"/>
                    <a:pt x="1823" y="458"/>
                  </a:cubicBezTo>
                  <a:cubicBezTo>
                    <a:pt x="1661" y="452"/>
                    <a:pt x="1661" y="452"/>
                    <a:pt x="1661" y="452"/>
                  </a:cubicBezTo>
                  <a:cubicBezTo>
                    <a:pt x="1661" y="453"/>
                    <a:pt x="1661" y="454"/>
                    <a:pt x="1661" y="455"/>
                  </a:cubicBezTo>
                  <a:cubicBezTo>
                    <a:pt x="1663" y="463"/>
                    <a:pt x="1663" y="463"/>
                    <a:pt x="1663" y="463"/>
                  </a:cubicBezTo>
                  <a:cubicBezTo>
                    <a:pt x="1644" y="466"/>
                    <a:pt x="1644" y="466"/>
                    <a:pt x="1644" y="466"/>
                  </a:cubicBezTo>
                  <a:cubicBezTo>
                    <a:pt x="1809" y="472"/>
                    <a:pt x="1809" y="472"/>
                    <a:pt x="1809" y="472"/>
                  </a:cubicBezTo>
                  <a:cubicBezTo>
                    <a:pt x="1809" y="679"/>
                    <a:pt x="1809" y="679"/>
                    <a:pt x="1809" y="679"/>
                  </a:cubicBezTo>
                  <a:lnTo>
                    <a:pt x="1644" y="685"/>
                  </a:lnTo>
                  <a:close/>
                  <a:moveTo>
                    <a:pt x="17" y="693"/>
                  </a:moveTo>
                  <a:cubicBezTo>
                    <a:pt x="179" y="699"/>
                    <a:pt x="179" y="699"/>
                    <a:pt x="179" y="699"/>
                  </a:cubicBezTo>
                  <a:cubicBezTo>
                    <a:pt x="179" y="698"/>
                    <a:pt x="179" y="697"/>
                    <a:pt x="179" y="696"/>
                  </a:cubicBezTo>
                  <a:cubicBezTo>
                    <a:pt x="177" y="688"/>
                    <a:pt x="177" y="688"/>
                    <a:pt x="177" y="688"/>
                  </a:cubicBezTo>
                  <a:cubicBezTo>
                    <a:pt x="196" y="685"/>
                    <a:pt x="196" y="685"/>
                    <a:pt x="196" y="685"/>
                  </a:cubicBezTo>
                  <a:cubicBezTo>
                    <a:pt x="31" y="679"/>
                    <a:pt x="31" y="679"/>
                    <a:pt x="31" y="679"/>
                  </a:cubicBezTo>
                  <a:cubicBezTo>
                    <a:pt x="31" y="472"/>
                    <a:pt x="31" y="472"/>
                    <a:pt x="31" y="472"/>
                  </a:cubicBezTo>
                  <a:cubicBezTo>
                    <a:pt x="196" y="466"/>
                    <a:pt x="196" y="466"/>
                    <a:pt x="196" y="466"/>
                  </a:cubicBezTo>
                  <a:cubicBezTo>
                    <a:pt x="177" y="463"/>
                    <a:pt x="177" y="463"/>
                    <a:pt x="177" y="463"/>
                  </a:cubicBezTo>
                  <a:cubicBezTo>
                    <a:pt x="179" y="455"/>
                    <a:pt x="179" y="455"/>
                    <a:pt x="179" y="455"/>
                  </a:cubicBezTo>
                  <a:cubicBezTo>
                    <a:pt x="179" y="454"/>
                    <a:pt x="179" y="453"/>
                    <a:pt x="179" y="452"/>
                  </a:cubicBezTo>
                  <a:cubicBezTo>
                    <a:pt x="17" y="458"/>
                    <a:pt x="17" y="458"/>
                    <a:pt x="17" y="458"/>
                  </a:cubicBezTo>
                  <a:lnTo>
                    <a:pt x="17" y="693"/>
                  </a:lnTo>
                  <a:close/>
                  <a:moveTo>
                    <a:pt x="209" y="434"/>
                  </a:moveTo>
                  <a:cubicBezTo>
                    <a:pt x="210" y="453"/>
                    <a:pt x="210" y="453"/>
                    <a:pt x="210" y="453"/>
                  </a:cubicBezTo>
                  <a:cubicBezTo>
                    <a:pt x="217" y="409"/>
                    <a:pt x="229" y="367"/>
                    <a:pt x="244" y="326"/>
                  </a:cubicBezTo>
                  <a:cubicBezTo>
                    <a:pt x="233" y="342"/>
                    <a:pt x="233" y="342"/>
                    <a:pt x="233" y="342"/>
                  </a:cubicBezTo>
                  <a:cubicBezTo>
                    <a:pt x="225" y="337"/>
                    <a:pt x="225" y="337"/>
                    <a:pt x="225" y="337"/>
                  </a:cubicBezTo>
                  <a:cubicBezTo>
                    <a:pt x="214" y="368"/>
                    <a:pt x="206" y="401"/>
                    <a:pt x="199" y="435"/>
                  </a:cubicBezTo>
                  <a:lnTo>
                    <a:pt x="209" y="434"/>
                  </a:lnTo>
                  <a:close/>
                  <a:moveTo>
                    <a:pt x="1596" y="326"/>
                  </a:moveTo>
                  <a:cubicBezTo>
                    <a:pt x="1611" y="367"/>
                    <a:pt x="1623" y="409"/>
                    <a:pt x="1630" y="453"/>
                  </a:cubicBezTo>
                  <a:cubicBezTo>
                    <a:pt x="1631" y="434"/>
                    <a:pt x="1631" y="434"/>
                    <a:pt x="1631" y="434"/>
                  </a:cubicBezTo>
                  <a:cubicBezTo>
                    <a:pt x="1641" y="435"/>
                    <a:pt x="1641" y="435"/>
                    <a:pt x="1641" y="435"/>
                  </a:cubicBezTo>
                  <a:cubicBezTo>
                    <a:pt x="1635" y="401"/>
                    <a:pt x="1626" y="368"/>
                    <a:pt x="1615" y="337"/>
                  </a:cubicBezTo>
                  <a:cubicBezTo>
                    <a:pt x="1607" y="342"/>
                    <a:pt x="1607" y="342"/>
                    <a:pt x="1607" y="342"/>
                  </a:cubicBezTo>
                  <a:lnTo>
                    <a:pt x="1596" y="326"/>
                  </a:lnTo>
                  <a:close/>
                  <a:moveTo>
                    <a:pt x="1620" y="302"/>
                  </a:moveTo>
                  <a:cubicBezTo>
                    <a:pt x="1623" y="309"/>
                    <a:pt x="1623" y="309"/>
                    <a:pt x="1623" y="309"/>
                  </a:cubicBezTo>
                  <a:cubicBezTo>
                    <a:pt x="1623" y="310"/>
                    <a:pt x="1624" y="311"/>
                    <a:pt x="1624" y="312"/>
                  </a:cubicBezTo>
                  <a:cubicBezTo>
                    <a:pt x="1761" y="225"/>
                    <a:pt x="1761" y="225"/>
                    <a:pt x="1761" y="225"/>
                  </a:cubicBezTo>
                  <a:cubicBezTo>
                    <a:pt x="1644" y="22"/>
                    <a:pt x="1644" y="22"/>
                    <a:pt x="1644" y="22"/>
                  </a:cubicBezTo>
                  <a:cubicBezTo>
                    <a:pt x="1588" y="51"/>
                    <a:pt x="1588" y="51"/>
                    <a:pt x="1588" y="51"/>
                  </a:cubicBezTo>
                  <a:cubicBezTo>
                    <a:pt x="1587" y="68"/>
                    <a:pt x="1587" y="68"/>
                    <a:pt x="1587" y="68"/>
                  </a:cubicBezTo>
                  <a:cubicBezTo>
                    <a:pt x="1638" y="41"/>
                    <a:pt x="1638" y="41"/>
                    <a:pt x="1638" y="41"/>
                  </a:cubicBezTo>
                  <a:cubicBezTo>
                    <a:pt x="1742" y="221"/>
                    <a:pt x="1742" y="221"/>
                    <a:pt x="1742" y="221"/>
                  </a:cubicBezTo>
                  <a:cubicBezTo>
                    <a:pt x="1603" y="308"/>
                    <a:pt x="1603" y="308"/>
                    <a:pt x="1603" y="308"/>
                  </a:cubicBezTo>
                  <a:lnTo>
                    <a:pt x="1620" y="302"/>
                  </a:lnTo>
                  <a:close/>
                  <a:moveTo>
                    <a:pt x="79" y="225"/>
                  </a:moveTo>
                  <a:cubicBezTo>
                    <a:pt x="216" y="312"/>
                    <a:pt x="216" y="312"/>
                    <a:pt x="216" y="312"/>
                  </a:cubicBezTo>
                  <a:cubicBezTo>
                    <a:pt x="216" y="311"/>
                    <a:pt x="217" y="310"/>
                    <a:pt x="217" y="309"/>
                  </a:cubicBezTo>
                  <a:cubicBezTo>
                    <a:pt x="220" y="302"/>
                    <a:pt x="220" y="302"/>
                    <a:pt x="220" y="302"/>
                  </a:cubicBezTo>
                  <a:cubicBezTo>
                    <a:pt x="238" y="308"/>
                    <a:pt x="238" y="308"/>
                    <a:pt x="238" y="308"/>
                  </a:cubicBezTo>
                  <a:cubicBezTo>
                    <a:pt x="98" y="221"/>
                    <a:pt x="98" y="221"/>
                    <a:pt x="98" y="221"/>
                  </a:cubicBezTo>
                  <a:cubicBezTo>
                    <a:pt x="202" y="41"/>
                    <a:pt x="202" y="41"/>
                    <a:pt x="202" y="41"/>
                  </a:cubicBezTo>
                  <a:cubicBezTo>
                    <a:pt x="253" y="68"/>
                    <a:pt x="253" y="68"/>
                    <a:pt x="253" y="68"/>
                  </a:cubicBezTo>
                  <a:cubicBezTo>
                    <a:pt x="251" y="51"/>
                    <a:pt x="251" y="51"/>
                    <a:pt x="251" y="51"/>
                  </a:cubicBezTo>
                  <a:cubicBezTo>
                    <a:pt x="196" y="22"/>
                    <a:pt x="196" y="22"/>
                    <a:pt x="196" y="22"/>
                  </a:cubicBezTo>
                  <a:lnTo>
                    <a:pt x="79"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7" name="Freeform 75">
              <a:extLst>
                <a:ext uri="{FF2B5EF4-FFF2-40B4-BE49-F238E27FC236}">
                  <a16:creationId xmlns:a16="http://schemas.microsoft.com/office/drawing/2014/main" id="{7644B335-DB24-CF6F-A36A-AAE363D9BD78}"/>
                </a:ext>
              </a:extLst>
            </p:cNvPr>
            <p:cNvSpPr>
              <a:spLocks/>
            </p:cNvSpPr>
            <p:nvPr/>
          </p:nvSpPr>
          <p:spPr bwMode="auto">
            <a:xfrm>
              <a:off x="2099" y="2506"/>
              <a:ext cx="6" cy="6"/>
            </a:xfrm>
            <a:custGeom>
              <a:avLst/>
              <a:gdLst>
                <a:gd name="T0" fmla="*/ 12 w 19"/>
                <a:gd name="T1" fmla="*/ 0 h 19"/>
                <a:gd name="T2" fmla="*/ 0 w 19"/>
                <a:gd name="T3" fmla="*/ 10 h 19"/>
                <a:gd name="T4" fmla="*/ 8 w 19"/>
                <a:gd name="T5" fmla="*/ 19 h 19"/>
                <a:gd name="T6" fmla="*/ 19 w 19"/>
                <a:gd name="T7" fmla="*/ 14 h 19"/>
                <a:gd name="T8" fmla="*/ 12 w 19"/>
                <a:gd name="T9" fmla="*/ 0 h 19"/>
              </a:gdLst>
              <a:ahLst/>
              <a:cxnLst>
                <a:cxn ang="0">
                  <a:pos x="T0" y="T1"/>
                </a:cxn>
                <a:cxn ang="0">
                  <a:pos x="T2" y="T3"/>
                </a:cxn>
                <a:cxn ang="0">
                  <a:pos x="T4" y="T5"/>
                </a:cxn>
                <a:cxn ang="0">
                  <a:pos x="T6" y="T7"/>
                </a:cxn>
                <a:cxn ang="0">
                  <a:pos x="T8" y="T9"/>
                </a:cxn>
              </a:cxnLst>
              <a:rect l="0" t="0" r="r" b="b"/>
              <a:pathLst>
                <a:path w="19" h="19">
                  <a:moveTo>
                    <a:pt x="12" y="0"/>
                  </a:moveTo>
                  <a:cubicBezTo>
                    <a:pt x="0" y="10"/>
                    <a:pt x="0" y="10"/>
                    <a:pt x="0" y="10"/>
                  </a:cubicBezTo>
                  <a:cubicBezTo>
                    <a:pt x="3" y="13"/>
                    <a:pt x="5" y="16"/>
                    <a:pt x="8" y="19"/>
                  </a:cubicBezTo>
                  <a:cubicBezTo>
                    <a:pt x="19" y="14"/>
                    <a:pt x="19" y="14"/>
                    <a:pt x="19" y="14"/>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8" name="Freeform 76">
              <a:extLst>
                <a:ext uri="{FF2B5EF4-FFF2-40B4-BE49-F238E27FC236}">
                  <a16:creationId xmlns:a16="http://schemas.microsoft.com/office/drawing/2014/main" id="{BCB0FBAB-E8A4-CE84-E324-6E1B1B06C940}"/>
                </a:ext>
              </a:extLst>
            </p:cNvPr>
            <p:cNvSpPr>
              <a:spLocks/>
            </p:cNvSpPr>
            <p:nvPr/>
          </p:nvSpPr>
          <p:spPr bwMode="auto">
            <a:xfrm>
              <a:off x="2521" y="2395"/>
              <a:ext cx="5" cy="5"/>
            </a:xfrm>
            <a:custGeom>
              <a:avLst/>
              <a:gdLst>
                <a:gd name="T0" fmla="*/ 0 w 15"/>
                <a:gd name="T1" fmla="*/ 0 h 15"/>
                <a:gd name="T2" fmla="*/ 1 w 15"/>
                <a:gd name="T3" fmla="*/ 15 h 15"/>
                <a:gd name="T4" fmla="*/ 13 w 15"/>
                <a:gd name="T5" fmla="*/ 15 h 15"/>
                <a:gd name="T6" fmla="*/ 15 w 15"/>
                <a:gd name="T7" fmla="*/ 2 h 15"/>
                <a:gd name="T8" fmla="*/ 0 w 15"/>
                <a:gd name="T9" fmla="*/ 0 h 15"/>
              </a:gdLst>
              <a:ahLst/>
              <a:cxnLst>
                <a:cxn ang="0">
                  <a:pos x="T0" y="T1"/>
                </a:cxn>
                <a:cxn ang="0">
                  <a:pos x="T2" y="T3"/>
                </a:cxn>
                <a:cxn ang="0">
                  <a:pos x="T4" y="T5"/>
                </a:cxn>
                <a:cxn ang="0">
                  <a:pos x="T6" y="T7"/>
                </a:cxn>
                <a:cxn ang="0">
                  <a:pos x="T8" y="T9"/>
                </a:cxn>
              </a:cxnLst>
              <a:rect l="0" t="0" r="r" b="b"/>
              <a:pathLst>
                <a:path w="15" h="15">
                  <a:moveTo>
                    <a:pt x="0" y="0"/>
                  </a:moveTo>
                  <a:cubicBezTo>
                    <a:pt x="1" y="15"/>
                    <a:pt x="1" y="15"/>
                    <a:pt x="1" y="15"/>
                  </a:cubicBezTo>
                  <a:cubicBezTo>
                    <a:pt x="13" y="15"/>
                    <a:pt x="13" y="15"/>
                    <a:pt x="13" y="15"/>
                  </a:cubicBezTo>
                  <a:cubicBezTo>
                    <a:pt x="14" y="10"/>
                    <a:pt x="15" y="6"/>
                    <a:pt x="15" y="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9" name="Freeform 77">
              <a:extLst>
                <a:ext uri="{FF2B5EF4-FFF2-40B4-BE49-F238E27FC236}">
                  <a16:creationId xmlns:a16="http://schemas.microsoft.com/office/drawing/2014/main" id="{851C1814-4F58-CA20-929E-F080DB34D7B0}"/>
                </a:ext>
              </a:extLst>
            </p:cNvPr>
            <p:cNvSpPr>
              <a:spLocks/>
            </p:cNvSpPr>
            <p:nvPr/>
          </p:nvSpPr>
          <p:spPr bwMode="auto">
            <a:xfrm>
              <a:off x="2059" y="2436"/>
              <a:ext cx="6" cy="6"/>
            </a:xfrm>
            <a:custGeom>
              <a:avLst/>
              <a:gdLst>
                <a:gd name="T0" fmla="*/ 18 w 18"/>
                <a:gd name="T1" fmla="*/ 13 h 19"/>
                <a:gd name="T2" fmla="*/ 10 w 18"/>
                <a:gd name="T3" fmla="*/ 0 h 19"/>
                <a:gd name="T4" fmla="*/ 0 w 18"/>
                <a:gd name="T5" fmla="*/ 7 h 19"/>
                <a:gd name="T6" fmla="*/ 4 w 18"/>
                <a:gd name="T7" fmla="*/ 19 h 19"/>
                <a:gd name="T8" fmla="*/ 18 w 18"/>
                <a:gd name="T9" fmla="*/ 13 h 19"/>
              </a:gdLst>
              <a:ahLst/>
              <a:cxnLst>
                <a:cxn ang="0">
                  <a:pos x="T0" y="T1"/>
                </a:cxn>
                <a:cxn ang="0">
                  <a:pos x="T2" y="T3"/>
                </a:cxn>
                <a:cxn ang="0">
                  <a:pos x="T4" y="T5"/>
                </a:cxn>
                <a:cxn ang="0">
                  <a:pos x="T6" y="T7"/>
                </a:cxn>
                <a:cxn ang="0">
                  <a:pos x="T8" y="T9"/>
                </a:cxn>
              </a:cxnLst>
              <a:rect l="0" t="0" r="r" b="b"/>
              <a:pathLst>
                <a:path w="18" h="19">
                  <a:moveTo>
                    <a:pt x="18" y="13"/>
                  </a:moveTo>
                  <a:cubicBezTo>
                    <a:pt x="10" y="0"/>
                    <a:pt x="10" y="0"/>
                    <a:pt x="10" y="0"/>
                  </a:cubicBezTo>
                  <a:cubicBezTo>
                    <a:pt x="0" y="7"/>
                    <a:pt x="0" y="7"/>
                    <a:pt x="0" y="7"/>
                  </a:cubicBezTo>
                  <a:cubicBezTo>
                    <a:pt x="1" y="11"/>
                    <a:pt x="2" y="15"/>
                    <a:pt x="4" y="19"/>
                  </a:cubicBezTo>
                  <a:lnTo>
                    <a:pt x="1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0" name="Freeform 78">
              <a:extLst>
                <a:ext uri="{FF2B5EF4-FFF2-40B4-BE49-F238E27FC236}">
                  <a16:creationId xmlns:a16="http://schemas.microsoft.com/office/drawing/2014/main" id="{2DCCA758-4181-B62F-B53C-081588F3E6F4}"/>
                </a:ext>
              </a:extLst>
            </p:cNvPr>
            <p:cNvSpPr>
              <a:spLocks/>
            </p:cNvSpPr>
            <p:nvPr/>
          </p:nvSpPr>
          <p:spPr bwMode="auto">
            <a:xfrm>
              <a:off x="2243" y="2590"/>
              <a:ext cx="6" cy="5"/>
            </a:xfrm>
            <a:custGeom>
              <a:avLst/>
              <a:gdLst>
                <a:gd name="T0" fmla="*/ 16 w 16"/>
                <a:gd name="T1" fmla="*/ 0 h 15"/>
                <a:gd name="T2" fmla="*/ 0 w 16"/>
                <a:gd name="T3" fmla="*/ 0 h 15"/>
                <a:gd name="T4" fmla="*/ 1 w 16"/>
                <a:gd name="T5" fmla="*/ 12 h 15"/>
                <a:gd name="T6" fmla="*/ 13 w 16"/>
                <a:gd name="T7" fmla="*/ 15 h 15"/>
                <a:gd name="T8" fmla="*/ 16 w 16"/>
                <a:gd name="T9" fmla="*/ 0 h 15"/>
              </a:gdLst>
              <a:ahLst/>
              <a:cxnLst>
                <a:cxn ang="0">
                  <a:pos x="T0" y="T1"/>
                </a:cxn>
                <a:cxn ang="0">
                  <a:pos x="T2" y="T3"/>
                </a:cxn>
                <a:cxn ang="0">
                  <a:pos x="T4" y="T5"/>
                </a:cxn>
                <a:cxn ang="0">
                  <a:pos x="T6" y="T7"/>
                </a:cxn>
                <a:cxn ang="0">
                  <a:pos x="T8" y="T9"/>
                </a:cxn>
              </a:cxnLst>
              <a:rect l="0" t="0" r="r" b="b"/>
              <a:pathLst>
                <a:path w="16" h="15">
                  <a:moveTo>
                    <a:pt x="16" y="0"/>
                  </a:moveTo>
                  <a:cubicBezTo>
                    <a:pt x="0" y="0"/>
                    <a:pt x="0" y="0"/>
                    <a:pt x="0" y="0"/>
                  </a:cubicBezTo>
                  <a:cubicBezTo>
                    <a:pt x="1" y="12"/>
                    <a:pt x="1" y="12"/>
                    <a:pt x="1" y="12"/>
                  </a:cubicBezTo>
                  <a:cubicBezTo>
                    <a:pt x="5" y="13"/>
                    <a:pt x="9" y="14"/>
                    <a:pt x="13" y="15"/>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1" name="Freeform 79">
              <a:extLst>
                <a:ext uri="{FF2B5EF4-FFF2-40B4-BE49-F238E27FC236}">
                  <a16:creationId xmlns:a16="http://schemas.microsoft.com/office/drawing/2014/main" id="{A0BD61AF-7AC2-1927-B870-D43778659450}"/>
                </a:ext>
              </a:extLst>
            </p:cNvPr>
            <p:cNvSpPr>
              <a:spLocks/>
            </p:cNvSpPr>
            <p:nvPr/>
          </p:nvSpPr>
          <p:spPr bwMode="auto">
            <a:xfrm>
              <a:off x="2048" y="2395"/>
              <a:ext cx="5" cy="5"/>
            </a:xfrm>
            <a:custGeom>
              <a:avLst/>
              <a:gdLst>
                <a:gd name="T0" fmla="*/ 15 w 15"/>
                <a:gd name="T1" fmla="*/ 0 h 15"/>
                <a:gd name="T2" fmla="*/ 0 w 15"/>
                <a:gd name="T3" fmla="*/ 2 h 15"/>
                <a:gd name="T4" fmla="*/ 2 w 15"/>
                <a:gd name="T5" fmla="*/ 15 h 15"/>
                <a:gd name="T6" fmla="*/ 14 w 15"/>
                <a:gd name="T7" fmla="*/ 15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cubicBezTo>
                    <a:pt x="0" y="2"/>
                    <a:pt x="0" y="2"/>
                    <a:pt x="0" y="2"/>
                  </a:cubicBezTo>
                  <a:cubicBezTo>
                    <a:pt x="0" y="6"/>
                    <a:pt x="1" y="10"/>
                    <a:pt x="2" y="15"/>
                  </a:cubicBezTo>
                  <a:cubicBezTo>
                    <a:pt x="14" y="15"/>
                    <a:pt x="14" y="15"/>
                    <a:pt x="14" y="15"/>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2" name="Freeform 80">
              <a:extLst>
                <a:ext uri="{FF2B5EF4-FFF2-40B4-BE49-F238E27FC236}">
                  <a16:creationId xmlns:a16="http://schemas.microsoft.com/office/drawing/2014/main" id="{8EAC9D52-66ED-2798-FF06-E88327CA8756}"/>
                </a:ext>
              </a:extLst>
            </p:cNvPr>
            <p:cNvSpPr>
              <a:spLocks noEditPoints="1"/>
            </p:cNvSpPr>
            <p:nvPr/>
          </p:nvSpPr>
          <p:spPr bwMode="auto">
            <a:xfrm>
              <a:off x="2240" y="1923"/>
              <a:ext cx="93" cy="92"/>
            </a:xfrm>
            <a:custGeom>
              <a:avLst/>
              <a:gdLst>
                <a:gd name="T0" fmla="*/ 142 w 284"/>
                <a:gd name="T1" fmla="*/ 284 h 284"/>
                <a:gd name="T2" fmla="*/ 284 w 284"/>
                <a:gd name="T3" fmla="*/ 142 h 284"/>
                <a:gd name="T4" fmla="*/ 142 w 284"/>
                <a:gd name="T5" fmla="*/ 0 h 284"/>
                <a:gd name="T6" fmla="*/ 0 w 284"/>
                <a:gd name="T7" fmla="*/ 142 h 284"/>
                <a:gd name="T8" fmla="*/ 142 w 284"/>
                <a:gd name="T9" fmla="*/ 284 h 284"/>
                <a:gd name="T10" fmla="*/ 142 w 284"/>
                <a:gd name="T11" fmla="*/ 31 h 284"/>
                <a:gd name="T12" fmla="*/ 253 w 284"/>
                <a:gd name="T13" fmla="*/ 142 h 284"/>
                <a:gd name="T14" fmla="*/ 142 w 284"/>
                <a:gd name="T15" fmla="*/ 254 h 284"/>
                <a:gd name="T16" fmla="*/ 31 w 284"/>
                <a:gd name="T17" fmla="*/ 142 h 284"/>
                <a:gd name="T18" fmla="*/ 142 w 284"/>
                <a:gd name="T19" fmla="*/ 31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4">
                  <a:moveTo>
                    <a:pt x="142" y="284"/>
                  </a:moveTo>
                  <a:cubicBezTo>
                    <a:pt x="220" y="284"/>
                    <a:pt x="284" y="221"/>
                    <a:pt x="284" y="142"/>
                  </a:cubicBezTo>
                  <a:cubicBezTo>
                    <a:pt x="284" y="64"/>
                    <a:pt x="220" y="0"/>
                    <a:pt x="142" y="0"/>
                  </a:cubicBezTo>
                  <a:cubicBezTo>
                    <a:pt x="64" y="0"/>
                    <a:pt x="0" y="64"/>
                    <a:pt x="0" y="142"/>
                  </a:cubicBezTo>
                  <a:cubicBezTo>
                    <a:pt x="0" y="221"/>
                    <a:pt x="64" y="284"/>
                    <a:pt x="142" y="284"/>
                  </a:cubicBezTo>
                  <a:close/>
                  <a:moveTo>
                    <a:pt x="142" y="31"/>
                  </a:moveTo>
                  <a:cubicBezTo>
                    <a:pt x="203" y="31"/>
                    <a:pt x="253" y="81"/>
                    <a:pt x="253" y="142"/>
                  </a:cubicBezTo>
                  <a:cubicBezTo>
                    <a:pt x="253" y="204"/>
                    <a:pt x="203" y="254"/>
                    <a:pt x="142" y="254"/>
                  </a:cubicBezTo>
                  <a:cubicBezTo>
                    <a:pt x="81" y="254"/>
                    <a:pt x="31" y="204"/>
                    <a:pt x="31" y="142"/>
                  </a:cubicBezTo>
                  <a:cubicBezTo>
                    <a:pt x="31" y="81"/>
                    <a:pt x="81" y="31"/>
                    <a:pt x="14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3" name="Freeform 81">
              <a:extLst>
                <a:ext uri="{FF2B5EF4-FFF2-40B4-BE49-F238E27FC236}">
                  <a16:creationId xmlns:a16="http://schemas.microsoft.com/office/drawing/2014/main" id="{6B86E3A0-5CE2-2804-365F-55E8B5462B6E}"/>
                </a:ext>
              </a:extLst>
            </p:cNvPr>
            <p:cNvSpPr>
              <a:spLocks noEditPoints="1"/>
            </p:cNvSpPr>
            <p:nvPr/>
          </p:nvSpPr>
          <p:spPr bwMode="auto">
            <a:xfrm>
              <a:off x="2238" y="1920"/>
              <a:ext cx="98" cy="98"/>
            </a:xfrm>
            <a:custGeom>
              <a:avLst/>
              <a:gdLst>
                <a:gd name="T0" fmla="*/ 150 w 301"/>
                <a:gd name="T1" fmla="*/ 301 h 301"/>
                <a:gd name="T2" fmla="*/ 0 w 301"/>
                <a:gd name="T3" fmla="*/ 150 h 301"/>
                <a:gd name="T4" fmla="*/ 150 w 301"/>
                <a:gd name="T5" fmla="*/ 0 h 301"/>
                <a:gd name="T6" fmla="*/ 301 w 301"/>
                <a:gd name="T7" fmla="*/ 150 h 301"/>
                <a:gd name="T8" fmla="*/ 150 w 301"/>
                <a:gd name="T9" fmla="*/ 301 h 301"/>
                <a:gd name="T10" fmla="*/ 150 w 301"/>
                <a:gd name="T11" fmla="*/ 16 h 301"/>
                <a:gd name="T12" fmla="*/ 16 w 301"/>
                <a:gd name="T13" fmla="*/ 150 h 301"/>
                <a:gd name="T14" fmla="*/ 150 w 301"/>
                <a:gd name="T15" fmla="*/ 284 h 301"/>
                <a:gd name="T16" fmla="*/ 284 w 301"/>
                <a:gd name="T17" fmla="*/ 150 h 301"/>
                <a:gd name="T18" fmla="*/ 150 w 301"/>
                <a:gd name="T19" fmla="*/ 16 h 301"/>
                <a:gd name="T20" fmla="*/ 150 w 301"/>
                <a:gd name="T21" fmla="*/ 270 h 301"/>
                <a:gd name="T22" fmla="*/ 30 w 301"/>
                <a:gd name="T23" fmla="*/ 150 h 301"/>
                <a:gd name="T24" fmla="*/ 150 w 301"/>
                <a:gd name="T25" fmla="*/ 31 h 301"/>
                <a:gd name="T26" fmla="*/ 270 w 301"/>
                <a:gd name="T27" fmla="*/ 150 h 301"/>
                <a:gd name="T28" fmla="*/ 150 w 301"/>
                <a:gd name="T29" fmla="*/ 270 h 301"/>
                <a:gd name="T30" fmla="*/ 150 w 301"/>
                <a:gd name="T31" fmla="*/ 47 h 301"/>
                <a:gd name="T32" fmla="*/ 47 w 301"/>
                <a:gd name="T33" fmla="*/ 150 h 301"/>
                <a:gd name="T34" fmla="*/ 150 w 301"/>
                <a:gd name="T35" fmla="*/ 253 h 301"/>
                <a:gd name="T36" fmla="*/ 253 w 301"/>
                <a:gd name="T37" fmla="*/ 150 h 301"/>
                <a:gd name="T38" fmla="*/ 150 w 301"/>
                <a:gd name="T39" fmla="*/ 4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1" h="301">
                  <a:moveTo>
                    <a:pt x="150" y="301"/>
                  </a:moveTo>
                  <a:cubicBezTo>
                    <a:pt x="67" y="301"/>
                    <a:pt x="0" y="233"/>
                    <a:pt x="0" y="150"/>
                  </a:cubicBezTo>
                  <a:cubicBezTo>
                    <a:pt x="0" y="67"/>
                    <a:pt x="67" y="0"/>
                    <a:pt x="150" y="0"/>
                  </a:cubicBezTo>
                  <a:cubicBezTo>
                    <a:pt x="233" y="0"/>
                    <a:pt x="301" y="67"/>
                    <a:pt x="301" y="150"/>
                  </a:cubicBezTo>
                  <a:cubicBezTo>
                    <a:pt x="301" y="233"/>
                    <a:pt x="233" y="301"/>
                    <a:pt x="150" y="301"/>
                  </a:cubicBezTo>
                  <a:close/>
                  <a:moveTo>
                    <a:pt x="150" y="16"/>
                  </a:moveTo>
                  <a:cubicBezTo>
                    <a:pt x="76" y="16"/>
                    <a:pt x="16" y="76"/>
                    <a:pt x="16" y="150"/>
                  </a:cubicBezTo>
                  <a:cubicBezTo>
                    <a:pt x="16" y="224"/>
                    <a:pt x="76" y="284"/>
                    <a:pt x="150" y="284"/>
                  </a:cubicBezTo>
                  <a:cubicBezTo>
                    <a:pt x="224" y="284"/>
                    <a:pt x="284" y="224"/>
                    <a:pt x="284" y="150"/>
                  </a:cubicBezTo>
                  <a:cubicBezTo>
                    <a:pt x="284" y="76"/>
                    <a:pt x="224" y="16"/>
                    <a:pt x="150" y="16"/>
                  </a:cubicBezTo>
                  <a:close/>
                  <a:moveTo>
                    <a:pt x="150" y="270"/>
                  </a:moveTo>
                  <a:cubicBezTo>
                    <a:pt x="84" y="270"/>
                    <a:pt x="30" y="216"/>
                    <a:pt x="30" y="150"/>
                  </a:cubicBezTo>
                  <a:cubicBezTo>
                    <a:pt x="30" y="84"/>
                    <a:pt x="84" y="31"/>
                    <a:pt x="150" y="31"/>
                  </a:cubicBezTo>
                  <a:cubicBezTo>
                    <a:pt x="216" y="31"/>
                    <a:pt x="270" y="84"/>
                    <a:pt x="270" y="150"/>
                  </a:cubicBezTo>
                  <a:cubicBezTo>
                    <a:pt x="270" y="216"/>
                    <a:pt x="216" y="270"/>
                    <a:pt x="150" y="270"/>
                  </a:cubicBezTo>
                  <a:close/>
                  <a:moveTo>
                    <a:pt x="150" y="47"/>
                  </a:moveTo>
                  <a:cubicBezTo>
                    <a:pt x="93" y="47"/>
                    <a:pt x="47" y="93"/>
                    <a:pt x="47" y="150"/>
                  </a:cubicBezTo>
                  <a:cubicBezTo>
                    <a:pt x="47" y="207"/>
                    <a:pt x="93" y="253"/>
                    <a:pt x="150" y="253"/>
                  </a:cubicBezTo>
                  <a:cubicBezTo>
                    <a:pt x="207" y="253"/>
                    <a:pt x="253" y="207"/>
                    <a:pt x="253" y="150"/>
                  </a:cubicBezTo>
                  <a:cubicBezTo>
                    <a:pt x="253" y="93"/>
                    <a:pt x="207"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4" name="Freeform 82">
              <a:extLst>
                <a:ext uri="{FF2B5EF4-FFF2-40B4-BE49-F238E27FC236}">
                  <a16:creationId xmlns:a16="http://schemas.microsoft.com/office/drawing/2014/main" id="{779ECB82-AC68-4E5F-CE28-169790C46334}"/>
                </a:ext>
              </a:extLst>
            </p:cNvPr>
            <p:cNvSpPr>
              <a:spLocks/>
            </p:cNvSpPr>
            <p:nvPr/>
          </p:nvSpPr>
          <p:spPr bwMode="auto">
            <a:xfrm>
              <a:off x="2231" y="2202"/>
              <a:ext cx="30" cy="195"/>
            </a:xfrm>
            <a:custGeom>
              <a:avLst/>
              <a:gdLst>
                <a:gd name="T0" fmla="*/ 11 w 30"/>
                <a:gd name="T1" fmla="*/ 8 h 195"/>
                <a:gd name="T2" fmla="*/ 10 w 30"/>
                <a:gd name="T3" fmla="*/ 0 h 195"/>
                <a:gd name="T4" fmla="*/ 0 w 30"/>
                <a:gd name="T5" fmla="*/ 1 h 195"/>
                <a:gd name="T6" fmla="*/ 1 w 30"/>
                <a:gd name="T7" fmla="*/ 11 h 195"/>
                <a:gd name="T8" fmla="*/ 3 w 30"/>
                <a:gd name="T9" fmla="*/ 22 h 195"/>
                <a:gd name="T10" fmla="*/ 12 w 30"/>
                <a:gd name="T11" fmla="*/ 35 h 195"/>
                <a:gd name="T12" fmla="*/ 5 w 30"/>
                <a:gd name="T13" fmla="*/ 41 h 195"/>
                <a:gd name="T14" fmla="*/ 4 w 30"/>
                <a:gd name="T15" fmla="*/ 40 h 195"/>
                <a:gd name="T16" fmla="*/ 20 w 30"/>
                <a:gd name="T17" fmla="*/ 195 h 195"/>
                <a:gd name="T18" fmla="*/ 30 w 30"/>
                <a:gd name="T19" fmla="*/ 195 h 195"/>
                <a:gd name="T20" fmla="*/ 11 w 30"/>
                <a:gd name="T21"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95">
                  <a:moveTo>
                    <a:pt x="11" y="8"/>
                  </a:moveTo>
                  <a:lnTo>
                    <a:pt x="10" y="0"/>
                  </a:lnTo>
                  <a:lnTo>
                    <a:pt x="0" y="1"/>
                  </a:lnTo>
                  <a:lnTo>
                    <a:pt x="1" y="11"/>
                  </a:lnTo>
                  <a:lnTo>
                    <a:pt x="3" y="22"/>
                  </a:lnTo>
                  <a:lnTo>
                    <a:pt x="12" y="35"/>
                  </a:lnTo>
                  <a:lnTo>
                    <a:pt x="5" y="41"/>
                  </a:lnTo>
                  <a:lnTo>
                    <a:pt x="4" y="40"/>
                  </a:lnTo>
                  <a:lnTo>
                    <a:pt x="20" y="195"/>
                  </a:lnTo>
                  <a:lnTo>
                    <a:pt x="30" y="195"/>
                  </a:lnTo>
                  <a:lnTo>
                    <a:pt x="1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5" name="Freeform 83">
              <a:extLst>
                <a:ext uri="{FF2B5EF4-FFF2-40B4-BE49-F238E27FC236}">
                  <a16:creationId xmlns:a16="http://schemas.microsoft.com/office/drawing/2014/main" id="{AD86C7BB-E565-8F10-9046-DEA98CD015E6}"/>
                </a:ext>
              </a:extLst>
            </p:cNvPr>
            <p:cNvSpPr>
              <a:spLocks noEditPoints="1"/>
            </p:cNvSpPr>
            <p:nvPr/>
          </p:nvSpPr>
          <p:spPr bwMode="auto">
            <a:xfrm>
              <a:off x="2228" y="2199"/>
              <a:ext cx="36" cy="200"/>
            </a:xfrm>
            <a:custGeom>
              <a:avLst/>
              <a:gdLst>
                <a:gd name="T0" fmla="*/ 36 w 36"/>
                <a:gd name="T1" fmla="*/ 200 h 200"/>
                <a:gd name="T2" fmla="*/ 21 w 36"/>
                <a:gd name="T3" fmla="*/ 200 h 200"/>
                <a:gd name="T4" fmla="*/ 4 w 36"/>
                <a:gd name="T5" fmla="*/ 34 h 200"/>
                <a:gd name="T6" fmla="*/ 8 w 36"/>
                <a:gd name="T7" fmla="*/ 40 h 200"/>
                <a:gd name="T8" fmla="*/ 11 w 36"/>
                <a:gd name="T9" fmla="*/ 38 h 200"/>
                <a:gd name="T10" fmla="*/ 3 w 36"/>
                <a:gd name="T11" fmla="*/ 27 h 200"/>
                <a:gd name="T12" fmla="*/ 0 w 36"/>
                <a:gd name="T13" fmla="*/ 1 h 200"/>
                <a:gd name="T14" fmla="*/ 16 w 36"/>
                <a:gd name="T15" fmla="*/ 0 h 200"/>
                <a:gd name="T16" fmla="*/ 36 w 36"/>
                <a:gd name="T17" fmla="*/ 200 h 200"/>
                <a:gd name="T18" fmla="*/ 26 w 36"/>
                <a:gd name="T19" fmla="*/ 195 h 200"/>
                <a:gd name="T20" fmla="*/ 30 w 36"/>
                <a:gd name="T21" fmla="*/ 195 h 200"/>
                <a:gd name="T22" fmla="*/ 14 w 36"/>
                <a:gd name="T23" fmla="*/ 42 h 200"/>
                <a:gd name="T24" fmla="*/ 10 w 36"/>
                <a:gd name="T25" fmla="*/ 45 h 200"/>
                <a:gd name="T26" fmla="*/ 26 w 36"/>
                <a:gd name="T27" fmla="*/ 195 h 200"/>
                <a:gd name="T28" fmla="*/ 8 w 36"/>
                <a:gd name="T29" fmla="*/ 24 h 200"/>
                <a:gd name="T30" fmla="*/ 13 w 36"/>
                <a:gd name="T31" fmla="*/ 32 h 200"/>
                <a:gd name="T32" fmla="*/ 11 w 36"/>
                <a:gd name="T33" fmla="*/ 6 h 200"/>
                <a:gd name="T34" fmla="*/ 6 w 36"/>
                <a:gd name="T35" fmla="*/ 6 h 200"/>
                <a:gd name="T36" fmla="*/ 8 w 36"/>
                <a:gd name="T37" fmla="*/ 2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0">
                  <a:moveTo>
                    <a:pt x="36" y="200"/>
                  </a:moveTo>
                  <a:lnTo>
                    <a:pt x="21" y="200"/>
                  </a:lnTo>
                  <a:lnTo>
                    <a:pt x="4" y="34"/>
                  </a:lnTo>
                  <a:lnTo>
                    <a:pt x="8" y="40"/>
                  </a:lnTo>
                  <a:lnTo>
                    <a:pt x="11" y="38"/>
                  </a:lnTo>
                  <a:lnTo>
                    <a:pt x="3" y="27"/>
                  </a:lnTo>
                  <a:lnTo>
                    <a:pt x="0" y="1"/>
                  </a:lnTo>
                  <a:lnTo>
                    <a:pt x="16" y="0"/>
                  </a:lnTo>
                  <a:lnTo>
                    <a:pt x="36" y="200"/>
                  </a:lnTo>
                  <a:close/>
                  <a:moveTo>
                    <a:pt x="26" y="195"/>
                  </a:moveTo>
                  <a:lnTo>
                    <a:pt x="30" y="195"/>
                  </a:lnTo>
                  <a:lnTo>
                    <a:pt x="14" y="42"/>
                  </a:lnTo>
                  <a:lnTo>
                    <a:pt x="10" y="45"/>
                  </a:lnTo>
                  <a:lnTo>
                    <a:pt x="26" y="195"/>
                  </a:lnTo>
                  <a:close/>
                  <a:moveTo>
                    <a:pt x="8" y="24"/>
                  </a:moveTo>
                  <a:lnTo>
                    <a:pt x="13" y="32"/>
                  </a:lnTo>
                  <a:lnTo>
                    <a:pt x="11" y="6"/>
                  </a:lnTo>
                  <a:lnTo>
                    <a:pt x="6" y="6"/>
                  </a:ln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6" name="Freeform 84">
              <a:extLst>
                <a:ext uri="{FF2B5EF4-FFF2-40B4-BE49-F238E27FC236}">
                  <a16:creationId xmlns:a16="http://schemas.microsoft.com/office/drawing/2014/main" id="{152372C8-FB64-2F4F-8611-843DC24ECD2E}"/>
                </a:ext>
              </a:extLst>
            </p:cNvPr>
            <p:cNvSpPr>
              <a:spLocks/>
            </p:cNvSpPr>
            <p:nvPr/>
          </p:nvSpPr>
          <p:spPr bwMode="auto">
            <a:xfrm>
              <a:off x="2315" y="2202"/>
              <a:ext cx="27" cy="195"/>
            </a:xfrm>
            <a:custGeom>
              <a:avLst/>
              <a:gdLst>
                <a:gd name="T0" fmla="*/ 17 w 27"/>
                <a:gd name="T1" fmla="*/ 0 h 195"/>
                <a:gd name="T2" fmla="*/ 17 w 27"/>
                <a:gd name="T3" fmla="*/ 8 h 195"/>
                <a:gd name="T4" fmla="*/ 0 w 27"/>
                <a:gd name="T5" fmla="*/ 195 h 195"/>
                <a:gd name="T6" fmla="*/ 10 w 27"/>
                <a:gd name="T7" fmla="*/ 195 h 195"/>
                <a:gd name="T8" fmla="*/ 24 w 27"/>
                <a:gd name="T9" fmla="*/ 41 h 195"/>
                <a:gd name="T10" fmla="*/ 16 w 27"/>
                <a:gd name="T11" fmla="*/ 35 h 195"/>
                <a:gd name="T12" fmla="*/ 25 w 27"/>
                <a:gd name="T13" fmla="*/ 23 h 195"/>
                <a:gd name="T14" fmla="*/ 26 w 27"/>
                <a:gd name="T15" fmla="*/ 11 h 195"/>
                <a:gd name="T16" fmla="*/ 27 w 27"/>
                <a:gd name="T17" fmla="*/ 1 h 195"/>
                <a:gd name="T18" fmla="*/ 17 w 27"/>
                <a:gd name="T1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95">
                  <a:moveTo>
                    <a:pt x="17" y="0"/>
                  </a:moveTo>
                  <a:lnTo>
                    <a:pt x="17" y="8"/>
                  </a:lnTo>
                  <a:lnTo>
                    <a:pt x="0" y="195"/>
                  </a:lnTo>
                  <a:lnTo>
                    <a:pt x="10" y="195"/>
                  </a:lnTo>
                  <a:lnTo>
                    <a:pt x="24" y="41"/>
                  </a:lnTo>
                  <a:lnTo>
                    <a:pt x="16" y="35"/>
                  </a:lnTo>
                  <a:lnTo>
                    <a:pt x="25" y="23"/>
                  </a:lnTo>
                  <a:lnTo>
                    <a:pt x="26" y="11"/>
                  </a:lnTo>
                  <a:lnTo>
                    <a:pt x="27" y="1"/>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7" name="Freeform 85">
              <a:extLst>
                <a:ext uri="{FF2B5EF4-FFF2-40B4-BE49-F238E27FC236}">
                  <a16:creationId xmlns:a16="http://schemas.microsoft.com/office/drawing/2014/main" id="{E71B8351-A41C-FB87-E2A7-1D58FDE5C3ED}"/>
                </a:ext>
              </a:extLst>
            </p:cNvPr>
            <p:cNvSpPr>
              <a:spLocks noEditPoints="1"/>
            </p:cNvSpPr>
            <p:nvPr/>
          </p:nvSpPr>
          <p:spPr bwMode="auto">
            <a:xfrm>
              <a:off x="2312" y="2199"/>
              <a:ext cx="33" cy="200"/>
            </a:xfrm>
            <a:custGeom>
              <a:avLst/>
              <a:gdLst>
                <a:gd name="T0" fmla="*/ 15 w 33"/>
                <a:gd name="T1" fmla="*/ 200 h 200"/>
                <a:gd name="T2" fmla="*/ 0 w 33"/>
                <a:gd name="T3" fmla="*/ 200 h 200"/>
                <a:gd name="T4" fmla="*/ 18 w 33"/>
                <a:gd name="T5" fmla="*/ 0 h 200"/>
                <a:gd name="T6" fmla="*/ 33 w 33"/>
                <a:gd name="T7" fmla="*/ 1 h 200"/>
                <a:gd name="T8" fmla="*/ 31 w 33"/>
                <a:gd name="T9" fmla="*/ 27 h 200"/>
                <a:gd name="T10" fmla="*/ 23 w 33"/>
                <a:gd name="T11" fmla="*/ 38 h 200"/>
                <a:gd name="T12" fmla="*/ 30 w 33"/>
                <a:gd name="T13" fmla="*/ 42 h 200"/>
                <a:gd name="T14" fmla="*/ 15 w 33"/>
                <a:gd name="T15" fmla="*/ 200 h 200"/>
                <a:gd name="T16" fmla="*/ 6 w 33"/>
                <a:gd name="T17" fmla="*/ 195 h 200"/>
                <a:gd name="T18" fmla="*/ 10 w 33"/>
                <a:gd name="T19" fmla="*/ 195 h 200"/>
                <a:gd name="T20" fmla="*/ 24 w 33"/>
                <a:gd name="T21" fmla="*/ 45 h 200"/>
                <a:gd name="T22" fmla="*/ 20 w 33"/>
                <a:gd name="T23" fmla="*/ 42 h 200"/>
                <a:gd name="T24" fmla="*/ 6 w 33"/>
                <a:gd name="T25" fmla="*/ 195 h 200"/>
                <a:gd name="T26" fmla="*/ 23 w 33"/>
                <a:gd name="T27" fmla="*/ 6 h 200"/>
                <a:gd name="T28" fmla="*/ 20 w 33"/>
                <a:gd name="T29" fmla="*/ 32 h 200"/>
                <a:gd name="T30" fmla="*/ 26 w 33"/>
                <a:gd name="T31" fmla="*/ 25 h 200"/>
                <a:gd name="T32" fmla="*/ 27 w 33"/>
                <a:gd name="T33" fmla="*/ 6 h 200"/>
                <a:gd name="T34" fmla="*/ 23 w 33"/>
                <a:gd name="T35"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200">
                  <a:moveTo>
                    <a:pt x="15" y="200"/>
                  </a:moveTo>
                  <a:lnTo>
                    <a:pt x="0" y="200"/>
                  </a:lnTo>
                  <a:lnTo>
                    <a:pt x="18" y="0"/>
                  </a:lnTo>
                  <a:lnTo>
                    <a:pt x="33" y="1"/>
                  </a:lnTo>
                  <a:lnTo>
                    <a:pt x="31" y="27"/>
                  </a:lnTo>
                  <a:lnTo>
                    <a:pt x="23" y="38"/>
                  </a:lnTo>
                  <a:lnTo>
                    <a:pt x="30" y="42"/>
                  </a:lnTo>
                  <a:lnTo>
                    <a:pt x="15" y="200"/>
                  </a:lnTo>
                  <a:close/>
                  <a:moveTo>
                    <a:pt x="6" y="195"/>
                  </a:moveTo>
                  <a:lnTo>
                    <a:pt x="10" y="195"/>
                  </a:lnTo>
                  <a:lnTo>
                    <a:pt x="24" y="45"/>
                  </a:lnTo>
                  <a:lnTo>
                    <a:pt x="20" y="42"/>
                  </a:lnTo>
                  <a:lnTo>
                    <a:pt x="6" y="195"/>
                  </a:lnTo>
                  <a:close/>
                  <a:moveTo>
                    <a:pt x="23" y="6"/>
                  </a:moveTo>
                  <a:lnTo>
                    <a:pt x="20" y="32"/>
                  </a:lnTo>
                  <a:lnTo>
                    <a:pt x="26" y="25"/>
                  </a:lnTo>
                  <a:lnTo>
                    <a:pt x="27" y="6"/>
                  </a:lnTo>
                  <a:lnTo>
                    <a:pt x="2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8" name="Rectangle 86">
              <a:extLst>
                <a:ext uri="{FF2B5EF4-FFF2-40B4-BE49-F238E27FC236}">
                  <a16:creationId xmlns:a16="http://schemas.microsoft.com/office/drawing/2014/main" id="{4C5BA361-83FB-459F-BE4B-2683C2563490}"/>
                </a:ext>
              </a:extLst>
            </p:cNvPr>
            <p:cNvSpPr>
              <a:spLocks noChangeArrowheads="1"/>
            </p:cNvSpPr>
            <p:nvPr/>
          </p:nvSpPr>
          <p:spPr bwMode="auto">
            <a:xfrm>
              <a:off x="2282" y="2265"/>
              <a:ext cx="10" cy="1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49" name="Freeform 87">
              <a:extLst>
                <a:ext uri="{FF2B5EF4-FFF2-40B4-BE49-F238E27FC236}">
                  <a16:creationId xmlns:a16="http://schemas.microsoft.com/office/drawing/2014/main" id="{AEA24148-3D46-1F78-7021-C489719DE161}"/>
                </a:ext>
              </a:extLst>
            </p:cNvPr>
            <p:cNvSpPr>
              <a:spLocks noEditPoints="1"/>
            </p:cNvSpPr>
            <p:nvPr/>
          </p:nvSpPr>
          <p:spPr bwMode="auto">
            <a:xfrm>
              <a:off x="2279" y="2262"/>
              <a:ext cx="16" cy="137"/>
            </a:xfrm>
            <a:custGeom>
              <a:avLst/>
              <a:gdLst>
                <a:gd name="T0" fmla="*/ 16 w 16"/>
                <a:gd name="T1" fmla="*/ 137 h 137"/>
                <a:gd name="T2" fmla="*/ 0 w 16"/>
                <a:gd name="T3" fmla="*/ 137 h 137"/>
                <a:gd name="T4" fmla="*/ 0 w 16"/>
                <a:gd name="T5" fmla="*/ 0 h 137"/>
                <a:gd name="T6" fmla="*/ 16 w 16"/>
                <a:gd name="T7" fmla="*/ 0 h 137"/>
                <a:gd name="T8" fmla="*/ 16 w 16"/>
                <a:gd name="T9" fmla="*/ 137 h 137"/>
                <a:gd name="T10" fmla="*/ 6 w 16"/>
                <a:gd name="T11" fmla="*/ 132 h 137"/>
                <a:gd name="T12" fmla="*/ 10 w 16"/>
                <a:gd name="T13" fmla="*/ 132 h 137"/>
                <a:gd name="T14" fmla="*/ 10 w 16"/>
                <a:gd name="T15" fmla="*/ 5 h 137"/>
                <a:gd name="T16" fmla="*/ 6 w 16"/>
                <a:gd name="T17" fmla="*/ 5 h 137"/>
                <a:gd name="T18" fmla="*/ 6 w 16"/>
                <a:gd name="T19" fmla="*/ 13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37">
                  <a:moveTo>
                    <a:pt x="16" y="137"/>
                  </a:moveTo>
                  <a:lnTo>
                    <a:pt x="0" y="137"/>
                  </a:lnTo>
                  <a:lnTo>
                    <a:pt x="0" y="0"/>
                  </a:lnTo>
                  <a:lnTo>
                    <a:pt x="16" y="0"/>
                  </a:lnTo>
                  <a:lnTo>
                    <a:pt x="16" y="137"/>
                  </a:lnTo>
                  <a:close/>
                  <a:moveTo>
                    <a:pt x="6" y="132"/>
                  </a:moveTo>
                  <a:lnTo>
                    <a:pt x="10" y="132"/>
                  </a:lnTo>
                  <a:lnTo>
                    <a:pt x="10" y="5"/>
                  </a:lnTo>
                  <a:lnTo>
                    <a:pt x="6" y="5"/>
                  </a:lnTo>
                  <a:lnTo>
                    <a:pt x="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0" name="Freeform 88">
              <a:extLst>
                <a:ext uri="{FF2B5EF4-FFF2-40B4-BE49-F238E27FC236}">
                  <a16:creationId xmlns:a16="http://schemas.microsoft.com/office/drawing/2014/main" id="{86847384-B013-6F8A-B343-6A71CCDF5EF4}"/>
                </a:ext>
              </a:extLst>
            </p:cNvPr>
            <p:cNvSpPr>
              <a:spLocks/>
            </p:cNvSpPr>
            <p:nvPr/>
          </p:nvSpPr>
          <p:spPr bwMode="auto">
            <a:xfrm>
              <a:off x="2208" y="2031"/>
              <a:ext cx="158" cy="212"/>
            </a:xfrm>
            <a:custGeom>
              <a:avLst/>
              <a:gdLst>
                <a:gd name="T0" fmla="*/ 257 w 484"/>
                <a:gd name="T1" fmla="*/ 0 h 654"/>
                <a:gd name="T2" fmla="*/ 230 w 484"/>
                <a:gd name="T3" fmla="*/ 0 h 654"/>
                <a:gd name="T4" fmla="*/ 0 w 484"/>
                <a:gd name="T5" fmla="*/ 233 h 654"/>
                <a:gd name="T6" fmla="*/ 4 w 484"/>
                <a:gd name="T7" fmla="*/ 301 h 654"/>
                <a:gd name="T8" fmla="*/ 27 w 484"/>
                <a:gd name="T9" fmla="*/ 576 h 654"/>
                <a:gd name="T10" fmla="*/ 31 w 484"/>
                <a:gd name="T11" fmla="*/ 582 h 654"/>
                <a:gd name="T12" fmla="*/ 84 w 484"/>
                <a:gd name="T13" fmla="*/ 653 h 654"/>
                <a:gd name="T14" fmla="*/ 79 w 484"/>
                <a:gd name="T15" fmla="*/ 598 h 654"/>
                <a:gd name="T16" fmla="*/ 57 w 484"/>
                <a:gd name="T17" fmla="*/ 570 h 654"/>
                <a:gd name="T18" fmla="*/ 54 w 484"/>
                <a:gd name="T19" fmla="*/ 566 h 654"/>
                <a:gd name="T20" fmla="*/ 32 w 484"/>
                <a:gd name="T21" fmla="*/ 299 h 654"/>
                <a:gd name="T22" fmla="*/ 28 w 484"/>
                <a:gd name="T23" fmla="*/ 232 h 654"/>
                <a:gd name="T24" fmla="*/ 230 w 484"/>
                <a:gd name="T25" fmla="*/ 28 h 654"/>
                <a:gd name="T26" fmla="*/ 257 w 484"/>
                <a:gd name="T27" fmla="*/ 28 h 654"/>
                <a:gd name="T28" fmla="*/ 456 w 484"/>
                <a:gd name="T29" fmla="*/ 229 h 654"/>
                <a:gd name="T30" fmla="*/ 452 w 484"/>
                <a:gd name="T31" fmla="*/ 296 h 654"/>
                <a:gd name="T32" fmla="*/ 430 w 484"/>
                <a:gd name="T33" fmla="*/ 566 h 654"/>
                <a:gd name="T34" fmla="*/ 427 w 484"/>
                <a:gd name="T35" fmla="*/ 570 h 654"/>
                <a:gd name="T36" fmla="*/ 406 w 484"/>
                <a:gd name="T37" fmla="*/ 599 h 654"/>
                <a:gd name="T38" fmla="*/ 401 w 484"/>
                <a:gd name="T39" fmla="*/ 654 h 654"/>
                <a:gd name="T40" fmla="*/ 401 w 484"/>
                <a:gd name="T41" fmla="*/ 654 h 654"/>
                <a:gd name="T42" fmla="*/ 453 w 484"/>
                <a:gd name="T43" fmla="*/ 582 h 654"/>
                <a:gd name="T44" fmla="*/ 458 w 484"/>
                <a:gd name="T45" fmla="*/ 576 h 654"/>
                <a:gd name="T46" fmla="*/ 480 w 484"/>
                <a:gd name="T47" fmla="*/ 298 h 654"/>
                <a:gd name="T48" fmla="*/ 484 w 484"/>
                <a:gd name="T49" fmla="*/ 230 h 654"/>
                <a:gd name="T50" fmla="*/ 257 w 484"/>
                <a:gd name="T51"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4" h="654">
                  <a:moveTo>
                    <a:pt x="257" y="0"/>
                  </a:moveTo>
                  <a:cubicBezTo>
                    <a:pt x="230" y="0"/>
                    <a:pt x="230" y="0"/>
                    <a:pt x="230" y="0"/>
                  </a:cubicBezTo>
                  <a:cubicBezTo>
                    <a:pt x="103" y="0"/>
                    <a:pt x="0" y="104"/>
                    <a:pt x="0" y="233"/>
                  </a:cubicBezTo>
                  <a:cubicBezTo>
                    <a:pt x="4" y="301"/>
                    <a:pt x="4" y="301"/>
                    <a:pt x="4" y="301"/>
                  </a:cubicBezTo>
                  <a:cubicBezTo>
                    <a:pt x="27" y="576"/>
                    <a:pt x="27" y="576"/>
                    <a:pt x="27" y="576"/>
                  </a:cubicBezTo>
                  <a:cubicBezTo>
                    <a:pt x="31" y="582"/>
                    <a:pt x="31" y="582"/>
                    <a:pt x="31" y="582"/>
                  </a:cubicBezTo>
                  <a:cubicBezTo>
                    <a:pt x="84" y="653"/>
                    <a:pt x="84" y="653"/>
                    <a:pt x="84" y="653"/>
                  </a:cubicBezTo>
                  <a:cubicBezTo>
                    <a:pt x="79" y="598"/>
                    <a:pt x="79" y="598"/>
                    <a:pt x="79" y="598"/>
                  </a:cubicBezTo>
                  <a:cubicBezTo>
                    <a:pt x="57" y="570"/>
                    <a:pt x="57" y="570"/>
                    <a:pt x="57" y="570"/>
                  </a:cubicBezTo>
                  <a:cubicBezTo>
                    <a:pt x="54" y="566"/>
                    <a:pt x="54" y="566"/>
                    <a:pt x="54" y="566"/>
                  </a:cubicBezTo>
                  <a:cubicBezTo>
                    <a:pt x="32" y="299"/>
                    <a:pt x="32" y="299"/>
                    <a:pt x="32" y="299"/>
                  </a:cubicBezTo>
                  <a:cubicBezTo>
                    <a:pt x="28" y="232"/>
                    <a:pt x="28" y="232"/>
                    <a:pt x="28" y="232"/>
                  </a:cubicBezTo>
                  <a:cubicBezTo>
                    <a:pt x="28" y="120"/>
                    <a:pt x="119" y="28"/>
                    <a:pt x="230" y="28"/>
                  </a:cubicBezTo>
                  <a:cubicBezTo>
                    <a:pt x="257" y="28"/>
                    <a:pt x="257" y="28"/>
                    <a:pt x="257" y="28"/>
                  </a:cubicBezTo>
                  <a:cubicBezTo>
                    <a:pt x="367" y="28"/>
                    <a:pt x="456" y="119"/>
                    <a:pt x="456" y="229"/>
                  </a:cubicBezTo>
                  <a:cubicBezTo>
                    <a:pt x="452" y="296"/>
                    <a:pt x="452" y="296"/>
                    <a:pt x="452" y="296"/>
                  </a:cubicBezTo>
                  <a:cubicBezTo>
                    <a:pt x="430" y="566"/>
                    <a:pt x="430" y="566"/>
                    <a:pt x="430" y="566"/>
                  </a:cubicBezTo>
                  <a:cubicBezTo>
                    <a:pt x="427" y="570"/>
                    <a:pt x="427" y="570"/>
                    <a:pt x="427" y="570"/>
                  </a:cubicBezTo>
                  <a:cubicBezTo>
                    <a:pt x="406" y="599"/>
                    <a:pt x="406" y="599"/>
                    <a:pt x="406" y="599"/>
                  </a:cubicBezTo>
                  <a:cubicBezTo>
                    <a:pt x="401" y="654"/>
                    <a:pt x="401" y="654"/>
                    <a:pt x="401" y="654"/>
                  </a:cubicBezTo>
                  <a:cubicBezTo>
                    <a:pt x="401" y="654"/>
                    <a:pt x="401" y="654"/>
                    <a:pt x="401" y="654"/>
                  </a:cubicBezTo>
                  <a:cubicBezTo>
                    <a:pt x="453" y="582"/>
                    <a:pt x="453" y="582"/>
                    <a:pt x="453" y="582"/>
                  </a:cubicBezTo>
                  <a:cubicBezTo>
                    <a:pt x="458" y="576"/>
                    <a:pt x="458" y="576"/>
                    <a:pt x="458" y="576"/>
                  </a:cubicBezTo>
                  <a:cubicBezTo>
                    <a:pt x="480" y="298"/>
                    <a:pt x="480" y="298"/>
                    <a:pt x="480" y="298"/>
                  </a:cubicBezTo>
                  <a:cubicBezTo>
                    <a:pt x="484" y="230"/>
                    <a:pt x="484" y="230"/>
                    <a:pt x="484" y="230"/>
                  </a:cubicBezTo>
                  <a:cubicBezTo>
                    <a:pt x="484" y="103"/>
                    <a:pt x="382" y="0"/>
                    <a:pt x="2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1" name="Freeform 89">
              <a:extLst>
                <a:ext uri="{FF2B5EF4-FFF2-40B4-BE49-F238E27FC236}">
                  <a16:creationId xmlns:a16="http://schemas.microsoft.com/office/drawing/2014/main" id="{43CF129A-4CFF-9149-7816-125114F45D70}"/>
                </a:ext>
              </a:extLst>
            </p:cNvPr>
            <p:cNvSpPr>
              <a:spLocks noEditPoints="1"/>
            </p:cNvSpPr>
            <p:nvPr/>
          </p:nvSpPr>
          <p:spPr bwMode="auto">
            <a:xfrm>
              <a:off x="2205" y="2028"/>
              <a:ext cx="163" cy="223"/>
            </a:xfrm>
            <a:custGeom>
              <a:avLst/>
              <a:gdLst>
                <a:gd name="T0" fmla="*/ 103 w 500"/>
                <a:gd name="T1" fmla="*/ 689 h 689"/>
                <a:gd name="T2" fmla="*/ 27 w 500"/>
                <a:gd name="T3" fmla="*/ 587 h 689"/>
                <a:gd name="T4" fmla="*/ 4 w 500"/>
                <a:gd name="T5" fmla="*/ 310 h 689"/>
                <a:gd name="T6" fmla="*/ 0 w 500"/>
                <a:gd name="T7" fmla="*/ 241 h 689"/>
                <a:gd name="T8" fmla="*/ 69 w 500"/>
                <a:gd name="T9" fmla="*/ 70 h 689"/>
                <a:gd name="T10" fmla="*/ 238 w 500"/>
                <a:gd name="T11" fmla="*/ 0 h 689"/>
                <a:gd name="T12" fmla="*/ 265 w 500"/>
                <a:gd name="T13" fmla="*/ 0 h 689"/>
                <a:gd name="T14" fmla="*/ 500 w 500"/>
                <a:gd name="T15" fmla="*/ 238 h 689"/>
                <a:gd name="T16" fmla="*/ 496 w 500"/>
                <a:gd name="T17" fmla="*/ 306 h 689"/>
                <a:gd name="T18" fmla="*/ 474 w 500"/>
                <a:gd name="T19" fmla="*/ 587 h 689"/>
                <a:gd name="T20" fmla="*/ 411 w 500"/>
                <a:gd name="T21" fmla="*/ 673 h 689"/>
                <a:gd name="T22" fmla="*/ 400 w 500"/>
                <a:gd name="T23" fmla="*/ 667 h 689"/>
                <a:gd name="T24" fmla="*/ 401 w 500"/>
                <a:gd name="T25" fmla="*/ 661 h 689"/>
                <a:gd name="T26" fmla="*/ 406 w 500"/>
                <a:gd name="T27" fmla="*/ 604 h 689"/>
                <a:gd name="T28" fmla="*/ 430 w 500"/>
                <a:gd name="T29" fmla="*/ 571 h 689"/>
                <a:gd name="T30" fmla="*/ 452 w 500"/>
                <a:gd name="T31" fmla="*/ 303 h 689"/>
                <a:gd name="T32" fmla="*/ 456 w 500"/>
                <a:gd name="T33" fmla="*/ 237 h 689"/>
                <a:gd name="T34" fmla="*/ 265 w 500"/>
                <a:gd name="T35" fmla="*/ 44 h 689"/>
                <a:gd name="T36" fmla="*/ 238 w 500"/>
                <a:gd name="T37" fmla="*/ 44 h 689"/>
                <a:gd name="T38" fmla="*/ 44 w 500"/>
                <a:gd name="T39" fmla="*/ 240 h 689"/>
                <a:gd name="T40" fmla="*/ 48 w 500"/>
                <a:gd name="T41" fmla="*/ 307 h 689"/>
                <a:gd name="T42" fmla="*/ 70 w 500"/>
                <a:gd name="T43" fmla="*/ 571 h 689"/>
                <a:gd name="T44" fmla="*/ 95 w 500"/>
                <a:gd name="T45" fmla="*/ 603 h 689"/>
                <a:gd name="T46" fmla="*/ 103 w 500"/>
                <a:gd name="T47" fmla="*/ 689 h 689"/>
                <a:gd name="T48" fmla="*/ 422 w 500"/>
                <a:gd name="T49" fmla="*/ 610 h 689"/>
                <a:gd name="T50" fmla="*/ 420 w 500"/>
                <a:gd name="T51" fmla="*/ 633 h 689"/>
                <a:gd name="T52" fmla="*/ 457 w 500"/>
                <a:gd name="T53" fmla="*/ 581 h 689"/>
                <a:gd name="T54" fmla="*/ 480 w 500"/>
                <a:gd name="T55" fmla="*/ 305 h 689"/>
                <a:gd name="T56" fmla="*/ 484 w 500"/>
                <a:gd name="T57" fmla="*/ 238 h 689"/>
                <a:gd name="T58" fmla="*/ 265 w 500"/>
                <a:gd name="T59" fmla="*/ 16 h 689"/>
                <a:gd name="T60" fmla="*/ 238 w 500"/>
                <a:gd name="T61" fmla="*/ 16 h 689"/>
                <a:gd name="T62" fmla="*/ 81 w 500"/>
                <a:gd name="T63" fmla="*/ 82 h 689"/>
                <a:gd name="T64" fmla="*/ 16 w 500"/>
                <a:gd name="T65" fmla="*/ 241 h 689"/>
                <a:gd name="T66" fmla="*/ 20 w 500"/>
                <a:gd name="T67" fmla="*/ 309 h 689"/>
                <a:gd name="T68" fmla="*/ 43 w 500"/>
                <a:gd name="T69" fmla="*/ 581 h 689"/>
                <a:gd name="T70" fmla="*/ 81 w 500"/>
                <a:gd name="T71" fmla="*/ 632 h 689"/>
                <a:gd name="T72" fmla="*/ 79 w 500"/>
                <a:gd name="T73" fmla="*/ 610 h 689"/>
                <a:gd name="T74" fmla="*/ 54 w 500"/>
                <a:gd name="T75" fmla="*/ 577 h 689"/>
                <a:gd name="T76" fmla="*/ 32 w 500"/>
                <a:gd name="T77" fmla="*/ 308 h 689"/>
                <a:gd name="T78" fmla="*/ 28 w 500"/>
                <a:gd name="T79" fmla="*/ 240 h 689"/>
                <a:gd name="T80" fmla="*/ 238 w 500"/>
                <a:gd name="T81" fmla="*/ 28 h 689"/>
                <a:gd name="T82" fmla="*/ 265 w 500"/>
                <a:gd name="T83" fmla="*/ 28 h 689"/>
                <a:gd name="T84" fmla="*/ 472 w 500"/>
                <a:gd name="T85" fmla="*/ 237 h 689"/>
                <a:gd name="T86" fmla="*/ 468 w 500"/>
                <a:gd name="T87" fmla="*/ 304 h 689"/>
                <a:gd name="T88" fmla="*/ 446 w 500"/>
                <a:gd name="T89" fmla="*/ 577 h 689"/>
                <a:gd name="T90" fmla="*/ 422 w 500"/>
                <a:gd name="T91" fmla="*/ 61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 h="689">
                  <a:moveTo>
                    <a:pt x="103" y="689"/>
                  </a:moveTo>
                  <a:cubicBezTo>
                    <a:pt x="27" y="587"/>
                    <a:pt x="27" y="587"/>
                    <a:pt x="27" y="587"/>
                  </a:cubicBezTo>
                  <a:cubicBezTo>
                    <a:pt x="4" y="310"/>
                    <a:pt x="4" y="310"/>
                    <a:pt x="4" y="310"/>
                  </a:cubicBezTo>
                  <a:cubicBezTo>
                    <a:pt x="0" y="241"/>
                    <a:pt x="0" y="241"/>
                    <a:pt x="0" y="241"/>
                  </a:cubicBezTo>
                  <a:cubicBezTo>
                    <a:pt x="0" y="176"/>
                    <a:pt x="24" y="116"/>
                    <a:pt x="69" y="70"/>
                  </a:cubicBezTo>
                  <a:cubicBezTo>
                    <a:pt x="115" y="25"/>
                    <a:pt x="174" y="0"/>
                    <a:pt x="238" y="0"/>
                  </a:cubicBezTo>
                  <a:cubicBezTo>
                    <a:pt x="265" y="0"/>
                    <a:pt x="265" y="0"/>
                    <a:pt x="265" y="0"/>
                  </a:cubicBezTo>
                  <a:cubicBezTo>
                    <a:pt x="395" y="0"/>
                    <a:pt x="500" y="107"/>
                    <a:pt x="500" y="238"/>
                  </a:cubicBezTo>
                  <a:cubicBezTo>
                    <a:pt x="496" y="306"/>
                    <a:pt x="496" y="306"/>
                    <a:pt x="496" y="306"/>
                  </a:cubicBezTo>
                  <a:cubicBezTo>
                    <a:pt x="474" y="587"/>
                    <a:pt x="474" y="587"/>
                    <a:pt x="474" y="587"/>
                  </a:cubicBezTo>
                  <a:cubicBezTo>
                    <a:pt x="411" y="673"/>
                    <a:pt x="411" y="673"/>
                    <a:pt x="411" y="673"/>
                  </a:cubicBezTo>
                  <a:cubicBezTo>
                    <a:pt x="400" y="667"/>
                    <a:pt x="400" y="667"/>
                    <a:pt x="400" y="667"/>
                  </a:cubicBezTo>
                  <a:cubicBezTo>
                    <a:pt x="401" y="661"/>
                    <a:pt x="401" y="661"/>
                    <a:pt x="401" y="661"/>
                  </a:cubicBezTo>
                  <a:cubicBezTo>
                    <a:pt x="406" y="604"/>
                    <a:pt x="406" y="604"/>
                    <a:pt x="406" y="604"/>
                  </a:cubicBezTo>
                  <a:cubicBezTo>
                    <a:pt x="430" y="571"/>
                    <a:pt x="430" y="571"/>
                    <a:pt x="430" y="571"/>
                  </a:cubicBezTo>
                  <a:cubicBezTo>
                    <a:pt x="452" y="303"/>
                    <a:pt x="452" y="303"/>
                    <a:pt x="452" y="303"/>
                  </a:cubicBezTo>
                  <a:cubicBezTo>
                    <a:pt x="456" y="237"/>
                    <a:pt x="456" y="237"/>
                    <a:pt x="456" y="237"/>
                  </a:cubicBezTo>
                  <a:cubicBezTo>
                    <a:pt x="456" y="131"/>
                    <a:pt x="370" y="44"/>
                    <a:pt x="265" y="44"/>
                  </a:cubicBezTo>
                  <a:cubicBezTo>
                    <a:pt x="238" y="44"/>
                    <a:pt x="238" y="44"/>
                    <a:pt x="238" y="44"/>
                  </a:cubicBezTo>
                  <a:cubicBezTo>
                    <a:pt x="131" y="44"/>
                    <a:pt x="44" y="132"/>
                    <a:pt x="44" y="240"/>
                  </a:cubicBezTo>
                  <a:cubicBezTo>
                    <a:pt x="48" y="307"/>
                    <a:pt x="48" y="307"/>
                    <a:pt x="48" y="307"/>
                  </a:cubicBezTo>
                  <a:cubicBezTo>
                    <a:pt x="70" y="571"/>
                    <a:pt x="70" y="571"/>
                    <a:pt x="70" y="571"/>
                  </a:cubicBezTo>
                  <a:cubicBezTo>
                    <a:pt x="95" y="603"/>
                    <a:pt x="95" y="603"/>
                    <a:pt x="95" y="603"/>
                  </a:cubicBezTo>
                  <a:lnTo>
                    <a:pt x="103" y="689"/>
                  </a:lnTo>
                  <a:close/>
                  <a:moveTo>
                    <a:pt x="422" y="610"/>
                  </a:moveTo>
                  <a:cubicBezTo>
                    <a:pt x="420" y="633"/>
                    <a:pt x="420" y="633"/>
                    <a:pt x="420" y="633"/>
                  </a:cubicBezTo>
                  <a:cubicBezTo>
                    <a:pt x="457" y="581"/>
                    <a:pt x="457" y="581"/>
                    <a:pt x="457" y="581"/>
                  </a:cubicBezTo>
                  <a:cubicBezTo>
                    <a:pt x="480" y="305"/>
                    <a:pt x="480" y="305"/>
                    <a:pt x="480" y="305"/>
                  </a:cubicBezTo>
                  <a:cubicBezTo>
                    <a:pt x="484" y="238"/>
                    <a:pt x="484" y="238"/>
                    <a:pt x="484" y="238"/>
                  </a:cubicBezTo>
                  <a:cubicBezTo>
                    <a:pt x="484" y="116"/>
                    <a:pt x="386" y="16"/>
                    <a:pt x="265" y="16"/>
                  </a:cubicBezTo>
                  <a:cubicBezTo>
                    <a:pt x="238" y="16"/>
                    <a:pt x="238" y="16"/>
                    <a:pt x="238" y="16"/>
                  </a:cubicBezTo>
                  <a:cubicBezTo>
                    <a:pt x="179" y="16"/>
                    <a:pt x="123" y="39"/>
                    <a:pt x="81" y="82"/>
                  </a:cubicBezTo>
                  <a:cubicBezTo>
                    <a:pt x="39" y="124"/>
                    <a:pt x="16" y="181"/>
                    <a:pt x="16" y="241"/>
                  </a:cubicBezTo>
                  <a:cubicBezTo>
                    <a:pt x="20" y="309"/>
                    <a:pt x="20" y="309"/>
                    <a:pt x="20" y="309"/>
                  </a:cubicBezTo>
                  <a:cubicBezTo>
                    <a:pt x="43" y="581"/>
                    <a:pt x="43" y="581"/>
                    <a:pt x="43" y="581"/>
                  </a:cubicBezTo>
                  <a:cubicBezTo>
                    <a:pt x="81" y="632"/>
                    <a:pt x="81" y="632"/>
                    <a:pt x="81" y="632"/>
                  </a:cubicBezTo>
                  <a:cubicBezTo>
                    <a:pt x="79" y="610"/>
                    <a:pt x="79" y="610"/>
                    <a:pt x="79" y="610"/>
                  </a:cubicBezTo>
                  <a:cubicBezTo>
                    <a:pt x="54" y="577"/>
                    <a:pt x="54" y="577"/>
                    <a:pt x="54" y="577"/>
                  </a:cubicBezTo>
                  <a:cubicBezTo>
                    <a:pt x="32" y="308"/>
                    <a:pt x="32" y="308"/>
                    <a:pt x="32" y="308"/>
                  </a:cubicBezTo>
                  <a:cubicBezTo>
                    <a:pt x="28" y="240"/>
                    <a:pt x="28" y="240"/>
                    <a:pt x="28" y="240"/>
                  </a:cubicBezTo>
                  <a:cubicBezTo>
                    <a:pt x="28" y="123"/>
                    <a:pt x="122" y="28"/>
                    <a:pt x="238" y="28"/>
                  </a:cubicBezTo>
                  <a:cubicBezTo>
                    <a:pt x="265" y="28"/>
                    <a:pt x="265" y="28"/>
                    <a:pt x="265" y="28"/>
                  </a:cubicBezTo>
                  <a:cubicBezTo>
                    <a:pt x="379" y="28"/>
                    <a:pt x="472" y="122"/>
                    <a:pt x="472" y="237"/>
                  </a:cubicBezTo>
                  <a:cubicBezTo>
                    <a:pt x="468" y="304"/>
                    <a:pt x="468" y="304"/>
                    <a:pt x="468" y="304"/>
                  </a:cubicBezTo>
                  <a:cubicBezTo>
                    <a:pt x="446" y="577"/>
                    <a:pt x="446" y="577"/>
                    <a:pt x="446" y="577"/>
                  </a:cubicBezTo>
                  <a:lnTo>
                    <a:pt x="422"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2" name="Freeform 90">
              <a:extLst>
                <a:ext uri="{FF2B5EF4-FFF2-40B4-BE49-F238E27FC236}">
                  <a16:creationId xmlns:a16="http://schemas.microsoft.com/office/drawing/2014/main" id="{8109E8FF-456F-CA5E-C634-0AF33BE92698}"/>
                </a:ext>
              </a:extLst>
            </p:cNvPr>
            <p:cNvSpPr>
              <a:spLocks/>
            </p:cNvSpPr>
            <p:nvPr/>
          </p:nvSpPr>
          <p:spPr bwMode="auto">
            <a:xfrm>
              <a:off x="2234" y="2224"/>
              <a:ext cx="9" cy="19"/>
            </a:xfrm>
            <a:custGeom>
              <a:avLst/>
              <a:gdLst>
                <a:gd name="T0" fmla="*/ 9 w 9"/>
                <a:gd name="T1" fmla="*/ 13 h 19"/>
                <a:gd name="T2" fmla="*/ 0 w 9"/>
                <a:gd name="T3" fmla="*/ 0 h 19"/>
                <a:gd name="T4" fmla="*/ 1 w 9"/>
                <a:gd name="T5" fmla="*/ 18 h 19"/>
                <a:gd name="T6" fmla="*/ 2 w 9"/>
                <a:gd name="T7" fmla="*/ 19 h 19"/>
                <a:gd name="T8" fmla="*/ 9 w 9"/>
                <a:gd name="T9" fmla="*/ 13 h 19"/>
              </a:gdLst>
              <a:ahLst/>
              <a:cxnLst>
                <a:cxn ang="0">
                  <a:pos x="T0" y="T1"/>
                </a:cxn>
                <a:cxn ang="0">
                  <a:pos x="T2" y="T3"/>
                </a:cxn>
                <a:cxn ang="0">
                  <a:pos x="T4" y="T5"/>
                </a:cxn>
                <a:cxn ang="0">
                  <a:pos x="T6" y="T7"/>
                </a:cxn>
                <a:cxn ang="0">
                  <a:pos x="T8" y="T9"/>
                </a:cxn>
              </a:cxnLst>
              <a:rect l="0" t="0" r="r" b="b"/>
              <a:pathLst>
                <a:path w="9" h="19">
                  <a:moveTo>
                    <a:pt x="9" y="13"/>
                  </a:moveTo>
                  <a:lnTo>
                    <a:pt x="0" y="0"/>
                  </a:lnTo>
                  <a:lnTo>
                    <a:pt x="1" y="18"/>
                  </a:lnTo>
                  <a:lnTo>
                    <a:pt x="2" y="19"/>
                  </a:lnTo>
                  <a:lnTo>
                    <a:pt x="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3" name="Freeform 91">
              <a:extLst>
                <a:ext uri="{FF2B5EF4-FFF2-40B4-BE49-F238E27FC236}">
                  <a16:creationId xmlns:a16="http://schemas.microsoft.com/office/drawing/2014/main" id="{9FF8E8E0-6BE5-8F1C-61AF-2A4C80F5C937}"/>
                </a:ext>
              </a:extLst>
            </p:cNvPr>
            <p:cNvSpPr>
              <a:spLocks/>
            </p:cNvSpPr>
            <p:nvPr/>
          </p:nvSpPr>
          <p:spPr bwMode="auto">
            <a:xfrm>
              <a:off x="2331" y="2225"/>
              <a:ext cx="9" cy="18"/>
            </a:xfrm>
            <a:custGeom>
              <a:avLst/>
              <a:gdLst>
                <a:gd name="T0" fmla="*/ 0 w 9"/>
                <a:gd name="T1" fmla="*/ 12 h 18"/>
                <a:gd name="T2" fmla="*/ 8 w 9"/>
                <a:gd name="T3" fmla="*/ 18 h 18"/>
                <a:gd name="T4" fmla="*/ 9 w 9"/>
                <a:gd name="T5" fmla="*/ 0 h 18"/>
                <a:gd name="T6" fmla="*/ 0 w 9"/>
                <a:gd name="T7" fmla="*/ 12 h 18"/>
              </a:gdLst>
              <a:ahLst/>
              <a:cxnLst>
                <a:cxn ang="0">
                  <a:pos x="T0" y="T1"/>
                </a:cxn>
                <a:cxn ang="0">
                  <a:pos x="T2" y="T3"/>
                </a:cxn>
                <a:cxn ang="0">
                  <a:pos x="T4" y="T5"/>
                </a:cxn>
                <a:cxn ang="0">
                  <a:pos x="T6" y="T7"/>
                </a:cxn>
              </a:cxnLst>
              <a:rect l="0" t="0" r="r" b="b"/>
              <a:pathLst>
                <a:path w="9" h="18">
                  <a:moveTo>
                    <a:pt x="0" y="12"/>
                  </a:moveTo>
                  <a:lnTo>
                    <a:pt x="8" y="18"/>
                  </a:lnTo>
                  <a:lnTo>
                    <a:pt x="9"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4" name="Freeform 92">
              <a:extLst>
                <a:ext uri="{FF2B5EF4-FFF2-40B4-BE49-F238E27FC236}">
                  <a16:creationId xmlns:a16="http://schemas.microsoft.com/office/drawing/2014/main" id="{D3868205-DC6D-7B91-4314-E69B72AB9476}"/>
                </a:ext>
              </a:extLst>
            </p:cNvPr>
            <p:cNvSpPr>
              <a:spLocks noEditPoints="1"/>
            </p:cNvSpPr>
            <p:nvPr/>
          </p:nvSpPr>
          <p:spPr bwMode="auto">
            <a:xfrm>
              <a:off x="2096" y="1955"/>
              <a:ext cx="83" cy="83"/>
            </a:xfrm>
            <a:custGeom>
              <a:avLst/>
              <a:gdLst>
                <a:gd name="T0" fmla="*/ 129 w 257"/>
                <a:gd name="T1" fmla="*/ 0 h 257"/>
                <a:gd name="T2" fmla="*/ 0 w 257"/>
                <a:gd name="T3" fmla="*/ 128 h 257"/>
                <a:gd name="T4" fmla="*/ 129 w 257"/>
                <a:gd name="T5" fmla="*/ 257 h 257"/>
                <a:gd name="T6" fmla="*/ 257 w 257"/>
                <a:gd name="T7" fmla="*/ 128 h 257"/>
                <a:gd name="T8" fmla="*/ 129 w 257"/>
                <a:gd name="T9" fmla="*/ 0 h 257"/>
                <a:gd name="T10" fmla="*/ 31 w 257"/>
                <a:gd name="T11" fmla="*/ 128 h 257"/>
                <a:gd name="T12" fmla="*/ 129 w 257"/>
                <a:gd name="T13" fmla="*/ 30 h 257"/>
                <a:gd name="T14" fmla="*/ 226 w 257"/>
                <a:gd name="T15" fmla="*/ 117 h 257"/>
                <a:gd name="T16" fmla="*/ 226 w 257"/>
                <a:gd name="T17" fmla="*/ 128 h 257"/>
                <a:gd name="T18" fmla="*/ 129 w 257"/>
                <a:gd name="T19" fmla="*/ 226 h 257"/>
                <a:gd name="T20" fmla="*/ 40 w 257"/>
                <a:gd name="T21" fmla="*/ 168 h 257"/>
                <a:gd name="T22" fmla="*/ 31 w 257"/>
                <a:gd name="T23" fmla="*/ 12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257">
                  <a:moveTo>
                    <a:pt x="129" y="0"/>
                  </a:moveTo>
                  <a:cubicBezTo>
                    <a:pt x="58" y="0"/>
                    <a:pt x="0" y="57"/>
                    <a:pt x="0" y="128"/>
                  </a:cubicBezTo>
                  <a:cubicBezTo>
                    <a:pt x="0" y="199"/>
                    <a:pt x="58" y="257"/>
                    <a:pt x="129" y="257"/>
                  </a:cubicBezTo>
                  <a:cubicBezTo>
                    <a:pt x="200" y="257"/>
                    <a:pt x="257" y="199"/>
                    <a:pt x="257" y="128"/>
                  </a:cubicBezTo>
                  <a:cubicBezTo>
                    <a:pt x="257" y="57"/>
                    <a:pt x="200" y="0"/>
                    <a:pt x="129" y="0"/>
                  </a:cubicBezTo>
                  <a:close/>
                  <a:moveTo>
                    <a:pt x="31" y="128"/>
                  </a:moveTo>
                  <a:cubicBezTo>
                    <a:pt x="31" y="74"/>
                    <a:pt x="75" y="30"/>
                    <a:pt x="129" y="30"/>
                  </a:cubicBezTo>
                  <a:cubicBezTo>
                    <a:pt x="179" y="30"/>
                    <a:pt x="220" y="68"/>
                    <a:pt x="226" y="117"/>
                  </a:cubicBezTo>
                  <a:cubicBezTo>
                    <a:pt x="226" y="120"/>
                    <a:pt x="226" y="124"/>
                    <a:pt x="226" y="128"/>
                  </a:cubicBezTo>
                  <a:cubicBezTo>
                    <a:pt x="226" y="182"/>
                    <a:pt x="183" y="226"/>
                    <a:pt x="129" y="226"/>
                  </a:cubicBezTo>
                  <a:cubicBezTo>
                    <a:pt x="89" y="226"/>
                    <a:pt x="55" y="202"/>
                    <a:pt x="40" y="168"/>
                  </a:cubicBezTo>
                  <a:cubicBezTo>
                    <a:pt x="34" y="156"/>
                    <a:pt x="31" y="142"/>
                    <a:pt x="31"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5" name="Freeform 93">
              <a:extLst>
                <a:ext uri="{FF2B5EF4-FFF2-40B4-BE49-F238E27FC236}">
                  <a16:creationId xmlns:a16="http://schemas.microsoft.com/office/drawing/2014/main" id="{6B2A5F21-EF96-7B34-F42C-59472DD77875}"/>
                </a:ext>
              </a:extLst>
            </p:cNvPr>
            <p:cNvSpPr>
              <a:spLocks noEditPoints="1"/>
            </p:cNvSpPr>
            <p:nvPr/>
          </p:nvSpPr>
          <p:spPr bwMode="auto">
            <a:xfrm>
              <a:off x="2093" y="1952"/>
              <a:ext cx="89" cy="89"/>
            </a:xfrm>
            <a:custGeom>
              <a:avLst/>
              <a:gdLst>
                <a:gd name="T0" fmla="*/ 137 w 274"/>
                <a:gd name="T1" fmla="*/ 274 h 274"/>
                <a:gd name="T2" fmla="*/ 0 w 274"/>
                <a:gd name="T3" fmla="*/ 137 h 274"/>
                <a:gd name="T4" fmla="*/ 137 w 274"/>
                <a:gd name="T5" fmla="*/ 0 h 274"/>
                <a:gd name="T6" fmla="*/ 274 w 274"/>
                <a:gd name="T7" fmla="*/ 137 h 274"/>
                <a:gd name="T8" fmla="*/ 137 w 274"/>
                <a:gd name="T9" fmla="*/ 274 h 274"/>
                <a:gd name="T10" fmla="*/ 137 w 274"/>
                <a:gd name="T11" fmla="*/ 17 h 274"/>
                <a:gd name="T12" fmla="*/ 16 w 274"/>
                <a:gd name="T13" fmla="*/ 137 h 274"/>
                <a:gd name="T14" fmla="*/ 137 w 274"/>
                <a:gd name="T15" fmla="*/ 257 h 274"/>
                <a:gd name="T16" fmla="*/ 257 w 274"/>
                <a:gd name="T17" fmla="*/ 137 h 274"/>
                <a:gd name="T18" fmla="*/ 137 w 274"/>
                <a:gd name="T19" fmla="*/ 17 h 274"/>
                <a:gd name="T20" fmla="*/ 137 w 274"/>
                <a:gd name="T21" fmla="*/ 243 h 274"/>
                <a:gd name="T22" fmla="*/ 40 w 274"/>
                <a:gd name="T23" fmla="*/ 180 h 274"/>
                <a:gd name="T24" fmla="*/ 31 w 274"/>
                <a:gd name="T25" fmla="*/ 137 h 274"/>
                <a:gd name="T26" fmla="*/ 137 w 274"/>
                <a:gd name="T27" fmla="*/ 31 h 274"/>
                <a:gd name="T28" fmla="*/ 242 w 274"/>
                <a:gd name="T29" fmla="*/ 125 h 274"/>
                <a:gd name="T30" fmla="*/ 243 w 274"/>
                <a:gd name="T31" fmla="*/ 137 h 274"/>
                <a:gd name="T32" fmla="*/ 137 w 274"/>
                <a:gd name="T33" fmla="*/ 243 h 274"/>
                <a:gd name="T34" fmla="*/ 137 w 274"/>
                <a:gd name="T35" fmla="*/ 48 h 274"/>
                <a:gd name="T36" fmla="*/ 47 w 274"/>
                <a:gd name="T37" fmla="*/ 137 h 274"/>
                <a:gd name="T38" fmla="*/ 55 w 274"/>
                <a:gd name="T39" fmla="*/ 173 h 274"/>
                <a:gd name="T40" fmla="*/ 137 w 274"/>
                <a:gd name="T41" fmla="*/ 227 h 274"/>
                <a:gd name="T42" fmla="*/ 226 w 274"/>
                <a:gd name="T43" fmla="*/ 137 h 274"/>
                <a:gd name="T44" fmla="*/ 225 w 274"/>
                <a:gd name="T45" fmla="*/ 127 h 274"/>
                <a:gd name="T46" fmla="*/ 137 w 274"/>
                <a:gd name="T47" fmla="*/ 4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4" h="274">
                  <a:moveTo>
                    <a:pt x="137" y="274"/>
                  </a:moveTo>
                  <a:cubicBezTo>
                    <a:pt x="61" y="274"/>
                    <a:pt x="0" y="213"/>
                    <a:pt x="0" y="137"/>
                  </a:cubicBezTo>
                  <a:cubicBezTo>
                    <a:pt x="0" y="62"/>
                    <a:pt x="61" y="0"/>
                    <a:pt x="137" y="0"/>
                  </a:cubicBezTo>
                  <a:cubicBezTo>
                    <a:pt x="212" y="0"/>
                    <a:pt x="274" y="62"/>
                    <a:pt x="274" y="137"/>
                  </a:cubicBezTo>
                  <a:cubicBezTo>
                    <a:pt x="274" y="213"/>
                    <a:pt x="212" y="274"/>
                    <a:pt x="137" y="274"/>
                  </a:cubicBezTo>
                  <a:close/>
                  <a:moveTo>
                    <a:pt x="137" y="17"/>
                  </a:moveTo>
                  <a:cubicBezTo>
                    <a:pt x="70" y="17"/>
                    <a:pt x="16" y="71"/>
                    <a:pt x="16" y="137"/>
                  </a:cubicBezTo>
                  <a:cubicBezTo>
                    <a:pt x="16" y="203"/>
                    <a:pt x="70" y="257"/>
                    <a:pt x="137" y="257"/>
                  </a:cubicBezTo>
                  <a:cubicBezTo>
                    <a:pt x="203" y="257"/>
                    <a:pt x="257" y="203"/>
                    <a:pt x="257" y="137"/>
                  </a:cubicBezTo>
                  <a:cubicBezTo>
                    <a:pt x="257" y="71"/>
                    <a:pt x="203" y="17"/>
                    <a:pt x="137" y="17"/>
                  </a:cubicBezTo>
                  <a:close/>
                  <a:moveTo>
                    <a:pt x="137" y="243"/>
                  </a:moveTo>
                  <a:cubicBezTo>
                    <a:pt x="95" y="243"/>
                    <a:pt x="57" y="218"/>
                    <a:pt x="40" y="180"/>
                  </a:cubicBezTo>
                  <a:cubicBezTo>
                    <a:pt x="34" y="166"/>
                    <a:pt x="31" y="152"/>
                    <a:pt x="31" y="137"/>
                  </a:cubicBezTo>
                  <a:cubicBezTo>
                    <a:pt x="31" y="79"/>
                    <a:pt x="78" y="31"/>
                    <a:pt x="137" y="31"/>
                  </a:cubicBezTo>
                  <a:cubicBezTo>
                    <a:pt x="190" y="31"/>
                    <a:pt x="236" y="71"/>
                    <a:pt x="242" y="125"/>
                  </a:cubicBezTo>
                  <a:cubicBezTo>
                    <a:pt x="242" y="129"/>
                    <a:pt x="243" y="133"/>
                    <a:pt x="243" y="137"/>
                  </a:cubicBezTo>
                  <a:cubicBezTo>
                    <a:pt x="243" y="196"/>
                    <a:pt x="195" y="243"/>
                    <a:pt x="137" y="243"/>
                  </a:cubicBezTo>
                  <a:close/>
                  <a:moveTo>
                    <a:pt x="137" y="48"/>
                  </a:moveTo>
                  <a:cubicBezTo>
                    <a:pt x="87" y="48"/>
                    <a:pt x="47" y="88"/>
                    <a:pt x="47" y="137"/>
                  </a:cubicBezTo>
                  <a:cubicBezTo>
                    <a:pt x="47" y="150"/>
                    <a:pt x="50" y="162"/>
                    <a:pt x="55" y="173"/>
                  </a:cubicBezTo>
                  <a:cubicBezTo>
                    <a:pt x="69" y="206"/>
                    <a:pt x="102" y="227"/>
                    <a:pt x="137" y="227"/>
                  </a:cubicBezTo>
                  <a:cubicBezTo>
                    <a:pt x="186" y="227"/>
                    <a:pt x="226" y="186"/>
                    <a:pt x="226" y="137"/>
                  </a:cubicBezTo>
                  <a:cubicBezTo>
                    <a:pt x="226" y="134"/>
                    <a:pt x="226" y="130"/>
                    <a:pt x="225" y="127"/>
                  </a:cubicBezTo>
                  <a:cubicBezTo>
                    <a:pt x="220" y="82"/>
                    <a:pt x="182" y="48"/>
                    <a:pt x="13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6" name="Freeform 94">
              <a:extLst>
                <a:ext uri="{FF2B5EF4-FFF2-40B4-BE49-F238E27FC236}">
                  <a16:creationId xmlns:a16="http://schemas.microsoft.com/office/drawing/2014/main" id="{4079E512-0864-7414-0704-BA54A8D27C71}"/>
                </a:ext>
              </a:extLst>
            </p:cNvPr>
            <p:cNvSpPr>
              <a:spLocks/>
            </p:cNvSpPr>
            <p:nvPr/>
          </p:nvSpPr>
          <p:spPr bwMode="auto">
            <a:xfrm>
              <a:off x="2066" y="2051"/>
              <a:ext cx="127" cy="194"/>
            </a:xfrm>
            <a:custGeom>
              <a:avLst/>
              <a:gdLst>
                <a:gd name="T0" fmla="*/ 232 w 390"/>
                <a:gd name="T1" fmla="*/ 0 h 598"/>
                <a:gd name="T2" fmla="*/ 208 w 390"/>
                <a:gd name="T3" fmla="*/ 0 h 598"/>
                <a:gd name="T4" fmla="*/ 0 w 390"/>
                <a:gd name="T5" fmla="*/ 210 h 598"/>
                <a:gd name="T6" fmla="*/ 4 w 390"/>
                <a:gd name="T7" fmla="*/ 271 h 598"/>
                <a:gd name="T8" fmla="*/ 15 w 390"/>
                <a:gd name="T9" fmla="*/ 414 h 598"/>
                <a:gd name="T10" fmla="*/ 18 w 390"/>
                <a:gd name="T11" fmla="*/ 450 h 598"/>
                <a:gd name="T12" fmla="*/ 24 w 390"/>
                <a:gd name="T13" fmla="*/ 519 h 598"/>
                <a:gd name="T14" fmla="*/ 30 w 390"/>
                <a:gd name="T15" fmla="*/ 525 h 598"/>
                <a:gd name="T16" fmla="*/ 114 w 390"/>
                <a:gd name="T17" fmla="*/ 598 h 598"/>
                <a:gd name="T18" fmla="*/ 104 w 390"/>
                <a:gd name="T19" fmla="*/ 548 h 598"/>
                <a:gd name="T20" fmla="*/ 54 w 390"/>
                <a:gd name="T21" fmla="*/ 504 h 598"/>
                <a:gd name="T22" fmla="*/ 51 w 390"/>
                <a:gd name="T23" fmla="*/ 468 h 598"/>
                <a:gd name="T24" fmla="*/ 48 w 390"/>
                <a:gd name="T25" fmla="*/ 431 h 598"/>
                <a:gd name="T26" fmla="*/ 34 w 390"/>
                <a:gd name="T27" fmla="*/ 269 h 598"/>
                <a:gd name="T28" fmla="*/ 31 w 390"/>
                <a:gd name="T29" fmla="*/ 209 h 598"/>
                <a:gd name="T30" fmla="*/ 208 w 390"/>
                <a:gd name="T31" fmla="*/ 30 h 598"/>
                <a:gd name="T32" fmla="*/ 232 w 390"/>
                <a:gd name="T33" fmla="*/ 30 h 598"/>
                <a:gd name="T34" fmla="*/ 366 w 390"/>
                <a:gd name="T35" fmla="*/ 94 h 598"/>
                <a:gd name="T36" fmla="*/ 390 w 390"/>
                <a:gd name="T37" fmla="*/ 74 h 598"/>
                <a:gd name="T38" fmla="*/ 232 w 390"/>
                <a:gd name="T3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0" h="598">
                  <a:moveTo>
                    <a:pt x="232" y="0"/>
                  </a:moveTo>
                  <a:cubicBezTo>
                    <a:pt x="208" y="0"/>
                    <a:pt x="208" y="0"/>
                    <a:pt x="208" y="0"/>
                  </a:cubicBezTo>
                  <a:cubicBezTo>
                    <a:pt x="93" y="0"/>
                    <a:pt x="0" y="94"/>
                    <a:pt x="0" y="210"/>
                  </a:cubicBezTo>
                  <a:cubicBezTo>
                    <a:pt x="4" y="271"/>
                    <a:pt x="4" y="271"/>
                    <a:pt x="4" y="271"/>
                  </a:cubicBezTo>
                  <a:cubicBezTo>
                    <a:pt x="15" y="414"/>
                    <a:pt x="15" y="414"/>
                    <a:pt x="15" y="414"/>
                  </a:cubicBezTo>
                  <a:cubicBezTo>
                    <a:pt x="18" y="450"/>
                    <a:pt x="18" y="450"/>
                    <a:pt x="18" y="450"/>
                  </a:cubicBezTo>
                  <a:cubicBezTo>
                    <a:pt x="24" y="519"/>
                    <a:pt x="24" y="519"/>
                    <a:pt x="24" y="519"/>
                  </a:cubicBezTo>
                  <a:cubicBezTo>
                    <a:pt x="30" y="525"/>
                    <a:pt x="30" y="525"/>
                    <a:pt x="30" y="525"/>
                  </a:cubicBezTo>
                  <a:cubicBezTo>
                    <a:pt x="114" y="598"/>
                    <a:pt x="114" y="598"/>
                    <a:pt x="114" y="598"/>
                  </a:cubicBezTo>
                  <a:cubicBezTo>
                    <a:pt x="104" y="548"/>
                    <a:pt x="104" y="548"/>
                    <a:pt x="104" y="548"/>
                  </a:cubicBezTo>
                  <a:cubicBezTo>
                    <a:pt x="54" y="504"/>
                    <a:pt x="54" y="504"/>
                    <a:pt x="54" y="504"/>
                  </a:cubicBezTo>
                  <a:cubicBezTo>
                    <a:pt x="51" y="468"/>
                    <a:pt x="51" y="468"/>
                    <a:pt x="51" y="468"/>
                  </a:cubicBezTo>
                  <a:cubicBezTo>
                    <a:pt x="48" y="431"/>
                    <a:pt x="48" y="431"/>
                    <a:pt x="48" y="431"/>
                  </a:cubicBezTo>
                  <a:cubicBezTo>
                    <a:pt x="34" y="269"/>
                    <a:pt x="34" y="269"/>
                    <a:pt x="34" y="269"/>
                  </a:cubicBezTo>
                  <a:cubicBezTo>
                    <a:pt x="31" y="209"/>
                    <a:pt x="31" y="209"/>
                    <a:pt x="31" y="209"/>
                  </a:cubicBezTo>
                  <a:cubicBezTo>
                    <a:pt x="31" y="111"/>
                    <a:pt x="110" y="30"/>
                    <a:pt x="208" y="30"/>
                  </a:cubicBezTo>
                  <a:cubicBezTo>
                    <a:pt x="232" y="30"/>
                    <a:pt x="232" y="30"/>
                    <a:pt x="232" y="30"/>
                  </a:cubicBezTo>
                  <a:cubicBezTo>
                    <a:pt x="284" y="30"/>
                    <a:pt x="333" y="53"/>
                    <a:pt x="366" y="94"/>
                  </a:cubicBezTo>
                  <a:cubicBezTo>
                    <a:pt x="390" y="74"/>
                    <a:pt x="390" y="74"/>
                    <a:pt x="390" y="74"/>
                  </a:cubicBezTo>
                  <a:cubicBezTo>
                    <a:pt x="351" y="27"/>
                    <a:pt x="293" y="0"/>
                    <a:pt x="2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7" name="Freeform 95">
              <a:extLst>
                <a:ext uri="{FF2B5EF4-FFF2-40B4-BE49-F238E27FC236}">
                  <a16:creationId xmlns:a16="http://schemas.microsoft.com/office/drawing/2014/main" id="{7190CEFF-9CF7-38F9-4528-1A1CB1033A1E}"/>
                </a:ext>
              </a:extLst>
            </p:cNvPr>
            <p:cNvSpPr>
              <a:spLocks noEditPoints="1"/>
            </p:cNvSpPr>
            <p:nvPr/>
          </p:nvSpPr>
          <p:spPr bwMode="auto">
            <a:xfrm>
              <a:off x="2064" y="2048"/>
              <a:ext cx="133" cy="204"/>
            </a:xfrm>
            <a:custGeom>
              <a:avLst/>
              <a:gdLst>
                <a:gd name="T0" fmla="*/ 135 w 410"/>
                <a:gd name="T1" fmla="*/ 629 h 629"/>
                <a:gd name="T2" fmla="*/ 24 w 410"/>
                <a:gd name="T3" fmla="*/ 532 h 629"/>
                <a:gd name="T4" fmla="*/ 3 w 410"/>
                <a:gd name="T5" fmla="*/ 281 h 629"/>
                <a:gd name="T6" fmla="*/ 0 w 410"/>
                <a:gd name="T7" fmla="*/ 220 h 629"/>
                <a:gd name="T8" fmla="*/ 63 w 410"/>
                <a:gd name="T9" fmla="*/ 64 h 629"/>
                <a:gd name="T10" fmla="*/ 216 w 410"/>
                <a:gd name="T11" fmla="*/ 0 h 629"/>
                <a:gd name="T12" fmla="*/ 240 w 410"/>
                <a:gd name="T13" fmla="*/ 0 h 629"/>
                <a:gd name="T14" fmla="*/ 404 w 410"/>
                <a:gd name="T15" fmla="*/ 78 h 629"/>
                <a:gd name="T16" fmla="*/ 410 w 410"/>
                <a:gd name="T17" fmla="*/ 84 h 629"/>
                <a:gd name="T18" fmla="*/ 373 w 410"/>
                <a:gd name="T19" fmla="*/ 114 h 629"/>
                <a:gd name="T20" fmla="*/ 368 w 410"/>
                <a:gd name="T21" fmla="*/ 108 h 629"/>
                <a:gd name="T22" fmla="*/ 240 w 410"/>
                <a:gd name="T23" fmla="*/ 48 h 629"/>
                <a:gd name="T24" fmla="*/ 216 w 410"/>
                <a:gd name="T25" fmla="*/ 48 h 629"/>
                <a:gd name="T26" fmla="*/ 47 w 410"/>
                <a:gd name="T27" fmla="*/ 218 h 629"/>
                <a:gd name="T28" fmla="*/ 51 w 410"/>
                <a:gd name="T29" fmla="*/ 278 h 629"/>
                <a:gd name="T30" fmla="*/ 70 w 410"/>
                <a:gd name="T31" fmla="*/ 509 h 629"/>
                <a:gd name="T32" fmla="*/ 120 w 410"/>
                <a:gd name="T33" fmla="*/ 553 h 629"/>
                <a:gd name="T34" fmla="*/ 135 w 410"/>
                <a:gd name="T35" fmla="*/ 629 h 629"/>
                <a:gd name="T36" fmla="*/ 40 w 410"/>
                <a:gd name="T37" fmla="*/ 524 h 629"/>
                <a:gd name="T38" fmla="*/ 109 w 410"/>
                <a:gd name="T39" fmla="*/ 585 h 629"/>
                <a:gd name="T40" fmla="*/ 104 w 410"/>
                <a:gd name="T41" fmla="*/ 562 h 629"/>
                <a:gd name="T42" fmla="*/ 54 w 410"/>
                <a:gd name="T43" fmla="*/ 517 h 629"/>
                <a:gd name="T44" fmla="*/ 34 w 410"/>
                <a:gd name="T45" fmla="*/ 279 h 629"/>
                <a:gd name="T46" fmla="*/ 30 w 410"/>
                <a:gd name="T47" fmla="*/ 219 h 629"/>
                <a:gd name="T48" fmla="*/ 216 w 410"/>
                <a:gd name="T49" fmla="*/ 31 h 629"/>
                <a:gd name="T50" fmla="*/ 240 w 410"/>
                <a:gd name="T51" fmla="*/ 31 h 629"/>
                <a:gd name="T52" fmla="*/ 375 w 410"/>
                <a:gd name="T53" fmla="*/ 91 h 629"/>
                <a:gd name="T54" fmla="*/ 386 w 410"/>
                <a:gd name="T55" fmla="*/ 82 h 629"/>
                <a:gd name="T56" fmla="*/ 240 w 410"/>
                <a:gd name="T57" fmla="*/ 17 h 629"/>
                <a:gd name="T58" fmla="*/ 216 w 410"/>
                <a:gd name="T59" fmla="*/ 17 h 629"/>
                <a:gd name="T60" fmla="*/ 75 w 410"/>
                <a:gd name="T61" fmla="*/ 76 h 629"/>
                <a:gd name="T62" fmla="*/ 16 w 410"/>
                <a:gd name="T63" fmla="*/ 219 h 629"/>
                <a:gd name="T64" fmla="*/ 20 w 410"/>
                <a:gd name="T65" fmla="*/ 280 h 629"/>
                <a:gd name="T66" fmla="*/ 40 w 410"/>
                <a:gd name="T67" fmla="*/ 52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0" h="629">
                  <a:moveTo>
                    <a:pt x="135" y="629"/>
                  </a:moveTo>
                  <a:cubicBezTo>
                    <a:pt x="24" y="532"/>
                    <a:pt x="24" y="532"/>
                    <a:pt x="24" y="532"/>
                  </a:cubicBezTo>
                  <a:cubicBezTo>
                    <a:pt x="3" y="281"/>
                    <a:pt x="3" y="281"/>
                    <a:pt x="3" y="281"/>
                  </a:cubicBezTo>
                  <a:cubicBezTo>
                    <a:pt x="0" y="220"/>
                    <a:pt x="0" y="220"/>
                    <a:pt x="0" y="220"/>
                  </a:cubicBezTo>
                  <a:cubicBezTo>
                    <a:pt x="0" y="161"/>
                    <a:pt x="22" y="106"/>
                    <a:pt x="63" y="64"/>
                  </a:cubicBezTo>
                  <a:cubicBezTo>
                    <a:pt x="104" y="23"/>
                    <a:pt x="158" y="0"/>
                    <a:pt x="216" y="0"/>
                  </a:cubicBezTo>
                  <a:cubicBezTo>
                    <a:pt x="240" y="0"/>
                    <a:pt x="240" y="0"/>
                    <a:pt x="240" y="0"/>
                  </a:cubicBezTo>
                  <a:cubicBezTo>
                    <a:pt x="304" y="0"/>
                    <a:pt x="364" y="29"/>
                    <a:pt x="404" y="78"/>
                  </a:cubicBezTo>
                  <a:cubicBezTo>
                    <a:pt x="410" y="84"/>
                    <a:pt x="410" y="84"/>
                    <a:pt x="410" y="84"/>
                  </a:cubicBezTo>
                  <a:cubicBezTo>
                    <a:pt x="373" y="114"/>
                    <a:pt x="373" y="114"/>
                    <a:pt x="373" y="114"/>
                  </a:cubicBezTo>
                  <a:cubicBezTo>
                    <a:pt x="368" y="108"/>
                    <a:pt x="368" y="108"/>
                    <a:pt x="368" y="108"/>
                  </a:cubicBezTo>
                  <a:cubicBezTo>
                    <a:pt x="336" y="70"/>
                    <a:pt x="290" y="48"/>
                    <a:pt x="240" y="48"/>
                  </a:cubicBezTo>
                  <a:cubicBezTo>
                    <a:pt x="216" y="48"/>
                    <a:pt x="216" y="48"/>
                    <a:pt x="216" y="48"/>
                  </a:cubicBezTo>
                  <a:cubicBezTo>
                    <a:pt x="123" y="48"/>
                    <a:pt x="47" y="124"/>
                    <a:pt x="47" y="218"/>
                  </a:cubicBezTo>
                  <a:cubicBezTo>
                    <a:pt x="51" y="278"/>
                    <a:pt x="51" y="278"/>
                    <a:pt x="51" y="278"/>
                  </a:cubicBezTo>
                  <a:cubicBezTo>
                    <a:pt x="70" y="509"/>
                    <a:pt x="70" y="509"/>
                    <a:pt x="70" y="509"/>
                  </a:cubicBezTo>
                  <a:cubicBezTo>
                    <a:pt x="120" y="553"/>
                    <a:pt x="120" y="553"/>
                    <a:pt x="120" y="553"/>
                  </a:cubicBezTo>
                  <a:lnTo>
                    <a:pt x="135" y="629"/>
                  </a:lnTo>
                  <a:close/>
                  <a:moveTo>
                    <a:pt x="40" y="524"/>
                  </a:moveTo>
                  <a:cubicBezTo>
                    <a:pt x="109" y="585"/>
                    <a:pt x="109" y="585"/>
                    <a:pt x="109" y="585"/>
                  </a:cubicBezTo>
                  <a:cubicBezTo>
                    <a:pt x="104" y="562"/>
                    <a:pt x="104" y="562"/>
                    <a:pt x="104" y="562"/>
                  </a:cubicBezTo>
                  <a:cubicBezTo>
                    <a:pt x="54" y="517"/>
                    <a:pt x="54" y="517"/>
                    <a:pt x="54" y="517"/>
                  </a:cubicBezTo>
                  <a:cubicBezTo>
                    <a:pt x="34" y="279"/>
                    <a:pt x="34" y="279"/>
                    <a:pt x="34" y="279"/>
                  </a:cubicBezTo>
                  <a:cubicBezTo>
                    <a:pt x="30" y="219"/>
                    <a:pt x="30" y="219"/>
                    <a:pt x="30" y="219"/>
                  </a:cubicBezTo>
                  <a:cubicBezTo>
                    <a:pt x="30" y="115"/>
                    <a:pt x="114" y="31"/>
                    <a:pt x="216" y="31"/>
                  </a:cubicBezTo>
                  <a:cubicBezTo>
                    <a:pt x="240" y="31"/>
                    <a:pt x="240" y="31"/>
                    <a:pt x="240" y="31"/>
                  </a:cubicBezTo>
                  <a:cubicBezTo>
                    <a:pt x="292" y="31"/>
                    <a:pt x="341" y="53"/>
                    <a:pt x="375" y="91"/>
                  </a:cubicBezTo>
                  <a:cubicBezTo>
                    <a:pt x="386" y="82"/>
                    <a:pt x="386" y="82"/>
                    <a:pt x="386" y="82"/>
                  </a:cubicBezTo>
                  <a:cubicBezTo>
                    <a:pt x="349" y="40"/>
                    <a:pt x="296" y="17"/>
                    <a:pt x="240" y="17"/>
                  </a:cubicBezTo>
                  <a:cubicBezTo>
                    <a:pt x="216" y="17"/>
                    <a:pt x="216" y="17"/>
                    <a:pt x="216" y="17"/>
                  </a:cubicBezTo>
                  <a:cubicBezTo>
                    <a:pt x="163" y="17"/>
                    <a:pt x="113" y="38"/>
                    <a:pt x="75" y="76"/>
                  </a:cubicBezTo>
                  <a:cubicBezTo>
                    <a:pt x="37" y="114"/>
                    <a:pt x="16" y="165"/>
                    <a:pt x="16" y="219"/>
                  </a:cubicBezTo>
                  <a:cubicBezTo>
                    <a:pt x="20" y="280"/>
                    <a:pt x="20" y="280"/>
                    <a:pt x="20" y="280"/>
                  </a:cubicBezTo>
                  <a:lnTo>
                    <a:pt x="40"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8" name="Freeform 96">
              <a:extLst>
                <a:ext uri="{FF2B5EF4-FFF2-40B4-BE49-F238E27FC236}">
                  <a16:creationId xmlns:a16="http://schemas.microsoft.com/office/drawing/2014/main" id="{806CEC89-BDF6-78C9-91B8-3AAF310EBBAB}"/>
                </a:ext>
              </a:extLst>
            </p:cNvPr>
            <p:cNvSpPr>
              <a:spLocks/>
            </p:cNvSpPr>
            <p:nvPr/>
          </p:nvSpPr>
          <p:spPr bwMode="auto">
            <a:xfrm>
              <a:off x="2094" y="2200"/>
              <a:ext cx="32" cy="129"/>
            </a:xfrm>
            <a:custGeom>
              <a:avLst/>
              <a:gdLst>
                <a:gd name="T0" fmla="*/ 31 w 96"/>
                <a:gd name="T1" fmla="*/ 0 h 397"/>
                <a:gd name="T2" fmla="*/ 0 w 96"/>
                <a:gd name="T3" fmla="*/ 0 h 397"/>
                <a:gd name="T4" fmla="*/ 18 w 96"/>
                <a:gd name="T5" fmla="*/ 89 h 397"/>
                <a:gd name="T6" fmla="*/ 54 w 96"/>
                <a:gd name="T7" fmla="*/ 121 h 397"/>
                <a:gd name="T8" fmla="*/ 33 w 96"/>
                <a:gd name="T9" fmla="*/ 144 h 397"/>
                <a:gd name="T10" fmla="*/ 28 w 96"/>
                <a:gd name="T11" fmla="*/ 139 h 397"/>
                <a:gd name="T12" fmla="*/ 29 w 96"/>
                <a:gd name="T13" fmla="*/ 145 h 397"/>
                <a:gd name="T14" fmla="*/ 79 w 96"/>
                <a:gd name="T15" fmla="*/ 397 h 397"/>
                <a:gd name="T16" fmla="*/ 81 w 96"/>
                <a:gd name="T17" fmla="*/ 386 h 397"/>
                <a:gd name="T18" fmla="*/ 96 w 96"/>
                <a:gd name="T19" fmla="*/ 332 h 397"/>
                <a:gd name="T20" fmla="*/ 31 w 96"/>
                <a:gd name="T2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397">
                  <a:moveTo>
                    <a:pt x="31" y="0"/>
                  </a:moveTo>
                  <a:cubicBezTo>
                    <a:pt x="0" y="0"/>
                    <a:pt x="0" y="0"/>
                    <a:pt x="0" y="0"/>
                  </a:cubicBezTo>
                  <a:cubicBezTo>
                    <a:pt x="18" y="89"/>
                    <a:pt x="18" y="89"/>
                    <a:pt x="18" y="89"/>
                  </a:cubicBezTo>
                  <a:cubicBezTo>
                    <a:pt x="54" y="121"/>
                    <a:pt x="54" y="121"/>
                    <a:pt x="54" y="121"/>
                  </a:cubicBezTo>
                  <a:cubicBezTo>
                    <a:pt x="33" y="144"/>
                    <a:pt x="33" y="144"/>
                    <a:pt x="33" y="144"/>
                  </a:cubicBezTo>
                  <a:cubicBezTo>
                    <a:pt x="28" y="139"/>
                    <a:pt x="28" y="139"/>
                    <a:pt x="28" y="139"/>
                  </a:cubicBezTo>
                  <a:cubicBezTo>
                    <a:pt x="29" y="145"/>
                    <a:pt x="29" y="145"/>
                    <a:pt x="29" y="145"/>
                  </a:cubicBezTo>
                  <a:cubicBezTo>
                    <a:pt x="79" y="397"/>
                    <a:pt x="79" y="397"/>
                    <a:pt x="79" y="397"/>
                  </a:cubicBezTo>
                  <a:cubicBezTo>
                    <a:pt x="79" y="393"/>
                    <a:pt x="80" y="390"/>
                    <a:pt x="81" y="386"/>
                  </a:cubicBezTo>
                  <a:cubicBezTo>
                    <a:pt x="85" y="368"/>
                    <a:pt x="90" y="350"/>
                    <a:pt x="96" y="332"/>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59" name="Freeform 97">
              <a:extLst>
                <a:ext uri="{FF2B5EF4-FFF2-40B4-BE49-F238E27FC236}">
                  <a16:creationId xmlns:a16="http://schemas.microsoft.com/office/drawing/2014/main" id="{561BC12C-C2B9-8D5D-E97F-3EC041885DF0}"/>
                </a:ext>
              </a:extLst>
            </p:cNvPr>
            <p:cNvSpPr>
              <a:spLocks noEditPoints="1"/>
            </p:cNvSpPr>
            <p:nvPr/>
          </p:nvSpPr>
          <p:spPr bwMode="auto">
            <a:xfrm>
              <a:off x="2091" y="2197"/>
              <a:ext cx="38" cy="145"/>
            </a:xfrm>
            <a:custGeom>
              <a:avLst/>
              <a:gdLst>
                <a:gd name="T0" fmla="*/ 88 w 115"/>
                <a:gd name="T1" fmla="*/ 447 h 447"/>
                <a:gd name="T2" fmla="*/ 25 w 115"/>
                <a:gd name="T3" fmla="*/ 126 h 447"/>
                <a:gd name="T4" fmla="*/ 42 w 115"/>
                <a:gd name="T5" fmla="*/ 141 h 447"/>
                <a:gd name="T6" fmla="*/ 52 w 115"/>
                <a:gd name="T7" fmla="*/ 130 h 447"/>
                <a:gd name="T8" fmla="*/ 20 w 115"/>
                <a:gd name="T9" fmla="*/ 103 h 447"/>
                <a:gd name="T10" fmla="*/ 0 w 115"/>
                <a:gd name="T11" fmla="*/ 0 h 447"/>
                <a:gd name="T12" fmla="*/ 47 w 115"/>
                <a:gd name="T13" fmla="*/ 0 h 447"/>
                <a:gd name="T14" fmla="*/ 73 w 115"/>
                <a:gd name="T15" fmla="*/ 131 h 447"/>
                <a:gd name="T16" fmla="*/ 115 w 115"/>
                <a:gd name="T17" fmla="*/ 342 h 447"/>
                <a:gd name="T18" fmla="*/ 114 w 115"/>
                <a:gd name="T19" fmla="*/ 344 h 447"/>
                <a:gd name="T20" fmla="*/ 99 w 115"/>
                <a:gd name="T21" fmla="*/ 397 h 447"/>
                <a:gd name="T22" fmla="*/ 98 w 115"/>
                <a:gd name="T23" fmla="*/ 403 h 447"/>
                <a:gd name="T24" fmla="*/ 88 w 115"/>
                <a:gd name="T25" fmla="*/ 447 h 447"/>
                <a:gd name="T26" fmla="*/ 48 w 115"/>
                <a:gd name="T27" fmla="*/ 159 h 447"/>
                <a:gd name="T28" fmla="*/ 89 w 115"/>
                <a:gd name="T29" fmla="*/ 367 h 447"/>
                <a:gd name="T30" fmla="*/ 98 w 115"/>
                <a:gd name="T31" fmla="*/ 341 h 447"/>
                <a:gd name="T32" fmla="*/ 59 w 115"/>
                <a:gd name="T33" fmla="*/ 147 h 447"/>
                <a:gd name="T34" fmla="*/ 48 w 115"/>
                <a:gd name="T35" fmla="*/ 159 h 447"/>
                <a:gd name="T36" fmla="*/ 36 w 115"/>
                <a:gd name="T37" fmla="*/ 94 h 447"/>
                <a:gd name="T38" fmla="*/ 52 w 115"/>
                <a:gd name="T39" fmla="*/ 108 h 447"/>
                <a:gd name="T40" fmla="*/ 34 w 115"/>
                <a:gd name="T41" fmla="*/ 17 h 447"/>
                <a:gd name="T42" fmla="*/ 20 w 115"/>
                <a:gd name="T43" fmla="*/ 17 h 447"/>
                <a:gd name="T44" fmla="*/ 36 w 115"/>
                <a:gd name="T45" fmla="*/ 9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447">
                  <a:moveTo>
                    <a:pt x="88" y="447"/>
                  </a:moveTo>
                  <a:cubicBezTo>
                    <a:pt x="25" y="126"/>
                    <a:pt x="25" y="126"/>
                    <a:pt x="25" y="126"/>
                  </a:cubicBezTo>
                  <a:cubicBezTo>
                    <a:pt x="42" y="141"/>
                    <a:pt x="42" y="141"/>
                    <a:pt x="42" y="141"/>
                  </a:cubicBezTo>
                  <a:cubicBezTo>
                    <a:pt x="52" y="130"/>
                    <a:pt x="52" y="130"/>
                    <a:pt x="52" y="130"/>
                  </a:cubicBezTo>
                  <a:cubicBezTo>
                    <a:pt x="20" y="103"/>
                    <a:pt x="20" y="103"/>
                    <a:pt x="20" y="103"/>
                  </a:cubicBezTo>
                  <a:cubicBezTo>
                    <a:pt x="0" y="0"/>
                    <a:pt x="0" y="0"/>
                    <a:pt x="0" y="0"/>
                  </a:cubicBezTo>
                  <a:cubicBezTo>
                    <a:pt x="47" y="0"/>
                    <a:pt x="47" y="0"/>
                    <a:pt x="47" y="0"/>
                  </a:cubicBezTo>
                  <a:cubicBezTo>
                    <a:pt x="73" y="131"/>
                    <a:pt x="73" y="131"/>
                    <a:pt x="73" y="131"/>
                  </a:cubicBezTo>
                  <a:cubicBezTo>
                    <a:pt x="115" y="342"/>
                    <a:pt x="115" y="342"/>
                    <a:pt x="115" y="342"/>
                  </a:cubicBezTo>
                  <a:cubicBezTo>
                    <a:pt x="114" y="344"/>
                    <a:pt x="114" y="344"/>
                    <a:pt x="114" y="344"/>
                  </a:cubicBezTo>
                  <a:cubicBezTo>
                    <a:pt x="108" y="362"/>
                    <a:pt x="103" y="380"/>
                    <a:pt x="99" y="397"/>
                  </a:cubicBezTo>
                  <a:cubicBezTo>
                    <a:pt x="98" y="399"/>
                    <a:pt x="98" y="401"/>
                    <a:pt x="98" y="403"/>
                  </a:cubicBezTo>
                  <a:lnTo>
                    <a:pt x="88" y="447"/>
                  </a:lnTo>
                  <a:close/>
                  <a:moveTo>
                    <a:pt x="48" y="159"/>
                  </a:moveTo>
                  <a:cubicBezTo>
                    <a:pt x="89" y="367"/>
                    <a:pt x="89" y="367"/>
                    <a:pt x="89" y="367"/>
                  </a:cubicBezTo>
                  <a:cubicBezTo>
                    <a:pt x="92" y="358"/>
                    <a:pt x="95" y="349"/>
                    <a:pt x="98" y="341"/>
                  </a:cubicBezTo>
                  <a:cubicBezTo>
                    <a:pt x="59" y="147"/>
                    <a:pt x="59" y="147"/>
                    <a:pt x="59" y="147"/>
                  </a:cubicBezTo>
                  <a:lnTo>
                    <a:pt x="48" y="159"/>
                  </a:lnTo>
                  <a:close/>
                  <a:moveTo>
                    <a:pt x="36" y="94"/>
                  </a:moveTo>
                  <a:cubicBezTo>
                    <a:pt x="52" y="108"/>
                    <a:pt x="52" y="108"/>
                    <a:pt x="52" y="108"/>
                  </a:cubicBezTo>
                  <a:cubicBezTo>
                    <a:pt x="34" y="17"/>
                    <a:pt x="34" y="17"/>
                    <a:pt x="34" y="17"/>
                  </a:cubicBezTo>
                  <a:cubicBezTo>
                    <a:pt x="20" y="17"/>
                    <a:pt x="20" y="17"/>
                    <a:pt x="20" y="17"/>
                  </a:cubicBezTo>
                  <a:lnTo>
                    <a:pt x="3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0" name="Freeform 98">
              <a:extLst>
                <a:ext uri="{FF2B5EF4-FFF2-40B4-BE49-F238E27FC236}">
                  <a16:creationId xmlns:a16="http://schemas.microsoft.com/office/drawing/2014/main" id="{54199168-A5F2-7CA0-1885-7E5BB4584D82}"/>
                </a:ext>
              </a:extLst>
            </p:cNvPr>
            <p:cNvSpPr>
              <a:spLocks/>
            </p:cNvSpPr>
            <p:nvPr/>
          </p:nvSpPr>
          <p:spPr bwMode="auto">
            <a:xfrm>
              <a:off x="2100" y="2229"/>
              <a:ext cx="12" cy="18"/>
            </a:xfrm>
            <a:custGeom>
              <a:avLst/>
              <a:gdLst>
                <a:gd name="T0" fmla="*/ 5 w 12"/>
                <a:gd name="T1" fmla="*/ 18 h 18"/>
                <a:gd name="T2" fmla="*/ 12 w 12"/>
                <a:gd name="T3" fmla="*/ 10 h 18"/>
                <a:gd name="T4" fmla="*/ 0 w 12"/>
                <a:gd name="T5" fmla="*/ 0 h 18"/>
                <a:gd name="T6" fmla="*/ 3 w 12"/>
                <a:gd name="T7" fmla="*/ 16 h 18"/>
                <a:gd name="T8" fmla="*/ 5 w 12"/>
                <a:gd name="T9" fmla="*/ 18 h 18"/>
              </a:gdLst>
              <a:ahLst/>
              <a:cxnLst>
                <a:cxn ang="0">
                  <a:pos x="T0" y="T1"/>
                </a:cxn>
                <a:cxn ang="0">
                  <a:pos x="T2" y="T3"/>
                </a:cxn>
                <a:cxn ang="0">
                  <a:pos x="T4" y="T5"/>
                </a:cxn>
                <a:cxn ang="0">
                  <a:pos x="T6" y="T7"/>
                </a:cxn>
                <a:cxn ang="0">
                  <a:pos x="T8" y="T9"/>
                </a:cxn>
              </a:cxnLst>
              <a:rect l="0" t="0" r="r" b="b"/>
              <a:pathLst>
                <a:path w="12" h="18">
                  <a:moveTo>
                    <a:pt x="5" y="18"/>
                  </a:moveTo>
                  <a:lnTo>
                    <a:pt x="12" y="10"/>
                  </a:lnTo>
                  <a:lnTo>
                    <a:pt x="0" y="0"/>
                  </a:lnTo>
                  <a:lnTo>
                    <a:pt x="3" y="16"/>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1" name="Freeform 99">
              <a:extLst>
                <a:ext uri="{FF2B5EF4-FFF2-40B4-BE49-F238E27FC236}">
                  <a16:creationId xmlns:a16="http://schemas.microsoft.com/office/drawing/2014/main" id="{EAAD846F-EB62-60E4-7983-A764A751B91A}"/>
                </a:ext>
              </a:extLst>
            </p:cNvPr>
            <p:cNvSpPr>
              <a:spLocks noEditPoints="1"/>
            </p:cNvSpPr>
            <p:nvPr/>
          </p:nvSpPr>
          <p:spPr bwMode="auto">
            <a:xfrm>
              <a:off x="2394" y="1955"/>
              <a:ext cx="84" cy="83"/>
            </a:xfrm>
            <a:custGeom>
              <a:avLst/>
              <a:gdLst>
                <a:gd name="T0" fmla="*/ 128 w 257"/>
                <a:gd name="T1" fmla="*/ 0 h 257"/>
                <a:gd name="T2" fmla="*/ 0 w 257"/>
                <a:gd name="T3" fmla="*/ 128 h 257"/>
                <a:gd name="T4" fmla="*/ 128 w 257"/>
                <a:gd name="T5" fmla="*/ 257 h 257"/>
                <a:gd name="T6" fmla="*/ 257 w 257"/>
                <a:gd name="T7" fmla="*/ 128 h 257"/>
                <a:gd name="T8" fmla="*/ 128 w 257"/>
                <a:gd name="T9" fmla="*/ 0 h 257"/>
                <a:gd name="T10" fmla="*/ 217 w 257"/>
                <a:gd name="T11" fmla="*/ 168 h 257"/>
                <a:gd name="T12" fmla="*/ 128 w 257"/>
                <a:gd name="T13" fmla="*/ 226 h 257"/>
                <a:gd name="T14" fmla="*/ 31 w 257"/>
                <a:gd name="T15" fmla="*/ 128 h 257"/>
                <a:gd name="T16" fmla="*/ 31 w 257"/>
                <a:gd name="T17" fmla="*/ 117 h 257"/>
                <a:gd name="T18" fmla="*/ 128 w 257"/>
                <a:gd name="T19" fmla="*/ 30 h 257"/>
                <a:gd name="T20" fmla="*/ 226 w 257"/>
                <a:gd name="T21" fmla="*/ 128 h 257"/>
                <a:gd name="T22" fmla="*/ 217 w 257"/>
                <a:gd name="T23" fmla="*/ 16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257">
                  <a:moveTo>
                    <a:pt x="128" y="0"/>
                  </a:moveTo>
                  <a:cubicBezTo>
                    <a:pt x="57" y="0"/>
                    <a:pt x="0" y="57"/>
                    <a:pt x="0" y="128"/>
                  </a:cubicBezTo>
                  <a:cubicBezTo>
                    <a:pt x="0" y="199"/>
                    <a:pt x="57" y="257"/>
                    <a:pt x="128" y="257"/>
                  </a:cubicBezTo>
                  <a:cubicBezTo>
                    <a:pt x="199" y="257"/>
                    <a:pt x="257" y="199"/>
                    <a:pt x="257" y="128"/>
                  </a:cubicBezTo>
                  <a:cubicBezTo>
                    <a:pt x="257" y="57"/>
                    <a:pt x="199" y="0"/>
                    <a:pt x="128" y="0"/>
                  </a:cubicBezTo>
                  <a:close/>
                  <a:moveTo>
                    <a:pt x="217" y="168"/>
                  </a:moveTo>
                  <a:cubicBezTo>
                    <a:pt x="202" y="202"/>
                    <a:pt x="168" y="226"/>
                    <a:pt x="128" y="226"/>
                  </a:cubicBezTo>
                  <a:cubicBezTo>
                    <a:pt x="74" y="226"/>
                    <a:pt x="31" y="182"/>
                    <a:pt x="31" y="128"/>
                  </a:cubicBezTo>
                  <a:cubicBezTo>
                    <a:pt x="31" y="124"/>
                    <a:pt x="31" y="120"/>
                    <a:pt x="31" y="117"/>
                  </a:cubicBezTo>
                  <a:cubicBezTo>
                    <a:pt x="37" y="68"/>
                    <a:pt x="78" y="30"/>
                    <a:pt x="128" y="30"/>
                  </a:cubicBezTo>
                  <a:cubicBezTo>
                    <a:pt x="182" y="30"/>
                    <a:pt x="226" y="74"/>
                    <a:pt x="226" y="128"/>
                  </a:cubicBezTo>
                  <a:cubicBezTo>
                    <a:pt x="226" y="142"/>
                    <a:pt x="223" y="155"/>
                    <a:pt x="217"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2" name="Freeform 100">
              <a:extLst>
                <a:ext uri="{FF2B5EF4-FFF2-40B4-BE49-F238E27FC236}">
                  <a16:creationId xmlns:a16="http://schemas.microsoft.com/office/drawing/2014/main" id="{8F726DD8-8244-834A-64DF-5ABDC1093F5B}"/>
                </a:ext>
              </a:extLst>
            </p:cNvPr>
            <p:cNvSpPr>
              <a:spLocks noEditPoints="1"/>
            </p:cNvSpPr>
            <p:nvPr/>
          </p:nvSpPr>
          <p:spPr bwMode="auto">
            <a:xfrm>
              <a:off x="2391" y="1952"/>
              <a:ext cx="90" cy="89"/>
            </a:xfrm>
            <a:custGeom>
              <a:avLst/>
              <a:gdLst>
                <a:gd name="T0" fmla="*/ 137 w 274"/>
                <a:gd name="T1" fmla="*/ 274 h 274"/>
                <a:gd name="T2" fmla="*/ 0 w 274"/>
                <a:gd name="T3" fmla="*/ 137 h 274"/>
                <a:gd name="T4" fmla="*/ 137 w 274"/>
                <a:gd name="T5" fmla="*/ 0 h 274"/>
                <a:gd name="T6" fmla="*/ 274 w 274"/>
                <a:gd name="T7" fmla="*/ 137 h 274"/>
                <a:gd name="T8" fmla="*/ 137 w 274"/>
                <a:gd name="T9" fmla="*/ 274 h 274"/>
                <a:gd name="T10" fmla="*/ 137 w 274"/>
                <a:gd name="T11" fmla="*/ 17 h 274"/>
                <a:gd name="T12" fmla="*/ 17 w 274"/>
                <a:gd name="T13" fmla="*/ 137 h 274"/>
                <a:gd name="T14" fmla="*/ 137 w 274"/>
                <a:gd name="T15" fmla="*/ 257 h 274"/>
                <a:gd name="T16" fmla="*/ 257 w 274"/>
                <a:gd name="T17" fmla="*/ 137 h 274"/>
                <a:gd name="T18" fmla="*/ 137 w 274"/>
                <a:gd name="T19" fmla="*/ 17 h 274"/>
                <a:gd name="T20" fmla="*/ 137 w 274"/>
                <a:gd name="T21" fmla="*/ 243 h 274"/>
                <a:gd name="T22" fmla="*/ 31 w 274"/>
                <a:gd name="T23" fmla="*/ 137 h 274"/>
                <a:gd name="T24" fmla="*/ 32 w 274"/>
                <a:gd name="T25" fmla="*/ 125 h 274"/>
                <a:gd name="T26" fmla="*/ 137 w 274"/>
                <a:gd name="T27" fmla="*/ 31 h 274"/>
                <a:gd name="T28" fmla="*/ 243 w 274"/>
                <a:gd name="T29" fmla="*/ 137 h 274"/>
                <a:gd name="T30" fmla="*/ 234 w 274"/>
                <a:gd name="T31" fmla="*/ 180 h 274"/>
                <a:gd name="T32" fmla="*/ 234 w 274"/>
                <a:gd name="T33" fmla="*/ 180 h 274"/>
                <a:gd name="T34" fmla="*/ 137 w 274"/>
                <a:gd name="T35" fmla="*/ 243 h 274"/>
                <a:gd name="T36" fmla="*/ 137 w 274"/>
                <a:gd name="T37" fmla="*/ 48 h 274"/>
                <a:gd name="T38" fmla="*/ 48 w 274"/>
                <a:gd name="T39" fmla="*/ 127 h 274"/>
                <a:gd name="T40" fmla="*/ 48 w 274"/>
                <a:gd name="T41" fmla="*/ 137 h 274"/>
                <a:gd name="T42" fmla="*/ 137 w 274"/>
                <a:gd name="T43" fmla="*/ 227 h 274"/>
                <a:gd name="T44" fmla="*/ 219 w 274"/>
                <a:gd name="T45" fmla="*/ 173 h 274"/>
                <a:gd name="T46" fmla="*/ 227 w 274"/>
                <a:gd name="T47" fmla="*/ 137 h 274"/>
                <a:gd name="T48" fmla="*/ 137 w 274"/>
                <a:gd name="T49" fmla="*/ 4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4" h="274">
                  <a:moveTo>
                    <a:pt x="137" y="274"/>
                  </a:moveTo>
                  <a:cubicBezTo>
                    <a:pt x="62" y="274"/>
                    <a:pt x="0" y="213"/>
                    <a:pt x="0" y="137"/>
                  </a:cubicBezTo>
                  <a:cubicBezTo>
                    <a:pt x="0" y="62"/>
                    <a:pt x="62" y="0"/>
                    <a:pt x="137" y="0"/>
                  </a:cubicBezTo>
                  <a:cubicBezTo>
                    <a:pt x="213" y="0"/>
                    <a:pt x="274" y="62"/>
                    <a:pt x="274" y="137"/>
                  </a:cubicBezTo>
                  <a:cubicBezTo>
                    <a:pt x="274" y="213"/>
                    <a:pt x="213" y="274"/>
                    <a:pt x="137" y="274"/>
                  </a:cubicBezTo>
                  <a:close/>
                  <a:moveTo>
                    <a:pt x="137" y="17"/>
                  </a:moveTo>
                  <a:cubicBezTo>
                    <a:pt x="71" y="17"/>
                    <a:pt x="17" y="71"/>
                    <a:pt x="17" y="137"/>
                  </a:cubicBezTo>
                  <a:cubicBezTo>
                    <a:pt x="17" y="203"/>
                    <a:pt x="71" y="257"/>
                    <a:pt x="137" y="257"/>
                  </a:cubicBezTo>
                  <a:cubicBezTo>
                    <a:pt x="204" y="257"/>
                    <a:pt x="257" y="203"/>
                    <a:pt x="257" y="137"/>
                  </a:cubicBezTo>
                  <a:cubicBezTo>
                    <a:pt x="257" y="71"/>
                    <a:pt x="204" y="17"/>
                    <a:pt x="137" y="17"/>
                  </a:cubicBezTo>
                  <a:close/>
                  <a:moveTo>
                    <a:pt x="137" y="243"/>
                  </a:moveTo>
                  <a:cubicBezTo>
                    <a:pt x="79" y="243"/>
                    <a:pt x="31" y="196"/>
                    <a:pt x="31" y="137"/>
                  </a:cubicBezTo>
                  <a:cubicBezTo>
                    <a:pt x="31" y="133"/>
                    <a:pt x="32" y="129"/>
                    <a:pt x="32" y="125"/>
                  </a:cubicBezTo>
                  <a:cubicBezTo>
                    <a:pt x="38" y="71"/>
                    <a:pt x="83" y="31"/>
                    <a:pt x="137" y="31"/>
                  </a:cubicBezTo>
                  <a:cubicBezTo>
                    <a:pt x="196" y="31"/>
                    <a:pt x="243" y="79"/>
                    <a:pt x="243" y="137"/>
                  </a:cubicBezTo>
                  <a:cubicBezTo>
                    <a:pt x="243" y="152"/>
                    <a:pt x="240" y="166"/>
                    <a:pt x="234" y="180"/>
                  </a:cubicBezTo>
                  <a:cubicBezTo>
                    <a:pt x="234" y="180"/>
                    <a:pt x="234" y="180"/>
                    <a:pt x="234" y="180"/>
                  </a:cubicBezTo>
                  <a:cubicBezTo>
                    <a:pt x="217" y="218"/>
                    <a:pt x="179" y="243"/>
                    <a:pt x="137" y="243"/>
                  </a:cubicBezTo>
                  <a:close/>
                  <a:moveTo>
                    <a:pt x="137" y="48"/>
                  </a:moveTo>
                  <a:cubicBezTo>
                    <a:pt x="92" y="48"/>
                    <a:pt x="54" y="82"/>
                    <a:pt x="48" y="127"/>
                  </a:cubicBezTo>
                  <a:cubicBezTo>
                    <a:pt x="48" y="130"/>
                    <a:pt x="48" y="134"/>
                    <a:pt x="48" y="137"/>
                  </a:cubicBezTo>
                  <a:cubicBezTo>
                    <a:pt x="48" y="186"/>
                    <a:pt x="88" y="227"/>
                    <a:pt x="137" y="227"/>
                  </a:cubicBezTo>
                  <a:cubicBezTo>
                    <a:pt x="172" y="227"/>
                    <a:pt x="205" y="206"/>
                    <a:pt x="219" y="173"/>
                  </a:cubicBezTo>
                  <a:cubicBezTo>
                    <a:pt x="224" y="162"/>
                    <a:pt x="227" y="150"/>
                    <a:pt x="227" y="137"/>
                  </a:cubicBezTo>
                  <a:cubicBezTo>
                    <a:pt x="227" y="88"/>
                    <a:pt x="186" y="48"/>
                    <a:pt x="13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3" name="Freeform 101">
              <a:extLst>
                <a:ext uri="{FF2B5EF4-FFF2-40B4-BE49-F238E27FC236}">
                  <a16:creationId xmlns:a16="http://schemas.microsoft.com/office/drawing/2014/main" id="{397384D6-48B9-ACAA-8DF9-1EC838082345}"/>
                </a:ext>
              </a:extLst>
            </p:cNvPr>
            <p:cNvSpPr>
              <a:spLocks/>
            </p:cNvSpPr>
            <p:nvPr/>
          </p:nvSpPr>
          <p:spPr bwMode="auto">
            <a:xfrm>
              <a:off x="2380" y="2051"/>
              <a:ext cx="127" cy="194"/>
            </a:xfrm>
            <a:custGeom>
              <a:avLst/>
              <a:gdLst>
                <a:gd name="T0" fmla="*/ 182 w 390"/>
                <a:gd name="T1" fmla="*/ 0 h 598"/>
                <a:gd name="T2" fmla="*/ 158 w 390"/>
                <a:gd name="T3" fmla="*/ 0 h 598"/>
                <a:gd name="T4" fmla="*/ 0 w 390"/>
                <a:gd name="T5" fmla="*/ 74 h 598"/>
                <a:gd name="T6" fmla="*/ 24 w 390"/>
                <a:gd name="T7" fmla="*/ 94 h 598"/>
                <a:gd name="T8" fmla="*/ 158 w 390"/>
                <a:gd name="T9" fmla="*/ 30 h 598"/>
                <a:gd name="T10" fmla="*/ 182 w 390"/>
                <a:gd name="T11" fmla="*/ 30 h 598"/>
                <a:gd name="T12" fmla="*/ 359 w 390"/>
                <a:gd name="T13" fmla="*/ 208 h 598"/>
                <a:gd name="T14" fmla="*/ 356 w 390"/>
                <a:gd name="T15" fmla="*/ 269 h 598"/>
                <a:gd name="T16" fmla="*/ 342 w 390"/>
                <a:gd name="T17" fmla="*/ 431 h 598"/>
                <a:gd name="T18" fmla="*/ 339 w 390"/>
                <a:gd name="T19" fmla="*/ 468 h 598"/>
                <a:gd name="T20" fmla="*/ 336 w 390"/>
                <a:gd name="T21" fmla="*/ 504 h 598"/>
                <a:gd name="T22" fmla="*/ 286 w 390"/>
                <a:gd name="T23" fmla="*/ 548 h 598"/>
                <a:gd name="T24" fmla="*/ 276 w 390"/>
                <a:gd name="T25" fmla="*/ 598 h 598"/>
                <a:gd name="T26" fmla="*/ 360 w 390"/>
                <a:gd name="T27" fmla="*/ 525 h 598"/>
                <a:gd name="T28" fmla="*/ 366 w 390"/>
                <a:gd name="T29" fmla="*/ 519 h 598"/>
                <a:gd name="T30" fmla="*/ 372 w 390"/>
                <a:gd name="T31" fmla="*/ 451 h 598"/>
                <a:gd name="T32" fmla="*/ 375 w 390"/>
                <a:gd name="T33" fmla="*/ 414 h 598"/>
                <a:gd name="T34" fmla="*/ 386 w 390"/>
                <a:gd name="T35" fmla="*/ 271 h 598"/>
                <a:gd name="T36" fmla="*/ 390 w 390"/>
                <a:gd name="T37" fmla="*/ 209 h 598"/>
                <a:gd name="T38" fmla="*/ 182 w 390"/>
                <a:gd name="T3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0" h="598">
                  <a:moveTo>
                    <a:pt x="182" y="0"/>
                  </a:moveTo>
                  <a:cubicBezTo>
                    <a:pt x="158" y="0"/>
                    <a:pt x="158" y="0"/>
                    <a:pt x="158" y="0"/>
                  </a:cubicBezTo>
                  <a:cubicBezTo>
                    <a:pt x="96" y="0"/>
                    <a:pt x="39" y="27"/>
                    <a:pt x="0" y="74"/>
                  </a:cubicBezTo>
                  <a:cubicBezTo>
                    <a:pt x="24" y="94"/>
                    <a:pt x="24" y="94"/>
                    <a:pt x="24" y="94"/>
                  </a:cubicBezTo>
                  <a:cubicBezTo>
                    <a:pt x="57" y="53"/>
                    <a:pt x="106" y="30"/>
                    <a:pt x="158" y="30"/>
                  </a:cubicBezTo>
                  <a:cubicBezTo>
                    <a:pt x="182" y="30"/>
                    <a:pt x="182" y="30"/>
                    <a:pt x="182" y="30"/>
                  </a:cubicBezTo>
                  <a:cubicBezTo>
                    <a:pt x="280" y="30"/>
                    <a:pt x="359" y="111"/>
                    <a:pt x="359" y="208"/>
                  </a:cubicBezTo>
                  <a:cubicBezTo>
                    <a:pt x="356" y="269"/>
                    <a:pt x="356" y="269"/>
                    <a:pt x="356" y="269"/>
                  </a:cubicBezTo>
                  <a:cubicBezTo>
                    <a:pt x="342" y="431"/>
                    <a:pt x="342" y="431"/>
                    <a:pt x="342" y="431"/>
                  </a:cubicBezTo>
                  <a:cubicBezTo>
                    <a:pt x="339" y="468"/>
                    <a:pt x="339" y="468"/>
                    <a:pt x="339" y="468"/>
                  </a:cubicBezTo>
                  <a:cubicBezTo>
                    <a:pt x="336" y="504"/>
                    <a:pt x="336" y="504"/>
                    <a:pt x="336" y="504"/>
                  </a:cubicBezTo>
                  <a:cubicBezTo>
                    <a:pt x="286" y="548"/>
                    <a:pt x="286" y="548"/>
                    <a:pt x="286" y="548"/>
                  </a:cubicBezTo>
                  <a:cubicBezTo>
                    <a:pt x="276" y="598"/>
                    <a:pt x="276" y="598"/>
                    <a:pt x="276" y="598"/>
                  </a:cubicBezTo>
                  <a:cubicBezTo>
                    <a:pt x="360" y="525"/>
                    <a:pt x="360" y="525"/>
                    <a:pt x="360" y="525"/>
                  </a:cubicBezTo>
                  <a:cubicBezTo>
                    <a:pt x="366" y="519"/>
                    <a:pt x="366" y="519"/>
                    <a:pt x="366" y="519"/>
                  </a:cubicBezTo>
                  <a:cubicBezTo>
                    <a:pt x="372" y="451"/>
                    <a:pt x="372" y="451"/>
                    <a:pt x="372" y="451"/>
                  </a:cubicBezTo>
                  <a:cubicBezTo>
                    <a:pt x="375" y="414"/>
                    <a:pt x="375" y="414"/>
                    <a:pt x="375" y="414"/>
                  </a:cubicBezTo>
                  <a:cubicBezTo>
                    <a:pt x="386" y="271"/>
                    <a:pt x="386" y="271"/>
                    <a:pt x="386" y="271"/>
                  </a:cubicBezTo>
                  <a:cubicBezTo>
                    <a:pt x="390" y="209"/>
                    <a:pt x="390" y="209"/>
                    <a:pt x="390" y="209"/>
                  </a:cubicBezTo>
                  <a:cubicBezTo>
                    <a:pt x="390" y="94"/>
                    <a:pt x="297" y="0"/>
                    <a:pt x="1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4" name="Freeform 102">
              <a:extLst>
                <a:ext uri="{FF2B5EF4-FFF2-40B4-BE49-F238E27FC236}">
                  <a16:creationId xmlns:a16="http://schemas.microsoft.com/office/drawing/2014/main" id="{5BFD4A8B-02E3-635F-69FC-0BDBE834A31B}"/>
                </a:ext>
              </a:extLst>
            </p:cNvPr>
            <p:cNvSpPr>
              <a:spLocks noEditPoints="1"/>
            </p:cNvSpPr>
            <p:nvPr/>
          </p:nvSpPr>
          <p:spPr bwMode="auto">
            <a:xfrm>
              <a:off x="2376" y="2048"/>
              <a:ext cx="134" cy="204"/>
            </a:xfrm>
            <a:custGeom>
              <a:avLst/>
              <a:gdLst>
                <a:gd name="T0" fmla="*/ 275 w 410"/>
                <a:gd name="T1" fmla="*/ 629 h 629"/>
                <a:gd name="T2" fmla="*/ 290 w 410"/>
                <a:gd name="T3" fmla="*/ 553 h 629"/>
                <a:gd name="T4" fmla="*/ 340 w 410"/>
                <a:gd name="T5" fmla="*/ 509 h 629"/>
                <a:gd name="T6" fmla="*/ 359 w 410"/>
                <a:gd name="T7" fmla="*/ 277 h 629"/>
                <a:gd name="T8" fmla="*/ 363 w 410"/>
                <a:gd name="T9" fmla="*/ 217 h 629"/>
                <a:gd name="T10" fmla="*/ 194 w 410"/>
                <a:gd name="T11" fmla="*/ 48 h 629"/>
                <a:gd name="T12" fmla="*/ 170 w 410"/>
                <a:gd name="T13" fmla="*/ 48 h 629"/>
                <a:gd name="T14" fmla="*/ 42 w 410"/>
                <a:gd name="T15" fmla="*/ 108 h 629"/>
                <a:gd name="T16" fmla="*/ 37 w 410"/>
                <a:gd name="T17" fmla="*/ 114 h 629"/>
                <a:gd name="T18" fmla="*/ 0 w 410"/>
                <a:gd name="T19" fmla="*/ 84 h 629"/>
                <a:gd name="T20" fmla="*/ 6 w 410"/>
                <a:gd name="T21" fmla="*/ 78 h 629"/>
                <a:gd name="T22" fmla="*/ 170 w 410"/>
                <a:gd name="T23" fmla="*/ 0 h 629"/>
                <a:gd name="T24" fmla="*/ 194 w 410"/>
                <a:gd name="T25" fmla="*/ 0 h 629"/>
                <a:gd name="T26" fmla="*/ 410 w 410"/>
                <a:gd name="T27" fmla="*/ 218 h 629"/>
                <a:gd name="T28" fmla="*/ 407 w 410"/>
                <a:gd name="T29" fmla="*/ 280 h 629"/>
                <a:gd name="T30" fmla="*/ 386 w 410"/>
                <a:gd name="T31" fmla="*/ 532 h 629"/>
                <a:gd name="T32" fmla="*/ 275 w 410"/>
                <a:gd name="T33" fmla="*/ 629 h 629"/>
                <a:gd name="T34" fmla="*/ 305 w 410"/>
                <a:gd name="T35" fmla="*/ 562 h 629"/>
                <a:gd name="T36" fmla="*/ 301 w 410"/>
                <a:gd name="T37" fmla="*/ 585 h 629"/>
                <a:gd name="T38" fmla="*/ 370 w 410"/>
                <a:gd name="T39" fmla="*/ 524 h 629"/>
                <a:gd name="T40" fmla="*/ 390 w 410"/>
                <a:gd name="T41" fmla="*/ 279 h 629"/>
                <a:gd name="T42" fmla="*/ 394 w 410"/>
                <a:gd name="T43" fmla="*/ 218 h 629"/>
                <a:gd name="T44" fmla="*/ 194 w 410"/>
                <a:gd name="T45" fmla="*/ 17 h 629"/>
                <a:gd name="T46" fmla="*/ 170 w 410"/>
                <a:gd name="T47" fmla="*/ 17 h 629"/>
                <a:gd name="T48" fmla="*/ 24 w 410"/>
                <a:gd name="T49" fmla="*/ 82 h 629"/>
                <a:gd name="T50" fmla="*/ 35 w 410"/>
                <a:gd name="T51" fmla="*/ 91 h 629"/>
                <a:gd name="T52" fmla="*/ 170 w 410"/>
                <a:gd name="T53" fmla="*/ 31 h 629"/>
                <a:gd name="T54" fmla="*/ 194 w 410"/>
                <a:gd name="T55" fmla="*/ 31 h 629"/>
                <a:gd name="T56" fmla="*/ 380 w 410"/>
                <a:gd name="T57" fmla="*/ 217 h 629"/>
                <a:gd name="T58" fmla="*/ 376 w 410"/>
                <a:gd name="T59" fmla="*/ 278 h 629"/>
                <a:gd name="T60" fmla="*/ 356 w 410"/>
                <a:gd name="T61" fmla="*/ 517 h 629"/>
                <a:gd name="T62" fmla="*/ 305 w 410"/>
                <a:gd name="T63" fmla="*/ 562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0" h="629">
                  <a:moveTo>
                    <a:pt x="275" y="629"/>
                  </a:moveTo>
                  <a:cubicBezTo>
                    <a:pt x="290" y="553"/>
                    <a:pt x="290" y="553"/>
                    <a:pt x="290" y="553"/>
                  </a:cubicBezTo>
                  <a:cubicBezTo>
                    <a:pt x="340" y="509"/>
                    <a:pt x="340" y="509"/>
                    <a:pt x="340" y="509"/>
                  </a:cubicBezTo>
                  <a:cubicBezTo>
                    <a:pt x="359" y="277"/>
                    <a:pt x="359" y="277"/>
                    <a:pt x="359" y="277"/>
                  </a:cubicBezTo>
                  <a:cubicBezTo>
                    <a:pt x="363" y="217"/>
                    <a:pt x="363" y="217"/>
                    <a:pt x="363" y="217"/>
                  </a:cubicBezTo>
                  <a:cubicBezTo>
                    <a:pt x="363" y="124"/>
                    <a:pt x="287" y="48"/>
                    <a:pt x="194" y="48"/>
                  </a:cubicBezTo>
                  <a:cubicBezTo>
                    <a:pt x="170" y="48"/>
                    <a:pt x="170" y="48"/>
                    <a:pt x="170" y="48"/>
                  </a:cubicBezTo>
                  <a:cubicBezTo>
                    <a:pt x="120" y="48"/>
                    <a:pt x="74" y="70"/>
                    <a:pt x="42" y="108"/>
                  </a:cubicBezTo>
                  <a:cubicBezTo>
                    <a:pt x="37" y="114"/>
                    <a:pt x="37" y="114"/>
                    <a:pt x="37" y="114"/>
                  </a:cubicBezTo>
                  <a:cubicBezTo>
                    <a:pt x="0" y="84"/>
                    <a:pt x="0" y="84"/>
                    <a:pt x="0" y="84"/>
                  </a:cubicBezTo>
                  <a:cubicBezTo>
                    <a:pt x="6" y="78"/>
                    <a:pt x="6" y="78"/>
                    <a:pt x="6" y="78"/>
                  </a:cubicBezTo>
                  <a:cubicBezTo>
                    <a:pt x="46" y="29"/>
                    <a:pt x="106" y="0"/>
                    <a:pt x="170" y="0"/>
                  </a:cubicBezTo>
                  <a:cubicBezTo>
                    <a:pt x="194" y="0"/>
                    <a:pt x="194" y="0"/>
                    <a:pt x="194" y="0"/>
                  </a:cubicBezTo>
                  <a:cubicBezTo>
                    <a:pt x="313" y="0"/>
                    <a:pt x="410" y="98"/>
                    <a:pt x="410" y="218"/>
                  </a:cubicBezTo>
                  <a:cubicBezTo>
                    <a:pt x="407" y="280"/>
                    <a:pt x="407" y="280"/>
                    <a:pt x="407" y="280"/>
                  </a:cubicBezTo>
                  <a:cubicBezTo>
                    <a:pt x="386" y="532"/>
                    <a:pt x="386" y="532"/>
                    <a:pt x="386" y="532"/>
                  </a:cubicBezTo>
                  <a:lnTo>
                    <a:pt x="275" y="629"/>
                  </a:lnTo>
                  <a:close/>
                  <a:moveTo>
                    <a:pt x="305" y="562"/>
                  </a:moveTo>
                  <a:cubicBezTo>
                    <a:pt x="301" y="585"/>
                    <a:pt x="301" y="585"/>
                    <a:pt x="301" y="585"/>
                  </a:cubicBezTo>
                  <a:cubicBezTo>
                    <a:pt x="370" y="524"/>
                    <a:pt x="370" y="524"/>
                    <a:pt x="370" y="524"/>
                  </a:cubicBezTo>
                  <a:cubicBezTo>
                    <a:pt x="390" y="279"/>
                    <a:pt x="390" y="279"/>
                    <a:pt x="390" y="279"/>
                  </a:cubicBezTo>
                  <a:cubicBezTo>
                    <a:pt x="394" y="218"/>
                    <a:pt x="394" y="218"/>
                    <a:pt x="394" y="218"/>
                  </a:cubicBezTo>
                  <a:cubicBezTo>
                    <a:pt x="394" y="107"/>
                    <a:pt x="304" y="17"/>
                    <a:pt x="194" y="17"/>
                  </a:cubicBezTo>
                  <a:cubicBezTo>
                    <a:pt x="170" y="17"/>
                    <a:pt x="170" y="17"/>
                    <a:pt x="170" y="17"/>
                  </a:cubicBezTo>
                  <a:cubicBezTo>
                    <a:pt x="114" y="17"/>
                    <a:pt x="61" y="40"/>
                    <a:pt x="24" y="82"/>
                  </a:cubicBezTo>
                  <a:cubicBezTo>
                    <a:pt x="35" y="91"/>
                    <a:pt x="35" y="91"/>
                    <a:pt x="35" y="91"/>
                  </a:cubicBezTo>
                  <a:cubicBezTo>
                    <a:pt x="69" y="53"/>
                    <a:pt x="118" y="31"/>
                    <a:pt x="170" y="31"/>
                  </a:cubicBezTo>
                  <a:cubicBezTo>
                    <a:pt x="194" y="31"/>
                    <a:pt x="194" y="31"/>
                    <a:pt x="194" y="31"/>
                  </a:cubicBezTo>
                  <a:cubicBezTo>
                    <a:pt x="296" y="31"/>
                    <a:pt x="380" y="115"/>
                    <a:pt x="380" y="217"/>
                  </a:cubicBezTo>
                  <a:cubicBezTo>
                    <a:pt x="376" y="278"/>
                    <a:pt x="376" y="278"/>
                    <a:pt x="376" y="278"/>
                  </a:cubicBezTo>
                  <a:cubicBezTo>
                    <a:pt x="356" y="517"/>
                    <a:pt x="356" y="517"/>
                    <a:pt x="356" y="517"/>
                  </a:cubicBezTo>
                  <a:lnTo>
                    <a:pt x="305"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5" name="Freeform 103">
              <a:extLst>
                <a:ext uri="{FF2B5EF4-FFF2-40B4-BE49-F238E27FC236}">
                  <a16:creationId xmlns:a16="http://schemas.microsoft.com/office/drawing/2014/main" id="{CE32938E-8ACF-D45D-6C5A-3157D3392850}"/>
                </a:ext>
              </a:extLst>
            </p:cNvPr>
            <p:cNvSpPr>
              <a:spLocks/>
            </p:cNvSpPr>
            <p:nvPr/>
          </p:nvSpPr>
          <p:spPr bwMode="auto">
            <a:xfrm>
              <a:off x="2448" y="2200"/>
              <a:ext cx="31" cy="128"/>
            </a:xfrm>
            <a:custGeom>
              <a:avLst/>
              <a:gdLst>
                <a:gd name="T0" fmla="*/ 96 w 96"/>
                <a:gd name="T1" fmla="*/ 0 h 396"/>
                <a:gd name="T2" fmla="*/ 65 w 96"/>
                <a:gd name="T3" fmla="*/ 0 h 396"/>
                <a:gd name="T4" fmla="*/ 0 w 96"/>
                <a:gd name="T5" fmla="*/ 332 h 396"/>
                <a:gd name="T6" fmla="*/ 15 w 96"/>
                <a:gd name="T7" fmla="*/ 386 h 396"/>
                <a:gd name="T8" fmla="*/ 17 w 96"/>
                <a:gd name="T9" fmla="*/ 396 h 396"/>
                <a:gd name="T10" fmla="*/ 67 w 96"/>
                <a:gd name="T11" fmla="*/ 145 h 396"/>
                <a:gd name="T12" fmla="*/ 68 w 96"/>
                <a:gd name="T13" fmla="*/ 139 h 396"/>
                <a:gd name="T14" fmla="*/ 63 w 96"/>
                <a:gd name="T15" fmla="*/ 144 h 396"/>
                <a:gd name="T16" fmla="*/ 42 w 96"/>
                <a:gd name="T17" fmla="*/ 121 h 396"/>
                <a:gd name="T18" fmla="*/ 78 w 96"/>
                <a:gd name="T19" fmla="*/ 89 h 396"/>
                <a:gd name="T20" fmla="*/ 96 w 96"/>
                <a:gd name="T21"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396">
                  <a:moveTo>
                    <a:pt x="96" y="0"/>
                  </a:moveTo>
                  <a:cubicBezTo>
                    <a:pt x="65" y="0"/>
                    <a:pt x="65" y="0"/>
                    <a:pt x="65" y="0"/>
                  </a:cubicBezTo>
                  <a:cubicBezTo>
                    <a:pt x="0" y="332"/>
                    <a:pt x="0" y="332"/>
                    <a:pt x="0" y="332"/>
                  </a:cubicBezTo>
                  <a:cubicBezTo>
                    <a:pt x="6" y="350"/>
                    <a:pt x="11" y="368"/>
                    <a:pt x="15" y="386"/>
                  </a:cubicBezTo>
                  <a:cubicBezTo>
                    <a:pt x="16" y="389"/>
                    <a:pt x="17" y="393"/>
                    <a:pt x="17" y="396"/>
                  </a:cubicBezTo>
                  <a:cubicBezTo>
                    <a:pt x="67" y="145"/>
                    <a:pt x="67" y="145"/>
                    <a:pt x="67" y="145"/>
                  </a:cubicBezTo>
                  <a:cubicBezTo>
                    <a:pt x="68" y="139"/>
                    <a:pt x="68" y="139"/>
                    <a:pt x="68" y="139"/>
                  </a:cubicBezTo>
                  <a:cubicBezTo>
                    <a:pt x="63" y="144"/>
                    <a:pt x="63" y="144"/>
                    <a:pt x="63" y="144"/>
                  </a:cubicBezTo>
                  <a:cubicBezTo>
                    <a:pt x="42" y="121"/>
                    <a:pt x="42" y="121"/>
                    <a:pt x="42" y="121"/>
                  </a:cubicBezTo>
                  <a:cubicBezTo>
                    <a:pt x="78" y="89"/>
                    <a:pt x="78" y="89"/>
                    <a:pt x="78" y="89"/>
                  </a:cubicBez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6" name="Freeform 104">
              <a:extLst>
                <a:ext uri="{FF2B5EF4-FFF2-40B4-BE49-F238E27FC236}">
                  <a16:creationId xmlns:a16="http://schemas.microsoft.com/office/drawing/2014/main" id="{82518DBA-629A-6CB8-D115-46E8F55B9593}"/>
                </a:ext>
              </a:extLst>
            </p:cNvPr>
            <p:cNvSpPr>
              <a:spLocks noEditPoints="1"/>
            </p:cNvSpPr>
            <p:nvPr/>
          </p:nvSpPr>
          <p:spPr bwMode="auto">
            <a:xfrm>
              <a:off x="2445" y="2197"/>
              <a:ext cx="38" cy="145"/>
            </a:xfrm>
            <a:custGeom>
              <a:avLst/>
              <a:gdLst>
                <a:gd name="T0" fmla="*/ 27 w 115"/>
                <a:gd name="T1" fmla="*/ 446 h 446"/>
                <a:gd name="T2" fmla="*/ 17 w 115"/>
                <a:gd name="T3" fmla="*/ 402 h 446"/>
                <a:gd name="T4" fmla="*/ 16 w 115"/>
                <a:gd name="T5" fmla="*/ 397 h 446"/>
                <a:gd name="T6" fmla="*/ 1 w 115"/>
                <a:gd name="T7" fmla="*/ 344 h 446"/>
                <a:gd name="T8" fmla="*/ 0 w 115"/>
                <a:gd name="T9" fmla="*/ 341 h 446"/>
                <a:gd name="T10" fmla="*/ 42 w 115"/>
                <a:gd name="T11" fmla="*/ 131 h 446"/>
                <a:gd name="T12" fmla="*/ 43 w 115"/>
                <a:gd name="T13" fmla="*/ 126 h 446"/>
                <a:gd name="T14" fmla="*/ 67 w 115"/>
                <a:gd name="T15" fmla="*/ 0 h 446"/>
                <a:gd name="T16" fmla="*/ 115 w 115"/>
                <a:gd name="T17" fmla="*/ 0 h 446"/>
                <a:gd name="T18" fmla="*/ 94 w 115"/>
                <a:gd name="T19" fmla="*/ 103 h 446"/>
                <a:gd name="T20" fmla="*/ 63 w 115"/>
                <a:gd name="T21" fmla="*/ 130 h 446"/>
                <a:gd name="T22" fmla="*/ 72 w 115"/>
                <a:gd name="T23" fmla="*/ 141 h 446"/>
                <a:gd name="T24" fmla="*/ 90 w 115"/>
                <a:gd name="T25" fmla="*/ 126 h 446"/>
                <a:gd name="T26" fmla="*/ 27 w 115"/>
                <a:gd name="T27" fmla="*/ 446 h 446"/>
                <a:gd name="T28" fmla="*/ 17 w 115"/>
                <a:gd name="T29" fmla="*/ 340 h 446"/>
                <a:gd name="T30" fmla="*/ 26 w 115"/>
                <a:gd name="T31" fmla="*/ 367 h 446"/>
                <a:gd name="T32" fmla="*/ 66 w 115"/>
                <a:gd name="T33" fmla="*/ 159 h 446"/>
                <a:gd name="T34" fmla="*/ 55 w 115"/>
                <a:gd name="T35" fmla="*/ 147 h 446"/>
                <a:gd name="T36" fmla="*/ 17 w 115"/>
                <a:gd name="T37" fmla="*/ 340 h 446"/>
                <a:gd name="T38" fmla="*/ 81 w 115"/>
                <a:gd name="T39" fmla="*/ 17 h 446"/>
                <a:gd name="T40" fmla="*/ 63 w 115"/>
                <a:gd name="T41" fmla="*/ 108 h 446"/>
                <a:gd name="T42" fmla="*/ 79 w 115"/>
                <a:gd name="T43" fmla="*/ 94 h 446"/>
                <a:gd name="T44" fmla="*/ 95 w 115"/>
                <a:gd name="T45" fmla="*/ 17 h 446"/>
                <a:gd name="T46" fmla="*/ 81 w 115"/>
                <a:gd name="T47" fmla="*/ 17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46">
                  <a:moveTo>
                    <a:pt x="27" y="446"/>
                  </a:moveTo>
                  <a:cubicBezTo>
                    <a:pt x="17" y="402"/>
                    <a:pt x="17" y="402"/>
                    <a:pt x="17" y="402"/>
                  </a:cubicBezTo>
                  <a:cubicBezTo>
                    <a:pt x="17" y="401"/>
                    <a:pt x="17" y="399"/>
                    <a:pt x="16" y="397"/>
                  </a:cubicBezTo>
                  <a:cubicBezTo>
                    <a:pt x="12" y="379"/>
                    <a:pt x="7" y="362"/>
                    <a:pt x="1" y="344"/>
                  </a:cubicBezTo>
                  <a:cubicBezTo>
                    <a:pt x="0" y="341"/>
                    <a:pt x="0" y="341"/>
                    <a:pt x="0" y="341"/>
                  </a:cubicBezTo>
                  <a:cubicBezTo>
                    <a:pt x="42" y="131"/>
                    <a:pt x="42" y="131"/>
                    <a:pt x="42" y="131"/>
                  </a:cubicBezTo>
                  <a:cubicBezTo>
                    <a:pt x="43" y="126"/>
                    <a:pt x="43" y="126"/>
                    <a:pt x="43" y="126"/>
                  </a:cubicBezTo>
                  <a:cubicBezTo>
                    <a:pt x="67" y="0"/>
                    <a:pt x="67" y="0"/>
                    <a:pt x="67" y="0"/>
                  </a:cubicBezTo>
                  <a:cubicBezTo>
                    <a:pt x="115" y="0"/>
                    <a:pt x="115" y="0"/>
                    <a:pt x="115" y="0"/>
                  </a:cubicBezTo>
                  <a:cubicBezTo>
                    <a:pt x="94" y="103"/>
                    <a:pt x="94" y="103"/>
                    <a:pt x="94" y="103"/>
                  </a:cubicBezTo>
                  <a:cubicBezTo>
                    <a:pt x="63" y="130"/>
                    <a:pt x="63" y="130"/>
                    <a:pt x="63" y="130"/>
                  </a:cubicBezTo>
                  <a:cubicBezTo>
                    <a:pt x="72" y="141"/>
                    <a:pt x="72" y="141"/>
                    <a:pt x="72" y="141"/>
                  </a:cubicBezTo>
                  <a:cubicBezTo>
                    <a:pt x="90" y="126"/>
                    <a:pt x="90" y="126"/>
                    <a:pt x="90" y="126"/>
                  </a:cubicBezTo>
                  <a:lnTo>
                    <a:pt x="27" y="446"/>
                  </a:lnTo>
                  <a:close/>
                  <a:moveTo>
                    <a:pt x="17" y="340"/>
                  </a:moveTo>
                  <a:cubicBezTo>
                    <a:pt x="20" y="349"/>
                    <a:pt x="23" y="358"/>
                    <a:pt x="26" y="367"/>
                  </a:cubicBezTo>
                  <a:cubicBezTo>
                    <a:pt x="66" y="159"/>
                    <a:pt x="66" y="159"/>
                    <a:pt x="66" y="159"/>
                  </a:cubicBezTo>
                  <a:cubicBezTo>
                    <a:pt x="55" y="147"/>
                    <a:pt x="55" y="147"/>
                    <a:pt x="55" y="147"/>
                  </a:cubicBezTo>
                  <a:lnTo>
                    <a:pt x="17" y="340"/>
                  </a:lnTo>
                  <a:close/>
                  <a:moveTo>
                    <a:pt x="81" y="17"/>
                  </a:moveTo>
                  <a:cubicBezTo>
                    <a:pt x="63" y="108"/>
                    <a:pt x="63" y="108"/>
                    <a:pt x="63" y="108"/>
                  </a:cubicBezTo>
                  <a:cubicBezTo>
                    <a:pt x="79" y="94"/>
                    <a:pt x="79" y="94"/>
                    <a:pt x="79" y="94"/>
                  </a:cubicBezTo>
                  <a:cubicBezTo>
                    <a:pt x="95" y="17"/>
                    <a:pt x="95" y="17"/>
                    <a:pt x="95" y="17"/>
                  </a:cubicBezTo>
                  <a:lnTo>
                    <a:pt x="8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7" name="Freeform 105">
              <a:extLst>
                <a:ext uri="{FF2B5EF4-FFF2-40B4-BE49-F238E27FC236}">
                  <a16:creationId xmlns:a16="http://schemas.microsoft.com/office/drawing/2014/main" id="{4186ED0A-117F-7148-23BC-DDE8F9DDE1D7}"/>
                </a:ext>
              </a:extLst>
            </p:cNvPr>
            <p:cNvSpPr>
              <a:spLocks/>
            </p:cNvSpPr>
            <p:nvPr/>
          </p:nvSpPr>
          <p:spPr bwMode="auto">
            <a:xfrm>
              <a:off x="2116" y="2308"/>
              <a:ext cx="341" cy="225"/>
            </a:xfrm>
            <a:custGeom>
              <a:avLst/>
              <a:gdLst>
                <a:gd name="T0" fmla="*/ 1034 w 1046"/>
                <a:gd name="T1" fmla="*/ 64 h 694"/>
                <a:gd name="T2" fmla="*/ 1032 w 1046"/>
                <a:gd name="T3" fmla="*/ 54 h 694"/>
                <a:gd name="T4" fmla="*/ 1017 w 1046"/>
                <a:gd name="T5" fmla="*/ 0 h 694"/>
                <a:gd name="T6" fmla="*/ 1004 w 1046"/>
                <a:gd name="T7" fmla="*/ 67 h 694"/>
                <a:gd name="T8" fmla="*/ 1014 w 1046"/>
                <a:gd name="T9" fmla="*/ 138 h 694"/>
                <a:gd name="T10" fmla="*/ 1014 w 1046"/>
                <a:gd name="T11" fmla="*/ 144 h 694"/>
                <a:gd name="T12" fmla="*/ 1015 w 1046"/>
                <a:gd name="T13" fmla="*/ 171 h 694"/>
                <a:gd name="T14" fmla="*/ 871 w 1046"/>
                <a:gd name="T15" fmla="*/ 519 h 694"/>
                <a:gd name="T16" fmla="*/ 523 w 1046"/>
                <a:gd name="T17" fmla="*/ 663 h 694"/>
                <a:gd name="T18" fmla="*/ 175 w 1046"/>
                <a:gd name="T19" fmla="*/ 519 h 694"/>
                <a:gd name="T20" fmla="*/ 31 w 1046"/>
                <a:gd name="T21" fmla="*/ 171 h 694"/>
                <a:gd name="T22" fmla="*/ 32 w 1046"/>
                <a:gd name="T23" fmla="*/ 144 h 694"/>
                <a:gd name="T24" fmla="*/ 32 w 1046"/>
                <a:gd name="T25" fmla="*/ 138 h 694"/>
                <a:gd name="T26" fmla="*/ 42 w 1046"/>
                <a:gd name="T27" fmla="*/ 67 h 694"/>
                <a:gd name="T28" fmla="*/ 29 w 1046"/>
                <a:gd name="T29" fmla="*/ 0 h 694"/>
                <a:gd name="T30" fmla="*/ 14 w 1046"/>
                <a:gd name="T31" fmla="*/ 54 h 694"/>
                <a:gd name="T32" fmla="*/ 12 w 1046"/>
                <a:gd name="T33" fmla="*/ 65 h 694"/>
                <a:gd name="T34" fmla="*/ 0 w 1046"/>
                <a:gd name="T35" fmla="*/ 171 h 694"/>
                <a:gd name="T36" fmla="*/ 523 w 1046"/>
                <a:gd name="T37" fmla="*/ 694 h 694"/>
                <a:gd name="T38" fmla="*/ 1046 w 1046"/>
                <a:gd name="T39" fmla="*/ 171 h 694"/>
                <a:gd name="T40" fmla="*/ 1034 w 1046"/>
                <a:gd name="T41" fmla="*/ 6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6" h="694">
                  <a:moveTo>
                    <a:pt x="1034" y="64"/>
                  </a:moveTo>
                  <a:cubicBezTo>
                    <a:pt x="1034" y="61"/>
                    <a:pt x="1033" y="57"/>
                    <a:pt x="1032" y="54"/>
                  </a:cubicBezTo>
                  <a:cubicBezTo>
                    <a:pt x="1028" y="36"/>
                    <a:pt x="1023" y="18"/>
                    <a:pt x="1017" y="0"/>
                  </a:cubicBezTo>
                  <a:cubicBezTo>
                    <a:pt x="1004" y="67"/>
                    <a:pt x="1004" y="67"/>
                    <a:pt x="1004" y="67"/>
                  </a:cubicBezTo>
                  <a:cubicBezTo>
                    <a:pt x="1009" y="90"/>
                    <a:pt x="1012" y="114"/>
                    <a:pt x="1014" y="138"/>
                  </a:cubicBezTo>
                  <a:cubicBezTo>
                    <a:pt x="1014" y="140"/>
                    <a:pt x="1014" y="142"/>
                    <a:pt x="1014" y="144"/>
                  </a:cubicBezTo>
                  <a:cubicBezTo>
                    <a:pt x="1015" y="153"/>
                    <a:pt x="1015" y="162"/>
                    <a:pt x="1015" y="171"/>
                  </a:cubicBezTo>
                  <a:cubicBezTo>
                    <a:pt x="1015" y="307"/>
                    <a:pt x="960" y="430"/>
                    <a:pt x="871" y="519"/>
                  </a:cubicBezTo>
                  <a:cubicBezTo>
                    <a:pt x="782" y="608"/>
                    <a:pt x="659" y="663"/>
                    <a:pt x="523" y="663"/>
                  </a:cubicBezTo>
                  <a:cubicBezTo>
                    <a:pt x="387" y="663"/>
                    <a:pt x="264" y="608"/>
                    <a:pt x="175" y="519"/>
                  </a:cubicBezTo>
                  <a:cubicBezTo>
                    <a:pt x="86" y="430"/>
                    <a:pt x="31" y="307"/>
                    <a:pt x="31" y="171"/>
                  </a:cubicBezTo>
                  <a:cubicBezTo>
                    <a:pt x="31" y="162"/>
                    <a:pt x="31" y="153"/>
                    <a:pt x="32" y="144"/>
                  </a:cubicBezTo>
                  <a:cubicBezTo>
                    <a:pt x="32" y="142"/>
                    <a:pt x="32" y="140"/>
                    <a:pt x="32" y="138"/>
                  </a:cubicBezTo>
                  <a:cubicBezTo>
                    <a:pt x="34" y="114"/>
                    <a:pt x="37" y="90"/>
                    <a:pt x="42" y="67"/>
                  </a:cubicBezTo>
                  <a:cubicBezTo>
                    <a:pt x="29" y="0"/>
                    <a:pt x="29" y="0"/>
                    <a:pt x="29" y="0"/>
                  </a:cubicBezTo>
                  <a:cubicBezTo>
                    <a:pt x="23" y="18"/>
                    <a:pt x="18" y="36"/>
                    <a:pt x="14" y="54"/>
                  </a:cubicBezTo>
                  <a:cubicBezTo>
                    <a:pt x="13" y="58"/>
                    <a:pt x="12" y="61"/>
                    <a:pt x="12" y="65"/>
                  </a:cubicBezTo>
                  <a:cubicBezTo>
                    <a:pt x="4" y="99"/>
                    <a:pt x="0" y="135"/>
                    <a:pt x="0" y="171"/>
                  </a:cubicBezTo>
                  <a:cubicBezTo>
                    <a:pt x="0" y="460"/>
                    <a:pt x="234" y="694"/>
                    <a:pt x="523" y="694"/>
                  </a:cubicBezTo>
                  <a:cubicBezTo>
                    <a:pt x="812" y="694"/>
                    <a:pt x="1046" y="460"/>
                    <a:pt x="1046" y="171"/>
                  </a:cubicBezTo>
                  <a:cubicBezTo>
                    <a:pt x="1046" y="134"/>
                    <a:pt x="1042" y="99"/>
                    <a:pt x="103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8" name="Freeform 106">
              <a:extLst>
                <a:ext uri="{FF2B5EF4-FFF2-40B4-BE49-F238E27FC236}">
                  <a16:creationId xmlns:a16="http://schemas.microsoft.com/office/drawing/2014/main" id="{23550933-1DBC-02E3-5681-9A32C888BC5F}"/>
                </a:ext>
              </a:extLst>
            </p:cNvPr>
            <p:cNvSpPr>
              <a:spLocks noEditPoints="1"/>
            </p:cNvSpPr>
            <p:nvPr/>
          </p:nvSpPr>
          <p:spPr bwMode="auto">
            <a:xfrm>
              <a:off x="2114" y="2297"/>
              <a:ext cx="346" cy="238"/>
            </a:xfrm>
            <a:custGeom>
              <a:avLst/>
              <a:gdLst>
                <a:gd name="T0" fmla="*/ 531 w 1062"/>
                <a:gd name="T1" fmla="*/ 734 h 734"/>
                <a:gd name="T2" fmla="*/ 0 w 1062"/>
                <a:gd name="T3" fmla="*/ 203 h 734"/>
                <a:gd name="T4" fmla="*/ 12 w 1062"/>
                <a:gd name="T5" fmla="*/ 95 h 734"/>
                <a:gd name="T6" fmla="*/ 12 w 1062"/>
                <a:gd name="T7" fmla="*/ 91 h 734"/>
                <a:gd name="T8" fmla="*/ 14 w 1062"/>
                <a:gd name="T9" fmla="*/ 85 h 734"/>
                <a:gd name="T10" fmla="*/ 29 w 1062"/>
                <a:gd name="T11" fmla="*/ 30 h 734"/>
                <a:gd name="T12" fmla="*/ 39 w 1062"/>
                <a:gd name="T13" fmla="*/ 1 h 734"/>
                <a:gd name="T14" fmla="*/ 59 w 1062"/>
                <a:gd name="T15" fmla="*/ 99 h 734"/>
                <a:gd name="T16" fmla="*/ 58 w 1062"/>
                <a:gd name="T17" fmla="*/ 101 h 734"/>
                <a:gd name="T18" fmla="*/ 49 w 1062"/>
                <a:gd name="T19" fmla="*/ 170 h 734"/>
                <a:gd name="T20" fmla="*/ 48 w 1062"/>
                <a:gd name="T21" fmla="*/ 177 h 734"/>
                <a:gd name="T22" fmla="*/ 47 w 1062"/>
                <a:gd name="T23" fmla="*/ 203 h 734"/>
                <a:gd name="T24" fmla="*/ 189 w 1062"/>
                <a:gd name="T25" fmla="*/ 545 h 734"/>
                <a:gd name="T26" fmla="*/ 531 w 1062"/>
                <a:gd name="T27" fmla="*/ 687 h 734"/>
                <a:gd name="T28" fmla="*/ 873 w 1062"/>
                <a:gd name="T29" fmla="*/ 545 h 734"/>
                <a:gd name="T30" fmla="*/ 1015 w 1062"/>
                <a:gd name="T31" fmla="*/ 203 h 734"/>
                <a:gd name="T32" fmla="*/ 1014 w 1062"/>
                <a:gd name="T33" fmla="*/ 177 h 734"/>
                <a:gd name="T34" fmla="*/ 1013 w 1062"/>
                <a:gd name="T35" fmla="*/ 170 h 734"/>
                <a:gd name="T36" fmla="*/ 1004 w 1062"/>
                <a:gd name="T37" fmla="*/ 100 h 734"/>
                <a:gd name="T38" fmla="*/ 1003 w 1062"/>
                <a:gd name="T39" fmla="*/ 99 h 734"/>
                <a:gd name="T40" fmla="*/ 1023 w 1062"/>
                <a:gd name="T41" fmla="*/ 0 h 734"/>
                <a:gd name="T42" fmla="*/ 1033 w 1062"/>
                <a:gd name="T43" fmla="*/ 29 h 734"/>
                <a:gd name="T44" fmla="*/ 1048 w 1062"/>
                <a:gd name="T45" fmla="*/ 84 h 734"/>
                <a:gd name="T46" fmla="*/ 1050 w 1062"/>
                <a:gd name="T47" fmla="*/ 90 h 734"/>
                <a:gd name="T48" fmla="*/ 1050 w 1062"/>
                <a:gd name="T49" fmla="*/ 94 h 734"/>
                <a:gd name="T50" fmla="*/ 1062 w 1062"/>
                <a:gd name="T51" fmla="*/ 203 h 734"/>
                <a:gd name="T52" fmla="*/ 531 w 1062"/>
                <a:gd name="T53" fmla="*/ 734 h 734"/>
                <a:gd name="T54" fmla="*/ 35 w 1062"/>
                <a:gd name="T55" fmla="*/ 66 h 734"/>
                <a:gd name="T56" fmla="*/ 30 w 1062"/>
                <a:gd name="T57" fmla="*/ 88 h 734"/>
                <a:gd name="T58" fmla="*/ 29 w 1062"/>
                <a:gd name="T59" fmla="*/ 94 h 734"/>
                <a:gd name="T60" fmla="*/ 28 w 1062"/>
                <a:gd name="T61" fmla="*/ 98 h 734"/>
                <a:gd name="T62" fmla="*/ 17 w 1062"/>
                <a:gd name="T63" fmla="*/ 203 h 734"/>
                <a:gd name="T64" fmla="*/ 531 w 1062"/>
                <a:gd name="T65" fmla="*/ 717 h 734"/>
                <a:gd name="T66" fmla="*/ 1045 w 1062"/>
                <a:gd name="T67" fmla="*/ 203 h 734"/>
                <a:gd name="T68" fmla="*/ 1034 w 1062"/>
                <a:gd name="T69" fmla="*/ 98 h 734"/>
                <a:gd name="T70" fmla="*/ 1033 w 1062"/>
                <a:gd name="T71" fmla="*/ 93 h 734"/>
                <a:gd name="T72" fmla="*/ 1032 w 1062"/>
                <a:gd name="T73" fmla="*/ 88 h 734"/>
                <a:gd name="T74" fmla="*/ 1027 w 1062"/>
                <a:gd name="T75" fmla="*/ 65 h 734"/>
                <a:gd name="T76" fmla="*/ 1020 w 1062"/>
                <a:gd name="T77" fmla="*/ 99 h 734"/>
                <a:gd name="T78" fmla="*/ 1030 w 1062"/>
                <a:gd name="T79" fmla="*/ 169 h 734"/>
                <a:gd name="T80" fmla="*/ 1030 w 1062"/>
                <a:gd name="T81" fmla="*/ 176 h 734"/>
                <a:gd name="T82" fmla="*/ 1031 w 1062"/>
                <a:gd name="T83" fmla="*/ 203 h 734"/>
                <a:gd name="T84" fmla="*/ 885 w 1062"/>
                <a:gd name="T85" fmla="*/ 557 h 734"/>
                <a:gd name="T86" fmla="*/ 531 w 1062"/>
                <a:gd name="T87" fmla="*/ 703 h 734"/>
                <a:gd name="T88" fmla="*/ 177 w 1062"/>
                <a:gd name="T89" fmla="*/ 557 h 734"/>
                <a:gd name="T90" fmla="*/ 31 w 1062"/>
                <a:gd name="T91" fmla="*/ 203 h 734"/>
                <a:gd name="T92" fmla="*/ 32 w 1062"/>
                <a:gd name="T93" fmla="*/ 176 h 734"/>
                <a:gd name="T94" fmla="*/ 32 w 1062"/>
                <a:gd name="T95" fmla="*/ 169 h 734"/>
                <a:gd name="T96" fmla="*/ 42 w 1062"/>
                <a:gd name="T97" fmla="*/ 99 h 734"/>
                <a:gd name="T98" fmla="*/ 35 w 1062"/>
                <a:gd name="T99" fmla="*/ 66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2" h="734">
                  <a:moveTo>
                    <a:pt x="531" y="734"/>
                  </a:moveTo>
                  <a:cubicBezTo>
                    <a:pt x="238" y="734"/>
                    <a:pt x="0" y="496"/>
                    <a:pt x="0" y="203"/>
                  </a:cubicBezTo>
                  <a:cubicBezTo>
                    <a:pt x="0" y="168"/>
                    <a:pt x="4" y="131"/>
                    <a:pt x="12" y="95"/>
                  </a:cubicBezTo>
                  <a:cubicBezTo>
                    <a:pt x="12" y="91"/>
                    <a:pt x="12" y="91"/>
                    <a:pt x="12" y="91"/>
                  </a:cubicBezTo>
                  <a:cubicBezTo>
                    <a:pt x="13" y="89"/>
                    <a:pt x="13" y="87"/>
                    <a:pt x="14" y="85"/>
                  </a:cubicBezTo>
                  <a:cubicBezTo>
                    <a:pt x="18" y="67"/>
                    <a:pt x="23" y="48"/>
                    <a:pt x="29" y="30"/>
                  </a:cubicBezTo>
                  <a:cubicBezTo>
                    <a:pt x="39" y="1"/>
                    <a:pt x="39" y="1"/>
                    <a:pt x="39" y="1"/>
                  </a:cubicBezTo>
                  <a:cubicBezTo>
                    <a:pt x="59" y="99"/>
                    <a:pt x="59" y="99"/>
                    <a:pt x="59" y="99"/>
                  </a:cubicBezTo>
                  <a:cubicBezTo>
                    <a:pt x="58" y="101"/>
                    <a:pt x="58" y="101"/>
                    <a:pt x="58" y="101"/>
                  </a:cubicBezTo>
                  <a:cubicBezTo>
                    <a:pt x="53" y="124"/>
                    <a:pt x="50" y="147"/>
                    <a:pt x="49" y="170"/>
                  </a:cubicBezTo>
                  <a:cubicBezTo>
                    <a:pt x="48" y="177"/>
                    <a:pt x="48" y="177"/>
                    <a:pt x="48" y="177"/>
                  </a:cubicBezTo>
                  <a:cubicBezTo>
                    <a:pt x="48" y="185"/>
                    <a:pt x="47" y="194"/>
                    <a:pt x="47" y="203"/>
                  </a:cubicBezTo>
                  <a:cubicBezTo>
                    <a:pt x="47" y="332"/>
                    <a:pt x="98" y="454"/>
                    <a:pt x="189" y="545"/>
                  </a:cubicBezTo>
                  <a:cubicBezTo>
                    <a:pt x="280" y="636"/>
                    <a:pt x="402" y="687"/>
                    <a:pt x="531" y="687"/>
                  </a:cubicBezTo>
                  <a:cubicBezTo>
                    <a:pt x="660" y="687"/>
                    <a:pt x="782" y="636"/>
                    <a:pt x="873" y="545"/>
                  </a:cubicBezTo>
                  <a:cubicBezTo>
                    <a:pt x="964" y="454"/>
                    <a:pt x="1015" y="332"/>
                    <a:pt x="1015" y="203"/>
                  </a:cubicBezTo>
                  <a:cubicBezTo>
                    <a:pt x="1015" y="194"/>
                    <a:pt x="1014" y="185"/>
                    <a:pt x="1014" y="177"/>
                  </a:cubicBezTo>
                  <a:cubicBezTo>
                    <a:pt x="1013" y="170"/>
                    <a:pt x="1013" y="170"/>
                    <a:pt x="1013" y="170"/>
                  </a:cubicBezTo>
                  <a:cubicBezTo>
                    <a:pt x="1012" y="147"/>
                    <a:pt x="1009" y="124"/>
                    <a:pt x="1004" y="100"/>
                  </a:cubicBezTo>
                  <a:cubicBezTo>
                    <a:pt x="1003" y="99"/>
                    <a:pt x="1003" y="99"/>
                    <a:pt x="1003" y="99"/>
                  </a:cubicBezTo>
                  <a:cubicBezTo>
                    <a:pt x="1023" y="0"/>
                    <a:pt x="1023" y="0"/>
                    <a:pt x="1023" y="0"/>
                  </a:cubicBezTo>
                  <a:cubicBezTo>
                    <a:pt x="1033" y="29"/>
                    <a:pt x="1033" y="29"/>
                    <a:pt x="1033" y="29"/>
                  </a:cubicBezTo>
                  <a:cubicBezTo>
                    <a:pt x="1039" y="48"/>
                    <a:pt x="1044" y="66"/>
                    <a:pt x="1048" y="84"/>
                  </a:cubicBezTo>
                  <a:cubicBezTo>
                    <a:pt x="1049" y="86"/>
                    <a:pt x="1049" y="88"/>
                    <a:pt x="1050" y="90"/>
                  </a:cubicBezTo>
                  <a:cubicBezTo>
                    <a:pt x="1050" y="94"/>
                    <a:pt x="1050" y="94"/>
                    <a:pt x="1050" y="94"/>
                  </a:cubicBezTo>
                  <a:cubicBezTo>
                    <a:pt x="1058" y="131"/>
                    <a:pt x="1062" y="167"/>
                    <a:pt x="1062" y="203"/>
                  </a:cubicBezTo>
                  <a:cubicBezTo>
                    <a:pt x="1062" y="496"/>
                    <a:pt x="824" y="734"/>
                    <a:pt x="531" y="734"/>
                  </a:cubicBezTo>
                  <a:close/>
                  <a:moveTo>
                    <a:pt x="35" y="66"/>
                  </a:moveTo>
                  <a:cubicBezTo>
                    <a:pt x="33" y="73"/>
                    <a:pt x="31" y="81"/>
                    <a:pt x="30" y="88"/>
                  </a:cubicBezTo>
                  <a:cubicBezTo>
                    <a:pt x="29" y="90"/>
                    <a:pt x="29" y="92"/>
                    <a:pt x="29" y="94"/>
                  </a:cubicBezTo>
                  <a:cubicBezTo>
                    <a:pt x="28" y="98"/>
                    <a:pt x="28" y="98"/>
                    <a:pt x="28" y="98"/>
                  </a:cubicBezTo>
                  <a:cubicBezTo>
                    <a:pt x="20" y="133"/>
                    <a:pt x="17" y="169"/>
                    <a:pt x="17" y="203"/>
                  </a:cubicBezTo>
                  <a:cubicBezTo>
                    <a:pt x="17" y="487"/>
                    <a:pt x="247" y="717"/>
                    <a:pt x="531" y="717"/>
                  </a:cubicBezTo>
                  <a:cubicBezTo>
                    <a:pt x="815" y="717"/>
                    <a:pt x="1045" y="487"/>
                    <a:pt x="1045" y="203"/>
                  </a:cubicBezTo>
                  <a:cubicBezTo>
                    <a:pt x="1045" y="168"/>
                    <a:pt x="1042" y="133"/>
                    <a:pt x="1034" y="98"/>
                  </a:cubicBezTo>
                  <a:cubicBezTo>
                    <a:pt x="1033" y="93"/>
                    <a:pt x="1033" y="93"/>
                    <a:pt x="1033" y="93"/>
                  </a:cubicBezTo>
                  <a:cubicBezTo>
                    <a:pt x="1033" y="92"/>
                    <a:pt x="1033" y="90"/>
                    <a:pt x="1032" y="88"/>
                  </a:cubicBezTo>
                  <a:cubicBezTo>
                    <a:pt x="1031" y="80"/>
                    <a:pt x="1029" y="73"/>
                    <a:pt x="1027" y="65"/>
                  </a:cubicBezTo>
                  <a:cubicBezTo>
                    <a:pt x="1020" y="99"/>
                    <a:pt x="1020" y="99"/>
                    <a:pt x="1020" y="99"/>
                  </a:cubicBezTo>
                  <a:cubicBezTo>
                    <a:pt x="1025" y="122"/>
                    <a:pt x="1028" y="146"/>
                    <a:pt x="1030" y="169"/>
                  </a:cubicBezTo>
                  <a:cubicBezTo>
                    <a:pt x="1030" y="176"/>
                    <a:pt x="1030" y="176"/>
                    <a:pt x="1030" y="176"/>
                  </a:cubicBezTo>
                  <a:cubicBezTo>
                    <a:pt x="1031" y="185"/>
                    <a:pt x="1031" y="194"/>
                    <a:pt x="1031" y="203"/>
                  </a:cubicBezTo>
                  <a:cubicBezTo>
                    <a:pt x="1031" y="337"/>
                    <a:pt x="979" y="462"/>
                    <a:pt x="885" y="557"/>
                  </a:cubicBezTo>
                  <a:cubicBezTo>
                    <a:pt x="790" y="651"/>
                    <a:pt x="665" y="703"/>
                    <a:pt x="531" y="703"/>
                  </a:cubicBezTo>
                  <a:cubicBezTo>
                    <a:pt x="397" y="703"/>
                    <a:pt x="272" y="651"/>
                    <a:pt x="177" y="557"/>
                  </a:cubicBezTo>
                  <a:cubicBezTo>
                    <a:pt x="83" y="462"/>
                    <a:pt x="31" y="337"/>
                    <a:pt x="31" y="203"/>
                  </a:cubicBezTo>
                  <a:cubicBezTo>
                    <a:pt x="31" y="194"/>
                    <a:pt x="31" y="185"/>
                    <a:pt x="32" y="176"/>
                  </a:cubicBezTo>
                  <a:cubicBezTo>
                    <a:pt x="32" y="169"/>
                    <a:pt x="32" y="169"/>
                    <a:pt x="32" y="169"/>
                  </a:cubicBezTo>
                  <a:cubicBezTo>
                    <a:pt x="34" y="146"/>
                    <a:pt x="37" y="122"/>
                    <a:pt x="42" y="99"/>
                  </a:cubicBezTo>
                  <a:lnTo>
                    <a:pt x="3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69" name="Freeform 107">
              <a:extLst>
                <a:ext uri="{FF2B5EF4-FFF2-40B4-BE49-F238E27FC236}">
                  <a16:creationId xmlns:a16="http://schemas.microsoft.com/office/drawing/2014/main" id="{E24F88C4-3D01-B791-0C9B-8FBDBA897BE3}"/>
                </a:ext>
              </a:extLst>
            </p:cNvPr>
            <p:cNvSpPr>
              <a:spLocks/>
            </p:cNvSpPr>
            <p:nvPr/>
          </p:nvSpPr>
          <p:spPr bwMode="auto">
            <a:xfrm>
              <a:off x="2462" y="2229"/>
              <a:ext cx="11" cy="18"/>
            </a:xfrm>
            <a:custGeom>
              <a:avLst/>
              <a:gdLst>
                <a:gd name="T0" fmla="*/ 7 w 11"/>
                <a:gd name="T1" fmla="*/ 18 h 18"/>
                <a:gd name="T2" fmla="*/ 8 w 11"/>
                <a:gd name="T3" fmla="*/ 16 h 18"/>
                <a:gd name="T4" fmla="*/ 11 w 11"/>
                <a:gd name="T5" fmla="*/ 0 h 18"/>
                <a:gd name="T6" fmla="*/ 0 w 11"/>
                <a:gd name="T7" fmla="*/ 10 h 18"/>
                <a:gd name="T8" fmla="*/ 7 w 11"/>
                <a:gd name="T9" fmla="*/ 18 h 18"/>
              </a:gdLst>
              <a:ahLst/>
              <a:cxnLst>
                <a:cxn ang="0">
                  <a:pos x="T0" y="T1"/>
                </a:cxn>
                <a:cxn ang="0">
                  <a:pos x="T2" y="T3"/>
                </a:cxn>
                <a:cxn ang="0">
                  <a:pos x="T4" y="T5"/>
                </a:cxn>
                <a:cxn ang="0">
                  <a:pos x="T6" y="T7"/>
                </a:cxn>
                <a:cxn ang="0">
                  <a:pos x="T8" y="T9"/>
                </a:cxn>
              </a:cxnLst>
              <a:rect l="0" t="0" r="r" b="b"/>
              <a:pathLst>
                <a:path w="11" h="18">
                  <a:moveTo>
                    <a:pt x="7" y="18"/>
                  </a:moveTo>
                  <a:lnTo>
                    <a:pt x="8" y="16"/>
                  </a:lnTo>
                  <a:lnTo>
                    <a:pt x="11" y="0"/>
                  </a:lnTo>
                  <a:lnTo>
                    <a:pt x="0" y="10"/>
                  </a:ln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411" name="Content Placeholder 2" descr="Progress Diagram.">
            <a:extLst>
              <a:ext uri="{FF2B5EF4-FFF2-40B4-BE49-F238E27FC236}">
                <a16:creationId xmlns:a16="http://schemas.microsoft.com/office/drawing/2014/main" id="{023D9F64-DA41-1E58-6939-70F2D6D03EE9}"/>
              </a:ext>
            </a:extLst>
          </p:cNvPr>
          <p:cNvSpPr txBox="1">
            <a:spLocks/>
          </p:cNvSpPr>
          <p:nvPr/>
        </p:nvSpPr>
        <p:spPr>
          <a:xfrm>
            <a:off x="3863932" y="3768349"/>
            <a:ext cx="2520000" cy="2044422"/>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E154B"/>
              </a:buClr>
              <a:buSzPct val="100000"/>
              <a:buFont typeface="Arial" pitchFamily="34" charset="0"/>
              <a:buNone/>
              <a:tabLst/>
              <a:defRPr/>
            </a:pPr>
            <a:r>
              <a:rPr kumimoji="0" lang="en-US" sz="1100" b="1" i="0" u="none" strike="noStrike" kern="1200" cap="none" spc="0" normalizeH="0" baseline="0" noProof="0">
                <a:ln>
                  <a:noFill/>
                </a:ln>
                <a:solidFill>
                  <a:srgbClr val="1A1A24"/>
                </a:solidFill>
                <a:effectLst/>
                <a:uLnTx/>
                <a:uFillTx/>
                <a:latin typeface="EYInterstate Regular" panose="02000503020000020004" pitchFamily="2" charset="0"/>
                <a:ea typeface="+mn-ea"/>
                <a:cs typeface="+mn-cs"/>
              </a:rPr>
              <a:t>Onboarding, information gathering and script tailoring </a:t>
            </a:r>
            <a:endParaRPr kumimoji="0" lang="en-GB" sz="1100" b="1"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Understand the environment through information gathering of the Linux servers and database (DB) </a:t>
            </a:r>
          </a:p>
          <a:p>
            <a:pPr marL="182563" marR="0" lvl="0" indent="-182563" algn="l" defTabSz="914400" rtl="0" eaLnBrk="1" fontAlgn="auto" latinLnBrk="0" hangingPunct="1">
              <a:lnSpc>
                <a:spcPct val="100000"/>
              </a:lnSpc>
              <a:spcBef>
                <a:spcPct val="2000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Develop, test and troubleshoot scripts that will effectively meet the project requirements.</a:t>
            </a:r>
          </a:p>
        </p:txBody>
      </p:sp>
      <p:sp>
        <p:nvSpPr>
          <p:cNvPr id="413" name="Freeform: Shape 412">
            <a:extLst>
              <a:ext uri="{FF2B5EF4-FFF2-40B4-BE49-F238E27FC236}">
                <a16:creationId xmlns:a16="http://schemas.microsoft.com/office/drawing/2014/main" id="{E16B09EB-3438-1D67-78A2-409D83F22C85}"/>
              </a:ext>
            </a:extLst>
          </p:cNvPr>
          <p:cNvSpPr>
            <a:spLocks/>
          </p:cNvSpPr>
          <p:nvPr/>
        </p:nvSpPr>
        <p:spPr>
          <a:xfrm>
            <a:off x="9563191" y="1427885"/>
            <a:ext cx="1666715" cy="633029"/>
          </a:xfrm>
          <a:custGeom>
            <a:avLst/>
            <a:gdLst>
              <a:gd name="connsiteX0" fmla="*/ 1169078 w 2517798"/>
              <a:gd name="connsiteY0" fmla="*/ 810 h 956275"/>
              <a:gd name="connsiteX1" fmla="*/ 1698218 w 2517798"/>
              <a:gd name="connsiteY1" fmla="*/ 71876 h 956275"/>
              <a:gd name="connsiteX2" fmla="*/ 2319051 w 2517798"/>
              <a:gd name="connsiteY2" fmla="*/ 410970 h 956275"/>
              <a:gd name="connsiteX3" fmla="*/ 2460574 w 2517798"/>
              <a:gd name="connsiteY3" fmla="*/ 288229 h 956275"/>
              <a:gd name="connsiteX4" fmla="*/ 2515670 w 2517798"/>
              <a:gd name="connsiteY4" fmla="*/ 313006 h 956275"/>
              <a:gd name="connsiteX5" fmla="*/ 2517798 w 2517798"/>
              <a:gd name="connsiteY5" fmla="*/ 893184 h 956275"/>
              <a:gd name="connsiteX6" fmla="*/ 2446504 w 2517798"/>
              <a:gd name="connsiteY6" fmla="*/ 955608 h 956275"/>
              <a:gd name="connsiteX7" fmla="*/ 1869890 w 2517798"/>
              <a:gd name="connsiteY7" fmla="*/ 874911 h 956275"/>
              <a:gd name="connsiteX8" fmla="*/ 1852628 w 2517798"/>
              <a:gd name="connsiteY8" fmla="*/ 817846 h 956275"/>
              <a:gd name="connsiteX9" fmla="*/ 1988713 w 2517798"/>
              <a:gd name="connsiteY9" fmla="*/ 699456 h 956275"/>
              <a:gd name="connsiteX10" fmla="*/ 1643122 w 2517798"/>
              <a:gd name="connsiteY10" fmla="*/ 505682 h 956275"/>
              <a:gd name="connsiteX11" fmla="*/ 817040 w 2517798"/>
              <a:gd name="connsiteY11" fmla="*/ 491667 h 956275"/>
              <a:gd name="connsiteX12" fmla="*/ 293393 w 2517798"/>
              <a:gd name="connsiteY12" fmla="*/ 808136 h 956275"/>
              <a:gd name="connsiteX13" fmla="*/ 103277 w 2517798"/>
              <a:gd name="connsiteY13" fmla="*/ 793068 h 956275"/>
              <a:gd name="connsiteX14" fmla="*/ 65561 w 2517798"/>
              <a:gd name="connsiteY14" fmla="*/ 455074 h 956275"/>
              <a:gd name="connsiteX15" fmla="*/ 811719 w 2517798"/>
              <a:gd name="connsiteY15" fmla="*/ 48198 h 956275"/>
              <a:gd name="connsiteX16" fmla="*/ 1169078 w 2517798"/>
              <a:gd name="connsiteY16" fmla="*/ 810 h 95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7798" h="956275">
                <a:moveTo>
                  <a:pt x="1169078" y="810"/>
                </a:moveTo>
                <a:cubicBezTo>
                  <a:pt x="1362035" y="-5080"/>
                  <a:pt x="1542966" y="21412"/>
                  <a:pt x="1698218" y="71876"/>
                </a:cubicBezTo>
                <a:cubicBezTo>
                  <a:pt x="1957381" y="148314"/>
                  <a:pt x="2204603" y="319464"/>
                  <a:pt x="2319051" y="410970"/>
                </a:cubicBezTo>
                <a:lnTo>
                  <a:pt x="2460574" y="288229"/>
                </a:lnTo>
                <a:cubicBezTo>
                  <a:pt x="2490841" y="262399"/>
                  <a:pt x="2515670" y="273162"/>
                  <a:pt x="2515670" y="313006"/>
                </a:cubicBezTo>
                <a:lnTo>
                  <a:pt x="2517798" y="893184"/>
                </a:lnTo>
                <a:cubicBezTo>
                  <a:pt x="2517798" y="933029"/>
                  <a:pt x="2485402" y="961012"/>
                  <a:pt x="2446504" y="955608"/>
                </a:cubicBezTo>
                <a:lnTo>
                  <a:pt x="1869890" y="874911"/>
                </a:lnTo>
                <a:cubicBezTo>
                  <a:pt x="1830992" y="869507"/>
                  <a:pt x="1822361" y="843676"/>
                  <a:pt x="1852628" y="817846"/>
                </a:cubicBezTo>
                <a:lnTo>
                  <a:pt x="1988713" y="699456"/>
                </a:lnTo>
                <a:cubicBezTo>
                  <a:pt x="1902286" y="636986"/>
                  <a:pt x="1778142" y="556289"/>
                  <a:pt x="1643122" y="505682"/>
                </a:cubicBezTo>
                <a:cubicBezTo>
                  <a:pt x="1364569" y="401261"/>
                  <a:pt x="1065444" y="406665"/>
                  <a:pt x="817040" y="491667"/>
                </a:cubicBezTo>
                <a:cubicBezTo>
                  <a:pt x="480199" y="606851"/>
                  <a:pt x="383012" y="772642"/>
                  <a:pt x="293393" y="808136"/>
                </a:cubicBezTo>
                <a:cubicBezTo>
                  <a:pt x="231794" y="832913"/>
                  <a:pt x="159437" y="827555"/>
                  <a:pt x="103277" y="793068"/>
                </a:cubicBezTo>
                <a:cubicBezTo>
                  <a:pt x="-16610" y="720981"/>
                  <a:pt x="-36000" y="550885"/>
                  <a:pt x="65561" y="455074"/>
                </a:cubicBezTo>
                <a:cubicBezTo>
                  <a:pt x="258751" y="261346"/>
                  <a:pt x="588144" y="93402"/>
                  <a:pt x="811719" y="48198"/>
                </a:cubicBezTo>
                <a:cubicBezTo>
                  <a:pt x="933202" y="19534"/>
                  <a:pt x="1053305" y="4343"/>
                  <a:pt x="1169078" y="810"/>
                </a:cubicBezTo>
                <a:close/>
              </a:path>
            </a:pathLst>
          </a:custGeom>
          <a:solidFill>
            <a:srgbClr val="460030"/>
          </a:solidFill>
          <a:ln w="25400" cap="flat">
            <a:noFill/>
            <a:prstDash val="solid"/>
            <a:miter lim="400000"/>
          </a:ln>
          <a:effectLst/>
          <a:sp3d/>
        </p:spPr>
        <p:txBody>
          <a:bodyPr rot="0" spcFirstLastPara="1" vertOverflow="overflow" horzOverflow="overflow" vert="horz" wrap="square" lIns="38100" tIns="38100" rIns="38100" bIns="38100" numCol="1" spcCol="3810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EYInterstate Regular" panose="02000503020000020004" pitchFamily="2" charset="0"/>
              <a:ea typeface="+mn-ea"/>
              <a:cs typeface="+mn-cs"/>
            </a:endParaRPr>
          </a:p>
        </p:txBody>
      </p:sp>
      <p:sp>
        <p:nvSpPr>
          <p:cNvPr id="414" name="Freeform: Shape 413">
            <a:extLst>
              <a:ext uri="{FF2B5EF4-FFF2-40B4-BE49-F238E27FC236}">
                <a16:creationId xmlns:a16="http://schemas.microsoft.com/office/drawing/2014/main" id="{DDFCC119-6F2C-163F-51CE-9E805895F329}"/>
              </a:ext>
            </a:extLst>
          </p:cNvPr>
          <p:cNvSpPr>
            <a:spLocks/>
          </p:cNvSpPr>
          <p:nvPr/>
        </p:nvSpPr>
        <p:spPr>
          <a:xfrm>
            <a:off x="6918452" y="1427910"/>
            <a:ext cx="4348835" cy="2206630"/>
          </a:xfrm>
          <a:custGeom>
            <a:avLst/>
            <a:gdLst>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443800 w 7726630"/>
              <a:gd name="connsiteY24" fmla="*/ 1754240 h 3920548"/>
              <a:gd name="connsiteX25" fmla="*/ 3394038 w 7726630"/>
              <a:gd name="connsiteY25" fmla="*/ 1877596 h 3920548"/>
              <a:gd name="connsiteX26" fmla="*/ 3264524 w 7726630"/>
              <a:gd name="connsiteY26" fmla="*/ 1742934 h 3920548"/>
              <a:gd name="connsiteX27" fmla="*/ 2002166 w 7726630"/>
              <a:gd name="connsiteY27" fmla="*/ 626688 h 3920548"/>
              <a:gd name="connsiteX28" fmla="*/ 427389 w 7726630"/>
              <a:gd name="connsiteY28" fmla="*/ 900950 h 3920548"/>
              <a:gd name="connsiteX29" fmla="*/ 134002 w 7726630"/>
              <a:gd name="connsiteY29" fmla="*/ 942886 h 3920548"/>
              <a:gd name="connsiteX30" fmla="*/ 89597 w 7726630"/>
              <a:gd name="connsiteY30" fmla="*/ 526321 h 3920548"/>
              <a:gd name="connsiteX31" fmla="*/ 1501103 w 7726630"/>
              <a:gd name="connsiteY31"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394038 w 7726630"/>
              <a:gd name="connsiteY24" fmla="*/ 1877596 h 3920548"/>
              <a:gd name="connsiteX25" fmla="*/ 3264524 w 7726630"/>
              <a:gd name="connsiteY25" fmla="*/ 1742934 h 3920548"/>
              <a:gd name="connsiteX26" fmla="*/ 2002166 w 7726630"/>
              <a:gd name="connsiteY26" fmla="*/ 626688 h 3920548"/>
              <a:gd name="connsiteX27" fmla="*/ 427389 w 7726630"/>
              <a:gd name="connsiteY27" fmla="*/ 900950 h 3920548"/>
              <a:gd name="connsiteX28" fmla="*/ 134002 w 7726630"/>
              <a:gd name="connsiteY28" fmla="*/ 942886 h 3920548"/>
              <a:gd name="connsiteX29" fmla="*/ 89597 w 7726630"/>
              <a:gd name="connsiteY29" fmla="*/ 526321 h 3920548"/>
              <a:gd name="connsiteX30" fmla="*/ 1501103 w 7726630"/>
              <a:gd name="connsiteY30"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394038 w 7726630"/>
              <a:gd name="connsiteY23" fmla="*/ 1877596 h 3920548"/>
              <a:gd name="connsiteX24" fmla="*/ 3264524 w 7726630"/>
              <a:gd name="connsiteY24" fmla="*/ 1742934 h 3920548"/>
              <a:gd name="connsiteX25" fmla="*/ 2002166 w 7726630"/>
              <a:gd name="connsiteY25" fmla="*/ 626688 h 3920548"/>
              <a:gd name="connsiteX26" fmla="*/ 427389 w 7726630"/>
              <a:gd name="connsiteY26" fmla="*/ 900950 h 3920548"/>
              <a:gd name="connsiteX27" fmla="*/ 134002 w 7726630"/>
              <a:gd name="connsiteY27" fmla="*/ 942886 h 3920548"/>
              <a:gd name="connsiteX28" fmla="*/ 89597 w 7726630"/>
              <a:gd name="connsiteY28" fmla="*/ 526321 h 3920548"/>
              <a:gd name="connsiteX29" fmla="*/ 1501103 w 7726630"/>
              <a:gd name="connsiteY29"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3394038 w 7726630"/>
              <a:gd name="connsiteY22" fmla="*/ 1877596 h 3920548"/>
              <a:gd name="connsiteX23" fmla="*/ 3264524 w 7726630"/>
              <a:gd name="connsiteY23" fmla="*/ 1742934 h 3920548"/>
              <a:gd name="connsiteX24" fmla="*/ 2002166 w 7726630"/>
              <a:gd name="connsiteY24" fmla="*/ 626688 h 3920548"/>
              <a:gd name="connsiteX25" fmla="*/ 427389 w 7726630"/>
              <a:gd name="connsiteY25" fmla="*/ 900950 h 3920548"/>
              <a:gd name="connsiteX26" fmla="*/ 134002 w 7726630"/>
              <a:gd name="connsiteY26" fmla="*/ 942886 h 3920548"/>
              <a:gd name="connsiteX27" fmla="*/ 89597 w 7726630"/>
              <a:gd name="connsiteY27" fmla="*/ 526321 h 3920548"/>
              <a:gd name="connsiteX28" fmla="*/ 1501103 w 7726630"/>
              <a:gd name="connsiteY28"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3394038 w 7726630"/>
              <a:gd name="connsiteY21" fmla="*/ 1877596 h 3920548"/>
              <a:gd name="connsiteX22" fmla="*/ 3264524 w 7726630"/>
              <a:gd name="connsiteY22" fmla="*/ 1742934 h 3920548"/>
              <a:gd name="connsiteX23" fmla="*/ 2002166 w 7726630"/>
              <a:gd name="connsiteY23" fmla="*/ 626688 h 3920548"/>
              <a:gd name="connsiteX24" fmla="*/ 427389 w 7726630"/>
              <a:gd name="connsiteY24" fmla="*/ 900950 h 3920548"/>
              <a:gd name="connsiteX25" fmla="*/ 134002 w 7726630"/>
              <a:gd name="connsiteY25" fmla="*/ 942886 h 3920548"/>
              <a:gd name="connsiteX26" fmla="*/ 89597 w 7726630"/>
              <a:gd name="connsiteY26" fmla="*/ 526321 h 3920548"/>
              <a:gd name="connsiteX27" fmla="*/ 1501103 w 7726630"/>
              <a:gd name="connsiteY27"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314136 w 7726630"/>
              <a:gd name="connsiteY6" fmla="*/ 2108176 h 3920548"/>
              <a:gd name="connsiteX7" fmla="*/ 4457569 w 7726630"/>
              <a:gd name="connsiteY7" fmla="*/ 2259327 h 3920548"/>
              <a:gd name="connsiteX8" fmla="*/ 6414726 w 7726630"/>
              <a:gd name="connsiteY8" fmla="*/ 3407390 h 3920548"/>
              <a:gd name="connsiteX9" fmla="*/ 7127167 w 7726630"/>
              <a:gd name="connsiteY9" fmla="*/ 3100088 h 3920548"/>
              <a:gd name="connsiteX10" fmla="*/ 7026764 w 7726630"/>
              <a:gd name="connsiteY10" fmla="*/ 2999730 h 3920548"/>
              <a:gd name="connsiteX11" fmla="*/ 7063672 w 7726630"/>
              <a:gd name="connsiteY11" fmla="*/ 2907004 h 3920548"/>
              <a:gd name="connsiteX12" fmla="*/ 7602070 w 7726630"/>
              <a:gd name="connsiteY12" fmla="*/ 2896828 h 3920548"/>
              <a:gd name="connsiteX13" fmla="*/ 7726611 w 7726630"/>
              <a:gd name="connsiteY13" fmla="*/ 3023854 h 3920548"/>
              <a:gd name="connsiteX14" fmla="*/ 7716466 w 7726630"/>
              <a:gd name="connsiteY14" fmla="*/ 3562313 h 3920548"/>
              <a:gd name="connsiteX15" fmla="*/ 7623759 w 7726630"/>
              <a:gd name="connsiteY15" fmla="*/ 3599158 h 3920548"/>
              <a:gd name="connsiteX16" fmla="*/ 7485224 w 7726630"/>
              <a:gd name="connsiteY16" fmla="*/ 3460727 h 3920548"/>
              <a:gd name="connsiteX17" fmla="*/ 6450234 w 7726630"/>
              <a:gd name="connsiteY17" fmla="*/ 3911636 h 3920548"/>
              <a:gd name="connsiteX18" fmla="*/ 4124875 w 7726630"/>
              <a:gd name="connsiteY18" fmla="*/ 2639003 h 3920548"/>
              <a:gd name="connsiteX19" fmla="*/ 3949607 w 7726630"/>
              <a:gd name="connsiteY19" fmla="*/ 2457411 h 3920548"/>
              <a:gd name="connsiteX20" fmla="*/ 3394038 w 7726630"/>
              <a:gd name="connsiteY20" fmla="*/ 1877596 h 3920548"/>
              <a:gd name="connsiteX21" fmla="*/ 3264524 w 7726630"/>
              <a:gd name="connsiteY21" fmla="*/ 1742934 h 3920548"/>
              <a:gd name="connsiteX22" fmla="*/ 2002166 w 7726630"/>
              <a:gd name="connsiteY22" fmla="*/ 626688 h 3920548"/>
              <a:gd name="connsiteX23" fmla="*/ 427389 w 7726630"/>
              <a:gd name="connsiteY23" fmla="*/ 900950 h 3920548"/>
              <a:gd name="connsiteX24" fmla="*/ 134002 w 7726630"/>
              <a:gd name="connsiteY24" fmla="*/ 942886 h 3920548"/>
              <a:gd name="connsiteX25" fmla="*/ 89597 w 7726630"/>
              <a:gd name="connsiteY25" fmla="*/ 526321 h 3920548"/>
              <a:gd name="connsiteX26" fmla="*/ 1501103 w 7726630"/>
              <a:gd name="connsiteY26"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4314136 w 7726630"/>
              <a:gd name="connsiteY5" fmla="*/ 2108176 h 3920548"/>
              <a:gd name="connsiteX6" fmla="*/ 4457569 w 7726630"/>
              <a:gd name="connsiteY6" fmla="*/ 2259327 h 3920548"/>
              <a:gd name="connsiteX7" fmla="*/ 6414726 w 7726630"/>
              <a:gd name="connsiteY7" fmla="*/ 3407390 h 3920548"/>
              <a:gd name="connsiteX8" fmla="*/ 7127167 w 7726630"/>
              <a:gd name="connsiteY8" fmla="*/ 3100088 h 3920548"/>
              <a:gd name="connsiteX9" fmla="*/ 7026764 w 7726630"/>
              <a:gd name="connsiteY9" fmla="*/ 2999730 h 3920548"/>
              <a:gd name="connsiteX10" fmla="*/ 7063672 w 7726630"/>
              <a:gd name="connsiteY10" fmla="*/ 2907004 h 3920548"/>
              <a:gd name="connsiteX11" fmla="*/ 7602070 w 7726630"/>
              <a:gd name="connsiteY11" fmla="*/ 2896828 h 3920548"/>
              <a:gd name="connsiteX12" fmla="*/ 7726611 w 7726630"/>
              <a:gd name="connsiteY12" fmla="*/ 3023854 h 3920548"/>
              <a:gd name="connsiteX13" fmla="*/ 7716466 w 7726630"/>
              <a:gd name="connsiteY13" fmla="*/ 3562313 h 3920548"/>
              <a:gd name="connsiteX14" fmla="*/ 7623759 w 7726630"/>
              <a:gd name="connsiteY14" fmla="*/ 3599158 h 3920548"/>
              <a:gd name="connsiteX15" fmla="*/ 7485224 w 7726630"/>
              <a:gd name="connsiteY15" fmla="*/ 3460727 h 3920548"/>
              <a:gd name="connsiteX16" fmla="*/ 6450234 w 7726630"/>
              <a:gd name="connsiteY16" fmla="*/ 3911636 h 3920548"/>
              <a:gd name="connsiteX17" fmla="*/ 4124875 w 7726630"/>
              <a:gd name="connsiteY17" fmla="*/ 2639003 h 3920548"/>
              <a:gd name="connsiteX18" fmla="*/ 3949607 w 7726630"/>
              <a:gd name="connsiteY18" fmla="*/ 2457411 h 3920548"/>
              <a:gd name="connsiteX19" fmla="*/ 3394038 w 7726630"/>
              <a:gd name="connsiteY19" fmla="*/ 1877596 h 3920548"/>
              <a:gd name="connsiteX20" fmla="*/ 3264524 w 7726630"/>
              <a:gd name="connsiteY20" fmla="*/ 1742934 h 3920548"/>
              <a:gd name="connsiteX21" fmla="*/ 2002166 w 7726630"/>
              <a:gd name="connsiteY21" fmla="*/ 626688 h 3920548"/>
              <a:gd name="connsiteX22" fmla="*/ 427389 w 7726630"/>
              <a:gd name="connsiteY22" fmla="*/ 900950 h 3920548"/>
              <a:gd name="connsiteX23" fmla="*/ 134002 w 7726630"/>
              <a:gd name="connsiteY23" fmla="*/ 942886 h 3920548"/>
              <a:gd name="connsiteX24" fmla="*/ 89597 w 7726630"/>
              <a:gd name="connsiteY24" fmla="*/ 526321 h 3920548"/>
              <a:gd name="connsiteX25" fmla="*/ 1501103 w 7726630"/>
              <a:gd name="connsiteY25"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4314136 w 7726630"/>
              <a:gd name="connsiteY4" fmla="*/ 2108176 h 3920548"/>
              <a:gd name="connsiteX5" fmla="*/ 4457569 w 7726630"/>
              <a:gd name="connsiteY5" fmla="*/ 2259327 h 3920548"/>
              <a:gd name="connsiteX6" fmla="*/ 6414726 w 7726630"/>
              <a:gd name="connsiteY6" fmla="*/ 3407390 h 3920548"/>
              <a:gd name="connsiteX7" fmla="*/ 7127167 w 7726630"/>
              <a:gd name="connsiteY7" fmla="*/ 3100088 h 3920548"/>
              <a:gd name="connsiteX8" fmla="*/ 7026764 w 7726630"/>
              <a:gd name="connsiteY8" fmla="*/ 2999730 h 3920548"/>
              <a:gd name="connsiteX9" fmla="*/ 7063672 w 7726630"/>
              <a:gd name="connsiteY9" fmla="*/ 2907004 h 3920548"/>
              <a:gd name="connsiteX10" fmla="*/ 7602070 w 7726630"/>
              <a:gd name="connsiteY10" fmla="*/ 2896828 h 3920548"/>
              <a:gd name="connsiteX11" fmla="*/ 7726611 w 7726630"/>
              <a:gd name="connsiteY11" fmla="*/ 3023854 h 3920548"/>
              <a:gd name="connsiteX12" fmla="*/ 7716466 w 7726630"/>
              <a:gd name="connsiteY12" fmla="*/ 3562313 h 3920548"/>
              <a:gd name="connsiteX13" fmla="*/ 7623759 w 7726630"/>
              <a:gd name="connsiteY13" fmla="*/ 3599158 h 3920548"/>
              <a:gd name="connsiteX14" fmla="*/ 7485224 w 7726630"/>
              <a:gd name="connsiteY14" fmla="*/ 3460727 h 3920548"/>
              <a:gd name="connsiteX15" fmla="*/ 6450234 w 7726630"/>
              <a:gd name="connsiteY15" fmla="*/ 3911636 h 3920548"/>
              <a:gd name="connsiteX16" fmla="*/ 4124875 w 7726630"/>
              <a:gd name="connsiteY16" fmla="*/ 2639003 h 3920548"/>
              <a:gd name="connsiteX17" fmla="*/ 3949607 w 7726630"/>
              <a:gd name="connsiteY17" fmla="*/ 2457411 h 3920548"/>
              <a:gd name="connsiteX18" fmla="*/ 3394038 w 7726630"/>
              <a:gd name="connsiteY18" fmla="*/ 1877596 h 3920548"/>
              <a:gd name="connsiteX19" fmla="*/ 3264524 w 7726630"/>
              <a:gd name="connsiteY19" fmla="*/ 1742934 h 3920548"/>
              <a:gd name="connsiteX20" fmla="*/ 2002166 w 7726630"/>
              <a:gd name="connsiteY20" fmla="*/ 626688 h 3920548"/>
              <a:gd name="connsiteX21" fmla="*/ 427389 w 7726630"/>
              <a:gd name="connsiteY21" fmla="*/ 900950 h 3920548"/>
              <a:gd name="connsiteX22" fmla="*/ 134002 w 7726630"/>
              <a:gd name="connsiteY22" fmla="*/ 942886 h 3920548"/>
              <a:gd name="connsiteX23" fmla="*/ 89597 w 7726630"/>
              <a:gd name="connsiteY23" fmla="*/ 526321 h 3920548"/>
              <a:gd name="connsiteX24" fmla="*/ 1501103 w 7726630"/>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30" h="3920548">
                <a:moveTo>
                  <a:pt x="1501103" y="914"/>
                </a:moveTo>
                <a:cubicBezTo>
                  <a:pt x="1679131" y="6348"/>
                  <a:pt x="1855737" y="36111"/>
                  <a:pt x="2022430" y="93260"/>
                </a:cubicBezTo>
                <a:cubicBezTo>
                  <a:pt x="2560923" y="277407"/>
                  <a:pt x="2874574" y="570773"/>
                  <a:pt x="3602316" y="1367093"/>
                </a:cubicBezTo>
                <a:cubicBezTo>
                  <a:pt x="3618880" y="1383588"/>
                  <a:pt x="3675971" y="1444535"/>
                  <a:pt x="3755970" y="1527103"/>
                </a:cubicBezTo>
                <a:lnTo>
                  <a:pt x="4314136" y="2108176"/>
                </a:lnTo>
                <a:lnTo>
                  <a:pt x="4457569" y="2259327"/>
                </a:lnTo>
                <a:cubicBezTo>
                  <a:pt x="5153568" y="3021310"/>
                  <a:pt x="5746714" y="3515380"/>
                  <a:pt x="6414726" y="3407390"/>
                </a:cubicBezTo>
                <a:cubicBezTo>
                  <a:pt x="6779080" y="3347737"/>
                  <a:pt x="6991256" y="3211850"/>
                  <a:pt x="7127167" y="3100088"/>
                </a:cubicBezTo>
                <a:lnTo>
                  <a:pt x="7026764" y="2999730"/>
                </a:lnTo>
                <a:cubicBezTo>
                  <a:pt x="6977262" y="2950165"/>
                  <a:pt x="6993705" y="2908320"/>
                  <a:pt x="7063672" y="2907004"/>
                </a:cubicBezTo>
                <a:lnTo>
                  <a:pt x="7602070" y="2896828"/>
                </a:lnTo>
                <a:cubicBezTo>
                  <a:pt x="7672036" y="2895600"/>
                  <a:pt x="7727836" y="2952709"/>
                  <a:pt x="7726611" y="3023854"/>
                </a:cubicBezTo>
                <a:lnTo>
                  <a:pt x="7716466" y="3562313"/>
                </a:lnTo>
                <a:cubicBezTo>
                  <a:pt x="7715066" y="3632230"/>
                  <a:pt x="7673261" y="3648723"/>
                  <a:pt x="7623759" y="3599158"/>
                </a:cubicBezTo>
                <a:lnTo>
                  <a:pt x="7485224" y="3460727"/>
                </a:lnTo>
                <a:cubicBezTo>
                  <a:pt x="7266752" y="3643635"/>
                  <a:pt x="6873186" y="3873475"/>
                  <a:pt x="6450234" y="3911636"/>
                </a:cubicBezTo>
                <a:cubicBezTo>
                  <a:pt x="5441832" y="4003046"/>
                  <a:pt x="4831019" y="3378177"/>
                  <a:pt x="4124875" y="2639003"/>
                </a:cubicBezTo>
                <a:cubicBezTo>
                  <a:pt x="4122251" y="2637775"/>
                  <a:pt x="4051234" y="2562857"/>
                  <a:pt x="3949607" y="2457411"/>
                </a:cubicBezTo>
                <a:lnTo>
                  <a:pt x="3394038" y="1877596"/>
                </a:lnTo>
                <a:lnTo>
                  <a:pt x="3264524" y="1742934"/>
                </a:lnTo>
                <a:cubicBezTo>
                  <a:pt x="2567267" y="981002"/>
                  <a:pt x="2356521" y="793035"/>
                  <a:pt x="2002166" y="626688"/>
                </a:cubicBezTo>
                <a:cubicBezTo>
                  <a:pt x="1498033" y="389143"/>
                  <a:pt x="826149" y="513647"/>
                  <a:pt x="427389" y="900950"/>
                </a:cubicBezTo>
                <a:cubicBezTo>
                  <a:pt x="349857" y="975876"/>
                  <a:pt x="229330" y="993676"/>
                  <a:pt x="134002" y="942886"/>
                </a:cubicBezTo>
                <a:cubicBezTo>
                  <a:pt x="-19652" y="861623"/>
                  <a:pt x="-50136" y="644394"/>
                  <a:pt x="89597" y="526321"/>
                </a:cubicBezTo>
                <a:cubicBezTo>
                  <a:pt x="420120" y="187267"/>
                  <a:pt x="967017" y="-15389"/>
                  <a:pt x="1501103" y="914"/>
                </a:cubicBezTo>
                <a:close/>
              </a:path>
            </a:pathLst>
          </a:custGeom>
          <a:solidFill>
            <a:srgbClr val="460030"/>
          </a:solidFill>
          <a:ln w="25400" cap="flat">
            <a:noFill/>
            <a:prstDash val="solid"/>
            <a:miter lim="400000"/>
          </a:ln>
          <a:effectLst/>
          <a:sp3d/>
        </p:spPr>
        <p:txBody>
          <a:bodyPr rot="0" spcFirstLastPara="1" vertOverflow="overflow" horzOverflow="overflow" vert="horz" wrap="square" lIns="38100" tIns="38100" rIns="38100" bIns="38100" numCol="1" spcCol="3810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3000" b="0" i="0" u="none" strike="noStrike" kern="0" cap="none" spc="0" normalizeH="0" baseline="0" noProof="0">
              <a:ln>
                <a:noFill/>
              </a:ln>
              <a:solidFill>
                <a:srgbClr val="FFFFFF"/>
              </a:solidFill>
              <a:effectLst/>
              <a:uLnTx/>
              <a:uFillTx/>
              <a:latin typeface="EYInterstate Regular" panose="02000503020000020004" pitchFamily="2" charset="0"/>
              <a:ea typeface="+mn-ea"/>
              <a:cs typeface="+mn-cs"/>
            </a:endParaRPr>
          </a:p>
        </p:txBody>
      </p:sp>
      <p:sp>
        <p:nvSpPr>
          <p:cNvPr id="417" name="Oval 416">
            <a:extLst>
              <a:ext uri="{FF2B5EF4-FFF2-40B4-BE49-F238E27FC236}">
                <a16:creationId xmlns:a16="http://schemas.microsoft.com/office/drawing/2014/main" id="{43569325-9F03-5163-C31B-F0B17BBAB531}"/>
              </a:ext>
            </a:extLst>
          </p:cNvPr>
          <p:cNvSpPr>
            <a:spLocks/>
          </p:cNvSpPr>
          <p:nvPr/>
        </p:nvSpPr>
        <p:spPr>
          <a:xfrm>
            <a:off x="10850192" y="2275106"/>
            <a:ext cx="526898" cy="526898"/>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EYInterstate Regular" panose="02000503020000020004" pitchFamily="2" charset="0"/>
                <a:ea typeface="+mn-ea"/>
                <a:cs typeface="+mn-cs"/>
              </a:rPr>
              <a:t>04</a:t>
            </a:r>
          </a:p>
        </p:txBody>
      </p:sp>
      <p:grpSp>
        <p:nvGrpSpPr>
          <p:cNvPr id="424" name="Group 108">
            <a:extLst>
              <a:ext uri="{FF2B5EF4-FFF2-40B4-BE49-F238E27FC236}">
                <a16:creationId xmlns:a16="http://schemas.microsoft.com/office/drawing/2014/main" id="{7034B59E-189F-7E20-10C8-9A0815971026}"/>
              </a:ext>
            </a:extLst>
          </p:cNvPr>
          <p:cNvGrpSpPr>
            <a:grpSpLocks noChangeAspect="1"/>
          </p:cNvGrpSpPr>
          <p:nvPr/>
        </p:nvGrpSpPr>
        <p:grpSpPr bwMode="auto">
          <a:xfrm>
            <a:off x="7515364" y="2269288"/>
            <a:ext cx="616975" cy="573250"/>
            <a:chOff x="3164" y="3022"/>
            <a:chExt cx="762" cy="708"/>
          </a:xfrm>
          <a:solidFill>
            <a:schemeClr val="bg1"/>
          </a:solidFill>
        </p:grpSpPr>
        <p:sp>
          <p:nvSpPr>
            <p:cNvPr id="425" name="Freeform 109">
              <a:extLst>
                <a:ext uri="{FF2B5EF4-FFF2-40B4-BE49-F238E27FC236}">
                  <a16:creationId xmlns:a16="http://schemas.microsoft.com/office/drawing/2014/main" id="{89696A66-8862-E355-ECDB-A495799FB321}"/>
                </a:ext>
              </a:extLst>
            </p:cNvPr>
            <p:cNvSpPr>
              <a:spLocks noEditPoints="1"/>
            </p:cNvSpPr>
            <p:nvPr/>
          </p:nvSpPr>
          <p:spPr bwMode="auto">
            <a:xfrm>
              <a:off x="3164" y="3022"/>
              <a:ext cx="762" cy="506"/>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26" name="Freeform 110">
              <a:extLst>
                <a:ext uri="{FF2B5EF4-FFF2-40B4-BE49-F238E27FC236}">
                  <a16:creationId xmlns:a16="http://schemas.microsoft.com/office/drawing/2014/main" id="{5269661A-6ACB-7370-25B6-F9FA59B8068E}"/>
                </a:ext>
              </a:extLst>
            </p:cNvPr>
            <p:cNvSpPr>
              <a:spLocks noEditPoints="1"/>
            </p:cNvSpPr>
            <p:nvPr/>
          </p:nvSpPr>
          <p:spPr bwMode="auto">
            <a:xfrm>
              <a:off x="3164" y="3510"/>
              <a:ext cx="762" cy="116"/>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27" name="Rectangle 111">
              <a:extLst>
                <a:ext uri="{FF2B5EF4-FFF2-40B4-BE49-F238E27FC236}">
                  <a16:creationId xmlns:a16="http://schemas.microsoft.com/office/drawing/2014/main" id="{9D9291B1-B478-A836-C7A0-A6C4F7A93147}"/>
                </a:ext>
              </a:extLst>
            </p:cNvPr>
            <p:cNvSpPr>
              <a:spLocks noChangeArrowheads="1"/>
            </p:cNvSpPr>
            <p:nvPr/>
          </p:nvSpPr>
          <p:spPr bwMode="auto">
            <a:xfrm>
              <a:off x="3500" y="3554"/>
              <a:ext cx="9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28" name="Freeform 112">
              <a:extLst>
                <a:ext uri="{FF2B5EF4-FFF2-40B4-BE49-F238E27FC236}">
                  <a16:creationId xmlns:a16="http://schemas.microsoft.com/office/drawing/2014/main" id="{0E22C751-2A10-7779-3E87-ACE99C92C740}"/>
                </a:ext>
              </a:extLst>
            </p:cNvPr>
            <p:cNvSpPr>
              <a:spLocks noEditPoints="1"/>
            </p:cNvSpPr>
            <p:nvPr/>
          </p:nvSpPr>
          <p:spPr bwMode="auto">
            <a:xfrm>
              <a:off x="3434" y="3608"/>
              <a:ext cx="222" cy="122"/>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29" name="Rectangle 113">
              <a:extLst>
                <a:ext uri="{FF2B5EF4-FFF2-40B4-BE49-F238E27FC236}">
                  <a16:creationId xmlns:a16="http://schemas.microsoft.com/office/drawing/2014/main" id="{6B1663C4-8C05-2261-43C8-B9D1CEB56D41}"/>
                </a:ext>
              </a:extLst>
            </p:cNvPr>
            <p:cNvSpPr>
              <a:spLocks noChangeArrowheads="1"/>
            </p:cNvSpPr>
            <p:nvPr/>
          </p:nvSpPr>
          <p:spPr bwMode="auto">
            <a:xfrm>
              <a:off x="3352" y="37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0" name="Freeform 114">
              <a:extLst>
                <a:ext uri="{FF2B5EF4-FFF2-40B4-BE49-F238E27FC236}">
                  <a16:creationId xmlns:a16="http://schemas.microsoft.com/office/drawing/2014/main" id="{32D75CA4-D890-AF57-9C9C-4AE269BE7010}"/>
                </a:ext>
              </a:extLst>
            </p:cNvPr>
            <p:cNvSpPr>
              <a:spLocks noEditPoints="1"/>
            </p:cNvSpPr>
            <p:nvPr/>
          </p:nvSpPr>
          <p:spPr bwMode="auto">
            <a:xfrm>
              <a:off x="3224"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1" name="Freeform 115">
              <a:extLst>
                <a:ext uri="{FF2B5EF4-FFF2-40B4-BE49-F238E27FC236}">
                  <a16:creationId xmlns:a16="http://schemas.microsoft.com/office/drawing/2014/main" id="{25DC10FB-9EDA-A989-AFCD-4FB1D08724E8}"/>
                </a:ext>
              </a:extLst>
            </p:cNvPr>
            <p:cNvSpPr>
              <a:spLocks noEditPoints="1"/>
            </p:cNvSpPr>
            <p:nvPr/>
          </p:nvSpPr>
          <p:spPr bwMode="auto">
            <a:xfrm>
              <a:off x="3430"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2" name="Rectangle 116">
              <a:extLst>
                <a:ext uri="{FF2B5EF4-FFF2-40B4-BE49-F238E27FC236}">
                  <a16:creationId xmlns:a16="http://schemas.microsoft.com/office/drawing/2014/main" id="{795B997D-4C11-BBF4-872C-A2A81595E230}"/>
                </a:ext>
              </a:extLst>
            </p:cNvPr>
            <p:cNvSpPr>
              <a:spLocks noChangeArrowheads="1"/>
            </p:cNvSpPr>
            <p:nvPr/>
          </p:nvSpPr>
          <p:spPr bwMode="auto">
            <a:xfrm>
              <a:off x="3636" y="3088"/>
              <a:ext cx="2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3" name="Rectangle 117">
              <a:extLst>
                <a:ext uri="{FF2B5EF4-FFF2-40B4-BE49-F238E27FC236}">
                  <a16:creationId xmlns:a16="http://schemas.microsoft.com/office/drawing/2014/main" id="{4B45CD15-8B42-342B-812A-0991BECBE63D}"/>
                </a:ext>
              </a:extLst>
            </p:cNvPr>
            <p:cNvSpPr>
              <a:spLocks noChangeArrowheads="1"/>
            </p:cNvSpPr>
            <p:nvPr/>
          </p:nvSpPr>
          <p:spPr bwMode="auto">
            <a:xfrm>
              <a:off x="3236" y="3440"/>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4" name="Rectangle 118">
              <a:extLst>
                <a:ext uri="{FF2B5EF4-FFF2-40B4-BE49-F238E27FC236}">
                  <a16:creationId xmlns:a16="http://schemas.microsoft.com/office/drawing/2014/main" id="{D8D02CEA-3353-A685-AD91-88353E558610}"/>
                </a:ext>
              </a:extLst>
            </p:cNvPr>
            <p:cNvSpPr>
              <a:spLocks noChangeArrowheads="1"/>
            </p:cNvSpPr>
            <p:nvPr/>
          </p:nvSpPr>
          <p:spPr bwMode="auto">
            <a:xfrm>
              <a:off x="3284" y="3422"/>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5" name="Rectangle 119">
              <a:extLst>
                <a:ext uri="{FF2B5EF4-FFF2-40B4-BE49-F238E27FC236}">
                  <a16:creationId xmlns:a16="http://schemas.microsoft.com/office/drawing/2014/main" id="{EB5C496A-839F-2FEA-14AD-92DCE77EC33A}"/>
                </a:ext>
              </a:extLst>
            </p:cNvPr>
            <p:cNvSpPr>
              <a:spLocks noChangeArrowheads="1"/>
            </p:cNvSpPr>
            <p:nvPr/>
          </p:nvSpPr>
          <p:spPr bwMode="auto">
            <a:xfrm>
              <a:off x="3330" y="3374"/>
              <a:ext cx="18"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6" name="Rectangle 120">
              <a:extLst>
                <a:ext uri="{FF2B5EF4-FFF2-40B4-BE49-F238E27FC236}">
                  <a16:creationId xmlns:a16="http://schemas.microsoft.com/office/drawing/2014/main" id="{B7B245B5-0FCE-5675-99D0-E1116912979F}"/>
                </a:ext>
              </a:extLst>
            </p:cNvPr>
            <p:cNvSpPr>
              <a:spLocks noChangeArrowheads="1"/>
            </p:cNvSpPr>
            <p:nvPr/>
          </p:nvSpPr>
          <p:spPr bwMode="auto">
            <a:xfrm>
              <a:off x="337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7" name="Rectangle 121">
              <a:extLst>
                <a:ext uri="{FF2B5EF4-FFF2-40B4-BE49-F238E27FC236}">
                  <a16:creationId xmlns:a16="http://schemas.microsoft.com/office/drawing/2014/main" id="{E11E553E-FDEB-5CBC-A19D-68B151A085BB}"/>
                </a:ext>
              </a:extLst>
            </p:cNvPr>
            <p:cNvSpPr>
              <a:spLocks noChangeArrowheads="1"/>
            </p:cNvSpPr>
            <p:nvPr/>
          </p:nvSpPr>
          <p:spPr bwMode="auto">
            <a:xfrm>
              <a:off x="3422"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8" name="Rectangle 122">
              <a:extLst>
                <a:ext uri="{FF2B5EF4-FFF2-40B4-BE49-F238E27FC236}">
                  <a16:creationId xmlns:a16="http://schemas.microsoft.com/office/drawing/2014/main" id="{76695D9F-4A1E-F5FE-CFC2-FE098929570E}"/>
                </a:ext>
              </a:extLst>
            </p:cNvPr>
            <p:cNvSpPr>
              <a:spLocks noChangeArrowheads="1"/>
            </p:cNvSpPr>
            <p:nvPr/>
          </p:nvSpPr>
          <p:spPr bwMode="auto">
            <a:xfrm>
              <a:off x="3468"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9" name="Rectangle 123">
              <a:extLst>
                <a:ext uri="{FF2B5EF4-FFF2-40B4-BE49-F238E27FC236}">
                  <a16:creationId xmlns:a16="http://schemas.microsoft.com/office/drawing/2014/main" id="{030FE8C9-B399-2690-8D78-CF089C10E6C9}"/>
                </a:ext>
              </a:extLst>
            </p:cNvPr>
            <p:cNvSpPr>
              <a:spLocks noChangeArrowheads="1"/>
            </p:cNvSpPr>
            <p:nvPr/>
          </p:nvSpPr>
          <p:spPr bwMode="auto">
            <a:xfrm>
              <a:off x="3514" y="3332"/>
              <a:ext cx="18"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0" name="Rectangle 124">
              <a:extLst>
                <a:ext uri="{FF2B5EF4-FFF2-40B4-BE49-F238E27FC236}">
                  <a16:creationId xmlns:a16="http://schemas.microsoft.com/office/drawing/2014/main" id="{A8CE6EB1-7482-C95C-032C-606067DE6235}"/>
                </a:ext>
              </a:extLst>
            </p:cNvPr>
            <p:cNvSpPr>
              <a:spLocks noChangeArrowheads="1"/>
            </p:cNvSpPr>
            <p:nvPr/>
          </p:nvSpPr>
          <p:spPr bwMode="auto">
            <a:xfrm>
              <a:off x="3560" y="3370"/>
              <a:ext cx="18"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1" name="Rectangle 125">
              <a:extLst>
                <a:ext uri="{FF2B5EF4-FFF2-40B4-BE49-F238E27FC236}">
                  <a16:creationId xmlns:a16="http://schemas.microsoft.com/office/drawing/2014/main" id="{AFBECEE9-E806-AEEF-615D-BA3F914AB60D}"/>
                </a:ext>
              </a:extLst>
            </p:cNvPr>
            <p:cNvSpPr>
              <a:spLocks noChangeArrowheads="1"/>
            </p:cNvSpPr>
            <p:nvPr/>
          </p:nvSpPr>
          <p:spPr bwMode="auto">
            <a:xfrm>
              <a:off x="3606"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2" name="Rectangle 126">
              <a:extLst>
                <a:ext uri="{FF2B5EF4-FFF2-40B4-BE49-F238E27FC236}">
                  <a16:creationId xmlns:a16="http://schemas.microsoft.com/office/drawing/2014/main" id="{33E36469-D5A7-45CD-9186-7AB73312ABD3}"/>
                </a:ext>
              </a:extLst>
            </p:cNvPr>
            <p:cNvSpPr>
              <a:spLocks noChangeArrowheads="1"/>
            </p:cNvSpPr>
            <p:nvPr/>
          </p:nvSpPr>
          <p:spPr bwMode="auto">
            <a:xfrm>
              <a:off x="3652"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3" name="Rectangle 127">
              <a:extLst>
                <a:ext uri="{FF2B5EF4-FFF2-40B4-BE49-F238E27FC236}">
                  <a16:creationId xmlns:a16="http://schemas.microsoft.com/office/drawing/2014/main" id="{2A88AD9C-DD07-5051-BD2A-83FC5E8830F4}"/>
                </a:ext>
              </a:extLst>
            </p:cNvPr>
            <p:cNvSpPr>
              <a:spLocks noChangeArrowheads="1"/>
            </p:cNvSpPr>
            <p:nvPr/>
          </p:nvSpPr>
          <p:spPr bwMode="auto">
            <a:xfrm>
              <a:off x="3698" y="3380"/>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4" name="Rectangle 128">
              <a:extLst>
                <a:ext uri="{FF2B5EF4-FFF2-40B4-BE49-F238E27FC236}">
                  <a16:creationId xmlns:a16="http://schemas.microsoft.com/office/drawing/2014/main" id="{63616E4E-4A6B-D5B9-C30C-2FB4281AE729}"/>
                </a:ext>
              </a:extLst>
            </p:cNvPr>
            <p:cNvSpPr>
              <a:spLocks noChangeArrowheads="1"/>
            </p:cNvSpPr>
            <p:nvPr/>
          </p:nvSpPr>
          <p:spPr bwMode="auto">
            <a:xfrm>
              <a:off x="3744" y="3274"/>
              <a:ext cx="18" cy="1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5" name="Rectangle 129">
              <a:extLst>
                <a:ext uri="{FF2B5EF4-FFF2-40B4-BE49-F238E27FC236}">
                  <a16:creationId xmlns:a16="http://schemas.microsoft.com/office/drawing/2014/main" id="{77E8C994-483A-0763-D358-436C0F515B5A}"/>
                </a:ext>
              </a:extLst>
            </p:cNvPr>
            <p:cNvSpPr>
              <a:spLocks noChangeArrowheads="1"/>
            </p:cNvSpPr>
            <p:nvPr/>
          </p:nvSpPr>
          <p:spPr bwMode="auto">
            <a:xfrm>
              <a:off x="3790"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6" name="Rectangle 130">
              <a:extLst>
                <a:ext uri="{FF2B5EF4-FFF2-40B4-BE49-F238E27FC236}">
                  <a16:creationId xmlns:a16="http://schemas.microsoft.com/office/drawing/2014/main" id="{33C5D89A-760D-3A16-48FE-835F7E90A30C}"/>
                </a:ext>
              </a:extLst>
            </p:cNvPr>
            <p:cNvSpPr>
              <a:spLocks noChangeArrowheads="1"/>
            </p:cNvSpPr>
            <p:nvPr/>
          </p:nvSpPr>
          <p:spPr bwMode="auto">
            <a:xfrm>
              <a:off x="383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7" name="Freeform 131">
              <a:extLst>
                <a:ext uri="{FF2B5EF4-FFF2-40B4-BE49-F238E27FC236}">
                  <a16:creationId xmlns:a16="http://schemas.microsoft.com/office/drawing/2014/main" id="{01F6E27A-FC1F-0080-8D3B-E3E460A809CB}"/>
                </a:ext>
              </a:extLst>
            </p:cNvPr>
            <p:cNvSpPr>
              <a:spLocks/>
            </p:cNvSpPr>
            <p:nvPr/>
          </p:nvSpPr>
          <p:spPr bwMode="auto">
            <a:xfrm>
              <a:off x="3224" y="3222"/>
              <a:ext cx="630" cy="192"/>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grpSp>
      <p:grpSp>
        <p:nvGrpSpPr>
          <p:cNvPr id="449" name="Group 185">
            <a:extLst>
              <a:ext uri="{FF2B5EF4-FFF2-40B4-BE49-F238E27FC236}">
                <a16:creationId xmlns:a16="http://schemas.microsoft.com/office/drawing/2014/main" id="{581F576F-D26B-9B60-307F-D4660A6D8197}"/>
              </a:ext>
            </a:extLst>
          </p:cNvPr>
          <p:cNvGrpSpPr>
            <a:grpSpLocks noChangeAspect="1"/>
          </p:cNvGrpSpPr>
          <p:nvPr/>
        </p:nvGrpSpPr>
        <p:grpSpPr bwMode="auto">
          <a:xfrm>
            <a:off x="4732325" y="2241045"/>
            <a:ext cx="671796" cy="595020"/>
            <a:chOff x="609" y="3064"/>
            <a:chExt cx="700" cy="620"/>
          </a:xfrm>
          <a:solidFill>
            <a:schemeClr val="bg1"/>
          </a:solidFill>
        </p:grpSpPr>
        <p:sp>
          <p:nvSpPr>
            <p:cNvPr id="450" name="Freeform 186">
              <a:extLst>
                <a:ext uri="{FF2B5EF4-FFF2-40B4-BE49-F238E27FC236}">
                  <a16:creationId xmlns:a16="http://schemas.microsoft.com/office/drawing/2014/main" id="{8F423CD4-0E94-77F7-045A-E2076F61530B}"/>
                </a:ext>
              </a:extLst>
            </p:cNvPr>
            <p:cNvSpPr>
              <a:spLocks/>
            </p:cNvSpPr>
            <p:nvPr/>
          </p:nvSpPr>
          <p:spPr bwMode="auto">
            <a:xfrm>
              <a:off x="609" y="3064"/>
              <a:ext cx="394" cy="500"/>
            </a:xfrm>
            <a:custGeom>
              <a:avLst/>
              <a:gdLst>
                <a:gd name="T0" fmla="*/ 394 w 394"/>
                <a:gd name="T1" fmla="*/ 500 h 500"/>
                <a:gd name="T2" fmla="*/ 300 w 394"/>
                <a:gd name="T3" fmla="*/ 500 h 500"/>
                <a:gd name="T4" fmla="*/ 300 w 394"/>
                <a:gd name="T5" fmla="*/ 482 h 500"/>
                <a:gd name="T6" fmla="*/ 376 w 394"/>
                <a:gd name="T7" fmla="*/ 482 h 500"/>
                <a:gd name="T8" fmla="*/ 376 w 394"/>
                <a:gd name="T9" fmla="*/ 102 h 500"/>
                <a:gd name="T10" fmla="*/ 290 w 394"/>
                <a:gd name="T11" fmla="*/ 18 h 500"/>
                <a:gd name="T12" fmla="*/ 18 w 394"/>
                <a:gd name="T13" fmla="*/ 18 h 500"/>
                <a:gd name="T14" fmla="*/ 18 w 394"/>
                <a:gd name="T15" fmla="*/ 482 h 500"/>
                <a:gd name="T16" fmla="*/ 190 w 394"/>
                <a:gd name="T17" fmla="*/ 482 h 500"/>
                <a:gd name="T18" fmla="*/ 190 w 394"/>
                <a:gd name="T19" fmla="*/ 500 h 500"/>
                <a:gd name="T20" fmla="*/ 0 w 394"/>
                <a:gd name="T21" fmla="*/ 500 h 500"/>
                <a:gd name="T22" fmla="*/ 0 w 394"/>
                <a:gd name="T23" fmla="*/ 0 h 500"/>
                <a:gd name="T24" fmla="*/ 296 w 394"/>
                <a:gd name="T25" fmla="*/ 0 h 500"/>
                <a:gd name="T26" fmla="*/ 394 w 394"/>
                <a:gd name="T27" fmla="*/ 94 h 500"/>
                <a:gd name="T28" fmla="*/ 394 w 394"/>
                <a:gd name="T29"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4" h="500">
                  <a:moveTo>
                    <a:pt x="394" y="500"/>
                  </a:moveTo>
                  <a:lnTo>
                    <a:pt x="300" y="500"/>
                  </a:lnTo>
                  <a:lnTo>
                    <a:pt x="300" y="482"/>
                  </a:lnTo>
                  <a:lnTo>
                    <a:pt x="376" y="482"/>
                  </a:lnTo>
                  <a:lnTo>
                    <a:pt x="376" y="102"/>
                  </a:lnTo>
                  <a:lnTo>
                    <a:pt x="290" y="18"/>
                  </a:lnTo>
                  <a:lnTo>
                    <a:pt x="18" y="18"/>
                  </a:lnTo>
                  <a:lnTo>
                    <a:pt x="18" y="482"/>
                  </a:lnTo>
                  <a:lnTo>
                    <a:pt x="190" y="482"/>
                  </a:lnTo>
                  <a:lnTo>
                    <a:pt x="190" y="500"/>
                  </a:lnTo>
                  <a:lnTo>
                    <a:pt x="0" y="500"/>
                  </a:lnTo>
                  <a:lnTo>
                    <a:pt x="0" y="0"/>
                  </a:lnTo>
                  <a:lnTo>
                    <a:pt x="296" y="0"/>
                  </a:lnTo>
                  <a:lnTo>
                    <a:pt x="394" y="94"/>
                  </a:lnTo>
                  <a:lnTo>
                    <a:pt x="394"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1" name="Freeform 187">
              <a:extLst>
                <a:ext uri="{FF2B5EF4-FFF2-40B4-BE49-F238E27FC236}">
                  <a16:creationId xmlns:a16="http://schemas.microsoft.com/office/drawing/2014/main" id="{3A15DEA5-AD99-5430-9F22-27E195F0AC53}"/>
                </a:ext>
              </a:extLst>
            </p:cNvPr>
            <p:cNvSpPr>
              <a:spLocks/>
            </p:cNvSpPr>
            <p:nvPr/>
          </p:nvSpPr>
          <p:spPr bwMode="auto">
            <a:xfrm>
              <a:off x="865" y="3506"/>
              <a:ext cx="66" cy="98"/>
            </a:xfrm>
            <a:custGeom>
              <a:avLst/>
              <a:gdLst>
                <a:gd name="T0" fmla="*/ 54 w 66"/>
                <a:gd name="T1" fmla="*/ 98 h 98"/>
                <a:gd name="T2" fmla="*/ 0 w 66"/>
                <a:gd name="T3" fmla="*/ 48 h 98"/>
                <a:gd name="T4" fmla="*/ 54 w 66"/>
                <a:gd name="T5" fmla="*/ 0 h 98"/>
                <a:gd name="T6" fmla="*/ 66 w 66"/>
                <a:gd name="T7" fmla="*/ 14 h 98"/>
                <a:gd name="T8" fmla="*/ 28 w 66"/>
                <a:gd name="T9" fmla="*/ 48 h 98"/>
                <a:gd name="T10" fmla="*/ 66 w 66"/>
                <a:gd name="T11" fmla="*/ 84 h 98"/>
                <a:gd name="T12" fmla="*/ 54 w 66"/>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66" h="98">
                  <a:moveTo>
                    <a:pt x="54" y="98"/>
                  </a:moveTo>
                  <a:lnTo>
                    <a:pt x="0" y="48"/>
                  </a:lnTo>
                  <a:lnTo>
                    <a:pt x="54" y="0"/>
                  </a:lnTo>
                  <a:lnTo>
                    <a:pt x="66" y="14"/>
                  </a:lnTo>
                  <a:lnTo>
                    <a:pt x="28" y="48"/>
                  </a:lnTo>
                  <a:lnTo>
                    <a:pt x="66" y="84"/>
                  </a:lnTo>
                  <a:lnTo>
                    <a:pt x="54"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2" name="Rectangle 188">
              <a:extLst>
                <a:ext uri="{FF2B5EF4-FFF2-40B4-BE49-F238E27FC236}">
                  <a16:creationId xmlns:a16="http://schemas.microsoft.com/office/drawing/2014/main" id="{A3CA8312-554E-4FCE-7793-4CA6F6EE44BE}"/>
                </a:ext>
              </a:extLst>
            </p:cNvPr>
            <p:cNvSpPr>
              <a:spLocks noChangeArrowheads="1"/>
            </p:cNvSpPr>
            <p:nvPr/>
          </p:nvSpPr>
          <p:spPr bwMode="auto">
            <a:xfrm>
              <a:off x="895" y="3666"/>
              <a:ext cx="24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3" name="Freeform 189">
              <a:extLst>
                <a:ext uri="{FF2B5EF4-FFF2-40B4-BE49-F238E27FC236}">
                  <a16:creationId xmlns:a16="http://schemas.microsoft.com/office/drawing/2014/main" id="{DFEB3C2F-461F-80F0-DCDE-62693CFC86EF}"/>
                </a:ext>
              </a:extLst>
            </p:cNvPr>
            <p:cNvSpPr>
              <a:spLocks/>
            </p:cNvSpPr>
            <p:nvPr/>
          </p:nvSpPr>
          <p:spPr bwMode="auto">
            <a:xfrm>
              <a:off x="1125" y="3646"/>
              <a:ext cx="94" cy="38"/>
            </a:xfrm>
            <a:custGeom>
              <a:avLst/>
              <a:gdLst>
                <a:gd name="T0" fmla="*/ 94 w 94"/>
                <a:gd name="T1" fmla="*/ 38 h 38"/>
                <a:gd name="T2" fmla="*/ 0 w 94"/>
                <a:gd name="T3" fmla="*/ 38 h 38"/>
                <a:gd name="T4" fmla="*/ 0 w 94"/>
                <a:gd name="T5" fmla="*/ 20 h 38"/>
                <a:gd name="T6" fmla="*/ 76 w 94"/>
                <a:gd name="T7" fmla="*/ 20 h 38"/>
                <a:gd name="T8" fmla="*/ 76 w 94"/>
                <a:gd name="T9" fmla="*/ 0 h 38"/>
                <a:gd name="T10" fmla="*/ 94 w 94"/>
                <a:gd name="T11" fmla="*/ 0 h 38"/>
                <a:gd name="T12" fmla="*/ 94 w 9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94" h="38">
                  <a:moveTo>
                    <a:pt x="94" y="38"/>
                  </a:moveTo>
                  <a:lnTo>
                    <a:pt x="0" y="38"/>
                  </a:lnTo>
                  <a:lnTo>
                    <a:pt x="0" y="20"/>
                  </a:lnTo>
                  <a:lnTo>
                    <a:pt x="76" y="20"/>
                  </a:lnTo>
                  <a:lnTo>
                    <a:pt x="76" y="0"/>
                  </a:lnTo>
                  <a:lnTo>
                    <a:pt x="94" y="0"/>
                  </a:lnTo>
                  <a:lnTo>
                    <a:pt x="9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4" name="Freeform 190">
              <a:extLst>
                <a:ext uri="{FF2B5EF4-FFF2-40B4-BE49-F238E27FC236}">
                  <a16:creationId xmlns:a16="http://schemas.microsoft.com/office/drawing/2014/main" id="{D95A73FF-6E25-A983-8D8C-0DADA0483E13}"/>
                </a:ext>
              </a:extLst>
            </p:cNvPr>
            <p:cNvSpPr>
              <a:spLocks/>
            </p:cNvSpPr>
            <p:nvPr/>
          </p:nvSpPr>
          <p:spPr bwMode="auto">
            <a:xfrm>
              <a:off x="1001" y="3186"/>
              <a:ext cx="218" cy="300"/>
            </a:xfrm>
            <a:custGeom>
              <a:avLst/>
              <a:gdLst>
                <a:gd name="T0" fmla="*/ 218 w 218"/>
                <a:gd name="T1" fmla="*/ 300 h 300"/>
                <a:gd name="T2" fmla="*/ 200 w 218"/>
                <a:gd name="T3" fmla="*/ 300 h 300"/>
                <a:gd name="T4" fmla="*/ 200 w 218"/>
                <a:gd name="T5" fmla="*/ 102 h 300"/>
                <a:gd name="T6" fmla="*/ 114 w 218"/>
                <a:gd name="T7" fmla="*/ 18 h 300"/>
                <a:gd name="T8" fmla="*/ 0 w 218"/>
                <a:gd name="T9" fmla="*/ 18 h 300"/>
                <a:gd name="T10" fmla="*/ 0 w 218"/>
                <a:gd name="T11" fmla="*/ 0 h 300"/>
                <a:gd name="T12" fmla="*/ 120 w 218"/>
                <a:gd name="T13" fmla="*/ 0 h 300"/>
                <a:gd name="T14" fmla="*/ 218 w 218"/>
                <a:gd name="T15" fmla="*/ 94 h 300"/>
                <a:gd name="T16" fmla="*/ 218 w 218"/>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00">
                  <a:moveTo>
                    <a:pt x="218" y="300"/>
                  </a:moveTo>
                  <a:lnTo>
                    <a:pt x="200" y="300"/>
                  </a:lnTo>
                  <a:lnTo>
                    <a:pt x="200" y="102"/>
                  </a:lnTo>
                  <a:lnTo>
                    <a:pt x="114" y="18"/>
                  </a:lnTo>
                  <a:lnTo>
                    <a:pt x="0" y="18"/>
                  </a:lnTo>
                  <a:lnTo>
                    <a:pt x="0" y="0"/>
                  </a:lnTo>
                  <a:lnTo>
                    <a:pt x="120" y="0"/>
                  </a:lnTo>
                  <a:lnTo>
                    <a:pt x="218" y="94"/>
                  </a:lnTo>
                  <a:lnTo>
                    <a:pt x="218"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5" name="Freeform 191">
              <a:extLst>
                <a:ext uri="{FF2B5EF4-FFF2-40B4-BE49-F238E27FC236}">
                  <a16:creationId xmlns:a16="http://schemas.microsoft.com/office/drawing/2014/main" id="{0120F4F8-69F2-79CF-2A55-3E9607D444F4}"/>
                </a:ext>
              </a:extLst>
            </p:cNvPr>
            <p:cNvSpPr>
              <a:spLocks/>
            </p:cNvSpPr>
            <p:nvPr/>
          </p:nvSpPr>
          <p:spPr bwMode="auto">
            <a:xfrm>
              <a:off x="813" y="3210"/>
              <a:ext cx="100" cy="474"/>
            </a:xfrm>
            <a:custGeom>
              <a:avLst/>
              <a:gdLst>
                <a:gd name="T0" fmla="*/ 100 w 100"/>
                <a:gd name="T1" fmla="*/ 474 h 474"/>
                <a:gd name="T2" fmla="*/ 0 w 100"/>
                <a:gd name="T3" fmla="*/ 474 h 474"/>
                <a:gd name="T4" fmla="*/ 0 w 100"/>
                <a:gd name="T5" fmla="*/ 0 h 474"/>
                <a:gd name="T6" fmla="*/ 82 w 100"/>
                <a:gd name="T7" fmla="*/ 0 h 474"/>
                <a:gd name="T8" fmla="*/ 82 w 100"/>
                <a:gd name="T9" fmla="*/ 18 h 474"/>
                <a:gd name="T10" fmla="*/ 18 w 100"/>
                <a:gd name="T11" fmla="*/ 18 h 474"/>
                <a:gd name="T12" fmla="*/ 18 w 100"/>
                <a:gd name="T13" fmla="*/ 456 h 474"/>
                <a:gd name="T14" fmla="*/ 100 w 100"/>
                <a:gd name="T15" fmla="*/ 456 h 474"/>
                <a:gd name="T16" fmla="*/ 100 w 100"/>
                <a:gd name="T17"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74">
                  <a:moveTo>
                    <a:pt x="100" y="474"/>
                  </a:moveTo>
                  <a:lnTo>
                    <a:pt x="0" y="474"/>
                  </a:lnTo>
                  <a:lnTo>
                    <a:pt x="0" y="0"/>
                  </a:lnTo>
                  <a:lnTo>
                    <a:pt x="82" y="0"/>
                  </a:lnTo>
                  <a:lnTo>
                    <a:pt x="82" y="18"/>
                  </a:lnTo>
                  <a:lnTo>
                    <a:pt x="18" y="18"/>
                  </a:lnTo>
                  <a:lnTo>
                    <a:pt x="18" y="456"/>
                  </a:lnTo>
                  <a:lnTo>
                    <a:pt x="100" y="456"/>
                  </a:lnTo>
                  <a:lnTo>
                    <a:pt x="10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6" name="Freeform 192">
              <a:extLst>
                <a:ext uri="{FF2B5EF4-FFF2-40B4-BE49-F238E27FC236}">
                  <a16:creationId xmlns:a16="http://schemas.microsoft.com/office/drawing/2014/main" id="{B040576D-38F4-BFF6-3948-0AA08A32781F}"/>
                </a:ext>
              </a:extLst>
            </p:cNvPr>
            <p:cNvSpPr>
              <a:spLocks/>
            </p:cNvSpPr>
            <p:nvPr/>
          </p:nvSpPr>
          <p:spPr bwMode="auto">
            <a:xfrm>
              <a:off x="875" y="3172"/>
              <a:ext cx="60" cy="94"/>
            </a:xfrm>
            <a:custGeom>
              <a:avLst/>
              <a:gdLst>
                <a:gd name="T0" fmla="*/ 12 w 60"/>
                <a:gd name="T1" fmla="*/ 94 h 94"/>
                <a:gd name="T2" fmla="*/ 0 w 60"/>
                <a:gd name="T3" fmla="*/ 80 h 94"/>
                <a:gd name="T4" fmla="*/ 34 w 60"/>
                <a:gd name="T5" fmla="*/ 46 h 94"/>
                <a:gd name="T6" fmla="*/ 0 w 60"/>
                <a:gd name="T7" fmla="*/ 12 h 94"/>
                <a:gd name="T8" fmla="*/ 12 w 60"/>
                <a:gd name="T9" fmla="*/ 0 h 94"/>
                <a:gd name="T10" fmla="*/ 60 w 60"/>
                <a:gd name="T11" fmla="*/ 46 h 94"/>
                <a:gd name="T12" fmla="*/ 12 w 60"/>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60" h="94">
                  <a:moveTo>
                    <a:pt x="12" y="94"/>
                  </a:moveTo>
                  <a:lnTo>
                    <a:pt x="0" y="80"/>
                  </a:lnTo>
                  <a:lnTo>
                    <a:pt x="34" y="46"/>
                  </a:lnTo>
                  <a:lnTo>
                    <a:pt x="0" y="12"/>
                  </a:lnTo>
                  <a:lnTo>
                    <a:pt x="12" y="0"/>
                  </a:lnTo>
                  <a:lnTo>
                    <a:pt x="60" y="46"/>
                  </a:lnTo>
                  <a:lnTo>
                    <a:pt x="1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7" name="Rectangle 193">
              <a:extLst>
                <a:ext uri="{FF2B5EF4-FFF2-40B4-BE49-F238E27FC236}">
                  <a16:creationId xmlns:a16="http://schemas.microsoft.com/office/drawing/2014/main" id="{DFDECF4C-69E3-C594-2824-FB0E93553E2B}"/>
                </a:ext>
              </a:extLst>
            </p:cNvPr>
            <p:cNvSpPr>
              <a:spLocks noChangeArrowheads="1"/>
            </p:cNvSpPr>
            <p:nvPr/>
          </p:nvSpPr>
          <p:spPr bwMode="auto">
            <a:xfrm>
              <a:off x="665" y="3248"/>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8" name="Rectangle 194">
              <a:extLst>
                <a:ext uri="{FF2B5EF4-FFF2-40B4-BE49-F238E27FC236}">
                  <a16:creationId xmlns:a16="http://schemas.microsoft.com/office/drawing/2014/main" id="{5D24E9D1-9E66-26FC-7496-CC14BDE11B84}"/>
                </a:ext>
              </a:extLst>
            </p:cNvPr>
            <p:cNvSpPr>
              <a:spLocks noChangeArrowheads="1"/>
            </p:cNvSpPr>
            <p:nvPr/>
          </p:nvSpPr>
          <p:spPr bwMode="auto">
            <a:xfrm>
              <a:off x="665" y="3286"/>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9" name="Rectangle 195">
              <a:extLst>
                <a:ext uri="{FF2B5EF4-FFF2-40B4-BE49-F238E27FC236}">
                  <a16:creationId xmlns:a16="http://schemas.microsoft.com/office/drawing/2014/main" id="{4DE9D7BF-6933-6353-1CB3-53B4361D63D4}"/>
                </a:ext>
              </a:extLst>
            </p:cNvPr>
            <p:cNvSpPr>
              <a:spLocks noChangeArrowheads="1"/>
            </p:cNvSpPr>
            <p:nvPr/>
          </p:nvSpPr>
          <p:spPr bwMode="auto">
            <a:xfrm>
              <a:off x="665" y="3344"/>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0" name="Rectangle 196">
              <a:extLst>
                <a:ext uri="{FF2B5EF4-FFF2-40B4-BE49-F238E27FC236}">
                  <a16:creationId xmlns:a16="http://schemas.microsoft.com/office/drawing/2014/main" id="{EB21F7FA-B14E-2611-452A-9C1CF32EFA42}"/>
                </a:ext>
              </a:extLst>
            </p:cNvPr>
            <p:cNvSpPr>
              <a:spLocks noChangeArrowheads="1"/>
            </p:cNvSpPr>
            <p:nvPr/>
          </p:nvSpPr>
          <p:spPr bwMode="auto">
            <a:xfrm>
              <a:off x="665" y="3382"/>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1" name="Rectangle 197">
              <a:extLst>
                <a:ext uri="{FF2B5EF4-FFF2-40B4-BE49-F238E27FC236}">
                  <a16:creationId xmlns:a16="http://schemas.microsoft.com/office/drawing/2014/main" id="{9385234E-06C7-023F-F44F-E58A2336946B}"/>
                </a:ext>
              </a:extLst>
            </p:cNvPr>
            <p:cNvSpPr>
              <a:spLocks noChangeArrowheads="1"/>
            </p:cNvSpPr>
            <p:nvPr/>
          </p:nvSpPr>
          <p:spPr bwMode="auto">
            <a:xfrm>
              <a:off x="1047" y="3376"/>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2" name="Rectangle 198">
              <a:extLst>
                <a:ext uri="{FF2B5EF4-FFF2-40B4-BE49-F238E27FC236}">
                  <a16:creationId xmlns:a16="http://schemas.microsoft.com/office/drawing/2014/main" id="{B82EF17A-F675-A642-9C32-63F36AFD8004}"/>
                </a:ext>
              </a:extLst>
            </p:cNvPr>
            <p:cNvSpPr>
              <a:spLocks noChangeArrowheads="1"/>
            </p:cNvSpPr>
            <p:nvPr/>
          </p:nvSpPr>
          <p:spPr bwMode="auto">
            <a:xfrm>
              <a:off x="1047" y="3414"/>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3" name="Freeform 199">
              <a:extLst>
                <a:ext uri="{FF2B5EF4-FFF2-40B4-BE49-F238E27FC236}">
                  <a16:creationId xmlns:a16="http://schemas.microsoft.com/office/drawing/2014/main" id="{288EA3DB-2CE6-57A2-5BF5-11189EB39603}"/>
                </a:ext>
              </a:extLst>
            </p:cNvPr>
            <p:cNvSpPr>
              <a:spLocks/>
            </p:cNvSpPr>
            <p:nvPr/>
          </p:nvSpPr>
          <p:spPr bwMode="auto">
            <a:xfrm>
              <a:off x="1177" y="3516"/>
              <a:ext cx="132" cy="128"/>
            </a:xfrm>
            <a:custGeom>
              <a:avLst/>
              <a:gdLst>
                <a:gd name="T0" fmla="*/ 40 w 132"/>
                <a:gd name="T1" fmla="*/ 128 h 128"/>
                <a:gd name="T2" fmla="*/ 0 w 132"/>
                <a:gd name="T3" fmla="*/ 88 h 128"/>
                <a:gd name="T4" fmla="*/ 78 w 132"/>
                <a:gd name="T5" fmla="*/ 88 h 128"/>
                <a:gd name="T6" fmla="*/ 78 w 132"/>
                <a:gd name="T7" fmla="*/ 88 h 128"/>
                <a:gd name="T8" fmla="*/ 84 w 132"/>
                <a:gd name="T9" fmla="*/ 88 h 128"/>
                <a:gd name="T10" fmla="*/ 92 w 132"/>
                <a:gd name="T11" fmla="*/ 86 h 128"/>
                <a:gd name="T12" fmla="*/ 98 w 132"/>
                <a:gd name="T13" fmla="*/ 82 h 128"/>
                <a:gd name="T14" fmla="*/ 102 w 132"/>
                <a:gd name="T15" fmla="*/ 78 h 128"/>
                <a:gd name="T16" fmla="*/ 108 w 132"/>
                <a:gd name="T17" fmla="*/ 72 h 128"/>
                <a:gd name="T18" fmla="*/ 110 w 132"/>
                <a:gd name="T19" fmla="*/ 66 h 128"/>
                <a:gd name="T20" fmla="*/ 112 w 132"/>
                <a:gd name="T21" fmla="*/ 60 h 128"/>
                <a:gd name="T22" fmla="*/ 114 w 132"/>
                <a:gd name="T23" fmla="*/ 54 h 128"/>
                <a:gd name="T24" fmla="*/ 114 w 132"/>
                <a:gd name="T25" fmla="*/ 54 h 128"/>
                <a:gd name="T26" fmla="*/ 112 w 132"/>
                <a:gd name="T27" fmla="*/ 46 h 128"/>
                <a:gd name="T28" fmla="*/ 110 w 132"/>
                <a:gd name="T29" fmla="*/ 40 h 128"/>
                <a:gd name="T30" fmla="*/ 108 w 132"/>
                <a:gd name="T31" fmla="*/ 34 h 128"/>
                <a:gd name="T32" fmla="*/ 102 w 132"/>
                <a:gd name="T33" fmla="*/ 28 h 128"/>
                <a:gd name="T34" fmla="*/ 98 w 132"/>
                <a:gd name="T35" fmla="*/ 24 h 128"/>
                <a:gd name="T36" fmla="*/ 92 w 132"/>
                <a:gd name="T37" fmla="*/ 20 h 128"/>
                <a:gd name="T38" fmla="*/ 84 w 132"/>
                <a:gd name="T39" fmla="*/ 18 h 128"/>
                <a:gd name="T40" fmla="*/ 78 w 132"/>
                <a:gd name="T41" fmla="*/ 18 h 128"/>
                <a:gd name="T42" fmla="*/ 68 w 132"/>
                <a:gd name="T43" fmla="*/ 18 h 128"/>
                <a:gd name="T44" fmla="*/ 68 w 132"/>
                <a:gd name="T45" fmla="*/ 0 h 128"/>
                <a:gd name="T46" fmla="*/ 78 w 132"/>
                <a:gd name="T47" fmla="*/ 0 h 128"/>
                <a:gd name="T48" fmla="*/ 78 w 132"/>
                <a:gd name="T49" fmla="*/ 0 h 128"/>
                <a:gd name="T50" fmla="*/ 88 w 132"/>
                <a:gd name="T51" fmla="*/ 0 h 128"/>
                <a:gd name="T52" fmla="*/ 98 w 132"/>
                <a:gd name="T53" fmla="*/ 4 h 128"/>
                <a:gd name="T54" fmla="*/ 108 w 132"/>
                <a:gd name="T55" fmla="*/ 8 h 128"/>
                <a:gd name="T56" fmla="*/ 116 w 132"/>
                <a:gd name="T57" fmla="*/ 16 h 128"/>
                <a:gd name="T58" fmla="*/ 122 w 132"/>
                <a:gd name="T59" fmla="*/ 24 h 128"/>
                <a:gd name="T60" fmla="*/ 126 w 132"/>
                <a:gd name="T61" fmla="*/ 32 h 128"/>
                <a:gd name="T62" fmla="*/ 130 w 132"/>
                <a:gd name="T63" fmla="*/ 42 h 128"/>
                <a:gd name="T64" fmla="*/ 132 w 132"/>
                <a:gd name="T65" fmla="*/ 54 h 128"/>
                <a:gd name="T66" fmla="*/ 132 w 132"/>
                <a:gd name="T67" fmla="*/ 54 h 128"/>
                <a:gd name="T68" fmla="*/ 130 w 132"/>
                <a:gd name="T69" fmla="*/ 64 h 128"/>
                <a:gd name="T70" fmla="*/ 126 w 132"/>
                <a:gd name="T71" fmla="*/ 74 h 128"/>
                <a:gd name="T72" fmla="*/ 122 w 132"/>
                <a:gd name="T73" fmla="*/ 84 h 128"/>
                <a:gd name="T74" fmla="*/ 116 w 132"/>
                <a:gd name="T75" fmla="*/ 90 h 128"/>
                <a:gd name="T76" fmla="*/ 108 w 132"/>
                <a:gd name="T77" fmla="*/ 98 h 128"/>
                <a:gd name="T78" fmla="*/ 98 w 132"/>
                <a:gd name="T79" fmla="*/ 102 h 128"/>
                <a:gd name="T80" fmla="*/ 88 w 132"/>
                <a:gd name="T81" fmla="*/ 106 h 128"/>
                <a:gd name="T82" fmla="*/ 78 w 132"/>
                <a:gd name="T83" fmla="*/ 106 h 128"/>
                <a:gd name="T84" fmla="*/ 44 w 132"/>
                <a:gd name="T85" fmla="*/ 106 h 128"/>
                <a:gd name="T86" fmla="*/ 52 w 132"/>
                <a:gd name="T87" fmla="*/ 116 h 128"/>
                <a:gd name="T88" fmla="*/ 40 w 132"/>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8">
                  <a:moveTo>
                    <a:pt x="40" y="128"/>
                  </a:moveTo>
                  <a:lnTo>
                    <a:pt x="0" y="88"/>
                  </a:lnTo>
                  <a:lnTo>
                    <a:pt x="78" y="88"/>
                  </a:lnTo>
                  <a:lnTo>
                    <a:pt x="78" y="88"/>
                  </a:lnTo>
                  <a:lnTo>
                    <a:pt x="84" y="88"/>
                  </a:lnTo>
                  <a:lnTo>
                    <a:pt x="92" y="86"/>
                  </a:lnTo>
                  <a:lnTo>
                    <a:pt x="98" y="82"/>
                  </a:lnTo>
                  <a:lnTo>
                    <a:pt x="102" y="78"/>
                  </a:lnTo>
                  <a:lnTo>
                    <a:pt x="108" y="72"/>
                  </a:lnTo>
                  <a:lnTo>
                    <a:pt x="110" y="66"/>
                  </a:lnTo>
                  <a:lnTo>
                    <a:pt x="112" y="60"/>
                  </a:lnTo>
                  <a:lnTo>
                    <a:pt x="114" y="54"/>
                  </a:lnTo>
                  <a:lnTo>
                    <a:pt x="114" y="54"/>
                  </a:lnTo>
                  <a:lnTo>
                    <a:pt x="112" y="46"/>
                  </a:lnTo>
                  <a:lnTo>
                    <a:pt x="110" y="40"/>
                  </a:lnTo>
                  <a:lnTo>
                    <a:pt x="108" y="34"/>
                  </a:lnTo>
                  <a:lnTo>
                    <a:pt x="102" y="28"/>
                  </a:lnTo>
                  <a:lnTo>
                    <a:pt x="98" y="24"/>
                  </a:lnTo>
                  <a:lnTo>
                    <a:pt x="92" y="20"/>
                  </a:lnTo>
                  <a:lnTo>
                    <a:pt x="84" y="18"/>
                  </a:lnTo>
                  <a:lnTo>
                    <a:pt x="78" y="18"/>
                  </a:lnTo>
                  <a:lnTo>
                    <a:pt x="68" y="18"/>
                  </a:lnTo>
                  <a:lnTo>
                    <a:pt x="68" y="0"/>
                  </a:lnTo>
                  <a:lnTo>
                    <a:pt x="78" y="0"/>
                  </a:lnTo>
                  <a:lnTo>
                    <a:pt x="78" y="0"/>
                  </a:lnTo>
                  <a:lnTo>
                    <a:pt x="88" y="0"/>
                  </a:lnTo>
                  <a:lnTo>
                    <a:pt x="98" y="4"/>
                  </a:lnTo>
                  <a:lnTo>
                    <a:pt x="108" y="8"/>
                  </a:lnTo>
                  <a:lnTo>
                    <a:pt x="116" y="16"/>
                  </a:lnTo>
                  <a:lnTo>
                    <a:pt x="122" y="24"/>
                  </a:lnTo>
                  <a:lnTo>
                    <a:pt x="126" y="32"/>
                  </a:lnTo>
                  <a:lnTo>
                    <a:pt x="130" y="42"/>
                  </a:lnTo>
                  <a:lnTo>
                    <a:pt x="132" y="54"/>
                  </a:lnTo>
                  <a:lnTo>
                    <a:pt x="132" y="54"/>
                  </a:lnTo>
                  <a:lnTo>
                    <a:pt x="130" y="64"/>
                  </a:lnTo>
                  <a:lnTo>
                    <a:pt x="126" y="74"/>
                  </a:lnTo>
                  <a:lnTo>
                    <a:pt x="122" y="84"/>
                  </a:lnTo>
                  <a:lnTo>
                    <a:pt x="116" y="90"/>
                  </a:lnTo>
                  <a:lnTo>
                    <a:pt x="108" y="98"/>
                  </a:lnTo>
                  <a:lnTo>
                    <a:pt x="98" y="102"/>
                  </a:lnTo>
                  <a:lnTo>
                    <a:pt x="88" y="106"/>
                  </a:lnTo>
                  <a:lnTo>
                    <a:pt x="78" y="106"/>
                  </a:lnTo>
                  <a:lnTo>
                    <a:pt x="44" y="106"/>
                  </a:lnTo>
                  <a:lnTo>
                    <a:pt x="52" y="116"/>
                  </a:lnTo>
                  <a:lnTo>
                    <a:pt x="4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4" name="Freeform 200">
              <a:extLst>
                <a:ext uri="{FF2B5EF4-FFF2-40B4-BE49-F238E27FC236}">
                  <a16:creationId xmlns:a16="http://schemas.microsoft.com/office/drawing/2014/main" id="{97B8CED7-0A7F-19B5-729F-D3EF81C467F1}"/>
                </a:ext>
              </a:extLst>
            </p:cNvPr>
            <p:cNvSpPr>
              <a:spLocks/>
            </p:cNvSpPr>
            <p:nvPr/>
          </p:nvSpPr>
          <p:spPr bwMode="auto">
            <a:xfrm>
              <a:off x="1109" y="3494"/>
              <a:ext cx="116" cy="128"/>
            </a:xfrm>
            <a:custGeom>
              <a:avLst/>
              <a:gdLst>
                <a:gd name="T0" fmla="*/ 62 w 116"/>
                <a:gd name="T1" fmla="*/ 128 h 128"/>
                <a:gd name="T2" fmla="*/ 54 w 116"/>
                <a:gd name="T3" fmla="*/ 128 h 128"/>
                <a:gd name="T4" fmla="*/ 54 w 116"/>
                <a:gd name="T5" fmla="*/ 128 h 128"/>
                <a:gd name="T6" fmla="*/ 42 w 116"/>
                <a:gd name="T7" fmla="*/ 128 h 128"/>
                <a:gd name="T8" fmla="*/ 32 w 116"/>
                <a:gd name="T9" fmla="*/ 124 h 128"/>
                <a:gd name="T10" fmla="*/ 24 w 116"/>
                <a:gd name="T11" fmla="*/ 120 h 128"/>
                <a:gd name="T12" fmla="*/ 16 w 116"/>
                <a:gd name="T13" fmla="*/ 112 h 128"/>
                <a:gd name="T14" fmla="*/ 8 w 116"/>
                <a:gd name="T15" fmla="*/ 106 h 128"/>
                <a:gd name="T16" fmla="*/ 4 w 116"/>
                <a:gd name="T17" fmla="*/ 96 h 128"/>
                <a:gd name="T18" fmla="*/ 0 w 116"/>
                <a:gd name="T19" fmla="*/ 86 h 128"/>
                <a:gd name="T20" fmla="*/ 0 w 116"/>
                <a:gd name="T21" fmla="*/ 76 h 128"/>
                <a:gd name="T22" fmla="*/ 0 w 116"/>
                <a:gd name="T23" fmla="*/ 76 h 128"/>
                <a:gd name="T24" fmla="*/ 0 w 116"/>
                <a:gd name="T25" fmla="*/ 64 h 128"/>
                <a:gd name="T26" fmla="*/ 4 w 116"/>
                <a:gd name="T27" fmla="*/ 54 h 128"/>
                <a:gd name="T28" fmla="*/ 8 w 116"/>
                <a:gd name="T29" fmla="*/ 46 h 128"/>
                <a:gd name="T30" fmla="*/ 16 w 116"/>
                <a:gd name="T31" fmla="*/ 38 h 128"/>
                <a:gd name="T32" fmla="*/ 24 w 116"/>
                <a:gd name="T33" fmla="*/ 30 h 128"/>
                <a:gd name="T34" fmla="*/ 32 w 116"/>
                <a:gd name="T35" fmla="*/ 26 h 128"/>
                <a:gd name="T36" fmla="*/ 42 w 116"/>
                <a:gd name="T37" fmla="*/ 22 h 128"/>
                <a:gd name="T38" fmla="*/ 54 w 116"/>
                <a:gd name="T39" fmla="*/ 22 h 128"/>
                <a:gd name="T40" fmla="*/ 74 w 116"/>
                <a:gd name="T41" fmla="*/ 22 h 128"/>
                <a:gd name="T42" fmla="*/ 64 w 116"/>
                <a:gd name="T43" fmla="*/ 14 h 128"/>
                <a:gd name="T44" fmla="*/ 78 w 116"/>
                <a:gd name="T45" fmla="*/ 0 h 128"/>
                <a:gd name="T46" fmla="*/ 116 w 116"/>
                <a:gd name="T47" fmla="*/ 40 h 128"/>
                <a:gd name="T48" fmla="*/ 54 w 116"/>
                <a:gd name="T49" fmla="*/ 40 h 128"/>
                <a:gd name="T50" fmla="*/ 54 w 116"/>
                <a:gd name="T51" fmla="*/ 40 h 128"/>
                <a:gd name="T52" fmla="*/ 46 w 116"/>
                <a:gd name="T53" fmla="*/ 40 h 128"/>
                <a:gd name="T54" fmla="*/ 40 w 116"/>
                <a:gd name="T55" fmla="*/ 42 h 128"/>
                <a:gd name="T56" fmla="*/ 34 w 116"/>
                <a:gd name="T57" fmla="*/ 46 h 128"/>
                <a:gd name="T58" fmla="*/ 28 w 116"/>
                <a:gd name="T59" fmla="*/ 50 h 128"/>
                <a:gd name="T60" fmla="*/ 24 w 116"/>
                <a:gd name="T61" fmla="*/ 56 h 128"/>
                <a:gd name="T62" fmla="*/ 20 w 116"/>
                <a:gd name="T63" fmla="*/ 62 h 128"/>
                <a:gd name="T64" fmla="*/ 18 w 116"/>
                <a:gd name="T65" fmla="*/ 68 h 128"/>
                <a:gd name="T66" fmla="*/ 18 w 116"/>
                <a:gd name="T67" fmla="*/ 76 h 128"/>
                <a:gd name="T68" fmla="*/ 18 w 116"/>
                <a:gd name="T69" fmla="*/ 76 h 128"/>
                <a:gd name="T70" fmla="*/ 18 w 116"/>
                <a:gd name="T71" fmla="*/ 82 h 128"/>
                <a:gd name="T72" fmla="*/ 20 w 116"/>
                <a:gd name="T73" fmla="*/ 88 h 128"/>
                <a:gd name="T74" fmla="*/ 24 w 116"/>
                <a:gd name="T75" fmla="*/ 94 h 128"/>
                <a:gd name="T76" fmla="*/ 28 w 116"/>
                <a:gd name="T77" fmla="*/ 100 h 128"/>
                <a:gd name="T78" fmla="*/ 34 w 116"/>
                <a:gd name="T79" fmla="*/ 104 h 128"/>
                <a:gd name="T80" fmla="*/ 40 w 116"/>
                <a:gd name="T81" fmla="*/ 108 h 128"/>
                <a:gd name="T82" fmla="*/ 46 w 116"/>
                <a:gd name="T83" fmla="*/ 110 h 128"/>
                <a:gd name="T84" fmla="*/ 54 w 116"/>
                <a:gd name="T85" fmla="*/ 110 h 128"/>
                <a:gd name="T86" fmla="*/ 62 w 116"/>
                <a:gd name="T87" fmla="*/ 110 h 128"/>
                <a:gd name="T88" fmla="*/ 62 w 116"/>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8">
                  <a:moveTo>
                    <a:pt x="62" y="128"/>
                  </a:moveTo>
                  <a:lnTo>
                    <a:pt x="54" y="128"/>
                  </a:lnTo>
                  <a:lnTo>
                    <a:pt x="54" y="128"/>
                  </a:lnTo>
                  <a:lnTo>
                    <a:pt x="42" y="128"/>
                  </a:lnTo>
                  <a:lnTo>
                    <a:pt x="32" y="124"/>
                  </a:lnTo>
                  <a:lnTo>
                    <a:pt x="24" y="120"/>
                  </a:lnTo>
                  <a:lnTo>
                    <a:pt x="16" y="112"/>
                  </a:lnTo>
                  <a:lnTo>
                    <a:pt x="8" y="106"/>
                  </a:lnTo>
                  <a:lnTo>
                    <a:pt x="4" y="96"/>
                  </a:lnTo>
                  <a:lnTo>
                    <a:pt x="0" y="86"/>
                  </a:lnTo>
                  <a:lnTo>
                    <a:pt x="0" y="76"/>
                  </a:lnTo>
                  <a:lnTo>
                    <a:pt x="0" y="76"/>
                  </a:lnTo>
                  <a:lnTo>
                    <a:pt x="0" y="64"/>
                  </a:lnTo>
                  <a:lnTo>
                    <a:pt x="4" y="54"/>
                  </a:lnTo>
                  <a:lnTo>
                    <a:pt x="8" y="46"/>
                  </a:lnTo>
                  <a:lnTo>
                    <a:pt x="16" y="38"/>
                  </a:lnTo>
                  <a:lnTo>
                    <a:pt x="24" y="30"/>
                  </a:lnTo>
                  <a:lnTo>
                    <a:pt x="32" y="26"/>
                  </a:lnTo>
                  <a:lnTo>
                    <a:pt x="42" y="22"/>
                  </a:lnTo>
                  <a:lnTo>
                    <a:pt x="54" y="22"/>
                  </a:lnTo>
                  <a:lnTo>
                    <a:pt x="74" y="22"/>
                  </a:lnTo>
                  <a:lnTo>
                    <a:pt x="64" y="14"/>
                  </a:lnTo>
                  <a:lnTo>
                    <a:pt x="78" y="0"/>
                  </a:lnTo>
                  <a:lnTo>
                    <a:pt x="116" y="40"/>
                  </a:lnTo>
                  <a:lnTo>
                    <a:pt x="54" y="40"/>
                  </a:lnTo>
                  <a:lnTo>
                    <a:pt x="54" y="40"/>
                  </a:lnTo>
                  <a:lnTo>
                    <a:pt x="46" y="40"/>
                  </a:lnTo>
                  <a:lnTo>
                    <a:pt x="40" y="42"/>
                  </a:lnTo>
                  <a:lnTo>
                    <a:pt x="34" y="46"/>
                  </a:lnTo>
                  <a:lnTo>
                    <a:pt x="28" y="50"/>
                  </a:lnTo>
                  <a:lnTo>
                    <a:pt x="24" y="56"/>
                  </a:lnTo>
                  <a:lnTo>
                    <a:pt x="20" y="62"/>
                  </a:lnTo>
                  <a:lnTo>
                    <a:pt x="18" y="68"/>
                  </a:lnTo>
                  <a:lnTo>
                    <a:pt x="18" y="76"/>
                  </a:lnTo>
                  <a:lnTo>
                    <a:pt x="18" y="76"/>
                  </a:lnTo>
                  <a:lnTo>
                    <a:pt x="18" y="82"/>
                  </a:lnTo>
                  <a:lnTo>
                    <a:pt x="20" y="88"/>
                  </a:lnTo>
                  <a:lnTo>
                    <a:pt x="24" y="94"/>
                  </a:lnTo>
                  <a:lnTo>
                    <a:pt x="28" y="100"/>
                  </a:lnTo>
                  <a:lnTo>
                    <a:pt x="34" y="104"/>
                  </a:lnTo>
                  <a:lnTo>
                    <a:pt x="40" y="108"/>
                  </a:lnTo>
                  <a:lnTo>
                    <a:pt x="46" y="110"/>
                  </a:lnTo>
                  <a:lnTo>
                    <a:pt x="54" y="110"/>
                  </a:lnTo>
                  <a:lnTo>
                    <a:pt x="62" y="110"/>
                  </a:lnTo>
                  <a:lnTo>
                    <a:pt x="6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5" name="Line 201">
              <a:extLst>
                <a:ext uri="{FF2B5EF4-FFF2-40B4-BE49-F238E27FC236}">
                  <a16:creationId xmlns:a16="http://schemas.microsoft.com/office/drawing/2014/main" id="{ACEE7CD8-9DA7-1EFD-C996-A881432FF815}"/>
                </a:ext>
              </a:extLst>
            </p:cNvPr>
            <p:cNvSpPr>
              <a:spLocks noChangeShapeType="1"/>
            </p:cNvSpPr>
            <p:nvPr/>
          </p:nvSpPr>
          <p:spPr bwMode="auto">
            <a:xfrm>
              <a:off x="991" y="31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6" name="Line 202">
              <a:extLst>
                <a:ext uri="{FF2B5EF4-FFF2-40B4-BE49-F238E27FC236}">
                  <a16:creationId xmlns:a16="http://schemas.microsoft.com/office/drawing/2014/main" id="{5FB79948-066C-5721-9525-CC4DBD1E719F}"/>
                </a:ext>
              </a:extLst>
            </p:cNvPr>
            <p:cNvSpPr>
              <a:spLocks noChangeShapeType="1"/>
            </p:cNvSpPr>
            <p:nvPr/>
          </p:nvSpPr>
          <p:spPr bwMode="auto">
            <a:xfrm>
              <a:off x="991" y="3162"/>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7" name="Line 203">
              <a:extLst>
                <a:ext uri="{FF2B5EF4-FFF2-40B4-BE49-F238E27FC236}">
                  <a16:creationId xmlns:a16="http://schemas.microsoft.com/office/drawing/2014/main" id="{0E163987-8A8F-5996-7DCB-9AABE7729FF1}"/>
                </a:ext>
              </a:extLst>
            </p:cNvPr>
            <p:cNvSpPr>
              <a:spLocks noChangeShapeType="1"/>
            </p:cNvSpPr>
            <p:nvPr/>
          </p:nvSpPr>
          <p:spPr bwMode="auto">
            <a:xfrm>
              <a:off x="899" y="307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8" name="Line 204">
              <a:extLst>
                <a:ext uri="{FF2B5EF4-FFF2-40B4-BE49-F238E27FC236}">
                  <a16:creationId xmlns:a16="http://schemas.microsoft.com/office/drawing/2014/main" id="{1AA946AF-128C-D133-F375-60170E8A8550}"/>
                </a:ext>
              </a:extLst>
            </p:cNvPr>
            <p:cNvSpPr>
              <a:spLocks noChangeShapeType="1"/>
            </p:cNvSpPr>
            <p:nvPr/>
          </p:nvSpPr>
          <p:spPr bwMode="auto">
            <a:xfrm>
              <a:off x="899" y="3074"/>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cxnSp>
        <p:nvCxnSpPr>
          <p:cNvPr id="476" name="Straight Arrow Connector 475">
            <a:extLst>
              <a:ext uri="{FF2B5EF4-FFF2-40B4-BE49-F238E27FC236}">
                <a16:creationId xmlns:a16="http://schemas.microsoft.com/office/drawing/2014/main" id="{2F8442B0-FC40-AEC1-9017-674CC184CEA8}"/>
              </a:ext>
            </a:extLst>
          </p:cNvPr>
          <p:cNvCxnSpPr>
            <a:cxnSpLocks/>
          </p:cNvCxnSpPr>
          <p:nvPr/>
        </p:nvCxnSpPr>
        <p:spPr>
          <a:xfrm>
            <a:off x="1189850" y="6547802"/>
            <a:ext cx="5105278"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479" name="Rectangle 478">
            <a:extLst>
              <a:ext uri="{FF2B5EF4-FFF2-40B4-BE49-F238E27FC236}">
                <a16:creationId xmlns:a16="http://schemas.microsoft.com/office/drawing/2014/main" id="{DA0BD674-2055-8F4C-D2A0-4338DE46D074}"/>
              </a:ext>
            </a:extLst>
          </p:cNvPr>
          <p:cNvSpPr/>
          <p:nvPr/>
        </p:nvSpPr>
        <p:spPr>
          <a:xfrm>
            <a:off x="3308604" y="6535596"/>
            <a:ext cx="867770" cy="322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1 month</a:t>
            </a:r>
            <a:endParaRPr kumimoji="0" lang="en-GB"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cxnSp>
        <p:nvCxnSpPr>
          <p:cNvPr id="471" name="Straight Arrow Connector 470">
            <a:extLst>
              <a:ext uri="{FF2B5EF4-FFF2-40B4-BE49-F238E27FC236}">
                <a16:creationId xmlns:a16="http://schemas.microsoft.com/office/drawing/2014/main" id="{19CCAE70-74AE-3FEB-8DB9-2648F9DEEBB4}"/>
              </a:ext>
            </a:extLst>
          </p:cNvPr>
          <p:cNvCxnSpPr>
            <a:cxnSpLocks/>
          </p:cNvCxnSpPr>
          <p:nvPr/>
        </p:nvCxnSpPr>
        <p:spPr>
          <a:xfrm>
            <a:off x="6502850" y="6547802"/>
            <a:ext cx="2443205"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73" name="Straight Arrow Connector 472">
            <a:extLst>
              <a:ext uri="{FF2B5EF4-FFF2-40B4-BE49-F238E27FC236}">
                <a16:creationId xmlns:a16="http://schemas.microsoft.com/office/drawing/2014/main" id="{EE6AAA00-891B-C2B6-A907-D088286B06EE}"/>
              </a:ext>
            </a:extLst>
          </p:cNvPr>
          <p:cNvCxnSpPr>
            <a:cxnSpLocks/>
          </p:cNvCxnSpPr>
          <p:nvPr/>
        </p:nvCxnSpPr>
        <p:spPr>
          <a:xfrm>
            <a:off x="9193829" y="6547802"/>
            <a:ext cx="2443205"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480" name="Rectangle 479">
            <a:extLst>
              <a:ext uri="{FF2B5EF4-FFF2-40B4-BE49-F238E27FC236}">
                <a16:creationId xmlns:a16="http://schemas.microsoft.com/office/drawing/2014/main" id="{793E04EF-E2A8-9F99-A2DB-4D8EB5AEED02}"/>
              </a:ext>
            </a:extLst>
          </p:cNvPr>
          <p:cNvSpPr/>
          <p:nvPr/>
        </p:nvSpPr>
        <p:spPr>
          <a:xfrm>
            <a:off x="7290568" y="6515275"/>
            <a:ext cx="867770" cy="322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7 months</a:t>
            </a:r>
            <a:endParaRPr kumimoji="0" lang="en-GB"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481" name="Rectangle 480">
            <a:extLst>
              <a:ext uri="{FF2B5EF4-FFF2-40B4-BE49-F238E27FC236}">
                <a16:creationId xmlns:a16="http://schemas.microsoft.com/office/drawing/2014/main" id="{3122DDD8-D46E-DF24-7315-9D1716C52706}"/>
              </a:ext>
            </a:extLst>
          </p:cNvPr>
          <p:cNvSpPr/>
          <p:nvPr/>
        </p:nvSpPr>
        <p:spPr>
          <a:xfrm>
            <a:off x="9981547" y="6515275"/>
            <a:ext cx="867770" cy="322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1 month</a:t>
            </a:r>
            <a:endParaRPr kumimoji="0" lang="en-GB" sz="10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483" name="Content Placeholder 2" descr="Progress Diagram.">
            <a:extLst>
              <a:ext uri="{FF2B5EF4-FFF2-40B4-BE49-F238E27FC236}">
                <a16:creationId xmlns:a16="http://schemas.microsoft.com/office/drawing/2014/main" id="{0A2BB77A-417F-B83A-80F7-B848ED3D926A}"/>
              </a:ext>
            </a:extLst>
          </p:cNvPr>
          <p:cNvSpPr txBox="1">
            <a:spLocks/>
          </p:cNvSpPr>
          <p:nvPr/>
        </p:nvSpPr>
        <p:spPr>
          <a:xfrm>
            <a:off x="712147" y="1525858"/>
            <a:ext cx="338400" cy="2145600"/>
          </a:xfrm>
          <a:prstGeom prst="roundRect">
            <a:avLst>
              <a:gd name="adj" fmla="val 50000"/>
            </a:avLst>
          </a:prstGeom>
          <a:solidFill>
            <a:srgbClr val="AF154B"/>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tages:</a:t>
            </a:r>
          </a:p>
        </p:txBody>
      </p:sp>
      <p:sp>
        <p:nvSpPr>
          <p:cNvPr id="484" name="Content Placeholder 2" descr="Progress Diagram.">
            <a:extLst>
              <a:ext uri="{FF2B5EF4-FFF2-40B4-BE49-F238E27FC236}">
                <a16:creationId xmlns:a16="http://schemas.microsoft.com/office/drawing/2014/main" id="{A0190510-49F0-6314-F7B3-218AB03D67E9}"/>
              </a:ext>
            </a:extLst>
          </p:cNvPr>
          <p:cNvSpPr txBox="1">
            <a:spLocks/>
          </p:cNvSpPr>
          <p:nvPr/>
        </p:nvSpPr>
        <p:spPr>
          <a:xfrm>
            <a:off x="712147" y="3740625"/>
            <a:ext cx="338400" cy="2145600"/>
          </a:xfrm>
          <a:prstGeom prst="roundRect">
            <a:avLst>
              <a:gd name="adj" fmla="val 50000"/>
            </a:avLst>
          </a:prstGeom>
          <a:solidFill>
            <a:srgbClr val="AF154B"/>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pproach description:</a:t>
            </a:r>
          </a:p>
        </p:txBody>
      </p:sp>
      <p:grpSp>
        <p:nvGrpSpPr>
          <p:cNvPr id="4" name="Group 3">
            <a:extLst>
              <a:ext uri="{FF2B5EF4-FFF2-40B4-BE49-F238E27FC236}">
                <a16:creationId xmlns:a16="http://schemas.microsoft.com/office/drawing/2014/main" id="{1D996025-0C7A-4FAB-B11D-A8E796AC65E2}"/>
              </a:ext>
            </a:extLst>
          </p:cNvPr>
          <p:cNvGrpSpPr/>
          <p:nvPr/>
        </p:nvGrpSpPr>
        <p:grpSpPr>
          <a:xfrm>
            <a:off x="10130516" y="2203458"/>
            <a:ext cx="657882" cy="651082"/>
            <a:chOff x="7031038" y="2970213"/>
            <a:chExt cx="1228725" cy="1216025"/>
          </a:xfrm>
          <a:solidFill>
            <a:schemeClr val="bg1"/>
          </a:solidFill>
        </p:grpSpPr>
        <p:sp>
          <p:nvSpPr>
            <p:cNvPr id="5" name="Freeform 5">
              <a:extLst>
                <a:ext uri="{FF2B5EF4-FFF2-40B4-BE49-F238E27FC236}">
                  <a16:creationId xmlns:a16="http://schemas.microsoft.com/office/drawing/2014/main" id="{A1CCC795-C821-0939-743E-AA0A01C3BFA7}"/>
                </a:ext>
              </a:extLst>
            </p:cNvPr>
            <p:cNvSpPr>
              <a:spLocks/>
            </p:cNvSpPr>
            <p:nvPr/>
          </p:nvSpPr>
          <p:spPr bwMode="auto">
            <a:xfrm>
              <a:off x="7183438" y="3081338"/>
              <a:ext cx="930275" cy="600075"/>
            </a:xfrm>
            <a:custGeom>
              <a:avLst/>
              <a:gdLst>
                <a:gd name="T0" fmla="*/ 12 w 586"/>
                <a:gd name="T1" fmla="*/ 378 h 378"/>
                <a:gd name="T2" fmla="*/ 0 w 586"/>
                <a:gd name="T3" fmla="*/ 364 h 378"/>
                <a:gd name="T4" fmla="*/ 136 w 586"/>
                <a:gd name="T5" fmla="*/ 228 h 378"/>
                <a:gd name="T6" fmla="*/ 256 w 586"/>
                <a:gd name="T7" fmla="*/ 228 h 378"/>
                <a:gd name="T8" fmla="*/ 372 w 586"/>
                <a:gd name="T9" fmla="*/ 112 h 378"/>
                <a:gd name="T10" fmla="*/ 462 w 586"/>
                <a:gd name="T11" fmla="*/ 112 h 378"/>
                <a:gd name="T12" fmla="*/ 574 w 586"/>
                <a:gd name="T13" fmla="*/ 0 h 378"/>
                <a:gd name="T14" fmla="*/ 586 w 586"/>
                <a:gd name="T15" fmla="*/ 14 h 378"/>
                <a:gd name="T16" fmla="*/ 470 w 586"/>
                <a:gd name="T17" fmla="*/ 130 h 378"/>
                <a:gd name="T18" fmla="*/ 380 w 586"/>
                <a:gd name="T19" fmla="*/ 130 h 378"/>
                <a:gd name="T20" fmla="*/ 264 w 586"/>
                <a:gd name="T21" fmla="*/ 246 h 378"/>
                <a:gd name="T22" fmla="*/ 144 w 586"/>
                <a:gd name="T23" fmla="*/ 246 h 378"/>
                <a:gd name="T24" fmla="*/ 12 w 586"/>
                <a:gd name="T25"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378">
                  <a:moveTo>
                    <a:pt x="12" y="378"/>
                  </a:moveTo>
                  <a:lnTo>
                    <a:pt x="0" y="364"/>
                  </a:lnTo>
                  <a:lnTo>
                    <a:pt x="136" y="228"/>
                  </a:lnTo>
                  <a:lnTo>
                    <a:pt x="256" y="228"/>
                  </a:lnTo>
                  <a:lnTo>
                    <a:pt x="372" y="112"/>
                  </a:lnTo>
                  <a:lnTo>
                    <a:pt x="462" y="112"/>
                  </a:lnTo>
                  <a:lnTo>
                    <a:pt x="574" y="0"/>
                  </a:lnTo>
                  <a:lnTo>
                    <a:pt x="586" y="14"/>
                  </a:lnTo>
                  <a:lnTo>
                    <a:pt x="470" y="130"/>
                  </a:lnTo>
                  <a:lnTo>
                    <a:pt x="380" y="130"/>
                  </a:lnTo>
                  <a:lnTo>
                    <a:pt x="264" y="246"/>
                  </a:lnTo>
                  <a:lnTo>
                    <a:pt x="144" y="246"/>
                  </a:lnTo>
                  <a:lnTo>
                    <a:pt x="12" y="3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Rectangle 6">
              <a:extLst>
                <a:ext uri="{FF2B5EF4-FFF2-40B4-BE49-F238E27FC236}">
                  <a16:creationId xmlns:a16="http://schemas.microsoft.com/office/drawing/2014/main" id="{8DB64A40-7618-12F9-669A-A9DE4864A5AF}"/>
                </a:ext>
              </a:extLst>
            </p:cNvPr>
            <p:cNvSpPr>
              <a:spLocks noChangeArrowheads="1"/>
            </p:cNvSpPr>
            <p:nvPr/>
          </p:nvSpPr>
          <p:spPr bwMode="auto">
            <a:xfrm>
              <a:off x="7116763" y="2970213"/>
              <a:ext cx="28575" cy="12160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9CCFC4F5-B3A4-D2B8-B277-ACAD33AFF361}"/>
                </a:ext>
              </a:extLst>
            </p:cNvPr>
            <p:cNvSpPr>
              <a:spLocks noChangeArrowheads="1"/>
            </p:cNvSpPr>
            <p:nvPr/>
          </p:nvSpPr>
          <p:spPr bwMode="auto">
            <a:xfrm>
              <a:off x="7031038" y="4071938"/>
              <a:ext cx="12287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4D28B8AA-C7C7-97D6-B3A0-4A7400E4C03A}"/>
                </a:ext>
              </a:extLst>
            </p:cNvPr>
            <p:cNvSpPr>
              <a:spLocks noChangeArrowheads="1"/>
            </p:cNvSpPr>
            <p:nvPr/>
          </p:nvSpPr>
          <p:spPr bwMode="auto">
            <a:xfrm>
              <a:off x="7215188" y="3881438"/>
              <a:ext cx="28575" cy="155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 name="Rectangle 9">
              <a:extLst>
                <a:ext uri="{FF2B5EF4-FFF2-40B4-BE49-F238E27FC236}">
                  <a16:creationId xmlns:a16="http://schemas.microsoft.com/office/drawing/2014/main" id="{6026D11D-9641-644A-3011-8D371D4F466F}"/>
                </a:ext>
              </a:extLst>
            </p:cNvPr>
            <p:cNvSpPr>
              <a:spLocks noChangeArrowheads="1"/>
            </p:cNvSpPr>
            <p:nvPr/>
          </p:nvSpPr>
          <p:spPr bwMode="auto">
            <a:xfrm>
              <a:off x="72151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Rectangle 10">
              <a:extLst>
                <a:ext uri="{FF2B5EF4-FFF2-40B4-BE49-F238E27FC236}">
                  <a16:creationId xmlns:a16="http://schemas.microsoft.com/office/drawing/2014/main" id="{152467AD-69D6-55EA-C4E7-DEAFFFE88A65}"/>
                </a:ext>
              </a:extLst>
            </p:cNvPr>
            <p:cNvSpPr>
              <a:spLocks noChangeArrowheads="1"/>
            </p:cNvSpPr>
            <p:nvPr/>
          </p:nvSpPr>
          <p:spPr bwMode="auto">
            <a:xfrm>
              <a:off x="72977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Rectangle 11">
              <a:extLst>
                <a:ext uri="{FF2B5EF4-FFF2-40B4-BE49-F238E27FC236}">
                  <a16:creationId xmlns:a16="http://schemas.microsoft.com/office/drawing/2014/main" id="{41153C7C-F320-53E3-09BC-397B1B5035F8}"/>
                </a:ext>
              </a:extLst>
            </p:cNvPr>
            <p:cNvSpPr>
              <a:spLocks noChangeArrowheads="1"/>
            </p:cNvSpPr>
            <p:nvPr/>
          </p:nvSpPr>
          <p:spPr bwMode="auto">
            <a:xfrm>
              <a:off x="73771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Rectangle 12">
              <a:extLst>
                <a:ext uri="{FF2B5EF4-FFF2-40B4-BE49-F238E27FC236}">
                  <a16:creationId xmlns:a16="http://schemas.microsoft.com/office/drawing/2014/main" id="{6BF0B26C-AC8C-739D-71F9-D743805F34F8}"/>
                </a:ext>
              </a:extLst>
            </p:cNvPr>
            <p:cNvSpPr>
              <a:spLocks noChangeArrowheads="1"/>
            </p:cNvSpPr>
            <p:nvPr/>
          </p:nvSpPr>
          <p:spPr bwMode="auto">
            <a:xfrm>
              <a:off x="74564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1" name="Rectangle 13">
              <a:extLst>
                <a:ext uri="{FF2B5EF4-FFF2-40B4-BE49-F238E27FC236}">
                  <a16:creationId xmlns:a16="http://schemas.microsoft.com/office/drawing/2014/main" id="{5E784076-56EA-D03C-199D-001ED95FEDF7}"/>
                </a:ext>
              </a:extLst>
            </p:cNvPr>
            <p:cNvSpPr>
              <a:spLocks noChangeArrowheads="1"/>
            </p:cNvSpPr>
            <p:nvPr/>
          </p:nvSpPr>
          <p:spPr bwMode="auto">
            <a:xfrm>
              <a:off x="75390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Rectangle 14">
              <a:extLst>
                <a:ext uri="{FF2B5EF4-FFF2-40B4-BE49-F238E27FC236}">
                  <a16:creationId xmlns:a16="http://schemas.microsoft.com/office/drawing/2014/main" id="{38ED6AE6-5298-C5FF-DC46-B5A07440FD59}"/>
                </a:ext>
              </a:extLst>
            </p:cNvPr>
            <p:cNvSpPr>
              <a:spLocks noChangeArrowheads="1"/>
            </p:cNvSpPr>
            <p:nvPr/>
          </p:nvSpPr>
          <p:spPr bwMode="auto">
            <a:xfrm>
              <a:off x="76184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Rectangle 15">
              <a:extLst>
                <a:ext uri="{FF2B5EF4-FFF2-40B4-BE49-F238E27FC236}">
                  <a16:creationId xmlns:a16="http://schemas.microsoft.com/office/drawing/2014/main" id="{298211AC-6D75-1FDF-2740-4100FD8C4E54}"/>
                </a:ext>
              </a:extLst>
            </p:cNvPr>
            <p:cNvSpPr>
              <a:spLocks noChangeArrowheads="1"/>
            </p:cNvSpPr>
            <p:nvPr/>
          </p:nvSpPr>
          <p:spPr bwMode="auto">
            <a:xfrm>
              <a:off x="770096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Rectangle 16">
              <a:extLst>
                <a:ext uri="{FF2B5EF4-FFF2-40B4-BE49-F238E27FC236}">
                  <a16:creationId xmlns:a16="http://schemas.microsoft.com/office/drawing/2014/main" id="{9F5F9F07-A943-9E74-AE68-8EF6B7FEB50C}"/>
                </a:ext>
              </a:extLst>
            </p:cNvPr>
            <p:cNvSpPr>
              <a:spLocks noChangeArrowheads="1"/>
            </p:cNvSpPr>
            <p:nvPr/>
          </p:nvSpPr>
          <p:spPr bwMode="auto">
            <a:xfrm>
              <a:off x="77803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Rectangle 17">
              <a:extLst>
                <a:ext uri="{FF2B5EF4-FFF2-40B4-BE49-F238E27FC236}">
                  <a16:creationId xmlns:a16="http://schemas.microsoft.com/office/drawing/2014/main" id="{3E846BB8-AD64-5185-F3DA-A0B634000059}"/>
                </a:ext>
              </a:extLst>
            </p:cNvPr>
            <p:cNvSpPr>
              <a:spLocks noChangeArrowheads="1"/>
            </p:cNvSpPr>
            <p:nvPr/>
          </p:nvSpPr>
          <p:spPr bwMode="auto">
            <a:xfrm>
              <a:off x="78628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Rectangle 18">
              <a:extLst>
                <a:ext uri="{FF2B5EF4-FFF2-40B4-BE49-F238E27FC236}">
                  <a16:creationId xmlns:a16="http://schemas.microsoft.com/office/drawing/2014/main" id="{7367A090-C01D-C03E-D2FD-5E4A76F067FC}"/>
                </a:ext>
              </a:extLst>
            </p:cNvPr>
            <p:cNvSpPr>
              <a:spLocks noChangeArrowheads="1"/>
            </p:cNvSpPr>
            <p:nvPr/>
          </p:nvSpPr>
          <p:spPr bwMode="auto">
            <a:xfrm>
              <a:off x="794226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Rectangle 19">
              <a:extLst>
                <a:ext uri="{FF2B5EF4-FFF2-40B4-BE49-F238E27FC236}">
                  <a16:creationId xmlns:a16="http://schemas.microsoft.com/office/drawing/2014/main" id="{E489E426-090B-51FF-A5F1-B6EECE10451B}"/>
                </a:ext>
              </a:extLst>
            </p:cNvPr>
            <p:cNvSpPr>
              <a:spLocks noChangeArrowheads="1"/>
            </p:cNvSpPr>
            <p:nvPr/>
          </p:nvSpPr>
          <p:spPr bwMode="auto">
            <a:xfrm>
              <a:off x="80248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Rectangle 20">
              <a:extLst>
                <a:ext uri="{FF2B5EF4-FFF2-40B4-BE49-F238E27FC236}">
                  <a16:creationId xmlns:a16="http://schemas.microsoft.com/office/drawing/2014/main" id="{80ECBB51-00E2-9FCC-411A-1F9BFBFE5F6D}"/>
                </a:ext>
              </a:extLst>
            </p:cNvPr>
            <p:cNvSpPr>
              <a:spLocks noChangeArrowheads="1"/>
            </p:cNvSpPr>
            <p:nvPr/>
          </p:nvSpPr>
          <p:spPr bwMode="auto">
            <a:xfrm>
              <a:off x="81041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Rectangle 21">
              <a:extLst>
                <a:ext uri="{FF2B5EF4-FFF2-40B4-BE49-F238E27FC236}">
                  <a16:creationId xmlns:a16="http://schemas.microsoft.com/office/drawing/2014/main" id="{5D054E95-ECC3-7EB2-0D20-E06AD9B54F02}"/>
                </a:ext>
              </a:extLst>
            </p:cNvPr>
            <p:cNvSpPr>
              <a:spLocks noChangeArrowheads="1"/>
            </p:cNvSpPr>
            <p:nvPr/>
          </p:nvSpPr>
          <p:spPr bwMode="auto">
            <a:xfrm>
              <a:off x="7297738" y="3757613"/>
              <a:ext cx="28575" cy="279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Rectangle 22">
              <a:extLst>
                <a:ext uri="{FF2B5EF4-FFF2-40B4-BE49-F238E27FC236}">
                  <a16:creationId xmlns:a16="http://schemas.microsoft.com/office/drawing/2014/main" id="{B14F2FC1-97D2-DC36-ACC9-43E234D79FA4}"/>
                </a:ext>
              </a:extLst>
            </p:cNvPr>
            <p:cNvSpPr>
              <a:spLocks noChangeArrowheads="1"/>
            </p:cNvSpPr>
            <p:nvPr/>
          </p:nvSpPr>
          <p:spPr bwMode="auto">
            <a:xfrm>
              <a:off x="7377113" y="3557588"/>
              <a:ext cx="28575" cy="4794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Rectangle 23">
              <a:extLst>
                <a:ext uri="{FF2B5EF4-FFF2-40B4-BE49-F238E27FC236}">
                  <a16:creationId xmlns:a16="http://schemas.microsoft.com/office/drawing/2014/main" id="{9DE0F412-5F5D-A78F-446B-1C30CB32E1B0}"/>
                </a:ext>
              </a:extLst>
            </p:cNvPr>
            <p:cNvSpPr>
              <a:spLocks noChangeArrowheads="1"/>
            </p:cNvSpPr>
            <p:nvPr/>
          </p:nvSpPr>
          <p:spPr bwMode="auto">
            <a:xfrm>
              <a:off x="7456488" y="3665538"/>
              <a:ext cx="28575"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Rectangle 24">
              <a:extLst>
                <a:ext uri="{FF2B5EF4-FFF2-40B4-BE49-F238E27FC236}">
                  <a16:creationId xmlns:a16="http://schemas.microsoft.com/office/drawing/2014/main" id="{2E14CD19-3D3E-491F-856D-572350ED88EF}"/>
                </a:ext>
              </a:extLst>
            </p:cNvPr>
            <p:cNvSpPr>
              <a:spLocks noChangeArrowheads="1"/>
            </p:cNvSpPr>
            <p:nvPr/>
          </p:nvSpPr>
          <p:spPr bwMode="auto">
            <a:xfrm>
              <a:off x="7539038" y="3687763"/>
              <a:ext cx="28575" cy="3492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3" name="Rectangle 25">
              <a:extLst>
                <a:ext uri="{FF2B5EF4-FFF2-40B4-BE49-F238E27FC236}">
                  <a16:creationId xmlns:a16="http://schemas.microsoft.com/office/drawing/2014/main" id="{AD3159C3-00F0-4E46-20B8-07F81AC21E99}"/>
                </a:ext>
              </a:extLst>
            </p:cNvPr>
            <p:cNvSpPr>
              <a:spLocks noChangeArrowheads="1"/>
            </p:cNvSpPr>
            <p:nvPr/>
          </p:nvSpPr>
          <p:spPr bwMode="auto">
            <a:xfrm>
              <a:off x="7618413" y="3592513"/>
              <a:ext cx="28575" cy="4445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4" name="Rectangle 26">
              <a:extLst>
                <a:ext uri="{FF2B5EF4-FFF2-40B4-BE49-F238E27FC236}">
                  <a16:creationId xmlns:a16="http://schemas.microsoft.com/office/drawing/2014/main" id="{AD4E249C-990E-C281-1A7C-CB55CFAFA010}"/>
                </a:ext>
              </a:extLst>
            </p:cNvPr>
            <p:cNvSpPr>
              <a:spLocks noChangeArrowheads="1"/>
            </p:cNvSpPr>
            <p:nvPr/>
          </p:nvSpPr>
          <p:spPr bwMode="auto">
            <a:xfrm>
              <a:off x="7700963" y="3494088"/>
              <a:ext cx="28575" cy="542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5" name="Rectangle 27">
              <a:extLst>
                <a:ext uri="{FF2B5EF4-FFF2-40B4-BE49-F238E27FC236}">
                  <a16:creationId xmlns:a16="http://schemas.microsoft.com/office/drawing/2014/main" id="{2DDDF6BC-66B2-66AA-2D42-2E483AF77B40}"/>
                </a:ext>
              </a:extLst>
            </p:cNvPr>
            <p:cNvSpPr>
              <a:spLocks noChangeArrowheads="1"/>
            </p:cNvSpPr>
            <p:nvPr/>
          </p:nvSpPr>
          <p:spPr bwMode="auto">
            <a:xfrm>
              <a:off x="7780338" y="3697288"/>
              <a:ext cx="28575" cy="3397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Rectangle 28">
              <a:extLst>
                <a:ext uri="{FF2B5EF4-FFF2-40B4-BE49-F238E27FC236}">
                  <a16:creationId xmlns:a16="http://schemas.microsoft.com/office/drawing/2014/main" id="{155D01D2-EFFE-62EB-CC33-B11E87C9DB65}"/>
                </a:ext>
              </a:extLst>
            </p:cNvPr>
            <p:cNvSpPr>
              <a:spLocks noChangeArrowheads="1"/>
            </p:cNvSpPr>
            <p:nvPr/>
          </p:nvSpPr>
          <p:spPr bwMode="auto">
            <a:xfrm>
              <a:off x="7862888" y="3646488"/>
              <a:ext cx="28575" cy="3905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 name="Rectangle 29">
              <a:extLst>
                <a:ext uri="{FF2B5EF4-FFF2-40B4-BE49-F238E27FC236}">
                  <a16:creationId xmlns:a16="http://schemas.microsoft.com/office/drawing/2014/main" id="{3D60C88A-C8FC-B3F0-5EB0-F16948520A85}"/>
                </a:ext>
              </a:extLst>
            </p:cNvPr>
            <p:cNvSpPr>
              <a:spLocks noChangeArrowheads="1"/>
            </p:cNvSpPr>
            <p:nvPr/>
          </p:nvSpPr>
          <p:spPr bwMode="auto">
            <a:xfrm>
              <a:off x="7942263" y="3548063"/>
              <a:ext cx="28575" cy="4889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8" name="Rectangle 30">
              <a:extLst>
                <a:ext uri="{FF2B5EF4-FFF2-40B4-BE49-F238E27FC236}">
                  <a16:creationId xmlns:a16="http://schemas.microsoft.com/office/drawing/2014/main" id="{0DB0D093-8C3D-9EA7-DFC2-A274CC8F0EA1}"/>
                </a:ext>
              </a:extLst>
            </p:cNvPr>
            <p:cNvSpPr>
              <a:spLocks noChangeArrowheads="1"/>
            </p:cNvSpPr>
            <p:nvPr/>
          </p:nvSpPr>
          <p:spPr bwMode="auto">
            <a:xfrm>
              <a:off x="8024813" y="3471863"/>
              <a:ext cx="28575" cy="565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9" name="Rectangle 31">
              <a:extLst>
                <a:ext uri="{FF2B5EF4-FFF2-40B4-BE49-F238E27FC236}">
                  <a16:creationId xmlns:a16="http://schemas.microsoft.com/office/drawing/2014/main" id="{88DE0AED-2494-6775-0C70-B66FA2D70166}"/>
                </a:ext>
              </a:extLst>
            </p:cNvPr>
            <p:cNvSpPr>
              <a:spLocks noChangeArrowheads="1"/>
            </p:cNvSpPr>
            <p:nvPr/>
          </p:nvSpPr>
          <p:spPr bwMode="auto">
            <a:xfrm>
              <a:off x="8104188" y="3376613"/>
              <a:ext cx="28575" cy="660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0" name="Freeform 32">
              <a:extLst>
                <a:ext uri="{FF2B5EF4-FFF2-40B4-BE49-F238E27FC236}">
                  <a16:creationId xmlns:a16="http://schemas.microsoft.com/office/drawing/2014/main" id="{CC58F834-9CA7-40B1-09C4-887911CAF69B}"/>
                </a:ext>
              </a:extLst>
            </p:cNvPr>
            <p:cNvSpPr>
              <a:spLocks/>
            </p:cNvSpPr>
            <p:nvPr/>
          </p:nvSpPr>
          <p:spPr bwMode="auto">
            <a:xfrm>
              <a:off x="8024813" y="3065463"/>
              <a:ext cx="104775" cy="104775"/>
            </a:xfrm>
            <a:custGeom>
              <a:avLst/>
              <a:gdLst>
                <a:gd name="T0" fmla="*/ 66 w 66"/>
                <a:gd name="T1" fmla="*/ 66 h 66"/>
                <a:gd name="T2" fmla="*/ 48 w 66"/>
                <a:gd name="T3" fmla="*/ 66 h 66"/>
                <a:gd name="T4" fmla="*/ 48 w 66"/>
                <a:gd name="T5" fmla="*/ 18 h 66"/>
                <a:gd name="T6" fmla="*/ 0 w 66"/>
                <a:gd name="T7" fmla="*/ 18 h 66"/>
                <a:gd name="T8" fmla="*/ 0 w 66"/>
                <a:gd name="T9" fmla="*/ 0 h 66"/>
                <a:gd name="T10" fmla="*/ 66 w 66"/>
                <a:gd name="T11" fmla="*/ 0 h 66"/>
                <a:gd name="T12" fmla="*/ 66 w 66"/>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66" y="66"/>
                  </a:moveTo>
                  <a:lnTo>
                    <a:pt x="48" y="66"/>
                  </a:lnTo>
                  <a:lnTo>
                    <a:pt x="48" y="18"/>
                  </a:lnTo>
                  <a:lnTo>
                    <a:pt x="0" y="18"/>
                  </a:lnTo>
                  <a:lnTo>
                    <a:pt x="0" y="0"/>
                  </a:lnTo>
                  <a:lnTo>
                    <a:pt x="66" y="0"/>
                  </a:lnTo>
                  <a:lnTo>
                    <a:pt x="66" y="6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1" name="Freeform 33">
              <a:extLst>
                <a:ext uri="{FF2B5EF4-FFF2-40B4-BE49-F238E27FC236}">
                  <a16:creationId xmlns:a16="http://schemas.microsoft.com/office/drawing/2014/main" id="{663634A8-AA11-6BC6-E6C6-EC4C47B807CD}"/>
                </a:ext>
              </a:extLst>
            </p:cNvPr>
            <p:cNvSpPr>
              <a:spLocks/>
            </p:cNvSpPr>
            <p:nvPr/>
          </p:nvSpPr>
          <p:spPr bwMode="auto">
            <a:xfrm>
              <a:off x="7183438" y="3081338"/>
              <a:ext cx="930275" cy="600075"/>
            </a:xfrm>
            <a:custGeom>
              <a:avLst/>
              <a:gdLst>
                <a:gd name="T0" fmla="*/ 12 w 586"/>
                <a:gd name="T1" fmla="*/ 378 h 378"/>
                <a:gd name="T2" fmla="*/ 0 w 586"/>
                <a:gd name="T3" fmla="*/ 364 h 378"/>
                <a:gd name="T4" fmla="*/ 136 w 586"/>
                <a:gd name="T5" fmla="*/ 228 h 378"/>
                <a:gd name="T6" fmla="*/ 256 w 586"/>
                <a:gd name="T7" fmla="*/ 228 h 378"/>
                <a:gd name="T8" fmla="*/ 372 w 586"/>
                <a:gd name="T9" fmla="*/ 112 h 378"/>
                <a:gd name="T10" fmla="*/ 462 w 586"/>
                <a:gd name="T11" fmla="*/ 112 h 378"/>
                <a:gd name="T12" fmla="*/ 574 w 586"/>
                <a:gd name="T13" fmla="*/ 0 h 378"/>
                <a:gd name="T14" fmla="*/ 586 w 586"/>
                <a:gd name="T15" fmla="*/ 14 h 378"/>
                <a:gd name="T16" fmla="*/ 470 w 586"/>
                <a:gd name="T17" fmla="*/ 130 h 378"/>
                <a:gd name="T18" fmla="*/ 380 w 586"/>
                <a:gd name="T19" fmla="*/ 130 h 378"/>
                <a:gd name="T20" fmla="*/ 264 w 586"/>
                <a:gd name="T21" fmla="*/ 246 h 378"/>
                <a:gd name="T22" fmla="*/ 144 w 586"/>
                <a:gd name="T23" fmla="*/ 246 h 378"/>
                <a:gd name="T24" fmla="*/ 12 w 586"/>
                <a:gd name="T25"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378">
                  <a:moveTo>
                    <a:pt x="12" y="378"/>
                  </a:moveTo>
                  <a:lnTo>
                    <a:pt x="0" y="364"/>
                  </a:lnTo>
                  <a:lnTo>
                    <a:pt x="136" y="228"/>
                  </a:lnTo>
                  <a:lnTo>
                    <a:pt x="256" y="228"/>
                  </a:lnTo>
                  <a:lnTo>
                    <a:pt x="372" y="112"/>
                  </a:lnTo>
                  <a:lnTo>
                    <a:pt x="462" y="112"/>
                  </a:lnTo>
                  <a:lnTo>
                    <a:pt x="574" y="0"/>
                  </a:lnTo>
                  <a:lnTo>
                    <a:pt x="586" y="14"/>
                  </a:lnTo>
                  <a:lnTo>
                    <a:pt x="470" y="130"/>
                  </a:lnTo>
                  <a:lnTo>
                    <a:pt x="380" y="130"/>
                  </a:lnTo>
                  <a:lnTo>
                    <a:pt x="264" y="246"/>
                  </a:lnTo>
                  <a:lnTo>
                    <a:pt x="144" y="246"/>
                  </a:lnTo>
                  <a:lnTo>
                    <a:pt x="12" y="3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 name="Rectangle 34">
              <a:extLst>
                <a:ext uri="{FF2B5EF4-FFF2-40B4-BE49-F238E27FC236}">
                  <a16:creationId xmlns:a16="http://schemas.microsoft.com/office/drawing/2014/main" id="{00D61E83-0E1C-1AD2-4EDB-9312F7DC8AE0}"/>
                </a:ext>
              </a:extLst>
            </p:cNvPr>
            <p:cNvSpPr>
              <a:spLocks noChangeArrowheads="1"/>
            </p:cNvSpPr>
            <p:nvPr/>
          </p:nvSpPr>
          <p:spPr bwMode="auto">
            <a:xfrm>
              <a:off x="7116763" y="2970213"/>
              <a:ext cx="28575" cy="12160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3" name="Rectangle 35">
              <a:extLst>
                <a:ext uri="{FF2B5EF4-FFF2-40B4-BE49-F238E27FC236}">
                  <a16:creationId xmlns:a16="http://schemas.microsoft.com/office/drawing/2014/main" id="{326F60E0-ACD5-9159-94E4-F1CC2339D2E0}"/>
                </a:ext>
              </a:extLst>
            </p:cNvPr>
            <p:cNvSpPr>
              <a:spLocks noChangeArrowheads="1"/>
            </p:cNvSpPr>
            <p:nvPr/>
          </p:nvSpPr>
          <p:spPr bwMode="auto">
            <a:xfrm>
              <a:off x="7031038" y="4071938"/>
              <a:ext cx="12287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Rectangle 36">
              <a:extLst>
                <a:ext uri="{FF2B5EF4-FFF2-40B4-BE49-F238E27FC236}">
                  <a16:creationId xmlns:a16="http://schemas.microsoft.com/office/drawing/2014/main" id="{8E0A1EE5-3501-0E9A-D172-F941816B4DD5}"/>
                </a:ext>
              </a:extLst>
            </p:cNvPr>
            <p:cNvSpPr>
              <a:spLocks noChangeArrowheads="1"/>
            </p:cNvSpPr>
            <p:nvPr/>
          </p:nvSpPr>
          <p:spPr bwMode="auto">
            <a:xfrm>
              <a:off x="7215188" y="3881438"/>
              <a:ext cx="28575" cy="155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Rectangle 37">
              <a:extLst>
                <a:ext uri="{FF2B5EF4-FFF2-40B4-BE49-F238E27FC236}">
                  <a16:creationId xmlns:a16="http://schemas.microsoft.com/office/drawing/2014/main" id="{F8362846-FF8F-9F4F-C00C-C6264D3DF876}"/>
                </a:ext>
              </a:extLst>
            </p:cNvPr>
            <p:cNvSpPr>
              <a:spLocks noChangeArrowheads="1"/>
            </p:cNvSpPr>
            <p:nvPr/>
          </p:nvSpPr>
          <p:spPr bwMode="auto">
            <a:xfrm>
              <a:off x="72151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Rectangle 38">
              <a:extLst>
                <a:ext uri="{FF2B5EF4-FFF2-40B4-BE49-F238E27FC236}">
                  <a16:creationId xmlns:a16="http://schemas.microsoft.com/office/drawing/2014/main" id="{E20AA54D-2B0B-4F91-689B-2765B25673C0}"/>
                </a:ext>
              </a:extLst>
            </p:cNvPr>
            <p:cNvSpPr>
              <a:spLocks noChangeArrowheads="1"/>
            </p:cNvSpPr>
            <p:nvPr/>
          </p:nvSpPr>
          <p:spPr bwMode="auto">
            <a:xfrm>
              <a:off x="72977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Rectangle 39">
              <a:extLst>
                <a:ext uri="{FF2B5EF4-FFF2-40B4-BE49-F238E27FC236}">
                  <a16:creationId xmlns:a16="http://schemas.microsoft.com/office/drawing/2014/main" id="{5F1AB09C-54E9-F578-8B25-3ECFADEDF128}"/>
                </a:ext>
              </a:extLst>
            </p:cNvPr>
            <p:cNvSpPr>
              <a:spLocks noChangeArrowheads="1"/>
            </p:cNvSpPr>
            <p:nvPr/>
          </p:nvSpPr>
          <p:spPr bwMode="auto">
            <a:xfrm>
              <a:off x="73771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Rectangle 40">
              <a:extLst>
                <a:ext uri="{FF2B5EF4-FFF2-40B4-BE49-F238E27FC236}">
                  <a16:creationId xmlns:a16="http://schemas.microsoft.com/office/drawing/2014/main" id="{3F3FEA4D-180A-F310-D9C8-A6EE63888E94}"/>
                </a:ext>
              </a:extLst>
            </p:cNvPr>
            <p:cNvSpPr>
              <a:spLocks noChangeArrowheads="1"/>
            </p:cNvSpPr>
            <p:nvPr/>
          </p:nvSpPr>
          <p:spPr bwMode="auto">
            <a:xfrm>
              <a:off x="74564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9" name="Rectangle 41">
              <a:extLst>
                <a:ext uri="{FF2B5EF4-FFF2-40B4-BE49-F238E27FC236}">
                  <a16:creationId xmlns:a16="http://schemas.microsoft.com/office/drawing/2014/main" id="{7C1D1907-F714-B085-CD44-B9FB6E40F13C}"/>
                </a:ext>
              </a:extLst>
            </p:cNvPr>
            <p:cNvSpPr>
              <a:spLocks noChangeArrowheads="1"/>
            </p:cNvSpPr>
            <p:nvPr/>
          </p:nvSpPr>
          <p:spPr bwMode="auto">
            <a:xfrm>
              <a:off x="75390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Rectangle 42">
              <a:extLst>
                <a:ext uri="{FF2B5EF4-FFF2-40B4-BE49-F238E27FC236}">
                  <a16:creationId xmlns:a16="http://schemas.microsoft.com/office/drawing/2014/main" id="{4E8F891F-FD90-BFE1-89E9-E5817DFE17E6}"/>
                </a:ext>
              </a:extLst>
            </p:cNvPr>
            <p:cNvSpPr>
              <a:spLocks noChangeArrowheads="1"/>
            </p:cNvSpPr>
            <p:nvPr/>
          </p:nvSpPr>
          <p:spPr bwMode="auto">
            <a:xfrm>
              <a:off x="76184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 name="Rectangle 43">
              <a:extLst>
                <a:ext uri="{FF2B5EF4-FFF2-40B4-BE49-F238E27FC236}">
                  <a16:creationId xmlns:a16="http://schemas.microsoft.com/office/drawing/2014/main" id="{861E6448-2C7E-5ACC-A15C-292C5D1FB4D1}"/>
                </a:ext>
              </a:extLst>
            </p:cNvPr>
            <p:cNvSpPr>
              <a:spLocks noChangeArrowheads="1"/>
            </p:cNvSpPr>
            <p:nvPr/>
          </p:nvSpPr>
          <p:spPr bwMode="auto">
            <a:xfrm>
              <a:off x="770096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 name="Rectangle 44">
              <a:extLst>
                <a:ext uri="{FF2B5EF4-FFF2-40B4-BE49-F238E27FC236}">
                  <a16:creationId xmlns:a16="http://schemas.microsoft.com/office/drawing/2014/main" id="{B3F8C3EF-C0C1-916B-E436-036EBE44CFEC}"/>
                </a:ext>
              </a:extLst>
            </p:cNvPr>
            <p:cNvSpPr>
              <a:spLocks noChangeArrowheads="1"/>
            </p:cNvSpPr>
            <p:nvPr/>
          </p:nvSpPr>
          <p:spPr bwMode="auto">
            <a:xfrm>
              <a:off x="778033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3" name="Rectangle 45">
              <a:extLst>
                <a:ext uri="{FF2B5EF4-FFF2-40B4-BE49-F238E27FC236}">
                  <a16:creationId xmlns:a16="http://schemas.microsoft.com/office/drawing/2014/main" id="{243DEFFA-D3E8-C9F5-EA0F-95F13A09E9E5}"/>
                </a:ext>
              </a:extLst>
            </p:cNvPr>
            <p:cNvSpPr>
              <a:spLocks noChangeArrowheads="1"/>
            </p:cNvSpPr>
            <p:nvPr/>
          </p:nvSpPr>
          <p:spPr bwMode="auto">
            <a:xfrm>
              <a:off x="78628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4" name="Rectangle 46">
              <a:extLst>
                <a:ext uri="{FF2B5EF4-FFF2-40B4-BE49-F238E27FC236}">
                  <a16:creationId xmlns:a16="http://schemas.microsoft.com/office/drawing/2014/main" id="{FD18E1A5-74F3-9D56-CA8D-C4381247CF4E}"/>
                </a:ext>
              </a:extLst>
            </p:cNvPr>
            <p:cNvSpPr>
              <a:spLocks noChangeArrowheads="1"/>
            </p:cNvSpPr>
            <p:nvPr/>
          </p:nvSpPr>
          <p:spPr bwMode="auto">
            <a:xfrm>
              <a:off x="794226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5" name="Rectangle 47">
              <a:extLst>
                <a:ext uri="{FF2B5EF4-FFF2-40B4-BE49-F238E27FC236}">
                  <a16:creationId xmlns:a16="http://schemas.microsoft.com/office/drawing/2014/main" id="{9E54E535-3B99-8449-1CD6-3EDCEB455A36}"/>
                </a:ext>
              </a:extLst>
            </p:cNvPr>
            <p:cNvSpPr>
              <a:spLocks noChangeArrowheads="1"/>
            </p:cNvSpPr>
            <p:nvPr/>
          </p:nvSpPr>
          <p:spPr bwMode="auto">
            <a:xfrm>
              <a:off x="8024813"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6" name="Rectangle 48">
              <a:extLst>
                <a:ext uri="{FF2B5EF4-FFF2-40B4-BE49-F238E27FC236}">
                  <a16:creationId xmlns:a16="http://schemas.microsoft.com/office/drawing/2014/main" id="{413848A1-C65E-2021-7D9A-F6F1F7FB584A}"/>
                </a:ext>
              </a:extLst>
            </p:cNvPr>
            <p:cNvSpPr>
              <a:spLocks noChangeArrowheads="1"/>
            </p:cNvSpPr>
            <p:nvPr/>
          </p:nvSpPr>
          <p:spPr bwMode="auto">
            <a:xfrm>
              <a:off x="8104188" y="4129088"/>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7" name="Rectangle 49">
              <a:extLst>
                <a:ext uri="{FF2B5EF4-FFF2-40B4-BE49-F238E27FC236}">
                  <a16:creationId xmlns:a16="http://schemas.microsoft.com/office/drawing/2014/main" id="{E8A77ACE-C9CA-BBAC-347A-C8ED5356DFCF}"/>
                </a:ext>
              </a:extLst>
            </p:cNvPr>
            <p:cNvSpPr>
              <a:spLocks noChangeArrowheads="1"/>
            </p:cNvSpPr>
            <p:nvPr/>
          </p:nvSpPr>
          <p:spPr bwMode="auto">
            <a:xfrm>
              <a:off x="7297738" y="3757613"/>
              <a:ext cx="28575" cy="279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8" name="Rectangle 50">
              <a:extLst>
                <a:ext uri="{FF2B5EF4-FFF2-40B4-BE49-F238E27FC236}">
                  <a16:creationId xmlns:a16="http://schemas.microsoft.com/office/drawing/2014/main" id="{EDB28FBE-5335-0155-D28E-AF4CCBD70ED3}"/>
                </a:ext>
              </a:extLst>
            </p:cNvPr>
            <p:cNvSpPr>
              <a:spLocks noChangeArrowheads="1"/>
            </p:cNvSpPr>
            <p:nvPr/>
          </p:nvSpPr>
          <p:spPr bwMode="auto">
            <a:xfrm>
              <a:off x="7377113" y="3557588"/>
              <a:ext cx="28575" cy="4794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9" name="Rectangle 51">
              <a:extLst>
                <a:ext uri="{FF2B5EF4-FFF2-40B4-BE49-F238E27FC236}">
                  <a16:creationId xmlns:a16="http://schemas.microsoft.com/office/drawing/2014/main" id="{107CCECC-39E2-F1F5-28B6-821124AEB2FB}"/>
                </a:ext>
              </a:extLst>
            </p:cNvPr>
            <p:cNvSpPr>
              <a:spLocks noChangeArrowheads="1"/>
            </p:cNvSpPr>
            <p:nvPr/>
          </p:nvSpPr>
          <p:spPr bwMode="auto">
            <a:xfrm>
              <a:off x="7456488" y="3665538"/>
              <a:ext cx="28575" cy="371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0" name="Rectangle 52">
              <a:extLst>
                <a:ext uri="{FF2B5EF4-FFF2-40B4-BE49-F238E27FC236}">
                  <a16:creationId xmlns:a16="http://schemas.microsoft.com/office/drawing/2014/main" id="{7FE0051B-F3F5-F711-46E4-2FED17C097FC}"/>
                </a:ext>
              </a:extLst>
            </p:cNvPr>
            <p:cNvSpPr>
              <a:spLocks noChangeArrowheads="1"/>
            </p:cNvSpPr>
            <p:nvPr/>
          </p:nvSpPr>
          <p:spPr bwMode="auto">
            <a:xfrm>
              <a:off x="7539038" y="3687763"/>
              <a:ext cx="28575" cy="3492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1" name="Rectangle 53">
              <a:extLst>
                <a:ext uri="{FF2B5EF4-FFF2-40B4-BE49-F238E27FC236}">
                  <a16:creationId xmlns:a16="http://schemas.microsoft.com/office/drawing/2014/main" id="{392C50D8-57C6-D106-B59C-9DB1D52C86AA}"/>
                </a:ext>
              </a:extLst>
            </p:cNvPr>
            <p:cNvSpPr>
              <a:spLocks noChangeArrowheads="1"/>
            </p:cNvSpPr>
            <p:nvPr/>
          </p:nvSpPr>
          <p:spPr bwMode="auto">
            <a:xfrm>
              <a:off x="7618413" y="3592513"/>
              <a:ext cx="28575" cy="4445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2" name="Rectangle 54">
              <a:extLst>
                <a:ext uri="{FF2B5EF4-FFF2-40B4-BE49-F238E27FC236}">
                  <a16:creationId xmlns:a16="http://schemas.microsoft.com/office/drawing/2014/main" id="{99F0EA26-40ED-227C-3BAA-385A875DC06E}"/>
                </a:ext>
              </a:extLst>
            </p:cNvPr>
            <p:cNvSpPr>
              <a:spLocks noChangeArrowheads="1"/>
            </p:cNvSpPr>
            <p:nvPr/>
          </p:nvSpPr>
          <p:spPr bwMode="auto">
            <a:xfrm>
              <a:off x="7700963" y="3494088"/>
              <a:ext cx="28575" cy="542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3" name="Rectangle 55">
              <a:extLst>
                <a:ext uri="{FF2B5EF4-FFF2-40B4-BE49-F238E27FC236}">
                  <a16:creationId xmlns:a16="http://schemas.microsoft.com/office/drawing/2014/main" id="{7D64242E-F78C-FDFC-EB8D-0211F944E814}"/>
                </a:ext>
              </a:extLst>
            </p:cNvPr>
            <p:cNvSpPr>
              <a:spLocks noChangeArrowheads="1"/>
            </p:cNvSpPr>
            <p:nvPr/>
          </p:nvSpPr>
          <p:spPr bwMode="auto">
            <a:xfrm>
              <a:off x="7780338" y="3697288"/>
              <a:ext cx="28575" cy="3397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9" name="Rectangle 56">
              <a:extLst>
                <a:ext uri="{FF2B5EF4-FFF2-40B4-BE49-F238E27FC236}">
                  <a16:creationId xmlns:a16="http://schemas.microsoft.com/office/drawing/2014/main" id="{18A5193A-B46C-67BA-395C-7AA3296FED51}"/>
                </a:ext>
              </a:extLst>
            </p:cNvPr>
            <p:cNvSpPr>
              <a:spLocks noChangeArrowheads="1"/>
            </p:cNvSpPr>
            <p:nvPr/>
          </p:nvSpPr>
          <p:spPr bwMode="auto">
            <a:xfrm>
              <a:off x="7862888" y="3646488"/>
              <a:ext cx="28575" cy="3905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0" name="Rectangle 57">
              <a:extLst>
                <a:ext uri="{FF2B5EF4-FFF2-40B4-BE49-F238E27FC236}">
                  <a16:creationId xmlns:a16="http://schemas.microsoft.com/office/drawing/2014/main" id="{3E6D371A-6DC5-BD8A-E76E-7486A4356CAE}"/>
                </a:ext>
              </a:extLst>
            </p:cNvPr>
            <p:cNvSpPr>
              <a:spLocks noChangeArrowheads="1"/>
            </p:cNvSpPr>
            <p:nvPr/>
          </p:nvSpPr>
          <p:spPr bwMode="auto">
            <a:xfrm>
              <a:off x="7942263" y="3548063"/>
              <a:ext cx="28575" cy="4889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2" name="Rectangle 58">
              <a:extLst>
                <a:ext uri="{FF2B5EF4-FFF2-40B4-BE49-F238E27FC236}">
                  <a16:creationId xmlns:a16="http://schemas.microsoft.com/office/drawing/2014/main" id="{EC047C0C-A4EF-5711-5060-6F15DBB53988}"/>
                </a:ext>
              </a:extLst>
            </p:cNvPr>
            <p:cNvSpPr>
              <a:spLocks noChangeArrowheads="1"/>
            </p:cNvSpPr>
            <p:nvPr/>
          </p:nvSpPr>
          <p:spPr bwMode="auto">
            <a:xfrm>
              <a:off x="8024813" y="3471863"/>
              <a:ext cx="28575" cy="5651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4" name="Rectangle 59">
              <a:extLst>
                <a:ext uri="{FF2B5EF4-FFF2-40B4-BE49-F238E27FC236}">
                  <a16:creationId xmlns:a16="http://schemas.microsoft.com/office/drawing/2014/main" id="{0A51A6F8-AE37-78B3-3D31-08CC1B00DE00}"/>
                </a:ext>
              </a:extLst>
            </p:cNvPr>
            <p:cNvSpPr>
              <a:spLocks noChangeArrowheads="1"/>
            </p:cNvSpPr>
            <p:nvPr/>
          </p:nvSpPr>
          <p:spPr bwMode="auto">
            <a:xfrm>
              <a:off x="8104188" y="3376613"/>
              <a:ext cx="28575" cy="660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5" name="Freeform 60">
              <a:extLst>
                <a:ext uri="{FF2B5EF4-FFF2-40B4-BE49-F238E27FC236}">
                  <a16:creationId xmlns:a16="http://schemas.microsoft.com/office/drawing/2014/main" id="{853C48F4-611D-897E-F126-890B6DF9CC89}"/>
                </a:ext>
              </a:extLst>
            </p:cNvPr>
            <p:cNvSpPr>
              <a:spLocks/>
            </p:cNvSpPr>
            <p:nvPr/>
          </p:nvSpPr>
          <p:spPr bwMode="auto">
            <a:xfrm>
              <a:off x="8024813" y="3065463"/>
              <a:ext cx="104775" cy="104775"/>
            </a:xfrm>
            <a:custGeom>
              <a:avLst/>
              <a:gdLst>
                <a:gd name="T0" fmla="*/ 66 w 66"/>
                <a:gd name="T1" fmla="*/ 66 h 66"/>
                <a:gd name="T2" fmla="*/ 48 w 66"/>
                <a:gd name="T3" fmla="*/ 66 h 66"/>
                <a:gd name="T4" fmla="*/ 48 w 66"/>
                <a:gd name="T5" fmla="*/ 18 h 66"/>
                <a:gd name="T6" fmla="*/ 0 w 66"/>
                <a:gd name="T7" fmla="*/ 18 h 66"/>
                <a:gd name="T8" fmla="*/ 0 w 66"/>
                <a:gd name="T9" fmla="*/ 0 h 66"/>
                <a:gd name="T10" fmla="*/ 66 w 66"/>
                <a:gd name="T11" fmla="*/ 0 h 66"/>
                <a:gd name="T12" fmla="*/ 66 w 66"/>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66" y="66"/>
                  </a:moveTo>
                  <a:lnTo>
                    <a:pt x="48" y="66"/>
                  </a:lnTo>
                  <a:lnTo>
                    <a:pt x="48" y="18"/>
                  </a:lnTo>
                  <a:lnTo>
                    <a:pt x="0" y="18"/>
                  </a:lnTo>
                  <a:lnTo>
                    <a:pt x="0" y="0"/>
                  </a:lnTo>
                  <a:lnTo>
                    <a:pt x="66" y="0"/>
                  </a:lnTo>
                  <a:lnTo>
                    <a:pt x="66" y="6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266" name="Content Placeholder 2" descr="Progress Diagram.">
            <a:extLst>
              <a:ext uri="{FF2B5EF4-FFF2-40B4-BE49-F238E27FC236}">
                <a16:creationId xmlns:a16="http://schemas.microsoft.com/office/drawing/2014/main" id="{5B9FBEFF-C6AB-ABBA-7D38-D8945DF8DC7D}"/>
              </a:ext>
            </a:extLst>
          </p:cNvPr>
          <p:cNvSpPr txBox="1">
            <a:spLocks/>
          </p:cNvSpPr>
          <p:nvPr/>
        </p:nvSpPr>
        <p:spPr>
          <a:xfrm>
            <a:off x="712147" y="5954649"/>
            <a:ext cx="338400" cy="848921"/>
          </a:xfrm>
          <a:prstGeom prst="roundRect">
            <a:avLst>
              <a:gd name="adj" fmla="val 50000"/>
            </a:avLst>
          </a:prstGeom>
          <a:solidFill>
            <a:srgbClr val="AF154B"/>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imeline:</a:t>
            </a:r>
          </a:p>
        </p:txBody>
      </p:sp>
      <p:sp>
        <p:nvSpPr>
          <p:cNvPr id="2" name="TextBox 1">
            <a:extLst>
              <a:ext uri="{FF2B5EF4-FFF2-40B4-BE49-F238E27FC236}">
                <a16:creationId xmlns:a16="http://schemas.microsoft.com/office/drawing/2014/main" id="{ADAE4B45-50DA-774C-5D48-EE21C4DCBA75}"/>
              </a:ext>
            </a:extLst>
          </p:cNvPr>
          <p:cNvSpPr txBox="1"/>
          <p:nvPr/>
        </p:nvSpPr>
        <p:spPr>
          <a:xfrm>
            <a:off x="6551156" y="3768349"/>
            <a:ext cx="2520000"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AE154B"/>
              </a:buClr>
              <a:buSzPct val="100000"/>
              <a:buFontTx/>
              <a:buNone/>
              <a:tabLst/>
              <a:defRPr/>
            </a:pPr>
            <a:r>
              <a:rPr kumimoji="0" lang="en-US" sz="1100" b="1" i="0" u="none" strike="noStrike" kern="1200" cap="none" spc="0" normalizeH="0" baseline="0" noProof="0">
                <a:ln>
                  <a:noFill/>
                </a:ln>
                <a:solidFill>
                  <a:srgbClr val="1A1A24"/>
                </a:solidFill>
                <a:effectLst/>
                <a:uLnTx/>
                <a:uFillTx/>
                <a:latin typeface="EYInterstate Regular" panose="02000503020000020004" pitchFamily="2" charset="0"/>
                <a:ea typeface="+mn-ea"/>
                <a:cs typeface="+mn-cs"/>
              </a:rPr>
              <a:t>Execution</a:t>
            </a:r>
          </a:p>
          <a:p>
            <a:pPr marL="182563" marR="0" lvl="0" indent="-182563" algn="l" defTabSz="914400" rtl="0" eaLnBrk="1" fontAlgn="auto" latinLnBrk="0" hangingPunct="1">
              <a:lnSpc>
                <a:spcPct val="100000"/>
              </a:lnSpc>
              <a:spcBef>
                <a:spcPts val="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Facilitate accurate and reliable insights by extracting, synthesizing, and rationalizing data. </a:t>
            </a:r>
          </a:p>
          <a:p>
            <a:pPr marL="182563" marR="0" lvl="0" indent="-182563" algn="l" defTabSz="914400" rtl="0" eaLnBrk="1" fontAlgn="auto" latinLnBrk="0" hangingPunct="1">
              <a:lnSpc>
                <a:spcPct val="100000"/>
              </a:lnSpc>
              <a:spcBef>
                <a:spcPts val="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Secure Absa approval to remediate the identified accounts in collaboration with Absa.</a:t>
            </a:r>
          </a:p>
          <a:p>
            <a:pPr marL="182563" marR="0" lvl="0" indent="-182563" algn="l" defTabSz="914400" rtl="0" eaLnBrk="1" fontAlgn="auto" latinLnBrk="0" hangingPunct="1">
              <a:lnSpc>
                <a:spcPct val="100000"/>
              </a:lnSpc>
              <a:spcBef>
                <a:spcPts val="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Provide comprehensive reporting to support informed decision-making.</a:t>
            </a:r>
          </a:p>
          <a:p>
            <a:pPr marL="182563" marR="0" lvl="0" indent="-182563" algn="l" defTabSz="914400" rtl="0" eaLnBrk="1" fontAlgn="auto" latinLnBrk="0" hangingPunct="1">
              <a:lnSpc>
                <a:spcPct val="100000"/>
              </a:lnSpc>
              <a:spcBef>
                <a:spcPts val="0"/>
              </a:spcBef>
              <a:spcAft>
                <a:spcPts val="0"/>
              </a:spcAft>
              <a:buClr>
                <a:srgbClr val="AE154B"/>
              </a:buClr>
              <a:buSzPct val="100000"/>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Accuracy of each batch is maintained through an iterative approach.</a:t>
            </a:r>
            <a:endParaRPr kumimoji="0" lang="en-US" sz="11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630702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61629-94BE-AD7D-49AF-43BB95CC3E7C}"/>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91FF6374-C652-3921-AF66-A1568AED0151}"/>
              </a:ext>
            </a:extLst>
          </p:cNvPr>
          <p:cNvSpPr>
            <a:spLocks/>
          </p:cNvSpPr>
          <p:nvPr/>
        </p:nvSpPr>
        <p:spPr bwMode="auto">
          <a:xfrm>
            <a:off x="1" y="470378"/>
            <a:ext cx="12192000"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5" name="Oval 4">
            <a:extLst>
              <a:ext uri="{FF2B5EF4-FFF2-40B4-BE49-F238E27FC236}">
                <a16:creationId xmlns:a16="http://schemas.microsoft.com/office/drawing/2014/main" id="{1B0AE186-BC30-ACBC-693B-6230AA92A488}"/>
              </a:ext>
            </a:extLst>
          </p:cNvPr>
          <p:cNvSpPr/>
          <p:nvPr/>
        </p:nvSpPr>
        <p:spPr>
          <a:xfrm>
            <a:off x="1434567" y="1537801"/>
            <a:ext cx="1126852" cy="112685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 name="Oval 22">
            <a:extLst>
              <a:ext uri="{FF2B5EF4-FFF2-40B4-BE49-F238E27FC236}">
                <a16:creationId xmlns:a16="http://schemas.microsoft.com/office/drawing/2014/main" id="{69D3108D-F80B-289B-695C-F59482907909}"/>
              </a:ext>
            </a:extLst>
          </p:cNvPr>
          <p:cNvSpPr/>
          <p:nvPr/>
        </p:nvSpPr>
        <p:spPr>
          <a:xfrm>
            <a:off x="4155492" y="1537802"/>
            <a:ext cx="1126852" cy="112685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Oval 23">
            <a:extLst>
              <a:ext uri="{FF2B5EF4-FFF2-40B4-BE49-F238E27FC236}">
                <a16:creationId xmlns:a16="http://schemas.microsoft.com/office/drawing/2014/main" id="{9409F0DC-A1DF-4895-D5BF-E910636040A3}"/>
              </a:ext>
            </a:extLst>
          </p:cNvPr>
          <p:cNvSpPr/>
          <p:nvPr/>
        </p:nvSpPr>
        <p:spPr>
          <a:xfrm>
            <a:off x="6887192" y="1537803"/>
            <a:ext cx="1126852" cy="112685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5" name="Oval 24">
            <a:extLst>
              <a:ext uri="{FF2B5EF4-FFF2-40B4-BE49-F238E27FC236}">
                <a16:creationId xmlns:a16="http://schemas.microsoft.com/office/drawing/2014/main" id="{A4DC5DFE-6805-85C3-5B24-2963D7BB30C9}"/>
              </a:ext>
            </a:extLst>
          </p:cNvPr>
          <p:cNvSpPr/>
          <p:nvPr/>
        </p:nvSpPr>
        <p:spPr>
          <a:xfrm>
            <a:off x="9530555" y="1537803"/>
            <a:ext cx="1126852" cy="1126852"/>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6" name="Content Placeholder 2" descr="Progress Diagram.">
            <a:extLst>
              <a:ext uri="{FF2B5EF4-FFF2-40B4-BE49-F238E27FC236}">
                <a16:creationId xmlns:a16="http://schemas.microsoft.com/office/drawing/2014/main" id="{9F7BA584-C87D-1141-8E51-01E15898582E}"/>
              </a:ext>
            </a:extLst>
          </p:cNvPr>
          <p:cNvSpPr txBox="1">
            <a:spLocks/>
          </p:cNvSpPr>
          <p:nvPr/>
        </p:nvSpPr>
        <p:spPr>
          <a:xfrm>
            <a:off x="812974" y="3313024"/>
            <a:ext cx="2518688" cy="2122894"/>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AE154B"/>
              </a:buClr>
              <a:buSzPct val="100000"/>
              <a:buNone/>
              <a:defRPr/>
            </a:pPr>
            <a:r>
              <a:rPr lang="en-US" sz="1099" b="1">
                <a:solidFill>
                  <a:srgbClr val="1A1A24"/>
                </a:solidFill>
                <a:latin typeface="EYInterstate Regular" panose="02000503020000020004" pitchFamily="2" charset="0"/>
              </a:rPr>
              <a:t>Project planning</a:t>
            </a:r>
            <a:endParaRPr lang="en-GB" sz="1099" b="1">
              <a:solidFill>
                <a:schemeClr val="tx1"/>
              </a:solidFill>
              <a:latin typeface="EYInterstate Regular" panose="02000503020000020004" pitchFamily="2" charset="0"/>
            </a:endParaRPr>
          </a:p>
          <a:p>
            <a:pPr marL="182472" indent="-182472">
              <a:buClr>
                <a:srgbClr val="AE154B"/>
              </a:buClr>
              <a:buSzPct val="100000"/>
              <a:buFont typeface="Wingdings" panose="05000000000000000000" pitchFamily="2" charset="2"/>
              <a:buChar char="§"/>
              <a:defRPr/>
            </a:pPr>
            <a:r>
              <a:rPr lang="en-GB" sz="1099">
                <a:solidFill>
                  <a:schemeClr val="tx1"/>
                </a:solidFill>
              </a:rPr>
              <a:t>Establish a project approach aligning with stakeholders’ objectives, to facilitate effective decision-making through the formation of working and steering committees.</a:t>
            </a:r>
          </a:p>
          <a:p>
            <a:pPr marL="182472" indent="-182472">
              <a:buClr>
                <a:srgbClr val="AE154B"/>
              </a:buClr>
              <a:buSzPct val="100000"/>
              <a:buFont typeface="Wingdings" panose="05000000000000000000" pitchFamily="2" charset="2"/>
              <a:buChar char="§"/>
              <a:defRPr/>
            </a:pPr>
            <a:r>
              <a:rPr lang="en-GB" sz="1099">
                <a:solidFill>
                  <a:schemeClr val="tx1"/>
                </a:solidFill>
              </a:rPr>
              <a:t>Define a framework for consistent Management Information System (MIS) reporting to support informed management decisions, to reach a consensus on the execution strategy to drive project success.</a:t>
            </a:r>
            <a:endParaRPr lang="en-US" sz="1099">
              <a:solidFill>
                <a:schemeClr val="tx1"/>
              </a:solidFill>
            </a:endParaRPr>
          </a:p>
        </p:txBody>
      </p:sp>
      <p:sp>
        <p:nvSpPr>
          <p:cNvPr id="27" name="Content Placeholder 2" descr="Progress Diagram.">
            <a:extLst>
              <a:ext uri="{FF2B5EF4-FFF2-40B4-BE49-F238E27FC236}">
                <a16:creationId xmlns:a16="http://schemas.microsoft.com/office/drawing/2014/main" id="{3035D89B-F69A-52A0-416B-082F2BD56D7C}"/>
              </a:ext>
            </a:extLst>
          </p:cNvPr>
          <p:cNvSpPr txBox="1">
            <a:spLocks/>
          </p:cNvSpPr>
          <p:nvPr/>
        </p:nvSpPr>
        <p:spPr>
          <a:xfrm>
            <a:off x="8870450" y="3313024"/>
            <a:ext cx="2518688" cy="2698594"/>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AE154B"/>
              </a:buClr>
              <a:buSzPct val="100000"/>
              <a:buNone/>
              <a:defRPr/>
            </a:pPr>
            <a:r>
              <a:rPr lang="en-US" sz="1099" b="1">
                <a:solidFill>
                  <a:srgbClr val="1A1A24"/>
                </a:solidFill>
                <a:latin typeface="EYInterstate Regular" panose="02000503020000020004" pitchFamily="2" charset="0"/>
              </a:rPr>
              <a:t>Handover, knowledge transfer and exit</a:t>
            </a:r>
            <a:endParaRPr lang="en-GB" sz="1099" b="1">
              <a:solidFill>
                <a:schemeClr val="tx1"/>
              </a:solidFill>
              <a:latin typeface="EYInterstate Regular" panose="02000503020000020004" pitchFamily="2" charset="0"/>
            </a:endParaRPr>
          </a:p>
          <a:p>
            <a:pPr marL="182472" indent="-182472">
              <a:buClr>
                <a:srgbClr val="AE154B"/>
              </a:buClr>
              <a:buSzPct val="100000"/>
              <a:buFont typeface="Wingdings" panose="05000000000000000000" pitchFamily="2" charset="2"/>
              <a:buChar char="§"/>
              <a:defRPr/>
            </a:pPr>
            <a:r>
              <a:rPr lang="en-GB" sz="1099">
                <a:solidFill>
                  <a:schemeClr val="tx1"/>
                </a:solidFill>
              </a:rPr>
              <a:t>Support through operationalisation such as BAU reporting to ensure successful completion of all deliverables and sustainability of the processes. </a:t>
            </a:r>
          </a:p>
          <a:p>
            <a:pPr marL="182472" indent="-182472">
              <a:buClr>
                <a:srgbClr val="AE154B"/>
              </a:buClr>
              <a:buSzPct val="100000"/>
              <a:buFont typeface="Wingdings" panose="05000000000000000000" pitchFamily="2" charset="2"/>
              <a:buChar char="§"/>
              <a:defRPr/>
            </a:pPr>
            <a:r>
              <a:rPr lang="en-GB" sz="1099">
                <a:solidFill>
                  <a:schemeClr val="tx1"/>
                </a:solidFill>
              </a:rPr>
              <a:t>Facilitate a formal handover including knowledge and skills transfer to equip Absa key stakeholders.</a:t>
            </a:r>
          </a:p>
          <a:p>
            <a:pPr marL="182472" indent="-182472">
              <a:buClr>
                <a:srgbClr val="AE154B"/>
              </a:buClr>
              <a:buSzPct val="100000"/>
              <a:buFont typeface="Wingdings" panose="05000000000000000000" pitchFamily="2" charset="2"/>
              <a:buChar char="§"/>
              <a:defRPr/>
            </a:pPr>
            <a:r>
              <a:rPr lang="en-GB" sz="1099">
                <a:solidFill>
                  <a:schemeClr val="tx1"/>
                </a:solidFill>
              </a:rPr>
              <a:t>Provide a training plan on script execution, investigation and remediation.</a:t>
            </a:r>
          </a:p>
          <a:p>
            <a:pPr marL="182472" indent="-182472">
              <a:buClr>
                <a:srgbClr val="AE154B"/>
              </a:buClr>
              <a:buSzPct val="100000"/>
              <a:buFont typeface="Wingdings" panose="05000000000000000000" pitchFamily="2" charset="2"/>
              <a:buChar char="§"/>
              <a:defRPr/>
            </a:pPr>
            <a:r>
              <a:rPr lang="en-GB" sz="1099">
                <a:solidFill>
                  <a:schemeClr val="tx1"/>
                </a:solidFill>
              </a:rPr>
              <a:t>Achieve a  structured project closeout.</a:t>
            </a:r>
            <a:br>
              <a:rPr lang="en-GB" sz="1099">
                <a:solidFill>
                  <a:schemeClr val="tx1"/>
                </a:solidFill>
              </a:rPr>
            </a:br>
            <a:endParaRPr lang="en-US" sz="1099">
              <a:solidFill>
                <a:schemeClr val="tx1"/>
              </a:solidFill>
            </a:endParaRPr>
          </a:p>
        </p:txBody>
      </p:sp>
      <p:sp>
        <p:nvSpPr>
          <p:cNvPr id="28" name="Freeform: Shape 27">
            <a:extLst>
              <a:ext uri="{FF2B5EF4-FFF2-40B4-BE49-F238E27FC236}">
                <a16:creationId xmlns:a16="http://schemas.microsoft.com/office/drawing/2014/main" id="{0533F072-EE53-32DB-338E-B80D3266FD15}"/>
              </a:ext>
            </a:extLst>
          </p:cNvPr>
          <p:cNvSpPr>
            <a:spLocks/>
          </p:cNvSpPr>
          <p:nvPr/>
        </p:nvSpPr>
        <p:spPr>
          <a:xfrm>
            <a:off x="3908368" y="973803"/>
            <a:ext cx="4346571" cy="2205481"/>
          </a:xfrm>
          <a:custGeom>
            <a:avLst/>
            <a:gdLst>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443800 w 7726630"/>
              <a:gd name="connsiteY24" fmla="*/ 1754240 h 3920548"/>
              <a:gd name="connsiteX25" fmla="*/ 3394038 w 7726630"/>
              <a:gd name="connsiteY25" fmla="*/ 1877596 h 3920548"/>
              <a:gd name="connsiteX26" fmla="*/ 3264524 w 7726630"/>
              <a:gd name="connsiteY26" fmla="*/ 1742934 h 3920548"/>
              <a:gd name="connsiteX27" fmla="*/ 2002166 w 7726630"/>
              <a:gd name="connsiteY27" fmla="*/ 626688 h 3920548"/>
              <a:gd name="connsiteX28" fmla="*/ 427389 w 7726630"/>
              <a:gd name="connsiteY28" fmla="*/ 900950 h 3920548"/>
              <a:gd name="connsiteX29" fmla="*/ 134002 w 7726630"/>
              <a:gd name="connsiteY29" fmla="*/ 942886 h 3920548"/>
              <a:gd name="connsiteX30" fmla="*/ 89597 w 7726630"/>
              <a:gd name="connsiteY30" fmla="*/ 526321 h 3920548"/>
              <a:gd name="connsiteX31" fmla="*/ 1501103 w 7726630"/>
              <a:gd name="connsiteY31"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394038 w 7726630"/>
              <a:gd name="connsiteY24" fmla="*/ 1877596 h 3920548"/>
              <a:gd name="connsiteX25" fmla="*/ 3264524 w 7726630"/>
              <a:gd name="connsiteY25" fmla="*/ 1742934 h 3920548"/>
              <a:gd name="connsiteX26" fmla="*/ 2002166 w 7726630"/>
              <a:gd name="connsiteY26" fmla="*/ 626688 h 3920548"/>
              <a:gd name="connsiteX27" fmla="*/ 427389 w 7726630"/>
              <a:gd name="connsiteY27" fmla="*/ 900950 h 3920548"/>
              <a:gd name="connsiteX28" fmla="*/ 134002 w 7726630"/>
              <a:gd name="connsiteY28" fmla="*/ 942886 h 3920548"/>
              <a:gd name="connsiteX29" fmla="*/ 89597 w 7726630"/>
              <a:gd name="connsiteY29" fmla="*/ 526321 h 3920548"/>
              <a:gd name="connsiteX30" fmla="*/ 1501103 w 7726630"/>
              <a:gd name="connsiteY30"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394038 w 7726630"/>
              <a:gd name="connsiteY23" fmla="*/ 1877596 h 3920548"/>
              <a:gd name="connsiteX24" fmla="*/ 3264524 w 7726630"/>
              <a:gd name="connsiteY24" fmla="*/ 1742934 h 3920548"/>
              <a:gd name="connsiteX25" fmla="*/ 2002166 w 7726630"/>
              <a:gd name="connsiteY25" fmla="*/ 626688 h 3920548"/>
              <a:gd name="connsiteX26" fmla="*/ 427389 w 7726630"/>
              <a:gd name="connsiteY26" fmla="*/ 900950 h 3920548"/>
              <a:gd name="connsiteX27" fmla="*/ 134002 w 7726630"/>
              <a:gd name="connsiteY27" fmla="*/ 942886 h 3920548"/>
              <a:gd name="connsiteX28" fmla="*/ 89597 w 7726630"/>
              <a:gd name="connsiteY28" fmla="*/ 526321 h 3920548"/>
              <a:gd name="connsiteX29" fmla="*/ 1501103 w 7726630"/>
              <a:gd name="connsiteY29"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3394038 w 7726630"/>
              <a:gd name="connsiteY22" fmla="*/ 1877596 h 3920548"/>
              <a:gd name="connsiteX23" fmla="*/ 3264524 w 7726630"/>
              <a:gd name="connsiteY23" fmla="*/ 1742934 h 3920548"/>
              <a:gd name="connsiteX24" fmla="*/ 2002166 w 7726630"/>
              <a:gd name="connsiteY24" fmla="*/ 626688 h 3920548"/>
              <a:gd name="connsiteX25" fmla="*/ 427389 w 7726630"/>
              <a:gd name="connsiteY25" fmla="*/ 900950 h 3920548"/>
              <a:gd name="connsiteX26" fmla="*/ 134002 w 7726630"/>
              <a:gd name="connsiteY26" fmla="*/ 942886 h 3920548"/>
              <a:gd name="connsiteX27" fmla="*/ 89597 w 7726630"/>
              <a:gd name="connsiteY27" fmla="*/ 526321 h 3920548"/>
              <a:gd name="connsiteX28" fmla="*/ 1501103 w 7726630"/>
              <a:gd name="connsiteY28"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3394038 w 7726630"/>
              <a:gd name="connsiteY21" fmla="*/ 1877596 h 3920548"/>
              <a:gd name="connsiteX22" fmla="*/ 3264524 w 7726630"/>
              <a:gd name="connsiteY22" fmla="*/ 1742934 h 3920548"/>
              <a:gd name="connsiteX23" fmla="*/ 2002166 w 7726630"/>
              <a:gd name="connsiteY23" fmla="*/ 626688 h 3920548"/>
              <a:gd name="connsiteX24" fmla="*/ 427389 w 7726630"/>
              <a:gd name="connsiteY24" fmla="*/ 900950 h 3920548"/>
              <a:gd name="connsiteX25" fmla="*/ 134002 w 7726630"/>
              <a:gd name="connsiteY25" fmla="*/ 942886 h 3920548"/>
              <a:gd name="connsiteX26" fmla="*/ 89597 w 7726630"/>
              <a:gd name="connsiteY26" fmla="*/ 526321 h 3920548"/>
              <a:gd name="connsiteX27" fmla="*/ 1501103 w 7726630"/>
              <a:gd name="connsiteY27"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314136 w 7726630"/>
              <a:gd name="connsiteY6" fmla="*/ 2108176 h 3920548"/>
              <a:gd name="connsiteX7" fmla="*/ 4457569 w 7726630"/>
              <a:gd name="connsiteY7" fmla="*/ 2259327 h 3920548"/>
              <a:gd name="connsiteX8" fmla="*/ 6414726 w 7726630"/>
              <a:gd name="connsiteY8" fmla="*/ 3407390 h 3920548"/>
              <a:gd name="connsiteX9" fmla="*/ 7127167 w 7726630"/>
              <a:gd name="connsiteY9" fmla="*/ 3100088 h 3920548"/>
              <a:gd name="connsiteX10" fmla="*/ 7026764 w 7726630"/>
              <a:gd name="connsiteY10" fmla="*/ 2999730 h 3920548"/>
              <a:gd name="connsiteX11" fmla="*/ 7063672 w 7726630"/>
              <a:gd name="connsiteY11" fmla="*/ 2907004 h 3920548"/>
              <a:gd name="connsiteX12" fmla="*/ 7602070 w 7726630"/>
              <a:gd name="connsiteY12" fmla="*/ 2896828 h 3920548"/>
              <a:gd name="connsiteX13" fmla="*/ 7726611 w 7726630"/>
              <a:gd name="connsiteY13" fmla="*/ 3023854 h 3920548"/>
              <a:gd name="connsiteX14" fmla="*/ 7716466 w 7726630"/>
              <a:gd name="connsiteY14" fmla="*/ 3562313 h 3920548"/>
              <a:gd name="connsiteX15" fmla="*/ 7623759 w 7726630"/>
              <a:gd name="connsiteY15" fmla="*/ 3599158 h 3920548"/>
              <a:gd name="connsiteX16" fmla="*/ 7485224 w 7726630"/>
              <a:gd name="connsiteY16" fmla="*/ 3460727 h 3920548"/>
              <a:gd name="connsiteX17" fmla="*/ 6450234 w 7726630"/>
              <a:gd name="connsiteY17" fmla="*/ 3911636 h 3920548"/>
              <a:gd name="connsiteX18" fmla="*/ 4124875 w 7726630"/>
              <a:gd name="connsiteY18" fmla="*/ 2639003 h 3920548"/>
              <a:gd name="connsiteX19" fmla="*/ 3949607 w 7726630"/>
              <a:gd name="connsiteY19" fmla="*/ 2457411 h 3920548"/>
              <a:gd name="connsiteX20" fmla="*/ 3394038 w 7726630"/>
              <a:gd name="connsiteY20" fmla="*/ 1877596 h 3920548"/>
              <a:gd name="connsiteX21" fmla="*/ 3264524 w 7726630"/>
              <a:gd name="connsiteY21" fmla="*/ 1742934 h 3920548"/>
              <a:gd name="connsiteX22" fmla="*/ 2002166 w 7726630"/>
              <a:gd name="connsiteY22" fmla="*/ 626688 h 3920548"/>
              <a:gd name="connsiteX23" fmla="*/ 427389 w 7726630"/>
              <a:gd name="connsiteY23" fmla="*/ 900950 h 3920548"/>
              <a:gd name="connsiteX24" fmla="*/ 134002 w 7726630"/>
              <a:gd name="connsiteY24" fmla="*/ 942886 h 3920548"/>
              <a:gd name="connsiteX25" fmla="*/ 89597 w 7726630"/>
              <a:gd name="connsiteY25" fmla="*/ 526321 h 3920548"/>
              <a:gd name="connsiteX26" fmla="*/ 1501103 w 7726630"/>
              <a:gd name="connsiteY26"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4314136 w 7726630"/>
              <a:gd name="connsiteY5" fmla="*/ 2108176 h 3920548"/>
              <a:gd name="connsiteX6" fmla="*/ 4457569 w 7726630"/>
              <a:gd name="connsiteY6" fmla="*/ 2259327 h 3920548"/>
              <a:gd name="connsiteX7" fmla="*/ 6414726 w 7726630"/>
              <a:gd name="connsiteY7" fmla="*/ 3407390 h 3920548"/>
              <a:gd name="connsiteX8" fmla="*/ 7127167 w 7726630"/>
              <a:gd name="connsiteY8" fmla="*/ 3100088 h 3920548"/>
              <a:gd name="connsiteX9" fmla="*/ 7026764 w 7726630"/>
              <a:gd name="connsiteY9" fmla="*/ 2999730 h 3920548"/>
              <a:gd name="connsiteX10" fmla="*/ 7063672 w 7726630"/>
              <a:gd name="connsiteY10" fmla="*/ 2907004 h 3920548"/>
              <a:gd name="connsiteX11" fmla="*/ 7602070 w 7726630"/>
              <a:gd name="connsiteY11" fmla="*/ 2896828 h 3920548"/>
              <a:gd name="connsiteX12" fmla="*/ 7726611 w 7726630"/>
              <a:gd name="connsiteY12" fmla="*/ 3023854 h 3920548"/>
              <a:gd name="connsiteX13" fmla="*/ 7716466 w 7726630"/>
              <a:gd name="connsiteY13" fmla="*/ 3562313 h 3920548"/>
              <a:gd name="connsiteX14" fmla="*/ 7623759 w 7726630"/>
              <a:gd name="connsiteY14" fmla="*/ 3599158 h 3920548"/>
              <a:gd name="connsiteX15" fmla="*/ 7485224 w 7726630"/>
              <a:gd name="connsiteY15" fmla="*/ 3460727 h 3920548"/>
              <a:gd name="connsiteX16" fmla="*/ 6450234 w 7726630"/>
              <a:gd name="connsiteY16" fmla="*/ 3911636 h 3920548"/>
              <a:gd name="connsiteX17" fmla="*/ 4124875 w 7726630"/>
              <a:gd name="connsiteY17" fmla="*/ 2639003 h 3920548"/>
              <a:gd name="connsiteX18" fmla="*/ 3949607 w 7726630"/>
              <a:gd name="connsiteY18" fmla="*/ 2457411 h 3920548"/>
              <a:gd name="connsiteX19" fmla="*/ 3394038 w 7726630"/>
              <a:gd name="connsiteY19" fmla="*/ 1877596 h 3920548"/>
              <a:gd name="connsiteX20" fmla="*/ 3264524 w 7726630"/>
              <a:gd name="connsiteY20" fmla="*/ 1742934 h 3920548"/>
              <a:gd name="connsiteX21" fmla="*/ 2002166 w 7726630"/>
              <a:gd name="connsiteY21" fmla="*/ 626688 h 3920548"/>
              <a:gd name="connsiteX22" fmla="*/ 427389 w 7726630"/>
              <a:gd name="connsiteY22" fmla="*/ 900950 h 3920548"/>
              <a:gd name="connsiteX23" fmla="*/ 134002 w 7726630"/>
              <a:gd name="connsiteY23" fmla="*/ 942886 h 3920548"/>
              <a:gd name="connsiteX24" fmla="*/ 89597 w 7726630"/>
              <a:gd name="connsiteY24" fmla="*/ 526321 h 3920548"/>
              <a:gd name="connsiteX25" fmla="*/ 1501103 w 7726630"/>
              <a:gd name="connsiteY25"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4314136 w 7726630"/>
              <a:gd name="connsiteY4" fmla="*/ 2108176 h 3920548"/>
              <a:gd name="connsiteX5" fmla="*/ 4457569 w 7726630"/>
              <a:gd name="connsiteY5" fmla="*/ 2259327 h 3920548"/>
              <a:gd name="connsiteX6" fmla="*/ 6414726 w 7726630"/>
              <a:gd name="connsiteY6" fmla="*/ 3407390 h 3920548"/>
              <a:gd name="connsiteX7" fmla="*/ 7127167 w 7726630"/>
              <a:gd name="connsiteY7" fmla="*/ 3100088 h 3920548"/>
              <a:gd name="connsiteX8" fmla="*/ 7026764 w 7726630"/>
              <a:gd name="connsiteY8" fmla="*/ 2999730 h 3920548"/>
              <a:gd name="connsiteX9" fmla="*/ 7063672 w 7726630"/>
              <a:gd name="connsiteY9" fmla="*/ 2907004 h 3920548"/>
              <a:gd name="connsiteX10" fmla="*/ 7602070 w 7726630"/>
              <a:gd name="connsiteY10" fmla="*/ 2896828 h 3920548"/>
              <a:gd name="connsiteX11" fmla="*/ 7726611 w 7726630"/>
              <a:gd name="connsiteY11" fmla="*/ 3023854 h 3920548"/>
              <a:gd name="connsiteX12" fmla="*/ 7716466 w 7726630"/>
              <a:gd name="connsiteY12" fmla="*/ 3562313 h 3920548"/>
              <a:gd name="connsiteX13" fmla="*/ 7623759 w 7726630"/>
              <a:gd name="connsiteY13" fmla="*/ 3599158 h 3920548"/>
              <a:gd name="connsiteX14" fmla="*/ 7485224 w 7726630"/>
              <a:gd name="connsiteY14" fmla="*/ 3460727 h 3920548"/>
              <a:gd name="connsiteX15" fmla="*/ 6450234 w 7726630"/>
              <a:gd name="connsiteY15" fmla="*/ 3911636 h 3920548"/>
              <a:gd name="connsiteX16" fmla="*/ 4124875 w 7726630"/>
              <a:gd name="connsiteY16" fmla="*/ 2639003 h 3920548"/>
              <a:gd name="connsiteX17" fmla="*/ 3949607 w 7726630"/>
              <a:gd name="connsiteY17" fmla="*/ 2457411 h 3920548"/>
              <a:gd name="connsiteX18" fmla="*/ 3394038 w 7726630"/>
              <a:gd name="connsiteY18" fmla="*/ 1877596 h 3920548"/>
              <a:gd name="connsiteX19" fmla="*/ 3264524 w 7726630"/>
              <a:gd name="connsiteY19" fmla="*/ 1742934 h 3920548"/>
              <a:gd name="connsiteX20" fmla="*/ 2002166 w 7726630"/>
              <a:gd name="connsiteY20" fmla="*/ 626688 h 3920548"/>
              <a:gd name="connsiteX21" fmla="*/ 427389 w 7726630"/>
              <a:gd name="connsiteY21" fmla="*/ 900950 h 3920548"/>
              <a:gd name="connsiteX22" fmla="*/ 134002 w 7726630"/>
              <a:gd name="connsiteY22" fmla="*/ 942886 h 3920548"/>
              <a:gd name="connsiteX23" fmla="*/ 89597 w 7726630"/>
              <a:gd name="connsiteY23" fmla="*/ 526321 h 3920548"/>
              <a:gd name="connsiteX24" fmla="*/ 1501103 w 7726630"/>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30" h="3920548">
                <a:moveTo>
                  <a:pt x="1501103" y="914"/>
                </a:moveTo>
                <a:cubicBezTo>
                  <a:pt x="1679131" y="6348"/>
                  <a:pt x="1855737" y="36111"/>
                  <a:pt x="2022430" y="93260"/>
                </a:cubicBezTo>
                <a:cubicBezTo>
                  <a:pt x="2560923" y="277407"/>
                  <a:pt x="2874574" y="570773"/>
                  <a:pt x="3602316" y="1367093"/>
                </a:cubicBezTo>
                <a:cubicBezTo>
                  <a:pt x="3618880" y="1383588"/>
                  <a:pt x="3675971" y="1444535"/>
                  <a:pt x="3755970" y="1527103"/>
                </a:cubicBezTo>
                <a:lnTo>
                  <a:pt x="4314136" y="2108176"/>
                </a:lnTo>
                <a:lnTo>
                  <a:pt x="4457569" y="2259327"/>
                </a:lnTo>
                <a:cubicBezTo>
                  <a:pt x="5153568" y="3021310"/>
                  <a:pt x="5746714" y="3515380"/>
                  <a:pt x="6414726" y="3407390"/>
                </a:cubicBezTo>
                <a:cubicBezTo>
                  <a:pt x="6779080" y="3347737"/>
                  <a:pt x="6991256" y="3211850"/>
                  <a:pt x="7127167" y="3100088"/>
                </a:cubicBezTo>
                <a:lnTo>
                  <a:pt x="7026764" y="2999730"/>
                </a:lnTo>
                <a:cubicBezTo>
                  <a:pt x="6977262" y="2950165"/>
                  <a:pt x="6993705" y="2908320"/>
                  <a:pt x="7063672" y="2907004"/>
                </a:cubicBezTo>
                <a:lnTo>
                  <a:pt x="7602070" y="2896828"/>
                </a:lnTo>
                <a:cubicBezTo>
                  <a:pt x="7672036" y="2895600"/>
                  <a:pt x="7727836" y="2952709"/>
                  <a:pt x="7726611" y="3023854"/>
                </a:cubicBezTo>
                <a:lnTo>
                  <a:pt x="7716466" y="3562313"/>
                </a:lnTo>
                <a:cubicBezTo>
                  <a:pt x="7715066" y="3632230"/>
                  <a:pt x="7673261" y="3648723"/>
                  <a:pt x="7623759" y="3599158"/>
                </a:cubicBezTo>
                <a:lnTo>
                  <a:pt x="7485224" y="3460727"/>
                </a:lnTo>
                <a:cubicBezTo>
                  <a:pt x="7266752" y="3643635"/>
                  <a:pt x="6873186" y="3873475"/>
                  <a:pt x="6450234" y="3911636"/>
                </a:cubicBezTo>
                <a:cubicBezTo>
                  <a:pt x="5441832" y="4003046"/>
                  <a:pt x="4831019" y="3378177"/>
                  <a:pt x="4124875" y="2639003"/>
                </a:cubicBezTo>
                <a:cubicBezTo>
                  <a:pt x="4122251" y="2637775"/>
                  <a:pt x="4051234" y="2562857"/>
                  <a:pt x="3949607" y="2457411"/>
                </a:cubicBezTo>
                <a:lnTo>
                  <a:pt x="3394038" y="1877596"/>
                </a:lnTo>
                <a:lnTo>
                  <a:pt x="3264524" y="1742934"/>
                </a:lnTo>
                <a:cubicBezTo>
                  <a:pt x="2567267" y="981002"/>
                  <a:pt x="2356521" y="793035"/>
                  <a:pt x="2002166" y="626688"/>
                </a:cubicBezTo>
                <a:cubicBezTo>
                  <a:pt x="1498033" y="389143"/>
                  <a:pt x="826149" y="513647"/>
                  <a:pt x="427389" y="900950"/>
                </a:cubicBezTo>
                <a:cubicBezTo>
                  <a:pt x="349857" y="975876"/>
                  <a:pt x="229330" y="993676"/>
                  <a:pt x="134002" y="942886"/>
                </a:cubicBezTo>
                <a:cubicBezTo>
                  <a:pt x="-19652" y="861623"/>
                  <a:pt x="-50136" y="644394"/>
                  <a:pt x="89597" y="526321"/>
                </a:cubicBezTo>
                <a:cubicBezTo>
                  <a:pt x="420120" y="187267"/>
                  <a:pt x="967017" y="-15389"/>
                  <a:pt x="1501103" y="914"/>
                </a:cubicBezTo>
                <a:close/>
              </a:path>
            </a:pathLst>
          </a:custGeom>
          <a:solidFill>
            <a:srgbClr val="BCAA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29" name="Figure">
            <a:extLst>
              <a:ext uri="{FF2B5EF4-FFF2-40B4-BE49-F238E27FC236}">
                <a16:creationId xmlns:a16="http://schemas.microsoft.com/office/drawing/2014/main" id="{94C1099C-AE6D-E86F-1EC2-3F1936552217}"/>
              </a:ext>
            </a:extLst>
          </p:cNvPr>
          <p:cNvSpPr>
            <a:spLocks/>
          </p:cNvSpPr>
          <p:nvPr/>
        </p:nvSpPr>
        <p:spPr>
          <a:xfrm>
            <a:off x="1186334" y="2581259"/>
            <a:ext cx="1665807" cy="634689"/>
          </a:xfrm>
          <a:custGeom>
            <a:avLst/>
            <a:gdLst/>
            <a:ahLst/>
            <a:cxnLst>
              <a:cxn ang="0">
                <a:pos x="wd2" y="hd2"/>
              </a:cxn>
              <a:cxn ang="5400000">
                <a:pos x="wd2" y="hd2"/>
              </a:cxn>
              <a:cxn ang="10800000">
                <a:pos x="wd2" y="hd2"/>
              </a:cxn>
              <a:cxn ang="16200000">
                <a:pos x="wd2" y="hd2"/>
              </a:cxn>
            </a:cxnLst>
            <a:rect l="0" t="0" r="r" b="b"/>
            <a:pathLst>
              <a:path w="21295" h="20880" extrusionOk="0">
                <a:moveTo>
                  <a:pt x="20692" y="15"/>
                </a:moveTo>
                <a:lnTo>
                  <a:pt x="15815" y="1777"/>
                </a:lnTo>
                <a:cubicBezTo>
                  <a:pt x="15486" y="1895"/>
                  <a:pt x="15413" y="2459"/>
                  <a:pt x="15669" y="3023"/>
                </a:cubicBezTo>
                <a:lnTo>
                  <a:pt x="16820" y="5608"/>
                </a:lnTo>
                <a:cubicBezTo>
                  <a:pt x="16089" y="6972"/>
                  <a:pt x="15039" y="8734"/>
                  <a:pt x="13897" y="9839"/>
                </a:cubicBezTo>
                <a:cubicBezTo>
                  <a:pt x="11541" y="12119"/>
                  <a:pt x="9011" y="12001"/>
                  <a:pt x="6910" y="10145"/>
                </a:cubicBezTo>
                <a:cubicBezTo>
                  <a:pt x="4061" y="7630"/>
                  <a:pt x="3239" y="4010"/>
                  <a:pt x="2481" y="3235"/>
                </a:cubicBezTo>
                <a:cubicBezTo>
                  <a:pt x="1960" y="2694"/>
                  <a:pt x="1348" y="2811"/>
                  <a:pt x="873" y="3564"/>
                </a:cubicBezTo>
                <a:cubicBezTo>
                  <a:pt x="-141" y="5138"/>
                  <a:pt x="-305" y="8852"/>
                  <a:pt x="554" y="10944"/>
                </a:cubicBezTo>
                <a:cubicBezTo>
                  <a:pt x="2188" y="15174"/>
                  <a:pt x="4974" y="18841"/>
                  <a:pt x="6865" y="19828"/>
                </a:cubicBezTo>
                <a:cubicBezTo>
                  <a:pt x="9605" y="21497"/>
                  <a:pt x="12262" y="21074"/>
                  <a:pt x="14363" y="19311"/>
                </a:cubicBezTo>
                <a:cubicBezTo>
                  <a:pt x="16555" y="17642"/>
                  <a:pt x="18646" y="13905"/>
                  <a:pt x="19614" y="11907"/>
                </a:cubicBezTo>
                <a:lnTo>
                  <a:pt x="20811" y="14587"/>
                </a:lnTo>
                <a:cubicBezTo>
                  <a:pt x="21067" y="15151"/>
                  <a:pt x="21277" y="14916"/>
                  <a:pt x="21277" y="14046"/>
                </a:cubicBezTo>
                <a:lnTo>
                  <a:pt x="21295" y="1378"/>
                </a:lnTo>
                <a:cubicBezTo>
                  <a:pt x="21295" y="508"/>
                  <a:pt x="21021" y="-103"/>
                  <a:pt x="20692" y="15"/>
                </a:cubicBezTo>
                <a:close/>
              </a:path>
            </a:pathLst>
          </a:custGeom>
          <a:solidFill>
            <a:srgbClr val="FFE6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30" name="Freeform: Shape 29">
            <a:extLst>
              <a:ext uri="{FF2B5EF4-FFF2-40B4-BE49-F238E27FC236}">
                <a16:creationId xmlns:a16="http://schemas.microsoft.com/office/drawing/2014/main" id="{946F4072-7043-AF00-9BE7-24A5F7F72CF1}"/>
              </a:ext>
            </a:extLst>
          </p:cNvPr>
          <p:cNvSpPr>
            <a:spLocks/>
          </p:cNvSpPr>
          <p:nvPr/>
        </p:nvSpPr>
        <p:spPr>
          <a:xfrm>
            <a:off x="1193529" y="973803"/>
            <a:ext cx="4346571" cy="2205481"/>
          </a:xfrm>
          <a:custGeom>
            <a:avLst/>
            <a:gdLst>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4084467 w 7726629"/>
              <a:gd name="connsiteY23" fmla="*/ 2406216 h 3920548"/>
              <a:gd name="connsiteX24" fmla="*/ 3434669 w 7726629"/>
              <a:gd name="connsiteY24" fmla="*/ 1776874 h 3920548"/>
              <a:gd name="connsiteX25" fmla="*/ 3394037 w 7726629"/>
              <a:gd name="connsiteY25" fmla="*/ 1877596 h 3920548"/>
              <a:gd name="connsiteX26" fmla="*/ 3264524 w 7726629"/>
              <a:gd name="connsiteY26" fmla="*/ 1742934 h 3920548"/>
              <a:gd name="connsiteX27" fmla="*/ 2002166 w 7726629"/>
              <a:gd name="connsiteY27" fmla="*/ 626688 h 3920548"/>
              <a:gd name="connsiteX28" fmla="*/ 427389 w 7726629"/>
              <a:gd name="connsiteY28" fmla="*/ 900950 h 3920548"/>
              <a:gd name="connsiteX29" fmla="*/ 134002 w 7726629"/>
              <a:gd name="connsiteY29" fmla="*/ 942886 h 3920548"/>
              <a:gd name="connsiteX30" fmla="*/ 89597 w 7726629"/>
              <a:gd name="connsiteY30" fmla="*/ 526321 h 3920548"/>
              <a:gd name="connsiteX31" fmla="*/ 1501102 w 7726629"/>
              <a:gd name="connsiteY31"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434669 w 7726629"/>
              <a:gd name="connsiteY23" fmla="*/ 1776874 h 3920548"/>
              <a:gd name="connsiteX24" fmla="*/ 3394037 w 7726629"/>
              <a:gd name="connsiteY24" fmla="*/ 1877596 h 3920548"/>
              <a:gd name="connsiteX25" fmla="*/ 3264524 w 7726629"/>
              <a:gd name="connsiteY25" fmla="*/ 1742934 h 3920548"/>
              <a:gd name="connsiteX26" fmla="*/ 2002166 w 7726629"/>
              <a:gd name="connsiteY26" fmla="*/ 626688 h 3920548"/>
              <a:gd name="connsiteX27" fmla="*/ 427389 w 7726629"/>
              <a:gd name="connsiteY27" fmla="*/ 900950 h 3920548"/>
              <a:gd name="connsiteX28" fmla="*/ 134002 w 7726629"/>
              <a:gd name="connsiteY28" fmla="*/ 942886 h 3920548"/>
              <a:gd name="connsiteX29" fmla="*/ 89597 w 7726629"/>
              <a:gd name="connsiteY29" fmla="*/ 526321 h 3920548"/>
              <a:gd name="connsiteX30" fmla="*/ 1501102 w 7726629"/>
              <a:gd name="connsiteY30"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394037 w 7726629"/>
              <a:gd name="connsiteY23" fmla="*/ 1877596 h 3920548"/>
              <a:gd name="connsiteX24" fmla="*/ 3264524 w 7726629"/>
              <a:gd name="connsiteY24" fmla="*/ 1742934 h 3920548"/>
              <a:gd name="connsiteX25" fmla="*/ 2002166 w 7726629"/>
              <a:gd name="connsiteY25" fmla="*/ 626688 h 3920548"/>
              <a:gd name="connsiteX26" fmla="*/ 427389 w 7726629"/>
              <a:gd name="connsiteY26" fmla="*/ 900950 h 3920548"/>
              <a:gd name="connsiteX27" fmla="*/ 134002 w 7726629"/>
              <a:gd name="connsiteY27" fmla="*/ 942886 h 3920548"/>
              <a:gd name="connsiteX28" fmla="*/ 89597 w 7726629"/>
              <a:gd name="connsiteY28" fmla="*/ 526321 h 3920548"/>
              <a:gd name="connsiteX29" fmla="*/ 1501102 w 7726629"/>
              <a:gd name="connsiteY29"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3394037 w 7726629"/>
              <a:gd name="connsiteY22" fmla="*/ 1877596 h 3920548"/>
              <a:gd name="connsiteX23" fmla="*/ 3264524 w 7726629"/>
              <a:gd name="connsiteY23" fmla="*/ 1742934 h 3920548"/>
              <a:gd name="connsiteX24" fmla="*/ 2002166 w 7726629"/>
              <a:gd name="connsiteY24" fmla="*/ 626688 h 3920548"/>
              <a:gd name="connsiteX25" fmla="*/ 427389 w 7726629"/>
              <a:gd name="connsiteY25" fmla="*/ 900950 h 3920548"/>
              <a:gd name="connsiteX26" fmla="*/ 134002 w 7726629"/>
              <a:gd name="connsiteY26" fmla="*/ 942886 h 3920548"/>
              <a:gd name="connsiteX27" fmla="*/ 89597 w 7726629"/>
              <a:gd name="connsiteY27" fmla="*/ 526321 h 3920548"/>
              <a:gd name="connsiteX28" fmla="*/ 1501102 w 7726629"/>
              <a:gd name="connsiteY28"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314137 w 7726629"/>
              <a:gd name="connsiteY7" fmla="*/ 2108176 h 3920548"/>
              <a:gd name="connsiteX8" fmla="*/ 4457570 w 7726629"/>
              <a:gd name="connsiteY8" fmla="*/ 2259327 h 3920548"/>
              <a:gd name="connsiteX9" fmla="*/ 6414726 w 7726629"/>
              <a:gd name="connsiteY9" fmla="*/ 3407390 h 3920548"/>
              <a:gd name="connsiteX10" fmla="*/ 7127166 w 7726629"/>
              <a:gd name="connsiteY10" fmla="*/ 3100088 h 3920548"/>
              <a:gd name="connsiteX11" fmla="*/ 7026764 w 7726629"/>
              <a:gd name="connsiteY11" fmla="*/ 2999730 h 3920548"/>
              <a:gd name="connsiteX12" fmla="*/ 7063671 w 7726629"/>
              <a:gd name="connsiteY12" fmla="*/ 2907004 h 3920548"/>
              <a:gd name="connsiteX13" fmla="*/ 7602068 w 7726629"/>
              <a:gd name="connsiteY13" fmla="*/ 2896828 h 3920548"/>
              <a:gd name="connsiteX14" fmla="*/ 7726610 w 7726629"/>
              <a:gd name="connsiteY14" fmla="*/ 3023854 h 3920548"/>
              <a:gd name="connsiteX15" fmla="*/ 7716465 w 7726629"/>
              <a:gd name="connsiteY15" fmla="*/ 3562313 h 3920548"/>
              <a:gd name="connsiteX16" fmla="*/ 7623758 w 7726629"/>
              <a:gd name="connsiteY16" fmla="*/ 3599158 h 3920548"/>
              <a:gd name="connsiteX17" fmla="*/ 7485223 w 7726629"/>
              <a:gd name="connsiteY17" fmla="*/ 3460727 h 3920548"/>
              <a:gd name="connsiteX18" fmla="*/ 6450234 w 7726629"/>
              <a:gd name="connsiteY18" fmla="*/ 3911636 h 3920548"/>
              <a:gd name="connsiteX19" fmla="*/ 4124876 w 7726629"/>
              <a:gd name="connsiteY19" fmla="*/ 2639003 h 3920548"/>
              <a:gd name="connsiteX20" fmla="*/ 3949608 w 7726629"/>
              <a:gd name="connsiteY20" fmla="*/ 2457411 h 3920548"/>
              <a:gd name="connsiteX21" fmla="*/ 3394037 w 7726629"/>
              <a:gd name="connsiteY21" fmla="*/ 1877596 h 3920548"/>
              <a:gd name="connsiteX22" fmla="*/ 3264524 w 7726629"/>
              <a:gd name="connsiteY22" fmla="*/ 1742934 h 3920548"/>
              <a:gd name="connsiteX23" fmla="*/ 2002166 w 7726629"/>
              <a:gd name="connsiteY23" fmla="*/ 626688 h 3920548"/>
              <a:gd name="connsiteX24" fmla="*/ 427389 w 7726629"/>
              <a:gd name="connsiteY24" fmla="*/ 900950 h 3920548"/>
              <a:gd name="connsiteX25" fmla="*/ 134002 w 7726629"/>
              <a:gd name="connsiteY25" fmla="*/ 942886 h 3920548"/>
              <a:gd name="connsiteX26" fmla="*/ 89597 w 7726629"/>
              <a:gd name="connsiteY26" fmla="*/ 526321 h 3920548"/>
              <a:gd name="connsiteX27" fmla="*/ 1501102 w 7726629"/>
              <a:gd name="connsiteY27"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314137 w 7726629"/>
              <a:gd name="connsiteY6" fmla="*/ 2108176 h 3920548"/>
              <a:gd name="connsiteX7" fmla="*/ 4457570 w 7726629"/>
              <a:gd name="connsiteY7" fmla="*/ 2259327 h 3920548"/>
              <a:gd name="connsiteX8" fmla="*/ 6414726 w 7726629"/>
              <a:gd name="connsiteY8" fmla="*/ 3407390 h 3920548"/>
              <a:gd name="connsiteX9" fmla="*/ 7127166 w 7726629"/>
              <a:gd name="connsiteY9" fmla="*/ 3100088 h 3920548"/>
              <a:gd name="connsiteX10" fmla="*/ 7026764 w 7726629"/>
              <a:gd name="connsiteY10" fmla="*/ 2999730 h 3920548"/>
              <a:gd name="connsiteX11" fmla="*/ 7063671 w 7726629"/>
              <a:gd name="connsiteY11" fmla="*/ 2907004 h 3920548"/>
              <a:gd name="connsiteX12" fmla="*/ 7602068 w 7726629"/>
              <a:gd name="connsiteY12" fmla="*/ 2896828 h 3920548"/>
              <a:gd name="connsiteX13" fmla="*/ 7726610 w 7726629"/>
              <a:gd name="connsiteY13" fmla="*/ 3023854 h 3920548"/>
              <a:gd name="connsiteX14" fmla="*/ 7716465 w 7726629"/>
              <a:gd name="connsiteY14" fmla="*/ 3562313 h 3920548"/>
              <a:gd name="connsiteX15" fmla="*/ 7623758 w 7726629"/>
              <a:gd name="connsiteY15" fmla="*/ 3599158 h 3920548"/>
              <a:gd name="connsiteX16" fmla="*/ 7485223 w 7726629"/>
              <a:gd name="connsiteY16" fmla="*/ 3460727 h 3920548"/>
              <a:gd name="connsiteX17" fmla="*/ 6450234 w 7726629"/>
              <a:gd name="connsiteY17" fmla="*/ 3911636 h 3920548"/>
              <a:gd name="connsiteX18" fmla="*/ 4124876 w 7726629"/>
              <a:gd name="connsiteY18" fmla="*/ 2639003 h 3920548"/>
              <a:gd name="connsiteX19" fmla="*/ 3949608 w 7726629"/>
              <a:gd name="connsiteY19" fmla="*/ 2457411 h 3920548"/>
              <a:gd name="connsiteX20" fmla="*/ 3394037 w 7726629"/>
              <a:gd name="connsiteY20" fmla="*/ 1877596 h 3920548"/>
              <a:gd name="connsiteX21" fmla="*/ 3264524 w 7726629"/>
              <a:gd name="connsiteY21" fmla="*/ 1742934 h 3920548"/>
              <a:gd name="connsiteX22" fmla="*/ 2002166 w 7726629"/>
              <a:gd name="connsiteY22" fmla="*/ 626688 h 3920548"/>
              <a:gd name="connsiteX23" fmla="*/ 427389 w 7726629"/>
              <a:gd name="connsiteY23" fmla="*/ 900950 h 3920548"/>
              <a:gd name="connsiteX24" fmla="*/ 134002 w 7726629"/>
              <a:gd name="connsiteY24" fmla="*/ 942886 h 3920548"/>
              <a:gd name="connsiteX25" fmla="*/ 89597 w 7726629"/>
              <a:gd name="connsiteY25" fmla="*/ 526321 h 3920548"/>
              <a:gd name="connsiteX26" fmla="*/ 1501102 w 7726629"/>
              <a:gd name="connsiteY26"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4314137 w 7726629"/>
              <a:gd name="connsiteY5" fmla="*/ 2108176 h 3920548"/>
              <a:gd name="connsiteX6" fmla="*/ 4457570 w 7726629"/>
              <a:gd name="connsiteY6" fmla="*/ 2259327 h 3920548"/>
              <a:gd name="connsiteX7" fmla="*/ 6414726 w 7726629"/>
              <a:gd name="connsiteY7" fmla="*/ 3407390 h 3920548"/>
              <a:gd name="connsiteX8" fmla="*/ 7127166 w 7726629"/>
              <a:gd name="connsiteY8" fmla="*/ 3100088 h 3920548"/>
              <a:gd name="connsiteX9" fmla="*/ 7026764 w 7726629"/>
              <a:gd name="connsiteY9" fmla="*/ 2999730 h 3920548"/>
              <a:gd name="connsiteX10" fmla="*/ 7063671 w 7726629"/>
              <a:gd name="connsiteY10" fmla="*/ 2907004 h 3920548"/>
              <a:gd name="connsiteX11" fmla="*/ 7602068 w 7726629"/>
              <a:gd name="connsiteY11" fmla="*/ 2896828 h 3920548"/>
              <a:gd name="connsiteX12" fmla="*/ 7726610 w 7726629"/>
              <a:gd name="connsiteY12" fmla="*/ 3023854 h 3920548"/>
              <a:gd name="connsiteX13" fmla="*/ 7716465 w 7726629"/>
              <a:gd name="connsiteY13" fmla="*/ 3562313 h 3920548"/>
              <a:gd name="connsiteX14" fmla="*/ 7623758 w 7726629"/>
              <a:gd name="connsiteY14" fmla="*/ 3599158 h 3920548"/>
              <a:gd name="connsiteX15" fmla="*/ 7485223 w 7726629"/>
              <a:gd name="connsiteY15" fmla="*/ 3460727 h 3920548"/>
              <a:gd name="connsiteX16" fmla="*/ 6450234 w 7726629"/>
              <a:gd name="connsiteY16" fmla="*/ 3911636 h 3920548"/>
              <a:gd name="connsiteX17" fmla="*/ 4124876 w 7726629"/>
              <a:gd name="connsiteY17" fmla="*/ 2639003 h 3920548"/>
              <a:gd name="connsiteX18" fmla="*/ 3949608 w 7726629"/>
              <a:gd name="connsiteY18" fmla="*/ 2457411 h 3920548"/>
              <a:gd name="connsiteX19" fmla="*/ 3394037 w 7726629"/>
              <a:gd name="connsiteY19" fmla="*/ 1877596 h 3920548"/>
              <a:gd name="connsiteX20" fmla="*/ 3264524 w 7726629"/>
              <a:gd name="connsiteY20" fmla="*/ 1742934 h 3920548"/>
              <a:gd name="connsiteX21" fmla="*/ 2002166 w 7726629"/>
              <a:gd name="connsiteY21" fmla="*/ 626688 h 3920548"/>
              <a:gd name="connsiteX22" fmla="*/ 427389 w 7726629"/>
              <a:gd name="connsiteY22" fmla="*/ 900950 h 3920548"/>
              <a:gd name="connsiteX23" fmla="*/ 134002 w 7726629"/>
              <a:gd name="connsiteY23" fmla="*/ 942886 h 3920548"/>
              <a:gd name="connsiteX24" fmla="*/ 89597 w 7726629"/>
              <a:gd name="connsiteY24" fmla="*/ 526321 h 3920548"/>
              <a:gd name="connsiteX25" fmla="*/ 1501102 w 7726629"/>
              <a:gd name="connsiteY25"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4314137 w 7726629"/>
              <a:gd name="connsiteY4" fmla="*/ 2108176 h 3920548"/>
              <a:gd name="connsiteX5" fmla="*/ 4457570 w 7726629"/>
              <a:gd name="connsiteY5" fmla="*/ 2259327 h 3920548"/>
              <a:gd name="connsiteX6" fmla="*/ 6414726 w 7726629"/>
              <a:gd name="connsiteY6" fmla="*/ 3407390 h 3920548"/>
              <a:gd name="connsiteX7" fmla="*/ 7127166 w 7726629"/>
              <a:gd name="connsiteY7" fmla="*/ 3100088 h 3920548"/>
              <a:gd name="connsiteX8" fmla="*/ 7026764 w 7726629"/>
              <a:gd name="connsiteY8" fmla="*/ 2999730 h 3920548"/>
              <a:gd name="connsiteX9" fmla="*/ 7063671 w 7726629"/>
              <a:gd name="connsiteY9" fmla="*/ 2907004 h 3920548"/>
              <a:gd name="connsiteX10" fmla="*/ 7602068 w 7726629"/>
              <a:gd name="connsiteY10" fmla="*/ 2896828 h 3920548"/>
              <a:gd name="connsiteX11" fmla="*/ 7726610 w 7726629"/>
              <a:gd name="connsiteY11" fmla="*/ 3023854 h 3920548"/>
              <a:gd name="connsiteX12" fmla="*/ 7716465 w 7726629"/>
              <a:gd name="connsiteY12" fmla="*/ 3562313 h 3920548"/>
              <a:gd name="connsiteX13" fmla="*/ 7623758 w 7726629"/>
              <a:gd name="connsiteY13" fmla="*/ 3599158 h 3920548"/>
              <a:gd name="connsiteX14" fmla="*/ 7485223 w 7726629"/>
              <a:gd name="connsiteY14" fmla="*/ 3460727 h 3920548"/>
              <a:gd name="connsiteX15" fmla="*/ 6450234 w 7726629"/>
              <a:gd name="connsiteY15" fmla="*/ 3911636 h 3920548"/>
              <a:gd name="connsiteX16" fmla="*/ 4124876 w 7726629"/>
              <a:gd name="connsiteY16" fmla="*/ 2639003 h 3920548"/>
              <a:gd name="connsiteX17" fmla="*/ 3949608 w 7726629"/>
              <a:gd name="connsiteY17" fmla="*/ 2457411 h 3920548"/>
              <a:gd name="connsiteX18" fmla="*/ 3394037 w 7726629"/>
              <a:gd name="connsiteY18" fmla="*/ 1877596 h 3920548"/>
              <a:gd name="connsiteX19" fmla="*/ 3264524 w 7726629"/>
              <a:gd name="connsiteY19" fmla="*/ 1742934 h 3920548"/>
              <a:gd name="connsiteX20" fmla="*/ 2002166 w 7726629"/>
              <a:gd name="connsiteY20" fmla="*/ 626688 h 3920548"/>
              <a:gd name="connsiteX21" fmla="*/ 427389 w 7726629"/>
              <a:gd name="connsiteY21" fmla="*/ 900950 h 3920548"/>
              <a:gd name="connsiteX22" fmla="*/ 134002 w 7726629"/>
              <a:gd name="connsiteY22" fmla="*/ 942886 h 3920548"/>
              <a:gd name="connsiteX23" fmla="*/ 89597 w 7726629"/>
              <a:gd name="connsiteY23" fmla="*/ 526321 h 3920548"/>
              <a:gd name="connsiteX24" fmla="*/ 1501102 w 7726629"/>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29" h="3920548">
                <a:moveTo>
                  <a:pt x="1501102" y="914"/>
                </a:moveTo>
                <a:cubicBezTo>
                  <a:pt x="1679131" y="6348"/>
                  <a:pt x="1855736" y="36111"/>
                  <a:pt x="2022430" y="93260"/>
                </a:cubicBezTo>
                <a:cubicBezTo>
                  <a:pt x="2559690" y="277407"/>
                  <a:pt x="2873341" y="570773"/>
                  <a:pt x="3602316" y="1367093"/>
                </a:cubicBezTo>
                <a:cubicBezTo>
                  <a:pt x="3617470" y="1383588"/>
                  <a:pt x="3675971" y="1444535"/>
                  <a:pt x="3755970" y="1527103"/>
                </a:cubicBezTo>
                <a:lnTo>
                  <a:pt x="4314137" y="2108176"/>
                </a:lnTo>
                <a:lnTo>
                  <a:pt x="4457570" y="2259327"/>
                </a:lnTo>
                <a:cubicBezTo>
                  <a:pt x="5153568" y="3021310"/>
                  <a:pt x="5746715" y="3515380"/>
                  <a:pt x="6414726" y="3407390"/>
                </a:cubicBezTo>
                <a:cubicBezTo>
                  <a:pt x="6779080" y="3347737"/>
                  <a:pt x="6991255" y="3211850"/>
                  <a:pt x="7127166" y="3100088"/>
                </a:cubicBezTo>
                <a:lnTo>
                  <a:pt x="7026764" y="2999730"/>
                </a:lnTo>
                <a:cubicBezTo>
                  <a:pt x="6977262" y="2950165"/>
                  <a:pt x="6993704" y="2908320"/>
                  <a:pt x="7063671" y="2907004"/>
                </a:cubicBezTo>
                <a:lnTo>
                  <a:pt x="7602068" y="2896828"/>
                </a:lnTo>
                <a:cubicBezTo>
                  <a:pt x="7672036" y="2895600"/>
                  <a:pt x="7727834" y="2952709"/>
                  <a:pt x="7726610" y="3023854"/>
                </a:cubicBezTo>
                <a:lnTo>
                  <a:pt x="7716465" y="3562313"/>
                </a:lnTo>
                <a:cubicBezTo>
                  <a:pt x="7715066" y="3632230"/>
                  <a:pt x="7673260" y="3648723"/>
                  <a:pt x="7623758" y="3599158"/>
                </a:cubicBezTo>
                <a:lnTo>
                  <a:pt x="7485223" y="3460727"/>
                </a:lnTo>
                <a:cubicBezTo>
                  <a:pt x="7266751" y="3643635"/>
                  <a:pt x="6873186" y="3873475"/>
                  <a:pt x="6450234" y="3911636"/>
                </a:cubicBezTo>
                <a:cubicBezTo>
                  <a:pt x="5440608" y="4003046"/>
                  <a:pt x="4829795" y="3378177"/>
                  <a:pt x="4124876" y="2639003"/>
                </a:cubicBezTo>
                <a:cubicBezTo>
                  <a:pt x="4122252" y="2637775"/>
                  <a:pt x="4051236" y="2562857"/>
                  <a:pt x="3949608" y="2457411"/>
                </a:cubicBezTo>
                <a:lnTo>
                  <a:pt x="3394037" y="1877596"/>
                </a:lnTo>
                <a:lnTo>
                  <a:pt x="3264524" y="1742934"/>
                </a:lnTo>
                <a:cubicBezTo>
                  <a:pt x="2567267" y="981002"/>
                  <a:pt x="2356521" y="793035"/>
                  <a:pt x="2002166" y="626688"/>
                </a:cubicBezTo>
                <a:cubicBezTo>
                  <a:pt x="1498033" y="389143"/>
                  <a:pt x="826149" y="513647"/>
                  <a:pt x="427389" y="900950"/>
                </a:cubicBezTo>
                <a:cubicBezTo>
                  <a:pt x="349857" y="975876"/>
                  <a:pt x="229331" y="993676"/>
                  <a:pt x="134002" y="942886"/>
                </a:cubicBezTo>
                <a:cubicBezTo>
                  <a:pt x="-19652" y="861623"/>
                  <a:pt x="-50136" y="644394"/>
                  <a:pt x="89597" y="526321"/>
                </a:cubicBezTo>
                <a:cubicBezTo>
                  <a:pt x="420121" y="187267"/>
                  <a:pt x="967017" y="-15389"/>
                  <a:pt x="1501102" y="914"/>
                </a:cubicBezTo>
                <a:close/>
              </a:path>
            </a:pathLst>
          </a:custGeom>
          <a:solidFill>
            <a:srgbClr val="E6D0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35" name="Oval 34">
            <a:extLst>
              <a:ext uri="{FF2B5EF4-FFF2-40B4-BE49-F238E27FC236}">
                <a16:creationId xmlns:a16="http://schemas.microsoft.com/office/drawing/2014/main" id="{DF79A2F7-8235-7E90-C222-877D8C6D8CCF}"/>
              </a:ext>
            </a:extLst>
          </p:cNvPr>
          <p:cNvSpPr>
            <a:spLocks/>
          </p:cNvSpPr>
          <p:nvPr/>
        </p:nvSpPr>
        <p:spPr>
          <a:xfrm>
            <a:off x="2352007" y="1837916"/>
            <a:ext cx="526624" cy="526624"/>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algn="ctr">
              <a:defRPr/>
            </a:pPr>
            <a:r>
              <a:rPr lang="en-US" sz="1799" b="1" kern="0">
                <a:solidFill>
                  <a:prstClr val="white"/>
                </a:solidFill>
                <a:latin typeface="EYInterstate Regular" panose="02000503020000020004" pitchFamily="2" charset="0"/>
              </a:rPr>
              <a:t>01</a:t>
            </a:r>
          </a:p>
        </p:txBody>
      </p:sp>
      <p:sp>
        <p:nvSpPr>
          <p:cNvPr id="36" name="Oval 35">
            <a:extLst>
              <a:ext uri="{FF2B5EF4-FFF2-40B4-BE49-F238E27FC236}">
                <a16:creationId xmlns:a16="http://schemas.microsoft.com/office/drawing/2014/main" id="{7393FE01-DDAF-1A2F-FCBA-00E979C3490B}"/>
              </a:ext>
            </a:extLst>
          </p:cNvPr>
          <p:cNvSpPr>
            <a:spLocks/>
          </p:cNvSpPr>
          <p:nvPr/>
        </p:nvSpPr>
        <p:spPr>
          <a:xfrm>
            <a:off x="5054211" y="1813230"/>
            <a:ext cx="526624" cy="526624"/>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algn="ctr">
              <a:defRPr/>
            </a:pPr>
            <a:r>
              <a:rPr lang="en-US" sz="1799" b="1" kern="0">
                <a:solidFill>
                  <a:prstClr val="white"/>
                </a:solidFill>
                <a:latin typeface="EYInterstate Regular" panose="02000503020000020004" pitchFamily="2" charset="0"/>
              </a:rPr>
              <a:t>02</a:t>
            </a:r>
          </a:p>
        </p:txBody>
      </p:sp>
      <p:sp>
        <p:nvSpPr>
          <p:cNvPr id="38" name="Oval 37">
            <a:extLst>
              <a:ext uri="{FF2B5EF4-FFF2-40B4-BE49-F238E27FC236}">
                <a16:creationId xmlns:a16="http://schemas.microsoft.com/office/drawing/2014/main" id="{3816C631-AF29-CAB1-37AF-3F4A059A9E59}"/>
              </a:ext>
            </a:extLst>
          </p:cNvPr>
          <p:cNvSpPr>
            <a:spLocks/>
          </p:cNvSpPr>
          <p:nvPr/>
        </p:nvSpPr>
        <p:spPr>
          <a:xfrm>
            <a:off x="7838060" y="1820558"/>
            <a:ext cx="526624" cy="526624"/>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algn="ctr">
              <a:defRPr/>
            </a:pPr>
            <a:r>
              <a:rPr lang="en-US" sz="1799" b="1" kern="0">
                <a:solidFill>
                  <a:prstClr val="white"/>
                </a:solidFill>
                <a:latin typeface="EYInterstate Regular" panose="02000503020000020004" pitchFamily="2" charset="0"/>
              </a:rPr>
              <a:t>03</a:t>
            </a:r>
          </a:p>
        </p:txBody>
      </p:sp>
      <p:grpSp>
        <p:nvGrpSpPr>
          <p:cNvPr id="46" name="Group 57">
            <a:extLst>
              <a:ext uri="{FF2B5EF4-FFF2-40B4-BE49-F238E27FC236}">
                <a16:creationId xmlns:a16="http://schemas.microsoft.com/office/drawing/2014/main" id="{62E2F163-C454-AC86-7124-69BC63F306C6}"/>
              </a:ext>
            </a:extLst>
          </p:cNvPr>
          <p:cNvGrpSpPr>
            <a:grpSpLocks noChangeAspect="1"/>
          </p:cNvGrpSpPr>
          <p:nvPr/>
        </p:nvGrpSpPr>
        <p:grpSpPr bwMode="auto">
          <a:xfrm>
            <a:off x="1737279" y="1781407"/>
            <a:ext cx="522221" cy="639743"/>
            <a:chOff x="1987" y="1920"/>
            <a:chExt cx="600" cy="735"/>
          </a:xfrm>
          <a:solidFill>
            <a:schemeClr val="bg1"/>
          </a:solidFill>
        </p:grpSpPr>
        <p:sp>
          <p:nvSpPr>
            <p:cNvPr id="47" name="Freeform 58">
              <a:extLst>
                <a:ext uri="{FF2B5EF4-FFF2-40B4-BE49-F238E27FC236}">
                  <a16:creationId xmlns:a16="http://schemas.microsoft.com/office/drawing/2014/main" id="{3AD89C96-D0ED-DFD6-B5A6-EA380155CEC5}"/>
                </a:ext>
              </a:extLst>
            </p:cNvPr>
            <p:cNvSpPr>
              <a:spLocks/>
            </p:cNvSpPr>
            <p:nvPr/>
          </p:nvSpPr>
          <p:spPr bwMode="auto">
            <a:xfrm>
              <a:off x="2470" y="2221"/>
              <a:ext cx="28" cy="26"/>
            </a:xfrm>
            <a:custGeom>
              <a:avLst/>
              <a:gdLst>
                <a:gd name="T0" fmla="*/ 28 w 28"/>
                <a:gd name="T1" fmla="*/ 0 h 26"/>
                <a:gd name="T2" fmla="*/ 0 w 28"/>
                <a:gd name="T3" fmla="*/ 24 h 26"/>
                <a:gd name="T4" fmla="*/ 0 w 28"/>
                <a:gd name="T5" fmla="*/ 26 h 26"/>
                <a:gd name="T6" fmla="*/ 27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4"/>
                  </a:lnTo>
                  <a:lnTo>
                    <a:pt x="0" y="26"/>
                  </a:lnTo>
                  <a:lnTo>
                    <a:pt x="27" y="2"/>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48" name="Freeform 59">
              <a:extLst>
                <a:ext uri="{FF2B5EF4-FFF2-40B4-BE49-F238E27FC236}">
                  <a16:creationId xmlns:a16="http://schemas.microsoft.com/office/drawing/2014/main" id="{AA31579A-4954-E4F7-E3A2-B89604EAA938}"/>
                </a:ext>
              </a:extLst>
            </p:cNvPr>
            <p:cNvSpPr>
              <a:spLocks/>
            </p:cNvSpPr>
            <p:nvPr/>
          </p:nvSpPr>
          <p:spPr bwMode="auto">
            <a:xfrm>
              <a:off x="2076" y="2221"/>
              <a:ext cx="28" cy="26"/>
            </a:xfrm>
            <a:custGeom>
              <a:avLst/>
              <a:gdLst>
                <a:gd name="T0" fmla="*/ 28 w 28"/>
                <a:gd name="T1" fmla="*/ 26 h 26"/>
                <a:gd name="T2" fmla="*/ 27 w 28"/>
                <a:gd name="T3" fmla="*/ 24 h 26"/>
                <a:gd name="T4" fmla="*/ 0 w 28"/>
                <a:gd name="T5" fmla="*/ 0 h 26"/>
                <a:gd name="T6" fmla="*/ 0 w 28"/>
                <a:gd name="T7" fmla="*/ 2 h 26"/>
                <a:gd name="T8" fmla="*/ 28 w 28"/>
                <a:gd name="T9" fmla="*/ 26 h 26"/>
              </a:gdLst>
              <a:ahLst/>
              <a:cxnLst>
                <a:cxn ang="0">
                  <a:pos x="T0" y="T1"/>
                </a:cxn>
                <a:cxn ang="0">
                  <a:pos x="T2" y="T3"/>
                </a:cxn>
                <a:cxn ang="0">
                  <a:pos x="T4" y="T5"/>
                </a:cxn>
                <a:cxn ang="0">
                  <a:pos x="T6" y="T7"/>
                </a:cxn>
                <a:cxn ang="0">
                  <a:pos x="T8" y="T9"/>
                </a:cxn>
              </a:cxnLst>
              <a:rect l="0" t="0" r="r" b="b"/>
              <a:pathLst>
                <a:path w="28" h="26">
                  <a:moveTo>
                    <a:pt x="28" y="26"/>
                  </a:moveTo>
                  <a:lnTo>
                    <a:pt x="27" y="24"/>
                  </a:lnTo>
                  <a:lnTo>
                    <a:pt x="0" y="0"/>
                  </a:lnTo>
                  <a:lnTo>
                    <a:pt x="0" y="2"/>
                  </a:lnTo>
                  <a:lnTo>
                    <a:pt x="2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49" name="Freeform 60">
              <a:extLst>
                <a:ext uri="{FF2B5EF4-FFF2-40B4-BE49-F238E27FC236}">
                  <a16:creationId xmlns:a16="http://schemas.microsoft.com/office/drawing/2014/main" id="{91F19286-174B-DED8-1EC1-BCA805C0155B}"/>
                </a:ext>
              </a:extLst>
            </p:cNvPr>
            <p:cNvSpPr>
              <a:spLocks/>
            </p:cNvSpPr>
            <p:nvPr/>
          </p:nvSpPr>
          <p:spPr bwMode="auto">
            <a:xfrm>
              <a:off x="2340" y="2213"/>
              <a:ext cx="7" cy="12"/>
            </a:xfrm>
            <a:custGeom>
              <a:avLst/>
              <a:gdLst>
                <a:gd name="T0" fmla="*/ 0 w 21"/>
                <a:gd name="T1" fmla="*/ 36 h 36"/>
                <a:gd name="T2" fmla="*/ 21 w 21"/>
                <a:gd name="T3" fmla="*/ 7 h 36"/>
                <a:gd name="T4" fmla="*/ 3 w 21"/>
                <a:gd name="T5" fmla="*/ 0 h 36"/>
                <a:gd name="T6" fmla="*/ 0 w 21"/>
                <a:gd name="T7" fmla="*/ 36 h 36"/>
              </a:gdLst>
              <a:ahLst/>
              <a:cxnLst>
                <a:cxn ang="0">
                  <a:pos x="T0" y="T1"/>
                </a:cxn>
                <a:cxn ang="0">
                  <a:pos x="T2" y="T3"/>
                </a:cxn>
                <a:cxn ang="0">
                  <a:pos x="T4" y="T5"/>
                </a:cxn>
                <a:cxn ang="0">
                  <a:pos x="T6" y="T7"/>
                </a:cxn>
              </a:cxnLst>
              <a:rect l="0" t="0" r="r" b="b"/>
              <a:pathLst>
                <a:path w="21" h="36">
                  <a:moveTo>
                    <a:pt x="0" y="36"/>
                  </a:moveTo>
                  <a:cubicBezTo>
                    <a:pt x="21" y="7"/>
                    <a:pt x="21" y="7"/>
                    <a:pt x="21" y="7"/>
                  </a:cubicBezTo>
                  <a:cubicBezTo>
                    <a:pt x="15" y="5"/>
                    <a:pt x="9" y="3"/>
                    <a:pt x="3" y="0"/>
                  </a:cubicBez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0" name="Freeform 61">
              <a:extLst>
                <a:ext uri="{FF2B5EF4-FFF2-40B4-BE49-F238E27FC236}">
                  <a16:creationId xmlns:a16="http://schemas.microsoft.com/office/drawing/2014/main" id="{3B37A45A-48F3-14C3-0948-38EF5F66D138}"/>
                </a:ext>
              </a:extLst>
            </p:cNvPr>
            <p:cNvSpPr>
              <a:spLocks/>
            </p:cNvSpPr>
            <p:nvPr/>
          </p:nvSpPr>
          <p:spPr bwMode="auto">
            <a:xfrm>
              <a:off x="2226" y="2213"/>
              <a:ext cx="8" cy="11"/>
            </a:xfrm>
            <a:custGeom>
              <a:avLst/>
              <a:gdLst>
                <a:gd name="T0" fmla="*/ 0 w 22"/>
                <a:gd name="T1" fmla="*/ 7 h 35"/>
                <a:gd name="T2" fmla="*/ 22 w 22"/>
                <a:gd name="T3" fmla="*/ 35 h 35"/>
                <a:gd name="T4" fmla="*/ 18 w 22"/>
                <a:gd name="T5" fmla="*/ 0 h 35"/>
                <a:gd name="T6" fmla="*/ 0 w 22"/>
                <a:gd name="T7" fmla="*/ 7 h 35"/>
              </a:gdLst>
              <a:ahLst/>
              <a:cxnLst>
                <a:cxn ang="0">
                  <a:pos x="T0" y="T1"/>
                </a:cxn>
                <a:cxn ang="0">
                  <a:pos x="T2" y="T3"/>
                </a:cxn>
                <a:cxn ang="0">
                  <a:pos x="T4" y="T5"/>
                </a:cxn>
                <a:cxn ang="0">
                  <a:pos x="T6" y="T7"/>
                </a:cxn>
              </a:cxnLst>
              <a:rect l="0" t="0" r="r" b="b"/>
              <a:pathLst>
                <a:path w="22" h="35">
                  <a:moveTo>
                    <a:pt x="0" y="7"/>
                  </a:moveTo>
                  <a:cubicBezTo>
                    <a:pt x="22" y="35"/>
                    <a:pt x="22" y="35"/>
                    <a:pt x="22" y="35"/>
                  </a:cubicBezTo>
                  <a:cubicBezTo>
                    <a:pt x="18" y="0"/>
                    <a:pt x="18" y="0"/>
                    <a:pt x="18" y="0"/>
                  </a:cubicBezTo>
                  <a:cubicBezTo>
                    <a:pt x="12" y="2"/>
                    <a:pt x="6" y="5"/>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1" name="Freeform 62">
              <a:extLst>
                <a:ext uri="{FF2B5EF4-FFF2-40B4-BE49-F238E27FC236}">
                  <a16:creationId xmlns:a16="http://schemas.microsoft.com/office/drawing/2014/main" id="{9B74EB9C-AC70-ACFB-6FFE-2609BB87EF86}"/>
                </a:ext>
              </a:extLst>
            </p:cNvPr>
            <p:cNvSpPr>
              <a:spLocks/>
            </p:cNvSpPr>
            <p:nvPr/>
          </p:nvSpPr>
          <p:spPr bwMode="auto">
            <a:xfrm>
              <a:off x="2509" y="2436"/>
              <a:ext cx="6" cy="6"/>
            </a:xfrm>
            <a:custGeom>
              <a:avLst/>
              <a:gdLst>
                <a:gd name="T0" fmla="*/ 0 w 18"/>
                <a:gd name="T1" fmla="*/ 13 h 19"/>
                <a:gd name="T2" fmla="*/ 14 w 18"/>
                <a:gd name="T3" fmla="*/ 19 h 19"/>
                <a:gd name="T4" fmla="*/ 18 w 18"/>
                <a:gd name="T5" fmla="*/ 7 h 19"/>
                <a:gd name="T6" fmla="*/ 8 w 18"/>
                <a:gd name="T7" fmla="*/ 0 h 19"/>
                <a:gd name="T8" fmla="*/ 0 w 18"/>
                <a:gd name="T9" fmla="*/ 13 h 19"/>
              </a:gdLst>
              <a:ahLst/>
              <a:cxnLst>
                <a:cxn ang="0">
                  <a:pos x="T0" y="T1"/>
                </a:cxn>
                <a:cxn ang="0">
                  <a:pos x="T2" y="T3"/>
                </a:cxn>
                <a:cxn ang="0">
                  <a:pos x="T4" y="T5"/>
                </a:cxn>
                <a:cxn ang="0">
                  <a:pos x="T6" y="T7"/>
                </a:cxn>
                <a:cxn ang="0">
                  <a:pos x="T8" y="T9"/>
                </a:cxn>
              </a:cxnLst>
              <a:rect l="0" t="0" r="r" b="b"/>
              <a:pathLst>
                <a:path w="18" h="19">
                  <a:moveTo>
                    <a:pt x="0" y="13"/>
                  </a:moveTo>
                  <a:cubicBezTo>
                    <a:pt x="14" y="19"/>
                    <a:pt x="14" y="19"/>
                    <a:pt x="14" y="19"/>
                  </a:cubicBezTo>
                  <a:cubicBezTo>
                    <a:pt x="16" y="15"/>
                    <a:pt x="17" y="11"/>
                    <a:pt x="18" y="7"/>
                  </a:cubicBezTo>
                  <a:cubicBezTo>
                    <a:pt x="8" y="0"/>
                    <a:pt x="8" y="0"/>
                    <a:pt x="8" y="0"/>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2" name="Freeform 63">
              <a:extLst>
                <a:ext uri="{FF2B5EF4-FFF2-40B4-BE49-F238E27FC236}">
                  <a16:creationId xmlns:a16="http://schemas.microsoft.com/office/drawing/2014/main" id="{FA09EA1E-EE00-578F-E8FB-F37C84E04DA0}"/>
                </a:ext>
              </a:extLst>
            </p:cNvPr>
            <p:cNvSpPr>
              <a:spLocks/>
            </p:cNvSpPr>
            <p:nvPr/>
          </p:nvSpPr>
          <p:spPr bwMode="auto">
            <a:xfrm>
              <a:off x="2437" y="2537"/>
              <a:ext cx="6" cy="7"/>
            </a:xfrm>
            <a:custGeom>
              <a:avLst/>
              <a:gdLst>
                <a:gd name="T0" fmla="*/ 0 w 19"/>
                <a:gd name="T1" fmla="*/ 7 h 19"/>
                <a:gd name="T2" fmla="*/ 9 w 19"/>
                <a:gd name="T3" fmla="*/ 19 h 19"/>
                <a:gd name="T4" fmla="*/ 19 w 19"/>
                <a:gd name="T5" fmla="*/ 10 h 19"/>
                <a:gd name="T6" fmla="*/ 13 w 19"/>
                <a:gd name="T7" fmla="*/ 0 h 19"/>
                <a:gd name="T8" fmla="*/ 0 w 19"/>
                <a:gd name="T9" fmla="*/ 7 h 19"/>
              </a:gdLst>
              <a:ahLst/>
              <a:cxnLst>
                <a:cxn ang="0">
                  <a:pos x="T0" y="T1"/>
                </a:cxn>
                <a:cxn ang="0">
                  <a:pos x="T2" y="T3"/>
                </a:cxn>
                <a:cxn ang="0">
                  <a:pos x="T4" y="T5"/>
                </a:cxn>
                <a:cxn ang="0">
                  <a:pos x="T6" y="T7"/>
                </a:cxn>
                <a:cxn ang="0">
                  <a:pos x="T8" y="T9"/>
                </a:cxn>
              </a:cxnLst>
              <a:rect l="0" t="0" r="r" b="b"/>
              <a:pathLst>
                <a:path w="19" h="19">
                  <a:moveTo>
                    <a:pt x="0" y="7"/>
                  </a:moveTo>
                  <a:cubicBezTo>
                    <a:pt x="9" y="19"/>
                    <a:pt x="9" y="19"/>
                    <a:pt x="9" y="19"/>
                  </a:cubicBezTo>
                  <a:cubicBezTo>
                    <a:pt x="13" y="16"/>
                    <a:pt x="16" y="13"/>
                    <a:pt x="19" y="10"/>
                  </a:cubicBezTo>
                  <a:cubicBezTo>
                    <a:pt x="13" y="0"/>
                    <a:pt x="13" y="0"/>
                    <a:pt x="13" y="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3" name="Freeform 64">
              <a:extLst>
                <a:ext uri="{FF2B5EF4-FFF2-40B4-BE49-F238E27FC236}">
                  <a16:creationId xmlns:a16="http://schemas.microsoft.com/office/drawing/2014/main" id="{9BEC33FA-5503-AEC3-351E-28CF8F28DFCF}"/>
                </a:ext>
              </a:extLst>
            </p:cNvPr>
            <p:cNvSpPr>
              <a:spLocks/>
            </p:cNvSpPr>
            <p:nvPr/>
          </p:nvSpPr>
          <p:spPr bwMode="auto">
            <a:xfrm>
              <a:off x="2521" y="2314"/>
              <a:ext cx="5" cy="5"/>
            </a:xfrm>
            <a:custGeom>
              <a:avLst/>
              <a:gdLst>
                <a:gd name="T0" fmla="*/ 0 w 15"/>
                <a:gd name="T1" fmla="*/ 15 h 15"/>
                <a:gd name="T2" fmla="*/ 15 w 15"/>
                <a:gd name="T3" fmla="*/ 13 h 15"/>
                <a:gd name="T4" fmla="*/ 13 w 15"/>
                <a:gd name="T5" fmla="*/ 0 h 15"/>
                <a:gd name="T6" fmla="*/ 1 w 15"/>
                <a:gd name="T7" fmla="*/ 0 h 15"/>
                <a:gd name="T8" fmla="*/ 0 w 15"/>
                <a:gd name="T9" fmla="*/ 15 h 15"/>
              </a:gdLst>
              <a:ahLst/>
              <a:cxnLst>
                <a:cxn ang="0">
                  <a:pos x="T0" y="T1"/>
                </a:cxn>
                <a:cxn ang="0">
                  <a:pos x="T2" y="T3"/>
                </a:cxn>
                <a:cxn ang="0">
                  <a:pos x="T4" y="T5"/>
                </a:cxn>
                <a:cxn ang="0">
                  <a:pos x="T6" y="T7"/>
                </a:cxn>
                <a:cxn ang="0">
                  <a:pos x="T8" y="T9"/>
                </a:cxn>
              </a:cxnLst>
              <a:rect l="0" t="0" r="r" b="b"/>
              <a:pathLst>
                <a:path w="15" h="15">
                  <a:moveTo>
                    <a:pt x="0" y="15"/>
                  </a:moveTo>
                  <a:cubicBezTo>
                    <a:pt x="15" y="13"/>
                    <a:pt x="15" y="13"/>
                    <a:pt x="15" y="13"/>
                  </a:cubicBezTo>
                  <a:cubicBezTo>
                    <a:pt x="15" y="9"/>
                    <a:pt x="14" y="5"/>
                    <a:pt x="13" y="0"/>
                  </a:cubicBezTo>
                  <a:cubicBezTo>
                    <a:pt x="1" y="0"/>
                    <a:pt x="1" y="0"/>
                    <a:pt x="1" y="0"/>
                  </a:cubicBez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4" name="Freeform 65">
              <a:extLst>
                <a:ext uri="{FF2B5EF4-FFF2-40B4-BE49-F238E27FC236}">
                  <a16:creationId xmlns:a16="http://schemas.microsoft.com/office/drawing/2014/main" id="{84BFBF30-CB1B-BFCC-5E1D-D850311DE028}"/>
                </a:ext>
              </a:extLst>
            </p:cNvPr>
            <p:cNvSpPr>
              <a:spLocks/>
            </p:cNvSpPr>
            <p:nvPr/>
          </p:nvSpPr>
          <p:spPr bwMode="auto">
            <a:xfrm>
              <a:off x="2367" y="2578"/>
              <a:ext cx="6" cy="6"/>
            </a:xfrm>
            <a:custGeom>
              <a:avLst/>
              <a:gdLst>
                <a:gd name="T0" fmla="*/ 13 w 18"/>
                <a:gd name="T1" fmla="*/ 0 h 19"/>
                <a:gd name="T2" fmla="*/ 0 w 18"/>
                <a:gd name="T3" fmla="*/ 9 h 19"/>
                <a:gd name="T4" fmla="*/ 6 w 18"/>
                <a:gd name="T5" fmla="*/ 19 h 19"/>
                <a:gd name="T6" fmla="*/ 18 w 18"/>
                <a:gd name="T7" fmla="*/ 15 h 19"/>
                <a:gd name="T8" fmla="*/ 13 w 18"/>
                <a:gd name="T9" fmla="*/ 0 h 19"/>
              </a:gdLst>
              <a:ahLst/>
              <a:cxnLst>
                <a:cxn ang="0">
                  <a:pos x="T0" y="T1"/>
                </a:cxn>
                <a:cxn ang="0">
                  <a:pos x="T2" y="T3"/>
                </a:cxn>
                <a:cxn ang="0">
                  <a:pos x="T4" y="T5"/>
                </a:cxn>
                <a:cxn ang="0">
                  <a:pos x="T6" y="T7"/>
                </a:cxn>
                <a:cxn ang="0">
                  <a:pos x="T8" y="T9"/>
                </a:cxn>
              </a:cxnLst>
              <a:rect l="0" t="0" r="r" b="b"/>
              <a:pathLst>
                <a:path w="18" h="19">
                  <a:moveTo>
                    <a:pt x="13" y="0"/>
                  </a:moveTo>
                  <a:cubicBezTo>
                    <a:pt x="0" y="9"/>
                    <a:pt x="0" y="9"/>
                    <a:pt x="0" y="9"/>
                  </a:cubicBezTo>
                  <a:cubicBezTo>
                    <a:pt x="6" y="19"/>
                    <a:pt x="6" y="19"/>
                    <a:pt x="6" y="19"/>
                  </a:cubicBezTo>
                  <a:cubicBezTo>
                    <a:pt x="10" y="18"/>
                    <a:pt x="14" y="16"/>
                    <a:pt x="18" y="15"/>
                  </a:cubicBez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5" name="Freeform 66">
              <a:extLst>
                <a:ext uri="{FF2B5EF4-FFF2-40B4-BE49-F238E27FC236}">
                  <a16:creationId xmlns:a16="http://schemas.microsoft.com/office/drawing/2014/main" id="{BF7100D3-316A-F5C5-5939-202E02C80AB0}"/>
                </a:ext>
              </a:extLst>
            </p:cNvPr>
            <p:cNvSpPr>
              <a:spLocks/>
            </p:cNvSpPr>
            <p:nvPr/>
          </p:nvSpPr>
          <p:spPr bwMode="auto">
            <a:xfrm>
              <a:off x="2048" y="2314"/>
              <a:ext cx="5" cy="5"/>
            </a:xfrm>
            <a:custGeom>
              <a:avLst/>
              <a:gdLst>
                <a:gd name="T0" fmla="*/ 15 w 15"/>
                <a:gd name="T1" fmla="*/ 15 h 15"/>
                <a:gd name="T2" fmla="*/ 14 w 15"/>
                <a:gd name="T3" fmla="*/ 0 h 15"/>
                <a:gd name="T4" fmla="*/ 2 w 15"/>
                <a:gd name="T5" fmla="*/ 0 h 15"/>
                <a:gd name="T6" fmla="*/ 0 w 15"/>
                <a:gd name="T7" fmla="*/ 13 h 15"/>
                <a:gd name="T8" fmla="*/ 15 w 15"/>
                <a:gd name="T9" fmla="*/ 15 h 15"/>
              </a:gdLst>
              <a:ahLst/>
              <a:cxnLst>
                <a:cxn ang="0">
                  <a:pos x="T0" y="T1"/>
                </a:cxn>
                <a:cxn ang="0">
                  <a:pos x="T2" y="T3"/>
                </a:cxn>
                <a:cxn ang="0">
                  <a:pos x="T4" y="T5"/>
                </a:cxn>
                <a:cxn ang="0">
                  <a:pos x="T6" y="T7"/>
                </a:cxn>
                <a:cxn ang="0">
                  <a:pos x="T8" y="T9"/>
                </a:cxn>
              </a:cxnLst>
              <a:rect l="0" t="0" r="r" b="b"/>
              <a:pathLst>
                <a:path w="15" h="15">
                  <a:moveTo>
                    <a:pt x="15" y="15"/>
                  </a:moveTo>
                  <a:cubicBezTo>
                    <a:pt x="14" y="0"/>
                    <a:pt x="14" y="0"/>
                    <a:pt x="14" y="0"/>
                  </a:cubicBezTo>
                  <a:cubicBezTo>
                    <a:pt x="2" y="0"/>
                    <a:pt x="2" y="0"/>
                    <a:pt x="2" y="0"/>
                  </a:cubicBezTo>
                  <a:cubicBezTo>
                    <a:pt x="1" y="5"/>
                    <a:pt x="0" y="9"/>
                    <a:pt x="0" y="13"/>
                  </a:cubicBezTo>
                  <a:lnTo>
                    <a:pt x="15"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6" name="Freeform 67">
              <a:extLst>
                <a:ext uri="{FF2B5EF4-FFF2-40B4-BE49-F238E27FC236}">
                  <a16:creationId xmlns:a16="http://schemas.microsoft.com/office/drawing/2014/main" id="{0A9507FD-4C32-E1FA-D5B1-978E43E2AEFA}"/>
                </a:ext>
              </a:extLst>
            </p:cNvPr>
            <p:cNvSpPr>
              <a:spLocks/>
            </p:cNvSpPr>
            <p:nvPr/>
          </p:nvSpPr>
          <p:spPr bwMode="auto">
            <a:xfrm>
              <a:off x="2509" y="2272"/>
              <a:ext cx="6" cy="6"/>
            </a:xfrm>
            <a:custGeom>
              <a:avLst/>
              <a:gdLst>
                <a:gd name="T0" fmla="*/ 0 w 18"/>
                <a:gd name="T1" fmla="*/ 6 h 19"/>
                <a:gd name="T2" fmla="*/ 8 w 18"/>
                <a:gd name="T3" fmla="*/ 19 h 19"/>
                <a:gd name="T4" fmla="*/ 18 w 18"/>
                <a:gd name="T5" fmla="*/ 12 h 19"/>
                <a:gd name="T6" fmla="*/ 14 w 18"/>
                <a:gd name="T7" fmla="*/ 0 h 19"/>
                <a:gd name="T8" fmla="*/ 0 w 18"/>
                <a:gd name="T9" fmla="*/ 6 h 19"/>
              </a:gdLst>
              <a:ahLst/>
              <a:cxnLst>
                <a:cxn ang="0">
                  <a:pos x="T0" y="T1"/>
                </a:cxn>
                <a:cxn ang="0">
                  <a:pos x="T2" y="T3"/>
                </a:cxn>
                <a:cxn ang="0">
                  <a:pos x="T4" y="T5"/>
                </a:cxn>
                <a:cxn ang="0">
                  <a:pos x="T6" y="T7"/>
                </a:cxn>
                <a:cxn ang="0">
                  <a:pos x="T8" y="T9"/>
                </a:cxn>
              </a:cxnLst>
              <a:rect l="0" t="0" r="r" b="b"/>
              <a:pathLst>
                <a:path w="18" h="19">
                  <a:moveTo>
                    <a:pt x="0" y="6"/>
                  </a:moveTo>
                  <a:cubicBezTo>
                    <a:pt x="8" y="19"/>
                    <a:pt x="8" y="19"/>
                    <a:pt x="8" y="19"/>
                  </a:cubicBezTo>
                  <a:cubicBezTo>
                    <a:pt x="18" y="12"/>
                    <a:pt x="18" y="12"/>
                    <a:pt x="18" y="12"/>
                  </a:cubicBezTo>
                  <a:cubicBezTo>
                    <a:pt x="17" y="8"/>
                    <a:pt x="16" y="4"/>
                    <a:pt x="14" y="0"/>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7" name="Freeform 68">
              <a:extLst>
                <a:ext uri="{FF2B5EF4-FFF2-40B4-BE49-F238E27FC236}">
                  <a16:creationId xmlns:a16="http://schemas.microsoft.com/office/drawing/2014/main" id="{C96B81DB-9CB7-B387-4B64-DD10D36E412C}"/>
                </a:ext>
              </a:extLst>
            </p:cNvPr>
            <p:cNvSpPr>
              <a:spLocks/>
            </p:cNvSpPr>
            <p:nvPr/>
          </p:nvSpPr>
          <p:spPr bwMode="auto">
            <a:xfrm>
              <a:off x="2059" y="2272"/>
              <a:ext cx="6" cy="6"/>
            </a:xfrm>
            <a:custGeom>
              <a:avLst/>
              <a:gdLst>
                <a:gd name="T0" fmla="*/ 18 w 18"/>
                <a:gd name="T1" fmla="*/ 6 h 19"/>
                <a:gd name="T2" fmla="*/ 4 w 18"/>
                <a:gd name="T3" fmla="*/ 0 h 19"/>
                <a:gd name="T4" fmla="*/ 0 w 18"/>
                <a:gd name="T5" fmla="*/ 12 h 19"/>
                <a:gd name="T6" fmla="*/ 10 w 18"/>
                <a:gd name="T7" fmla="*/ 19 h 19"/>
                <a:gd name="T8" fmla="*/ 18 w 18"/>
                <a:gd name="T9" fmla="*/ 6 h 19"/>
              </a:gdLst>
              <a:ahLst/>
              <a:cxnLst>
                <a:cxn ang="0">
                  <a:pos x="T0" y="T1"/>
                </a:cxn>
                <a:cxn ang="0">
                  <a:pos x="T2" y="T3"/>
                </a:cxn>
                <a:cxn ang="0">
                  <a:pos x="T4" y="T5"/>
                </a:cxn>
                <a:cxn ang="0">
                  <a:pos x="T6" y="T7"/>
                </a:cxn>
                <a:cxn ang="0">
                  <a:pos x="T8" y="T9"/>
                </a:cxn>
              </a:cxnLst>
              <a:rect l="0" t="0" r="r" b="b"/>
              <a:pathLst>
                <a:path w="18" h="19">
                  <a:moveTo>
                    <a:pt x="18" y="6"/>
                  </a:moveTo>
                  <a:cubicBezTo>
                    <a:pt x="4" y="0"/>
                    <a:pt x="4" y="0"/>
                    <a:pt x="4" y="0"/>
                  </a:cubicBezTo>
                  <a:cubicBezTo>
                    <a:pt x="2" y="4"/>
                    <a:pt x="1" y="8"/>
                    <a:pt x="0" y="12"/>
                  </a:cubicBezTo>
                  <a:cubicBezTo>
                    <a:pt x="10" y="19"/>
                    <a:pt x="10" y="19"/>
                    <a:pt x="10" y="19"/>
                  </a:cubicBezTo>
                  <a:lnTo>
                    <a:pt x="1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8" name="Freeform 69">
              <a:extLst>
                <a:ext uri="{FF2B5EF4-FFF2-40B4-BE49-F238E27FC236}">
                  <a16:creationId xmlns:a16="http://schemas.microsoft.com/office/drawing/2014/main" id="{64011A9B-5983-25CE-80FE-9228B1A8287D}"/>
                </a:ext>
              </a:extLst>
            </p:cNvPr>
            <p:cNvSpPr>
              <a:spLocks/>
            </p:cNvSpPr>
            <p:nvPr/>
          </p:nvSpPr>
          <p:spPr bwMode="auto">
            <a:xfrm>
              <a:off x="2325" y="2590"/>
              <a:ext cx="5" cy="5"/>
            </a:xfrm>
            <a:custGeom>
              <a:avLst/>
              <a:gdLst>
                <a:gd name="T0" fmla="*/ 0 w 16"/>
                <a:gd name="T1" fmla="*/ 0 h 15"/>
                <a:gd name="T2" fmla="*/ 3 w 16"/>
                <a:gd name="T3" fmla="*/ 15 h 15"/>
                <a:gd name="T4" fmla="*/ 15 w 16"/>
                <a:gd name="T5" fmla="*/ 12 h 15"/>
                <a:gd name="T6" fmla="*/ 16 w 16"/>
                <a:gd name="T7" fmla="*/ 0 h 15"/>
                <a:gd name="T8" fmla="*/ 0 w 16"/>
                <a:gd name="T9" fmla="*/ 0 h 15"/>
              </a:gdLst>
              <a:ahLst/>
              <a:cxnLst>
                <a:cxn ang="0">
                  <a:pos x="T0" y="T1"/>
                </a:cxn>
                <a:cxn ang="0">
                  <a:pos x="T2" y="T3"/>
                </a:cxn>
                <a:cxn ang="0">
                  <a:pos x="T4" y="T5"/>
                </a:cxn>
                <a:cxn ang="0">
                  <a:pos x="T6" y="T7"/>
                </a:cxn>
                <a:cxn ang="0">
                  <a:pos x="T8" y="T9"/>
                </a:cxn>
              </a:cxnLst>
              <a:rect l="0" t="0" r="r" b="b"/>
              <a:pathLst>
                <a:path w="16" h="15">
                  <a:moveTo>
                    <a:pt x="0" y="0"/>
                  </a:moveTo>
                  <a:cubicBezTo>
                    <a:pt x="3" y="15"/>
                    <a:pt x="3" y="15"/>
                    <a:pt x="3" y="15"/>
                  </a:cubicBezTo>
                  <a:cubicBezTo>
                    <a:pt x="7" y="14"/>
                    <a:pt x="11" y="13"/>
                    <a:pt x="15" y="12"/>
                  </a:cubicBezTo>
                  <a:cubicBezTo>
                    <a:pt x="16" y="0"/>
                    <a:pt x="16" y="0"/>
                    <a:pt x="1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59" name="Freeform 70">
              <a:extLst>
                <a:ext uri="{FF2B5EF4-FFF2-40B4-BE49-F238E27FC236}">
                  <a16:creationId xmlns:a16="http://schemas.microsoft.com/office/drawing/2014/main" id="{3CB5CF7E-DE1C-53F4-337C-7E4F321F0B61}"/>
                </a:ext>
              </a:extLst>
            </p:cNvPr>
            <p:cNvSpPr>
              <a:spLocks/>
            </p:cNvSpPr>
            <p:nvPr/>
          </p:nvSpPr>
          <p:spPr bwMode="auto">
            <a:xfrm>
              <a:off x="2468" y="2506"/>
              <a:ext cx="6" cy="6"/>
            </a:xfrm>
            <a:custGeom>
              <a:avLst/>
              <a:gdLst>
                <a:gd name="T0" fmla="*/ 7 w 19"/>
                <a:gd name="T1" fmla="*/ 0 h 19"/>
                <a:gd name="T2" fmla="*/ 0 w 19"/>
                <a:gd name="T3" fmla="*/ 14 h 19"/>
                <a:gd name="T4" fmla="*/ 11 w 19"/>
                <a:gd name="T5" fmla="*/ 19 h 19"/>
                <a:gd name="T6" fmla="*/ 19 w 19"/>
                <a:gd name="T7" fmla="*/ 10 h 19"/>
                <a:gd name="T8" fmla="*/ 7 w 19"/>
                <a:gd name="T9" fmla="*/ 0 h 19"/>
              </a:gdLst>
              <a:ahLst/>
              <a:cxnLst>
                <a:cxn ang="0">
                  <a:pos x="T0" y="T1"/>
                </a:cxn>
                <a:cxn ang="0">
                  <a:pos x="T2" y="T3"/>
                </a:cxn>
                <a:cxn ang="0">
                  <a:pos x="T4" y="T5"/>
                </a:cxn>
                <a:cxn ang="0">
                  <a:pos x="T6" y="T7"/>
                </a:cxn>
                <a:cxn ang="0">
                  <a:pos x="T8" y="T9"/>
                </a:cxn>
              </a:cxnLst>
              <a:rect l="0" t="0" r="r" b="b"/>
              <a:pathLst>
                <a:path w="19" h="19">
                  <a:moveTo>
                    <a:pt x="7" y="0"/>
                  </a:moveTo>
                  <a:cubicBezTo>
                    <a:pt x="0" y="14"/>
                    <a:pt x="0" y="14"/>
                    <a:pt x="0" y="14"/>
                  </a:cubicBezTo>
                  <a:cubicBezTo>
                    <a:pt x="11" y="19"/>
                    <a:pt x="11" y="19"/>
                    <a:pt x="11" y="19"/>
                  </a:cubicBezTo>
                  <a:cubicBezTo>
                    <a:pt x="14" y="16"/>
                    <a:pt x="17" y="13"/>
                    <a:pt x="19" y="1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0" name="Freeform 71">
              <a:extLst>
                <a:ext uri="{FF2B5EF4-FFF2-40B4-BE49-F238E27FC236}">
                  <a16:creationId xmlns:a16="http://schemas.microsoft.com/office/drawing/2014/main" id="{2A9C7F5F-539F-AEC8-966B-CE881B94DAA1}"/>
                </a:ext>
              </a:extLst>
            </p:cNvPr>
            <p:cNvSpPr>
              <a:spLocks/>
            </p:cNvSpPr>
            <p:nvPr/>
          </p:nvSpPr>
          <p:spPr bwMode="auto">
            <a:xfrm>
              <a:off x="2201" y="2578"/>
              <a:ext cx="6" cy="6"/>
            </a:xfrm>
            <a:custGeom>
              <a:avLst/>
              <a:gdLst>
                <a:gd name="T0" fmla="*/ 5 w 18"/>
                <a:gd name="T1" fmla="*/ 0 h 19"/>
                <a:gd name="T2" fmla="*/ 0 w 18"/>
                <a:gd name="T3" fmla="*/ 15 h 19"/>
                <a:gd name="T4" fmla="*/ 12 w 18"/>
                <a:gd name="T5" fmla="*/ 19 h 19"/>
                <a:gd name="T6" fmla="*/ 18 w 18"/>
                <a:gd name="T7" fmla="*/ 9 h 19"/>
                <a:gd name="T8" fmla="*/ 5 w 18"/>
                <a:gd name="T9" fmla="*/ 0 h 19"/>
              </a:gdLst>
              <a:ahLst/>
              <a:cxnLst>
                <a:cxn ang="0">
                  <a:pos x="T0" y="T1"/>
                </a:cxn>
                <a:cxn ang="0">
                  <a:pos x="T2" y="T3"/>
                </a:cxn>
                <a:cxn ang="0">
                  <a:pos x="T4" y="T5"/>
                </a:cxn>
                <a:cxn ang="0">
                  <a:pos x="T6" y="T7"/>
                </a:cxn>
                <a:cxn ang="0">
                  <a:pos x="T8" y="T9"/>
                </a:cxn>
              </a:cxnLst>
              <a:rect l="0" t="0" r="r" b="b"/>
              <a:pathLst>
                <a:path w="18" h="19">
                  <a:moveTo>
                    <a:pt x="5" y="0"/>
                  </a:moveTo>
                  <a:cubicBezTo>
                    <a:pt x="0" y="15"/>
                    <a:pt x="0" y="15"/>
                    <a:pt x="0" y="15"/>
                  </a:cubicBezTo>
                  <a:cubicBezTo>
                    <a:pt x="4" y="16"/>
                    <a:pt x="8" y="18"/>
                    <a:pt x="12" y="19"/>
                  </a:cubicBezTo>
                  <a:cubicBezTo>
                    <a:pt x="18" y="9"/>
                    <a:pt x="18" y="9"/>
                    <a:pt x="18" y="9"/>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1" name="Freeform 72">
              <a:extLst>
                <a:ext uri="{FF2B5EF4-FFF2-40B4-BE49-F238E27FC236}">
                  <a16:creationId xmlns:a16="http://schemas.microsoft.com/office/drawing/2014/main" id="{B05C4BA4-49DE-428F-781E-6CE6396D4484}"/>
                </a:ext>
              </a:extLst>
            </p:cNvPr>
            <p:cNvSpPr>
              <a:spLocks/>
            </p:cNvSpPr>
            <p:nvPr/>
          </p:nvSpPr>
          <p:spPr bwMode="auto">
            <a:xfrm>
              <a:off x="2130" y="2537"/>
              <a:ext cx="7" cy="7"/>
            </a:xfrm>
            <a:custGeom>
              <a:avLst/>
              <a:gdLst>
                <a:gd name="T0" fmla="*/ 20 w 20"/>
                <a:gd name="T1" fmla="*/ 7 h 19"/>
                <a:gd name="T2" fmla="*/ 6 w 20"/>
                <a:gd name="T3" fmla="*/ 0 h 19"/>
                <a:gd name="T4" fmla="*/ 0 w 20"/>
                <a:gd name="T5" fmla="*/ 10 h 19"/>
                <a:gd name="T6" fmla="*/ 10 w 20"/>
                <a:gd name="T7" fmla="*/ 19 h 19"/>
                <a:gd name="T8" fmla="*/ 20 w 20"/>
                <a:gd name="T9" fmla="*/ 7 h 19"/>
              </a:gdLst>
              <a:ahLst/>
              <a:cxnLst>
                <a:cxn ang="0">
                  <a:pos x="T0" y="T1"/>
                </a:cxn>
                <a:cxn ang="0">
                  <a:pos x="T2" y="T3"/>
                </a:cxn>
                <a:cxn ang="0">
                  <a:pos x="T4" y="T5"/>
                </a:cxn>
                <a:cxn ang="0">
                  <a:pos x="T6" y="T7"/>
                </a:cxn>
                <a:cxn ang="0">
                  <a:pos x="T8" y="T9"/>
                </a:cxn>
              </a:cxnLst>
              <a:rect l="0" t="0" r="r" b="b"/>
              <a:pathLst>
                <a:path w="20" h="19">
                  <a:moveTo>
                    <a:pt x="20" y="7"/>
                  </a:moveTo>
                  <a:cubicBezTo>
                    <a:pt x="6" y="0"/>
                    <a:pt x="6" y="0"/>
                    <a:pt x="6" y="0"/>
                  </a:cubicBezTo>
                  <a:cubicBezTo>
                    <a:pt x="0" y="10"/>
                    <a:pt x="0" y="10"/>
                    <a:pt x="0" y="10"/>
                  </a:cubicBezTo>
                  <a:cubicBezTo>
                    <a:pt x="3" y="13"/>
                    <a:pt x="7" y="16"/>
                    <a:pt x="10" y="19"/>
                  </a:cubicBezTo>
                  <a:lnTo>
                    <a:pt x="2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2" name="Freeform 73">
              <a:extLst>
                <a:ext uri="{FF2B5EF4-FFF2-40B4-BE49-F238E27FC236}">
                  <a16:creationId xmlns:a16="http://schemas.microsoft.com/office/drawing/2014/main" id="{F28B15C4-8414-E4F1-D3EC-3745C998859A}"/>
                </a:ext>
              </a:extLst>
            </p:cNvPr>
            <p:cNvSpPr>
              <a:spLocks/>
            </p:cNvSpPr>
            <p:nvPr/>
          </p:nvSpPr>
          <p:spPr bwMode="auto">
            <a:xfrm>
              <a:off x="1989" y="2174"/>
              <a:ext cx="595" cy="478"/>
            </a:xfrm>
            <a:custGeom>
              <a:avLst/>
              <a:gdLst>
                <a:gd name="T0" fmla="*/ 1645 w 1824"/>
                <a:gd name="T1" fmla="*/ 684 h 1476"/>
                <a:gd name="T2" fmla="*/ 1824 w 1824"/>
                <a:gd name="T3" fmla="*/ 439 h 1476"/>
                <a:gd name="T4" fmla="*/ 1630 w 1824"/>
                <a:gd name="T5" fmla="*/ 447 h 1476"/>
                <a:gd name="T6" fmla="*/ 1611 w 1824"/>
                <a:gd name="T7" fmla="*/ 313 h 1476"/>
                <a:gd name="T8" fmla="*/ 1607 w 1824"/>
                <a:gd name="T9" fmla="*/ 301 h 1476"/>
                <a:gd name="T10" fmla="*/ 1639 w 1824"/>
                <a:gd name="T11" fmla="*/ 0 h 1476"/>
                <a:gd name="T12" fmla="*/ 1627 w 1824"/>
                <a:gd name="T13" fmla="*/ 41 h 1476"/>
                <a:gd name="T14" fmla="*/ 1579 w 1824"/>
                <a:gd name="T15" fmla="*/ 312 h 1476"/>
                <a:gd name="T16" fmla="*/ 1793 w 1824"/>
                <a:gd name="T17" fmla="*/ 469 h 1476"/>
                <a:gd name="T18" fmla="*/ 1615 w 1824"/>
                <a:gd name="T19" fmla="*/ 679 h 1476"/>
                <a:gd name="T20" fmla="*/ 1723 w 1824"/>
                <a:gd name="T21" fmla="*/ 922 h 1476"/>
                <a:gd name="T22" fmla="*/ 1463 w 1824"/>
                <a:gd name="T23" fmla="*/ 1015 h 1476"/>
                <a:gd name="T24" fmla="*/ 1435 w 1824"/>
                <a:gd name="T25" fmla="*/ 1280 h 1476"/>
                <a:gd name="T26" fmla="*/ 1164 w 1824"/>
                <a:gd name="T27" fmla="*/ 1231 h 1476"/>
                <a:gd name="T28" fmla="*/ 1008 w 1824"/>
                <a:gd name="T29" fmla="*/ 1445 h 1476"/>
                <a:gd name="T30" fmla="*/ 797 w 1824"/>
                <a:gd name="T31" fmla="*/ 1267 h 1476"/>
                <a:gd name="T32" fmla="*/ 554 w 1824"/>
                <a:gd name="T33" fmla="*/ 1375 h 1476"/>
                <a:gd name="T34" fmla="*/ 461 w 1824"/>
                <a:gd name="T35" fmla="*/ 1116 h 1476"/>
                <a:gd name="T36" fmla="*/ 197 w 1824"/>
                <a:gd name="T37" fmla="*/ 1088 h 1476"/>
                <a:gd name="T38" fmla="*/ 245 w 1824"/>
                <a:gd name="T39" fmla="*/ 817 h 1476"/>
                <a:gd name="T40" fmla="*/ 31 w 1824"/>
                <a:gd name="T41" fmla="*/ 660 h 1476"/>
                <a:gd name="T42" fmla="*/ 209 w 1824"/>
                <a:gd name="T43" fmla="*/ 450 h 1476"/>
                <a:gd name="T44" fmla="*/ 101 w 1824"/>
                <a:gd name="T45" fmla="*/ 207 h 1476"/>
                <a:gd name="T46" fmla="*/ 251 w 1824"/>
                <a:gd name="T47" fmla="*/ 35 h 1476"/>
                <a:gd name="T48" fmla="*/ 213 w 1824"/>
                <a:gd name="T49" fmla="*/ 313 h 1476"/>
                <a:gd name="T50" fmla="*/ 223 w 1824"/>
                <a:gd name="T51" fmla="*/ 320 h 1476"/>
                <a:gd name="T52" fmla="*/ 193 w 1824"/>
                <a:gd name="T53" fmla="*/ 432 h 1476"/>
                <a:gd name="T54" fmla="*/ 181 w 1824"/>
                <a:gd name="T55" fmla="*/ 432 h 1476"/>
                <a:gd name="T56" fmla="*/ 181 w 1824"/>
                <a:gd name="T57" fmla="*/ 697 h 1476"/>
                <a:gd name="T58" fmla="*/ 193 w 1824"/>
                <a:gd name="T59" fmla="*/ 697 h 1476"/>
                <a:gd name="T60" fmla="*/ 223 w 1824"/>
                <a:gd name="T61" fmla="*/ 809 h 1476"/>
                <a:gd name="T62" fmla="*/ 213 w 1824"/>
                <a:gd name="T63" fmla="*/ 816 h 1476"/>
                <a:gd name="T64" fmla="*/ 345 w 1824"/>
                <a:gd name="T65" fmla="*/ 1044 h 1476"/>
                <a:gd name="T66" fmla="*/ 356 w 1824"/>
                <a:gd name="T67" fmla="*/ 1039 h 1476"/>
                <a:gd name="T68" fmla="*/ 438 w 1824"/>
                <a:gd name="T69" fmla="*/ 1121 h 1476"/>
                <a:gd name="T70" fmla="*/ 432 w 1824"/>
                <a:gd name="T71" fmla="*/ 1131 h 1476"/>
                <a:gd name="T72" fmla="*/ 661 w 1824"/>
                <a:gd name="T73" fmla="*/ 1264 h 1476"/>
                <a:gd name="T74" fmla="*/ 667 w 1824"/>
                <a:gd name="T75" fmla="*/ 1254 h 1476"/>
                <a:gd name="T76" fmla="*/ 779 w 1824"/>
                <a:gd name="T77" fmla="*/ 1283 h 1476"/>
                <a:gd name="T78" fmla="*/ 780 w 1824"/>
                <a:gd name="T79" fmla="*/ 1295 h 1476"/>
                <a:gd name="T80" fmla="*/ 1044 w 1824"/>
                <a:gd name="T81" fmla="*/ 1295 h 1476"/>
                <a:gd name="T82" fmla="*/ 1045 w 1824"/>
                <a:gd name="T83" fmla="*/ 1283 h 1476"/>
                <a:gd name="T84" fmla="*/ 1157 w 1824"/>
                <a:gd name="T85" fmla="*/ 1254 h 1476"/>
                <a:gd name="T86" fmla="*/ 1163 w 1824"/>
                <a:gd name="T87" fmla="*/ 1264 h 1476"/>
                <a:gd name="T88" fmla="*/ 1392 w 1824"/>
                <a:gd name="T89" fmla="*/ 1131 h 1476"/>
                <a:gd name="T90" fmla="*/ 1386 w 1824"/>
                <a:gd name="T91" fmla="*/ 1121 h 1476"/>
                <a:gd name="T92" fmla="*/ 1468 w 1824"/>
                <a:gd name="T93" fmla="*/ 1039 h 1476"/>
                <a:gd name="T94" fmla="*/ 1479 w 1824"/>
                <a:gd name="T95" fmla="*/ 1044 h 1476"/>
                <a:gd name="T96" fmla="*/ 1611 w 1824"/>
                <a:gd name="T97" fmla="*/ 816 h 1476"/>
                <a:gd name="T98" fmla="*/ 1601 w 1824"/>
                <a:gd name="T99" fmla="*/ 809 h 1476"/>
                <a:gd name="T100" fmla="*/ 1631 w 1824"/>
                <a:gd name="T101" fmla="*/ 697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4" h="1476">
                  <a:moveTo>
                    <a:pt x="1631" y="697"/>
                  </a:moveTo>
                  <a:cubicBezTo>
                    <a:pt x="1630" y="682"/>
                    <a:pt x="1630" y="682"/>
                    <a:pt x="1630" y="682"/>
                  </a:cubicBezTo>
                  <a:cubicBezTo>
                    <a:pt x="1645" y="684"/>
                    <a:pt x="1645" y="684"/>
                    <a:pt x="1645" y="684"/>
                  </a:cubicBezTo>
                  <a:cubicBezTo>
                    <a:pt x="1645" y="688"/>
                    <a:pt x="1644" y="692"/>
                    <a:pt x="1643" y="697"/>
                  </a:cubicBezTo>
                  <a:cubicBezTo>
                    <a:pt x="1824" y="690"/>
                    <a:pt x="1824" y="690"/>
                    <a:pt x="1824" y="690"/>
                  </a:cubicBezTo>
                  <a:cubicBezTo>
                    <a:pt x="1824" y="439"/>
                    <a:pt x="1824" y="439"/>
                    <a:pt x="1824" y="439"/>
                  </a:cubicBezTo>
                  <a:cubicBezTo>
                    <a:pt x="1643" y="432"/>
                    <a:pt x="1643" y="432"/>
                    <a:pt x="1643" y="432"/>
                  </a:cubicBezTo>
                  <a:cubicBezTo>
                    <a:pt x="1644" y="437"/>
                    <a:pt x="1645" y="441"/>
                    <a:pt x="1645" y="445"/>
                  </a:cubicBezTo>
                  <a:cubicBezTo>
                    <a:pt x="1630" y="447"/>
                    <a:pt x="1630" y="447"/>
                    <a:pt x="1630" y="447"/>
                  </a:cubicBezTo>
                  <a:cubicBezTo>
                    <a:pt x="1631" y="432"/>
                    <a:pt x="1631" y="432"/>
                    <a:pt x="1631" y="432"/>
                  </a:cubicBezTo>
                  <a:cubicBezTo>
                    <a:pt x="1643" y="432"/>
                    <a:pt x="1643" y="432"/>
                    <a:pt x="1643" y="432"/>
                  </a:cubicBezTo>
                  <a:cubicBezTo>
                    <a:pt x="1636" y="391"/>
                    <a:pt x="1625" y="351"/>
                    <a:pt x="1611" y="313"/>
                  </a:cubicBezTo>
                  <a:cubicBezTo>
                    <a:pt x="1601" y="320"/>
                    <a:pt x="1601" y="320"/>
                    <a:pt x="1601" y="320"/>
                  </a:cubicBezTo>
                  <a:cubicBezTo>
                    <a:pt x="1593" y="307"/>
                    <a:pt x="1593" y="307"/>
                    <a:pt x="1593" y="307"/>
                  </a:cubicBezTo>
                  <a:cubicBezTo>
                    <a:pt x="1607" y="301"/>
                    <a:pt x="1607" y="301"/>
                    <a:pt x="1607" y="301"/>
                  </a:cubicBezTo>
                  <a:cubicBezTo>
                    <a:pt x="1609" y="305"/>
                    <a:pt x="1610" y="309"/>
                    <a:pt x="1611" y="313"/>
                  </a:cubicBezTo>
                  <a:cubicBezTo>
                    <a:pt x="1764" y="217"/>
                    <a:pt x="1764" y="217"/>
                    <a:pt x="1764" y="217"/>
                  </a:cubicBezTo>
                  <a:cubicBezTo>
                    <a:pt x="1639" y="0"/>
                    <a:pt x="1639" y="0"/>
                    <a:pt x="1639" y="0"/>
                  </a:cubicBezTo>
                  <a:cubicBezTo>
                    <a:pt x="1573" y="35"/>
                    <a:pt x="1573" y="35"/>
                    <a:pt x="1573" y="35"/>
                  </a:cubicBezTo>
                  <a:cubicBezTo>
                    <a:pt x="1570" y="72"/>
                    <a:pt x="1570" y="72"/>
                    <a:pt x="1570" y="72"/>
                  </a:cubicBezTo>
                  <a:cubicBezTo>
                    <a:pt x="1627" y="41"/>
                    <a:pt x="1627" y="41"/>
                    <a:pt x="1627" y="41"/>
                  </a:cubicBezTo>
                  <a:cubicBezTo>
                    <a:pt x="1723" y="207"/>
                    <a:pt x="1723" y="207"/>
                    <a:pt x="1723" y="207"/>
                  </a:cubicBezTo>
                  <a:cubicBezTo>
                    <a:pt x="1574" y="300"/>
                    <a:pt x="1574" y="300"/>
                    <a:pt x="1574" y="300"/>
                  </a:cubicBezTo>
                  <a:cubicBezTo>
                    <a:pt x="1579" y="312"/>
                    <a:pt x="1579" y="312"/>
                    <a:pt x="1579" y="312"/>
                  </a:cubicBezTo>
                  <a:cubicBezTo>
                    <a:pt x="1595" y="356"/>
                    <a:pt x="1607" y="402"/>
                    <a:pt x="1615" y="450"/>
                  </a:cubicBezTo>
                  <a:cubicBezTo>
                    <a:pt x="1617" y="462"/>
                    <a:pt x="1617" y="462"/>
                    <a:pt x="1617" y="462"/>
                  </a:cubicBezTo>
                  <a:cubicBezTo>
                    <a:pt x="1793" y="469"/>
                    <a:pt x="1793" y="469"/>
                    <a:pt x="1793" y="469"/>
                  </a:cubicBezTo>
                  <a:cubicBezTo>
                    <a:pt x="1793" y="660"/>
                    <a:pt x="1793" y="660"/>
                    <a:pt x="1793" y="660"/>
                  </a:cubicBezTo>
                  <a:cubicBezTo>
                    <a:pt x="1617" y="667"/>
                    <a:pt x="1617" y="667"/>
                    <a:pt x="1617" y="667"/>
                  </a:cubicBezTo>
                  <a:cubicBezTo>
                    <a:pt x="1615" y="679"/>
                    <a:pt x="1615" y="679"/>
                    <a:pt x="1615" y="679"/>
                  </a:cubicBezTo>
                  <a:cubicBezTo>
                    <a:pt x="1607" y="727"/>
                    <a:pt x="1595" y="773"/>
                    <a:pt x="1579" y="817"/>
                  </a:cubicBezTo>
                  <a:cubicBezTo>
                    <a:pt x="1574" y="829"/>
                    <a:pt x="1574" y="829"/>
                    <a:pt x="1574" y="829"/>
                  </a:cubicBezTo>
                  <a:cubicBezTo>
                    <a:pt x="1723" y="922"/>
                    <a:pt x="1723" y="922"/>
                    <a:pt x="1723" y="922"/>
                  </a:cubicBezTo>
                  <a:cubicBezTo>
                    <a:pt x="1627" y="1088"/>
                    <a:pt x="1627" y="1088"/>
                    <a:pt x="1627" y="1088"/>
                  </a:cubicBezTo>
                  <a:cubicBezTo>
                    <a:pt x="1471" y="1006"/>
                    <a:pt x="1471" y="1006"/>
                    <a:pt x="1471" y="1006"/>
                  </a:cubicBezTo>
                  <a:cubicBezTo>
                    <a:pt x="1463" y="1015"/>
                    <a:pt x="1463" y="1015"/>
                    <a:pt x="1463" y="1015"/>
                  </a:cubicBezTo>
                  <a:cubicBezTo>
                    <a:pt x="1433" y="1052"/>
                    <a:pt x="1400" y="1086"/>
                    <a:pt x="1363" y="1116"/>
                  </a:cubicBezTo>
                  <a:cubicBezTo>
                    <a:pt x="1353" y="1124"/>
                    <a:pt x="1353" y="1124"/>
                    <a:pt x="1353" y="1124"/>
                  </a:cubicBezTo>
                  <a:cubicBezTo>
                    <a:pt x="1435" y="1280"/>
                    <a:pt x="1435" y="1280"/>
                    <a:pt x="1435" y="1280"/>
                  </a:cubicBezTo>
                  <a:cubicBezTo>
                    <a:pt x="1270" y="1375"/>
                    <a:pt x="1270" y="1375"/>
                    <a:pt x="1270" y="1375"/>
                  </a:cubicBezTo>
                  <a:cubicBezTo>
                    <a:pt x="1176" y="1227"/>
                    <a:pt x="1176" y="1227"/>
                    <a:pt x="1176" y="1227"/>
                  </a:cubicBezTo>
                  <a:cubicBezTo>
                    <a:pt x="1164" y="1231"/>
                    <a:pt x="1164" y="1231"/>
                    <a:pt x="1164" y="1231"/>
                  </a:cubicBezTo>
                  <a:cubicBezTo>
                    <a:pt x="1121" y="1248"/>
                    <a:pt x="1075" y="1260"/>
                    <a:pt x="1027" y="1267"/>
                  </a:cubicBezTo>
                  <a:cubicBezTo>
                    <a:pt x="1014" y="1269"/>
                    <a:pt x="1014" y="1269"/>
                    <a:pt x="1014" y="1269"/>
                  </a:cubicBezTo>
                  <a:cubicBezTo>
                    <a:pt x="1008" y="1445"/>
                    <a:pt x="1008" y="1445"/>
                    <a:pt x="1008" y="1445"/>
                  </a:cubicBezTo>
                  <a:cubicBezTo>
                    <a:pt x="816" y="1445"/>
                    <a:pt x="816" y="1445"/>
                    <a:pt x="816" y="1445"/>
                  </a:cubicBezTo>
                  <a:cubicBezTo>
                    <a:pt x="810" y="1269"/>
                    <a:pt x="810" y="1269"/>
                    <a:pt x="810" y="1269"/>
                  </a:cubicBezTo>
                  <a:cubicBezTo>
                    <a:pt x="797" y="1267"/>
                    <a:pt x="797" y="1267"/>
                    <a:pt x="797" y="1267"/>
                  </a:cubicBezTo>
                  <a:cubicBezTo>
                    <a:pt x="750" y="1260"/>
                    <a:pt x="703" y="1248"/>
                    <a:pt x="660" y="1231"/>
                  </a:cubicBezTo>
                  <a:cubicBezTo>
                    <a:pt x="648" y="1227"/>
                    <a:pt x="648" y="1227"/>
                    <a:pt x="648" y="1227"/>
                  </a:cubicBezTo>
                  <a:cubicBezTo>
                    <a:pt x="554" y="1375"/>
                    <a:pt x="554" y="1375"/>
                    <a:pt x="554" y="1375"/>
                  </a:cubicBezTo>
                  <a:cubicBezTo>
                    <a:pt x="389" y="1280"/>
                    <a:pt x="389" y="1280"/>
                    <a:pt x="389" y="1280"/>
                  </a:cubicBezTo>
                  <a:cubicBezTo>
                    <a:pt x="471" y="1124"/>
                    <a:pt x="471" y="1124"/>
                    <a:pt x="471" y="1124"/>
                  </a:cubicBezTo>
                  <a:cubicBezTo>
                    <a:pt x="461" y="1116"/>
                    <a:pt x="461" y="1116"/>
                    <a:pt x="461" y="1116"/>
                  </a:cubicBezTo>
                  <a:cubicBezTo>
                    <a:pt x="425" y="1086"/>
                    <a:pt x="391" y="1052"/>
                    <a:pt x="361" y="1015"/>
                  </a:cubicBezTo>
                  <a:cubicBezTo>
                    <a:pt x="353" y="1006"/>
                    <a:pt x="353" y="1006"/>
                    <a:pt x="353" y="1006"/>
                  </a:cubicBezTo>
                  <a:cubicBezTo>
                    <a:pt x="197" y="1088"/>
                    <a:pt x="197" y="1088"/>
                    <a:pt x="197" y="1088"/>
                  </a:cubicBezTo>
                  <a:cubicBezTo>
                    <a:pt x="101" y="922"/>
                    <a:pt x="101" y="922"/>
                    <a:pt x="101" y="922"/>
                  </a:cubicBezTo>
                  <a:cubicBezTo>
                    <a:pt x="250" y="829"/>
                    <a:pt x="250" y="829"/>
                    <a:pt x="250" y="829"/>
                  </a:cubicBezTo>
                  <a:cubicBezTo>
                    <a:pt x="245" y="817"/>
                    <a:pt x="245" y="817"/>
                    <a:pt x="245" y="817"/>
                  </a:cubicBezTo>
                  <a:cubicBezTo>
                    <a:pt x="229" y="773"/>
                    <a:pt x="217" y="727"/>
                    <a:pt x="209" y="679"/>
                  </a:cubicBezTo>
                  <a:cubicBezTo>
                    <a:pt x="207" y="667"/>
                    <a:pt x="207" y="667"/>
                    <a:pt x="207" y="667"/>
                  </a:cubicBezTo>
                  <a:cubicBezTo>
                    <a:pt x="31" y="660"/>
                    <a:pt x="31" y="660"/>
                    <a:pt x="31" y="660"/>
                  </a:cubicBezTo>
                  <a:cubicBezTo>
                    <a:pt x="31" y="469"/>
                    <a:pt x="31" y="469"/>
                    <a:pt x="31" y="469"/>
                  </a:cubicBezTo>
                  <a:cubicBezTo>
                    <a:pt x="207" y="462"/>
                    <a:pt x="207" y="462"/>
                    <a:pt x="207" y="462"/>
                  </a:cubicBezTo>
                  <a:cubicBezTo>
                    <a:pt x="209" y="450"/>
                    <a:pt x="209" y="450"/>
                    <a:pt x="209" y="450"/>
                  </a:cubicBezTo>
                  <a:cubicBezTo>
                    <a:pt x="217" y="402"/>
                    <a:pt x="229" y="356"/>
                    <a:pt x="245" y="312"/>
                  </a:cubicBezTo>
                  <a:cubicBezTo>
                    <a:pt x="250" y="300"/>
                    <a:pt x="250" y="300"/>
                    <a:pt x="250" y="300"/>
                  </a:cubicBezTo>
                  <a:cubicBezTo>
                    <a:pt x="101" y="207"/>
                    <a:pt x="101" y="207"/>
                    <a:pt x="101" y="207"/>
                  </a:cubicBezTo>
                  <a:cubicBezTo>
                    <a:pt x="197" y="41"/>
                    <a:pt x="197" y="41"/>
                    <a:pt x="197" y="41"/>
                  </a:cubicBezTo>
                  <a:cubicBezTo>
                    <a:pt x="254" y="71"/>
                    <a:pt x="254" y="71"/>
                    <a:pt x="254" y="71"/>
                  </a:cubicBezTo>
                  <a:cubicBezTo>
                    <a:pt x="251" y="35"/>
                    <a:pt x="251" y="35"/>
                    <a:pt x="251" y="35"/>
                  </a:cubicBezTo>
                  <a:cubicBezTo>
                    <a:pt x="185" y="0"/>
                    <a:pt x="185" y="0"/>
                    <a:pt x="185" y="0"/>
                  </a:cubicBezTo>
                  <a:cubicBezTo>
                    <a:pt x="60" y="217"/>
                    <a:pt x="60" y="217"/>
                    <a:pt x="60" y="217"/>
                  </a:cubicBezTo>
                  <a:cubicBezTo>
                    <a:pt x="213" y="313"/>
                    <a:pt x="213" y="313"/>
                    <a:pt x="213" y="313"/>
                  </a:cubicBezTo>
                  <a:cubicBezTo>
                    <a:pt x="214" y="309"/>
                    <a:pt x="215" y="305"/>
                    <a:pt x="217" y="301"/>
                  </a:cubicBezTo>
                  <a:cubicBezTo>
                    <a:pt x="231" y="307"/>
                    <a:pt x="231" y="307"/>
                    <a:pt x="231" y="307"/>
                  </a:cubicBezTo>
                  <a:cubicBezTo>
                    <a:pt x="223" y="320"/>
                    <a:pt x="223" y="320"/>
                    <a:pt x="223" y="320"/>
                  </a:cubicBezTo>
                  <a:cubicBezTo>
                    <a:pt x="213" y="313"/>
                    <a:pt x="213" y="313"/>
                    <a:pt x="213" y="313"/>
                  </a:cubicBezTo>
                  <a:cubicBezTo>
                    <a:pt x="199" y="351"/>
                    <a:pt x="188" y="391"/>
                    <a:pt x="181" y="432"/>
                  </a:cubicBezTo>
                  <a:cubicBezTo>
                    <a:pt x="193" y="432"/>
                    <a:pt x="193" y="432"/>
                    <a:pt x="193" y="432"/>
                  </a:cubicBezTo>
                  <a:cubicBezTo>
                    <a:pt x="194" y="447"/>
                    <a:pt x="194" y="447"/>
                    <a:pt x="194" y="447"/>
                  </a:cubicBezTo>
                  <a:cubicBezTo>
                    <a:pt x="179" y="445"/>
                    <a:pt x="179" y="445"/>
                    <a:pt x="179" y="445"/>
                  </a:cubicBezTo>
                  <a:cubicBezTo>
                    <a:pt x="179" y="441"/>
                    <a:pt x="180" y="437"/>
                    <a:pt x="181" y="432"/>
                  </a:cubicBezTo>
                  <a:cubicBezTo>
                    <a:pt x="0" y="439"/>
                    <a:pt x="0" y="439"/>
                    <a:pt x="0" y="439"/>
                  </a:cubicBezTo>
                  <a:cubicBezTo>
                    <a:pt x="0" y="690"/>
                    <a:pt x="0" y="690"/>
                    <a:pt x="0" y="690"/>
                  </a:cubicBezTo>
                  <a:cubicBezTo>
                    <a:pt x="181" y="697"/>
                    <a:pt x="181" y="697"/>
                    <a:pt x="181" y="697"/>
                  </a:cubicBezTo>
                  <a:cubicBezTo>
                    <a:pt x="180" y="692"/>
                    <a:pt x="179" y="688"/>
                    <a:pt x="179" y="684"/>
                  </a:cubicBezTo>
                  <a:cubicBezTo>
                    <a:pt x="194" y="682"/>
                    <a:pt x="194" y="682"/>
                    <a:pt x="194" y="682"/>
                  </a:cubicBezTo>
                  <a:cubicBezTo>
                    <a:pt x="193" y="697"/>
                    <a:pt x="193" y="697"/>
                    <a:pt x="193" y="697"/>
                  </a:cubicBezTo>
                  <a:cubicBezTo>
                    <a:pt x="181" y="697"/>
                    <a:pt x="181" y="697"/>
                    <a:pt x="181" y="697"/>
                  </a:cubicBezTo>
                  <a:cubicBezTo>
                    <a:pt x="188" y="738"/>
                    <a:pt x="199" y="778"/>
                    <a:pt x="213" y="816"/>
                  </a:cubicBezTo>
                  <a:cubicBezTo>
                    <a:pt x="223" y="809"/>
                    <a:pt x="223" y="809"/>
                    <a:pt x="223" y="809"/>
                  </a:cubicBezTo>
                  <a:cubicBezTo>
                    <a:pt x="231" y="822"/>
                    <a:pt x="231" y="822"/>
                    <a:pt x="231" y="822"/>
                  </a:cubicBezTo>
                  <a:cubicBezTo>
                    <a:pt x="217" y="828"/>
                    <a:pt x="217" y="828"/>
                    <a:pt x="217" y="828"/>
                  </a:cubicBezTo>
                  <a:cubicBezTo>
                    <a:pt x="215" y="824"/>
                    <a:pt x="214" y="820"/>
                    <a:pt x="213" y="816"/>
                  </a:cubicBezTo>
                  <a:cubicBezTo>
                    <a:pt x="60" y="912"/>
                    <a:pt x="60" y="912"/>
                    <a:pt x="60" y="912"/>
                  </a:cubicBezTo>
                  <a:cubicBezTo>
                    <a:pt x="185" y="1129"/>
                    <a:pt x="185" y="1129"/>
                    <a:pt x="185" y="1129"/>
                  </a:cubicBezTo>
                  <a:cubicBezTo>
                    <a:pt x="345" y="1044"/>
                    <a:pt x="345" y="1044"/>
                    <a:pt x="345" y="1044"/>
                  </a:cubicBezTo>
                  <a:cubicBezTo>
                    <a:pt x="342" y="1041"/>
                    <a:pt x="340" y="1038"/>
                    <a:pt x="337" y="1035"/>
                  </a:cubicBezTo>
                  <a:cubicBezTo>
                    <a:pt x="349" y="1025"/>
                    <a:pt x="349" y="1025"/>
                    <a:pt x="349" y="1025"/>
                  </a:cubicBezTo>
                  <a:cubicBezTo>
                    <a:pt x="356" y="1039"/>
                    <a:pt x="356" y="1039"/>
                    <a:pt x="356" y="1039"/>
                  </a:cubicBezTo>
                  <a:cubicBezTo>
                    <a:pt x="345" y="1044"/>
                    <a:pt x="345" y="1044"/>
                    <a:pt x="345" y="1044"/>
                  </a:cubicBezTo>
                  <a:cubicBezTo>
                    <a:pt x="372" y="1076"/>
                    <a:pt x="401" y="1105"/>
                    <a:pt x="432" y="1131"/>
                  </a:cubicBezTo>
                  <a:cubicBezTo>
                    <a:pt x="438" y="1121"/>
                    <a:pt x="438" y="1121"/>
                    <a:pt x="438" y="1121"/>
                  </a:cubicBezTo>
                  <a:cubicBezTo>
                    <a:pt x="452" y="1128"/>
                    <a:pt x="452" y="1128"/>
                    <a:pt x="452" y="1128"/>
                  </a:cubicBezTo>
                  <a:cubicBezTo>
                    <a:pt x="442" y="1140"/>
                    <a:pt x="442" y="1140"/>
                    <a:pt x="442" y="1140"/>
                  </a:cubicBezTo>
                  <a:cubicBezTo>
                    <a:pt x="439" y="1137"/>
                    <a:pt x="435" y="1134"/>
                    <a:pt x="432" y="1131"/>
                  </a:cubicBezTo>
                  <a:cubicBezTo>
                    <a:pt x="348" y="1291"/>
                    <a:pt x="348" y="1291"/>
                    <a:pt x="348" y="1291"/>
                  </a:cubicBezTo>
                  <a:cubicBezTo>
                    <a:pt x="565" y="1417"/>
                    <a:pt x="565" y="1417"/>
                    <a:pt x="565" y="1417"/>
                  </a:cubicBezTo>
                  <a:cubicBezTo>
                    <a:pt x="661" y="1264"/>
                    <a:pt x="661" y="1264"/>
                    <a:pt x="661" y="1264"/>
                  </a:cubicBezTo>
                  <a:cubicBezTo>
                    <a:pt x="657" y="1263"/>
                    <a:pt x="653" y="1261"/>
                    <a:pt x="649" y="1260"/>
                  </a:cubicBezTo>
                  <a:cubicBezTo>
                    <a:pt x="654" y="1245"/>
                    <a:pt x="654" y="1245"/>
                    <a:pt x="654" y="1245"/>
                  </a:cubicBezTo>
                  <a:cubicBezTo>
                    <a:pt x="667" y="1254"/>
                    <a:pt x="667" y="1254"/>
                    <a:pt x="667" y="1254"/>
                  </a:cubicBezTo>
                  <a:cubicBezTo>
                    <a:pt x="661" y="1264"/>
                    <a:pt x="661" y="1264"/>
                    <a:pt x="661" y="1264"/>
                  </a:cubicBezTo>
                  <a:cubicBezTo>
                    <a:pt x="699" y="1278"/>
                    <a:pt x="739" y="1288"/>
                    <a:pt x="780" y="1295"/>
                  </a:cubicBezTo>
                  <a:cubicBezTo>
                    <a:pt x="779" y="1283"/>
                    <a:pt x="779" y="1283"/>
                    <a:pt x="779" y="1283"/>
                  </a:cubicBezTo>
                  <a:cubicBezTo>
                    <a:pt x="795" y="1283"/>
                    <a:pt x="795" y="1283"/>
                    <a:pt x="795" y="1283"/>
                  </a:cubicBezTo>
                  <a:cubicBezTo>
                    <a:pt x="792" y="1298"/>
                    <a:pt x="792" y="1298"/>
                    <a:pt x="792" y="1298"/>
                  </a:cubicBezTo>
                  <a:cubicBezTo>
                    <a:pt x="788" y="1297"/>
                    <a:pt x="784" y="1296"/>
                    <a:pt x="780" y="1295"/>
                  </a:cubicBezTo>
                  <a:cubicBezTo>
                    <a:pt x="787" y="1476"/>
                    <a:pt x="787" y="1476"/>
                    <a:pt x="787" y="1476"/>
                  </a:cubicBezTo>
                  <a:cubicBezTo>
                    <a:pt x="1037" y="1476"/>
                    <a:pt x="1037" y="1476"/>
                    <a:pt x="1037" y="1476"/>
                  </a:cubicBezTo>
                  <a:cubicBezTo>
                    <a:pt x="1044" y="1295"/>
                    <a:pt x="1044" y="1295"/>
                    <a:pt x="1044" y="1295"/>
                  </a:cubicBezTo>
                  <a:cubicBezTo>
                    <a:pt x="1040" y="1296"/>
                    <a:pt x="1036" y="1297"/>
                    <a:pt x="1032" y="1298"/>
                  </a:cubicBezTo>
                  <a:cubicBezTo>
                    <a:pt x="1029" y="1283"/>
                    <a:pt x="1029" y="1283"/>
                    <a:pt x="1029" y="1283"/>
                  </a:cubicBezTo>
                  <a:cubicBezTo>
                    <a:pt x="1045" y="1283"/>
                    <a:pt x="1045" y="1283"/>
                    <a:pt x="1045" y="1283"/>
                  </a:cubicBezTo>
                  <a:cubicBezTo>
                    <a:pt x="1044" y="1295"/>
                    <a:pt x="1044" y="1295"/>
                    <a:pt x="1044" y="1295"/>
                  </a:cubicBezTo>
                  <a:cubicBezTo>
                    <a:pt x="1085" y="1288"/>
                    <a:pt x="1125" y="1278"/>
                    <a:pt x="1163" y="1264"/>
                  </a:cubicBezTo>
                  <a:cubicBezTo>
                    <a:pt x="1157" y="1254"/>
                    <a:pt x="1157" y="1254"/>
                    <a:pt x="1157" y="1254"/>
                  </a:cubicBezTo>
                  <a:cubicBezTo>
                    <a:pt x="1170" y="1245"/>
                    <a:pt x="1170" y="1245"/>
                    <a:pt x="1170" y="1245"/>
                  </a:cubicBezTo>
                  <a:cubicBezTo>
                    <a:pt x="1175" y="1260"/>
                    <a:pt x="1175" y="1260"/>
                    <a:pt x="1175" y="1260"/>
                  </a:cubicBezTo>
                  <a:cubicBezTo>
                    <a:pt x="1171" y="1261"/>
                    <a:pt x="1167" y="1263"/>
                    <a:pt x="1163" y="1264"/>
                  </a:cubicBezTo>
                  <a:cubicBezTo>
                    <a:pt x="1259" y="1417"/>
                    <a:pt x="1259" y="1417"/>
                    <a:pt x="1259" y="1417"/>
                  </a:cubicBezTo>
                  <a:cubicBezTo>
                    <a:pt x="1476" y="1291"/>
                    <a:pt x="1476" y="1291"/>
                    <a:pt x="1476" y="1291"/>
                  </a:cubicBezTo>
                  <a:cubicBezTo>
                    <a:pt x="1392" y="1131"/>
                    <a:pt x="1392" y="1131"/>
                    <a:pt x="1392" y="1131"/>
                  </a:cubicBezTo>
                  <a:cubicBezTo>
                    <a:pt x="1389" y="1134"/>
                    <a:pt x="1386" y="1137"/>
                    <a:pt x="1382" y="1140"/>
                  </a:cubicBezTo>
                  <a:cubicBezTo>
                    <a:pt x="1373" y="1128"/>
                    <a:pt x="1373" y="1128"/>
                    <a:pt x="1373" y="1128"/>
                  </a:cubicBezTo>
                  <a:cubicBezTo>
                    <a:pt x="1386" y="1121"/>
                    <a:pt x="1386" y="1121"/>
                    <a:pt x="1386" y="1121"/>
                  </a:cubicBezTo>
                  <a:cubicBezTo>
                    <a:pt x="1392" y="1131"/>
                    <a:pt x="1392" y="1131"/>
                    <a:pt x="1392" y="1131"/>
                  </a:cubicBezTo>
                  <a:cubicBezTo>
                    <a:pt x="1423" y="1105"/>
                    <a:pt x="1452" y="1076"/>
                    <a:pt x="1479" y="1044"/>
                  </a:cubicBezTo>
                  <a:cubicBezTo>
                    <a:pt x="1468" y="1039"/>
                    <a:pt x="1468" y="1039"/>
                    <a:pt x="1468" y="1039"/>
                  </a:cubicBezTo>
                  <a:cubicBezTo>
                    <a:pt x="1475" y="1025"/>
                    <a:pt x="1475" y="1025"/>
                    <a:pt x="1475" y="1025"/>
                  </a:cubicBezTo>
                  <a:cubicBezTo>
                    <a:pt x="1487" y="1035"/>
                    <a:pt x="1487" y="1035"/>
                    <a:pt x="1487" y="1035"/>
                  </a:cubicBezTo>
                  <a:cubicBezTo>
                    <a:pt x="1485" y="1038"/>
                    <a:pt x="1482" y="1041"/>
                    <a:pt x="1479" y="1044"/>
                  </a:cubicBezTo>
                  <a:cubicBezTo>
                    <a:pt x="1639" y="1129"/>
                    <a:pt x="1639" y="1129"/>
                    <a:pt x="1639" y="1129"/>
                  </a:cubicBezTo>
                  <a:cubicBezTo>
                    <a:pt x="1764" y="912"/>
                    <a:pt x="1764" y="912"/>
                    <a:pt x="1764" y="912"/>
                  </a:cubicBezTo>
                  <a:cubicBezTo>
                    <a:pt x="1611" y="816"/>
                    <a:pt x="1611" y="816"/>
                    <a:pt x="1611" y="816"/>
                  </a:cubicBezTo>
                  <a:cubicBezTo>
                    <a:pt x="1610" y="820"/>
                    <a:pt x="1609" y="824"/>
                    <a:pt x="1607" y="828"/>
                  </a:cubicBezTo>
                  <a:cubicBezTo>
                    <a:pt x="1593" y="822"/>
                    <a:pt x="1593" y="822"/>
                    <a:pt x="1593" y="822"/>
                  </a:cubicBezTo>
                  <a:cubicBezTo>
                    <a:pt x="1601" y="809"/>
                    <a:pt x="1601" y="809"/>
                    <a:pt x="1601" y="809"/>
                  </a:cubicBezTo>
                  <a:cubicBezTo>
                    <a:pt x="1611" y="816"/>
                    <a:pt x="1611" y="816"/>
                    <a:pt x="1611" y="816"/>
                  </a:cubicBezTo>
                  <a:cubicBezTo>
                    <a:pt x="1625" y="778"/>
                    <a:pt x="1636" y="738"/>
                    <a:pt x="1643" y="697"/>
                  </a:cubicBezTo>
                  <a:lnTo>
                    <a:pt x="1631"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3" name="Freeform 74">
              <a:extLst>
                <a:ext uri="{FF2B5EF4-FFF2-40B4-BE49-F238E27FC236}">
                  <a16:creationId xmlns:a16="http://schemas.microsoft.com/office/drawing/2014/main" id="{5104D98E-A54A-3CD8-23D2-200C08EF2942}"/>
                </a:ext>
              </a:extLst>
            </p:cNvPr>
            <p:cNvSpPr>
              <a:spLocks noEditPoints="1"/>
            </p:cNvSpPr>
            <p:nvPr/>
          </p:nvSpPr>
          <p:spPr bwMode="auto">
            <a:xfrm>
              <a:off x="1987" y="2171"/>
              <a:ext cx="600" cy="484"/>
            </a:xfrm>
            <a:custGeom>
              <a:avLst/>
              <a:gdLst>
                <a:gd name="T0" fmla="*/ 575 w 1840"/>
                <a:gd name="T1" fmla="*/ 1439 h 1495"/>
                <a:gd name="T2" fmla="*/ 57 w 1840"/>
                <a:gd name="T3" fmla="*/ 920 h 1495"/>
                <a:gd name="T4" fmla="*/ 182 w 1840"/>
                <a:gd name="T5" fmla="*/ 435 h 1495"/>
                <a:gd name="T6" fmla="*/ 272 w 1840"/>
                <a:gd name="T7" fmla="*/ 97 h 1495"/>
                <a:gd name="T8" fmla="*/ 225 w 1840"/>
                <a:gd name="T9" fmla="*/ 462 h 1495"/>
                <a:gd name="T10" fmla="*/ 225 w 1840"/>
                <a:gd name="T11" fmla="*/ 689 h 1495"/>
                <a:gd name="T12" fmla="*/ 363 w 1840"/>
                <a:gd name="T13" fmla="*/ 1006 h 1495"/>
                <a:gd name="T14" fmla="*/ 560 w 1840"/>
                <a:gd name="T15" fmla="*/ 1375 h 1495"/>
                <a:gd name="T16" fmla="*/ 832 w 1840"/>
                <a:gd name="T17" fmla="*/ 1448 h 1495"/>
                <a:gd name="T18" fmla="*/ 1188 w 1840"/>
                <a:gd name="T19" fmla="*/ 1228 h 1495"/>
                <a:gd name="T20" fmla="*/ 1465 w 1840"/>
                <a:gd name="T21" fmla="*/ 1021 h 1495"/>
                <a:gd name="T22" fmla="*/ 1579 w 1840"/>
                <a:gd name="T23" fmla="*/ 825 h 1495"/>
                <a:gd name="T24" fmla="*/ 1618 w 1840"/>
                <a:gd name="T25" fmla="*/ 481 h 1495"/>
                <a:gd name="T26" fmla="*/ 1632 w 1840"/>
                <a:gd name="T27" fmla="*/ 63 h 1495"/>
                <a:gd name="T28" fmla="*/ 1629 w 1840"/>
                <a:gd name="T29" fmla="*/ 328 h 1495"/>
                <a:gd name="T30" fmla="*/ 1629 w 1840"/>
                <a:gd name="T31" fmla="*/ 823 h 1495"/>
                <a:gd name="T32" fmla="*/ 1495 w 1840"/>
                <a:gd name="T33" fmla="*/ 1306 h 1495"/>
                <a:gd name="T34" fmla="*/ 803 w 1840"/>
                <a:gd name="T35" fmla="*/ 1479 h 1495"/>
                <a:gd name="T36" fmla="*/ 1030 w 1840"/>
                <a:gd name="T37" fmla="*/ 1300 h 1495"/>
                <a:gd name="T38" fmla="*/ 799 w 1840"/>
                <a:gd name="T39" fmla="*/ 1317 h 1495"/>
                <a:gd name="T40" fmla="*/ 656 w 1840"/>
                <a:gd name="T41" fmla="*/ 1279 h 1495"/>
                <a:gd name="T42" fmla="*/ 386 w 1840"/>
                <a:gd name="T43" fmla="*/ 1294 h 1495"/>
                <a:gd name="T44" fmla="*/ 367 w 1840"/>
                <a:gd name="T45" fmla="*/ 1299 h 1495"/>
                <a:gd name="T46" fmla="*/ 1396 w 1840"/>
                <a:gd name="T47" fmla="*/ 1157 h 1495"/>
                <a:gd name="T48" fmla="*/ 1187 w 1840"/>
                <a:gd name="T49" fmla="*/ 1258 h 1495"/>
                <a:gd name="T50" fmla="*/ 1061 w 1840"/>
                <a:gd name="T51" fmla="*/ 1286 h 1495"/>
                <a:gd name="T52" fmla="*/ 1042 w 1840"/>
                <a:gd name="T53" fmla="*/ 1286 h 1495"/>
                <a:gd name="T54" fmla="*/ 671 w 1840"/>
                <a:gd name="T55" fmla="*/ 1252 h 1495"/>
                <a:gd name="T56" fmla="*/ 442 w 1840"/>
                <a:gd name="T57" fmla="*/ 1120 h 1495"/>
                <a:gd name="T58" fmla="*/ 1398 w 1840"/>
                <a:gd name="T59" fmla="*/ 1120 h 1495"/>
                <a:gd name="T60" fmla="*/ 1381 w 1840"/>
                <a:gd name="T61" fmla="*/ 1129 h 1495"/>
                <a:gd name="T62" fmla="*/ 1624 w 1840"/>
                <a:gd name="T63" fmla="*/ 839 h 1495"/>
                <a:gd name="T64" fmla="*/ 1638 w 1840"/>
                <a:gd name="T65" fmla="*/ 1110 h 1495"/>
                <a:gd name="T66" fmla="*/ 79 w 1840"/>
                <a:gd name="T67" fmla="*/ 926 h 1495"/>
                <a:gd name="T68" fmla="*/ 348 w 1840"/>
                <a:gd name="T69" fmla="*/ 1033 h 1495"/>
                <a:gd name="T70" fmla="*/ 217 w 1840"/>
                <a:gd name="T71" fmla="*/ 842 h 1495"/>
                <a:gd name="T72" fmla="*/ 210 w 1840"/>
                <a:gd name="T73" fmla="*/ 698 h 1495"/>
                <a:gd name="T74" fmla="*/ 1630 w 1840"/>
                <a:gd name="T75" fmla="*/ 698 h 1495"/>
                <a:gd name="T76" fmla="*/ 1631 w 1840"/>
                <a:gd name="T77" fmla="*/ 717 h 1495"/>
                <a:gd name="T78" fmla="*/ 1661 w 1840"/>
                <a:gd name="T79" fmla="*/ 699 h 1495"/>
                <a:gd name="T80" fmla="*/ 1663 w 1840"/>
                <a:gd name="T81" fmla="*/ 463 h 1495"/>
                <a:gd name="T82" fmla="*/ 17 w 1840"/>
                <a:gd name="T83" fmla="*/ 693 h 1495"/>
                <a:gd name="T84" fmla="*/ 31 w 1840"/>
                <a:gd name="T85" fmla="*/ 679 h 1495"/>
                <a:gd name="T86" fmla="*/ 179 w 1840"/>
                <a:gd name="T87" fmla="*/ 452 h 1495"/>
                <a:gd name="T88" fmla="*/ 244 w 1840"/>
                <a:gd name="T89" fmla="*/ 326 h 1495"/>
                <a:gd name="T90" fmla="*/ 1596 w 1840"/>
                <a:gd name="T91" fmla="*/ 326 h 1495"/>
                <a:gd name="T92" fmla="*/ 1607 w 1840"/>
                <a:gd name="T93" fmla="*/ 342 h 1495"/>
                <a:gd name="T94" fmla="*/ 1761 w 1840"/>
                <a:gd name="T95" fmla="*/ 225 h 1495"/>
                <a:gd name="T96" fmla="*/ 1742 w 1840"/>
                <a:gd name="T97" fmla="*/ 221 h 1495"/>
                <a:gd name="T98" fmla="*/ 217 w 1840"/>
                <a:gd name="T99" fmla="*/ 309 h 1495"/>
                <a:gd name="T100" fmla="*/ 253 w 1840"/>
                <a:gd name="T101" fmla="*/ 68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0" h="1495">
                  <a:moveTo>
                    <a:pt x="1053" y="1495"/>
                  </a:moveTo>
                  <a:cubicBezTo>
                    <a:pt x="787" y="1495"/>
                    <a:pt x="787" y="1495"/>
                    <a:pt x="787" y="1495"/>
                  </a:cubicBezTo>
                  <a:cubicBezTo>
                    <a:pt x="780" y="1313"/>
                    <a:pt x="780" y="1313"/>
                    <a:pt x="780" y="1313"/>
                  </a:cubicBezTo>
                  <a:cubicBezTo>
                    <a:pt x="743" y="1306"/>
                    <a:pt x="707" y="1297"/>
                    <a:pt x="672" y="1285"/>
                  </a:cubicBezTo>
                  <a:cubicBezTo>
                    <a:pt x="575" y="1439"/>
                    <a:pt x="575" y="1439"/>
                    <a:pt x="575" y="1439"/>
                  </a:cubicBezTo>
                  <a:cubicBezTo>
                    <a:pt x="345" y="1306"/>
                    <a:pt x="345" y="1306"/>
                    <a:pt x="345" y="1306"/>
                  </a:cubicBezTo>
                  <a:cubicBezTo>
                    <a:pt x="430" y="1144"/>
                    <a:pt x="430" y="1144"/>
                    <a:pt x="430" y="1144"/>
                  </a:cubicBezTo>
                  <a:cubicBezTo>
                    <a:pt x="402" y="1120"/>
                    <a:pt x="375" y="1094"/>
                    <a:pt x="351" y="1066"/>
                  </a:cubicBezTo>
                  <a:cubicBezTo>
                    <a:pt x="190" y="1151"/>
                    <a:pt x="190" y="1151"/>
                    <a:pt x="190" y="1151"/>
                  </a:cubicBezTo>
                  <a:cubicBezTo>
                    <a:pt x="57" y="920"/>
                    <a:pt x="57" y="920"/>
                    <a:pt x="57" y="920"/>
                  </a:cubicBezTo>
                  <a:cubicBezTo>
                    <a:pt x="211" y="823"/>
                    <a:pt x="211" y="823"/>
                    <a:pt x="211" y="823"/>
                  </a:cubicBezTo>
                  <a:cubicBezTo>
                    <a:pt x="199" y="789"/>
                    <a:pt x="189" y="752"/>
                    <a:pt x="182" y="716"/>
                  </a:cubicBezTo>
                  <a:cubicBezTo>
                    <a:pt x="0" y="709"/>
                    <a:pt x="0" y="709"/>
                    <a:pt x="0" y="709"/>
                  </a:cubicBezTo>
                  <a:cubicBezTo>
                    <a:pt x="0" y="442"/>
                    <a:pt x="0" y="442"/>
                    <a:pt x="0" y="442"/>
                  </a:cubicBezTo>
                  <a:cubicBezTo>
                    <a:pt x="182" y="435"/>
                    <a:pt x="182" y="435"/>
                    <a:pt x="182" y="435"/>
                  </a:cubicBezTo>
                  <a:cubicBezTo>
                    <a:pt x="189" y="398"/>
                    <a:pt x="199" y="362"/>
                    <a:pt x="211" y="328"/>
                  </a:cubicBezTo>
                  <a:cubicBezTo>
                    <a:pt x="57" y="231"/>
                    <a:pt x="57" y="231"/>
                    <a:pt x="57" y="231"/>
                  </a:cubicBezTo>
                  <a:cubicBezTo>
                    <a:pt x="190" y="0"/>
                    <a:pt x="190" y="0"/>
                    <a:pt x="190" y="0"/>
                  </a:cubicBezTo>
                  <a:cubicBezTo>
                    <a:pt x="267" y="41"/>
                    <a:pt x="267" y="41"/>
                    <a:pt x="267" y="41"/>
                  </a:cubicBezTo>
                  <a:cubicBezTo>
                    <a:pt x="272" y="97"/>
                    <a:pt x="272" y="97"/>
                    <a:pt x="272" y="97"/>
                  </a:cubicBezTo>
                  <a:cubicBezTo>
                    <a:pt x="208" y="63"/>
                    <a:pt x="208" y="63"/>
                    <a:pt x="208" y="63"/>
                  </a:cubicBezTo>
                  <a:cubicBezTo>
                    <a:pt x="120" y="215"/>
                    <a:pt x="120" y="215"/>
                    <a:pt x="120" y="215"/>
                  </a:cubicBezTo>
                  <a:cubicBezTo>
                    <a:pt x="268" y="308"/>
                    <a:pt x="268" y="308"/>
                    <a:pt x="268" y="308"/>
                  </a:cubicBezTo>
                  <a:cubicBezTo>
                    <a:pt x="261" y="326"/>
                    <a:pt x="261" y="326"/>
                    <a:pt x="261" y="326"/>
                  </a:cubicBezTo>
                  <a:cubicBezTo>
                    <a:pt x="245" y="369"/>
                    <a:pt x="233" y="415"/>
                    <a:pt x="225" y="462"/>
                  </a:cubicBezTo>
                  <a:cubicBezTo>
                    <a:pt x="222" y="481"/>
                    <a:pt x="222" y="481"/>
                    <a:pt x="222" y="481"/>
                  </a:cubicBezTo>
                  <a:cubicBezTo>
                    <a:pt x="47" y="488"/>
                    <a:pt x="47" y="488"/>
                    <a:pt x="47" y="488"/>
                  </a:cubicBezTo>
                  <a:cubicBezTo>
                    <a:pt x="47" y="663"/>
                    <a:pt x="47" y="663"/>
                    <a:pt x="47" y="663"/>
                  </a:cubicBezTo>
                  <a:cubicBezTo>
                    <a:pt x="222" y="670"/>
                    <a:pt x="222" y="670"/>
                    <a:pt x="222" y="670"/>
                  </a:cubicBezTo>
                  <a:cubicBezTo>
                    <a:pt x="225" y="689"/>
                    <a:pt x="225" y="689"/>
                    <a:pt x="225" y="689"/>
                  </a:cubicBezTo>
                  <a:cubicBezTo>
                    <a:pt x="233" y="736"/>
                    <a:pt x="245" y="782"/>
                    <a:pt x="261" y="825"/>
                  </a:cubicBezTo>
                  <a:cubicBezTo>
                    <a:pt x="268" y="843"/>
                    <a:pt x="268" y="843"/>
                    <a:pt x="268" y="843"/>
                  </a:cubicBezTo>
                  <a:cubicBezTo>
                    <a:pt x="120" y="936"/>
                    <a:pt x="120" y="936"/>
                    <a:pt x="120" y="936"/>
                  </a:cubicBezTo>
                  <a:cubicBezTo>
                    <a:pt x="208" y="1088"/>
                    <a:pt x="208" y="1088"/>
                    <a:pt x="208" y="1088"/>
                  </a:cubicBezTo>
                  <a:cubicBezTo>
                    <a:pt x="363" y="1006"/>
                    <a:pt x="363" y="1006"/>
                    <a:pt x="363" y="1006"/>
                  </a:cubicBezTo>
                  <a:cubicBezTo>
                    <a:pt x="375" y="1021"/>
                    <a:pt x="375" y="1021"/>
                    <a:pt x="375" y="1021"/>
                  </a:cubicBezTo>
                  <a:cubicBezTo>
                    <a:pt x="405" y="1057"/>
                    <a:pt x="438" y="1091"/>
                    <a:pt x="474" y="1120"/>
                  </a:cubicBezTo>
                  <a:cubicBezTo>
                    <a:pt x="489" y="1133"/>
                    <a:pt x="489" y="1133"/>
                    <a:pt x="489" y="1133"/>
                  </a:cubicBezTo>
                  <a:cubicBezTo>
                    <a:pt x="408" y="1287"/>
                    <a:pt x="408" y="1287"/>
                    <a:pt x="408" y="1287"/>
                  </a:cubicBezTo>
                  <a:cubicBezTo>
                    <a:pt x="560" y="1375"/>
                    <a:pt x="560" y="1375"/>
                    <a:pt x="560" y="1375"/>
                  </a:cubicBezTo>
                  <a:cubicBezTo>
                    <a:pt x="653" y="1228"/>
                    <a:pt x="653" y="1228"/>
                    <a:pt x="653" y="1228"/>
                  </a:cubicBezTo>
                  <a:cubicBezTo>
                    <a:pt x="671" y="1234"/>
                    <a:pt x="671" y="1234"/>
                    <a:pt x="671" y="1234"/>
                  </a:cubicBezTo>
                  <a:cubicBezTo>
                    <a:pt x="714" y="1251"/>
                    <a:pt x="759" y="1263"/>
                    <a:pt x="807" y="1270"/>
                  </a:cubicBezTo>
                  <a:cubicBezTo>
                    <a:pt x="826" y="1273"/>
                    <a:pt x="826" y="1273"/>
                    <a:pt x="826" y="1273"/>
                  </a:cubicBezTo>
                  <a:cubicBezTo>
                    <a:pt x="832" y="1448"/>
                    <a:pt x="832" y="1448"/>
                    <a:pt x="832" y="1448"/>
                  </a:cubicBezTo>
                  <a:cubicBezTo>
                    <a:pt x="1008" y="1448"/>
                    <a:pt x="1008" y="1448"/>
                    <a:pt x="1008" y="1448"/>
                  </a:cubicBezTo>
                  <a:cubicBezTo>
                    <a:pt x="1014" y="1273"/>
                    <a:pt x="1014" y="1273"/>
                    <a:pt x="1014" y="1273"/>
                  </a:cubicBezTo>
                  <a:cubicBezTo>
                    <a:pt x="1033" y="1270"/>
                    <a:pt x="1033" y="1270"/>
                    <a:pt x="1033" y="1270"/>
                  </a:cubicBezTo>
                  <a:cubicBezTo>
                    <a:pt x="1081" y="1263"/>
                    <a:pt x="1126" y="1251"/>
                    <a:pt x="1170" y="1234"/>
                  </a:cubicBezTo>
                  <a:cubicBezTo>
                    <a:pt x="1188" y="1228"/>
                    <a:pt x="1188" y="1228"/>
                    <a:pt x="1188" y="1228"/>
                  </a:cubicBezTo>
                  <a:cubicBezTo>
                    <a:pt x="1280" y="1375"/>
                    <a:pt x="1280" y="1375"/>
                    <a:pt x="1280" y="1375"/>
                  </a:cubicBezTo>
                  <a:cubicBezTo>
                    <a:pt x="1432" y="1287"/>
                    <a:pt x="1432" y="1287"/>
                    <a:pt x="1432" y="1287"/>
                  </a:cubicBezTo>
                  <a:cubicBezTo>
                    <a:pt x="1351" y="1133"/>
                    <a:pt x="1351" y="1133"/>
                    <a:pt x="1351" y="1133"/>
                  </a:cubicBezTo>
                  <a:cubicBezTo>
                    <a:pt x="1366" y="1120"/>
                    <a:pt x="1366" y="1120"/>
                    <a:pt x="1366" y="1120"/>
                  </a:cubicBezTo>
                  <a:cubicBezTo>
                    <a:pt x="1402" y="1091"/>
                    <a:pt x="1435" y="1057"/>
                    <a:pt x="1465" y="1021"/>
                  </a:cubicBezTo>
                  <a:cubicBezTo>
                    <a:pt x="1477" y="1006"/>
                    <a:pt x="1477" y="1006"/>
                    <a:pt x="1477" y="1006"/>
                  </a:cubicBezTo>
                  <a:cubicBezTo>
                    <a:pt x="1632" y="1088"/>
                    <a:pt x="1632" y="1088"/>
                    <a:pt x="1632" y="1088"/>
                  </a:cubicBezTo>
                  <a:cubicBezTo>
                    <a:pt x="1720" y="936"/>
                    <a:pt x="1720" y="936"/>
                    <a:pt x="1720" y="936"/>
                  </a:cubicBezTo>
                  <a:cubicBezTo>
                    <a:pt x="1572" y="843"/>
                    <a:pt x="1572" y="843"/>
                    <a:pt x="1572" y="843"/>
                  </a:cubicBezTo>
                  <a:cubicBezTo>
                    <a:pt x="1579" y="825"/>
                    <a:pt x="1579" y="825"/>
                    <a:pt x="1579" y="825"/>
                  </a:cubicBezTo>
                  <a:cubicBezTo>
                    <a:pt x="1595" y="782"/>
                    <a:pt x="1607" y="736"/>
                    <a:pt x="1615" y="689"/>
                  </a:cubicBezTo>
                  <a:cubicBezTo>
                    <a:pt x="1618" y="670"/>
                    <a:pt x="1618" y="670"/>
                    <a:pt x="1618" y="670"/>
                  </a:cubicBezTo>
                  <a:cubicBezTo>
                    <a:pt x="1793" y="663"/>
                    <a:pt x="1793" y="663"/>
                    <a:pt x="1793" y="663"/>
                  </a:cubicBezTo>
                  <a:cubicBezTo>
                    <a:pt x="1793" y="488"/>
                    <a:pt x="1793" y="488"/>
                    <a:pt x="1793" y="488"/>
                  </a:cubicBezTo>
                  <a:cubicBezTo>
                    <a:pt x="1618" y="481"/>
                    <a:pt x="1618" y="481"/>
                    <a:pt x="1618" y="481"/>
                  </a:cubicBezTo>
                  <a:cubicBezTo>
                    <a:pt x="1615" y="462"/>
                    <a:pt x="1615" y="462"/>
                    <a:pt x="1615" y="462"/>
                  </a:cubicBezTo>
                  <a:cubicBezTo>
                    <a:pt x="1607" y="415"/>
                    <a:pt x="1595" y="369"/>
                    <a:pt x="1579" y="326"/>
                  </a:cubicBezTo>
                  <a:cubicBezTo>
                    <a:pt x="1572" y="308"/>
                    <a:pt x="1572" y="308"/>
                    <a:pt x="1572" y="308"/>
                  </a:cubicBezTo>
                  <a:cubicBezTo>
                    <a:pt x="1720" y="215"/>
                    <a:pt x="1720" y="215"/>
                    <a:pt x="1720" y="215"/>
                  </a:cubicBezTo>
                  <a:cubicBezTo>
                    <a:pt x="1632" y="63"/>
                    <a:pt x="1632" y="63"/>
                    <a:pt x="1632" y="63"/>
                  </a:cubicBezTo>
                  <a:cubicBezTo>
                    <a:pt x="1568" y="97"/>
                    <a:pt x="1568" y="97"/>
                    <a:pt x="1568" y="97"/>
                  </a:cubicBezTo>
                  <a:cubicBezTo>
                    <a:pt x="1573" y="41"/>
                    <a:pt x="1573" y="41"/>
                    <a:pt x="1573" y="41"/>
                  </a:cubicBezTo>
                  <a:cubicBezTo>
                    <a:pt x="1650" y="0"/>
                    <a:pt x="1650" y="0"/>
                    <a:pt x="1650" y="0"/>
                  </a:cubicBezTo>
                  <a:cubicBezTo>
                    <a:pt x="1783" y="231"/>
                    <a:pt x="1783" y="231"/>
                    <a:pt x="1783" y="231"/>
                  </a:cubicBezTo>
                  <a:cubicBezTo>
                    <a:pt x="1629" y="328"/>
                    <a:pt x="1629" y="328"/>
                    <a:pt x="1629" y="328"/>
                  </a:cubicBezTo>
                  <a:cubicBezTo>
                    <a:pt x="1641" y="362"/>
                    <a:pt x="1651" y="399"/>
                    <a:pt x="1658" y="435"/>
                  </a:cubicBezTo>
                  <a:cubicBezTo>
                    <a:pt x="1840" y="442"/>
                    <a:pt x="1840" y="442"/>
                    <a:pt x="1840" y="442"/>
                  </a:cubicBezTo>
                  <a:cubicBezTo>
                    <a:pt x="1840" y="709"/>
                    <a:pt x="1840" y="709"/>
                    <a:pt x="1840" y="709"/>
                  </a:cubicBezTo>
                  <a:cubicBezTo>
                    <a:pt x="1658" y="716"/>
                    <a:pt x="1658" y="716"/>
                    <a:pt x="1658" y="716"/>
                  </a:cubicBezTo>
                  <a:cubicBezTo>
                    <a:pt x="1651" y="752"/>
                    <a:pt x="1641" y="789"/>
                    <a:pt x="1629" y="823"/>
                  </a:cubicBezTo>
                  <a:cubicBezTo>
                    <a:pt x="1783" y="920"/>
                    <a:pt x="1783" y="920"/>
                    <a:pt x="1783" y="920"/>
                  </a:cubicBezTo>
                  <a:cubicBezTo>
                    <a:pt x="1650" y="1151"/>
                    <a:pt x="1650" y="1151"/>
                    <a:pt x="1650" y="1151"/>
                  </a:cubicBezTo>
                  <a:cubicBezTo>
                    <a:pt x="1489" y="1066"/>
                    <a:pt x="1489" y="1066"/>
                    <a:pt x="1489" y="1066"/>
                  </a:cubicBezTo>
                  <a:cubicBezTo>
                    <a:pt x="1465" y="1094"/>
                    <a:pt x="1438" y="1120"/>
                    <a:pt x="1410" y="1144"/>
                  </a:cubicBezTo>
                  <a:cubicBezTo>
                    <a:pt x="1495" y="1306"/>
                    <a:pt x="1495" y="1306"/>
                    <a:pt x="1495" y="1306"/>
                  </a:cubicBezTo>
                  <a:cubicBezTo>
                    <a:pt x="1265" y="1439"/>
                    <a:pt x="1265" y="1439"/>
                    <a:pt x="1265" y="1439"/>
                  </a:cubicBezTo>
                  <a:cubicBezTo>
                    <a:pt x="1168" y="1285"/>
                    <a:pt x="1168" y="1285"/>
                    <a:pt x="1168" y="1285"/>
                  </a:cubicBezTo>
                  <a:cubicBezTo>
                    <a:pt x="1133" y="1297"/>
                    <a:pt x="1097" y="1306"/>
                    <a:pt x="1060" y="1313"/>
                  </a:cubicBezTo>
                  <a:lnTo>
                    <a:pt x="1053" y="1495"/>
                  </a:lnTo>
                  <a:close/>
                  <a:moveTo>
                    <a:pt x="803" y="1479"/>
                  </a:moveTo>
                  <a:cubicBezTo>
                    <a:pt x="1037" y="1479"/>
                    <a:pt x="1037" y="1479"/>
                    <a:pt x="1037" y="1479"/>
                  </a:cubicBezTo>
                  <a:cubicBezTo>
                    <a:pt x="1043" y="1316"/>
                    <a:pt x="1043" y="1316"/>
                    <a:pt x="1043" y="1316"/>
                  </a:cubicBezTo>
                  <a:cubicBezTo>
                    <a:pt x="1043" y="1317"/>
                    <a:pt x="1042" y="1317"/>
                    <a:pt x="1041" y="1317"/>
                  </a:cubicBezTo>
                  <a:cubicBezTo>
                    <a:pt x="1033" y="1318"/>
                    <a:pt x="1033" y="1318"/>
                    <a:pt x="1033" y="1318"/>
                  </a:cubicBezTo>
                  <a:cubicBezTo>
                    <a:pt x="1030" y="1300"/>
                    <a:pt x="1030" y="1300"/>
                    <a:pt x="1030" y="1300"/>
                  </a:cubicBezTo>
                  <a:cubicBezTo>
                    <a:pt x="1024" y="1465"/>
                    <a:pt x="1024" y="1465"/>
                    <a:pt x="1024" y="1465"/>
                  </a:cubicBezTo>
                  <a:cubicBezTo>
                    <a:pt x="817" y="1465"/>
                    <a:pt x="817" y="1465"/>
                    <a:pt x="817" y="1465"/>
                  </a:cubicBezTo>
                  <a:cubicBezTo>
                    <a:pt x="810" y="1300"/>
                    <a:pt x="810" y="1300"/>
                    <a:pt x="810" y="1300"/>
                  </a:cubicBezTo>
                  <a:cubicBezTo>
                    <a:pt x="807" y="1318"/>
                    <a:pt x="807" y="1318"/>
                    <a:pt x="807" y="1318"/>
                  </a:cubicBezTo>
                  <a:cubicBezTo>
                    <a:pt x="799" y="1317"/>
                    <a:pt x="799" y="1317"/>
                    <a:pt x="799" y="1317"/>
                  </a:cubicBezTo>
                  <a:cubicBezTo>
                    <a:pt x="798" y="1317"/>
                    <a:pt x="797" y="1317"/>
                    <a:pt x="797" y="1316"/>
                  </a:cubicBezTo>
                  <a:lnTo>
                    <a:pt x="803" y="1479"/>
                  </a:lnTo>
                  <a:close/>
                  <a:moveTo>
                    <a:pt x="367" y="1299"/>
                  </a:moveTo>
                  <a:cubicBezTo>
                    <a:pt x="570" y="1416"/>
                    <a:pt x="570" y="1416"/>
                    <a:pt x="570" y="1416"/>
                  </a:cubicBezTo>
                  <a:cubicBezTo>
                    <a:pt x="656" y="1279"/>
                    <a:pt x="656" y="1279"/>
                    <a:pt x="656" y="1279"/>
                  </a:cubicBezTo>
                  <a:cubicBezTo>
                    <a:pt x="655" y="1279"/>
                    <a:pt x="655" y="1279"/>
                    <a:pt x="654" y="1279"/>
                  </a:cubicBezTo>
                  <a:cubicBezTo>
                    <a:pt x="646" y="1276"/>
                    <a:pt x="646" y="1276"/>
                    <a:pt x="646" y="1276"/>
                  </a:cubicBezTo>
                  <a:cubicBezTo>
                    <a:pt x="653" y="1258"/>
                    <a:pt x="653" y="1258"/>
                    <a:pt x="653" y="1258"/>
                  </a:cubicBezTo>
                  <a:cubicBezTo>
                    <a:pt x="565" y="1397"/>
                    <a:pt x="565" y="1397"/>
                    <a:pt x="565" y="1397"/>
                  </a:cubicBezTo>
                  <a:cubicBezTo>
                    <a:pt x="386" y="1294"/>
                    <a:pt x="386" y="1294"/>
                    <a:pt x="386" y="1294"/>
                  </a:cubicBezTo>
                  <a:cubicBezTo>
                    <a:pt x="463" y="1148"/>
                    <a:pt x="463" y="1148"/>
                    <a:pt x="463" y="1148"/>
                  </a:cubicBezTo>
                  <a:cubicBezTo>
                    <a:pt x="451" y="1162"/>
                    <a:pt x="451" y="1162"/>
                    <a:pt x="451" y="1162"/>
                  </a:cubicBezTo>
                  <a:cubicBezTo>
                    <a:pt x="445" y="1157"/>
                    <a:pt x="445" y="1157"/>
                    <a:pt x="445" y="1157"/>
                  </a:cubicBezTo>
                  <a:cubicBezTo>
                    <a:pt x="444" y="1156"/>
                    <a:pt x="443" y="1156"/>
                    <a:pt x="443" y="1155"/>
                  </a:cubicBezTo>
                  <a:lnTo>
                    <a:pt x="367" y="1299"/>
                  </a:lnTo>
                  <a:close/>
                  <a:moveTo>
                    <a:pt x="1184" y="1279"/>
                  </a:moveTo>
                  <a:cubicBezTo>
                    <a:pt x="1270" y="1416"/>
                    <a:pt x="1270" y="1416"/>
                    <a:pt x="1270" y="1416"/>
                  </a:cubicBezTo>
                  <a:cubicBezTo>
                    <a:pt x="1473" y="1299"/>
                    <a:pt x="1473" y="1299"/>
                    <a:pt x="1473" y="1299"/>
                  </a:cubicBezTo>
                  <a:cubicBezTo>
                    <a:pt x="1397" y="1155"/>
                    <a:pt x="1397" y="1155"/>
                    <a:pt x="1397" y="1155"/>
                  </a:cubicBezTo>
                  <a:cubicBezTo>
                    <a:pt x="1397" y="1156"/>
                    <a:pt x="1396" y="1156"/>
                    <a:pt x="1396" y="1157"/>
                  </a:cubicBezTo>
                  <a:cubicBezTo>
                    <a:pt x="1389" y="1162"/>
                    <a:pt x="1389" y="1162"/>
                    <a:pt x="1389" y="1162"/>
                  </a:cubicBezTo>
                  <a:cubicBezTo>
                    <a:pt x="1377" y="1148"/>
                    <a:pt x="1377" y="1148"/>
                    <a:pt x="1377" y="1148"/>
                  </a:cubicBezTo>
                  <a:cubicBezTo>
                    <a:pt x="1454" y="1294"/>
                    <a:pt x="1454" y="1294"/>
                    <a:pt x="1454" y="1294"/>
                  </a:cubicBezTo>
                  <a:cubicBezTo>
                    <a:pt x="1275" y="1397"/>
                    <a:pt x="1275" y="1397"/>
                    <a:pt x="1275" y="1397"/>
                  </a:cubicBezTo>
                  <a:cubicBezTo>
                    <a:pt x="1187" y="1258"/>
                    <a:pt x="1187" y="1258"/>
                    <a:pt x="1187" y="1258"/>
                  </a:cubicBezTo>
                  <a:cubicBezTo>
                    <a:pt x="1194" y="1276"/>
                    <a:pt x="1194" y="1276"/>
                    <a:pt x="1194" y="1276"/>
                  </a:cubicBezTo>
                  <a:cubicBezTo>
                    <a:pt x="1186" y="1279"/>
                    <a:pt x="1186" y="1279"/>
                    <a:pt x="1186" y="1279"/>
                  </a:cubicBezTo>
                  <a:cubicBezTo>
                    <a:pt x="1185" y="1279"/>
                    <a:pt x="1185" y="1279"/>
                    <a:pt x="1184" y="1279"/>
                  </a:cubicBezTo>
                  <a:close/>
                  <a:moveTo>
                    <a:pt x="1042" y="1286"/>
                  </a:moveTo>
                  <a:cubicBezTo>
                    <a:pt x="1061" y="1286"/>
                    <a:pt x="1061" y="1286"/>
                    <a:pt x="1061" y="1286"/>
                  </a:cubicBezTo>
                  <a:cubicBezTo>
                    <a:pt x="1061" y="1296"/>
                    <a:pt x="1061" y="1296"/>
                    <a:pt x="1061" y="1296"/>
                  </a:cubicBezTo>
                  <a:cubicBezTo>
                    <a:pt x="1094" y="1290"/>
                    <a:pt x="1127" y="1281"/>
                    <a:pt x="1159" y="1271"/>
                  </a:cubicBezTo>
                  <a:cubicBezTo>
                    <a:pt x="1153" y="1262"/>
                    <a:pt x="1153" y="1262"/>
                    <a:pt x="1153" y="1262"/>
                  </a:cubicBezTo>
                  <a:cubicBezTo>
                    <a:pt x="1170" y="1252"/>
                    <a:pt x="1170" y="1252"/>
                    <a:pt x="1170" y="1252"/>
                  </a:cubicBezTo>
                  <a:cubicBezTo>
                    <a:pt x="1129" y="1267"/>
                    <a:pt x="1086" y="1278"/>
                    <a:pt x="1042" y="1286"/>
                  </a:cubicBezTo>
                  <a:close/>
                  <a:moveTo>
                    <a:pt x="681" y="1271"/>
                  </a:moveTo>
                  <a:cubicBezTo>
                    <a:pt x="713" y="1281"/>
                    <a:pt x="746" y="1290"/>
                    <a:pt x="779" y="1296"/>
                  </a:cubicBezTo>
                  <a:cubicBezTo>
                    <a:pt x="779" y="1286"/>
                    <a:pt x="779" y="1286"/>
                    <a:pt x="779" y="1286"/>
                  </a:cubicBezTo>
                  <a:cubicBezTo>
                    <a:pt x="798" y="1286"/>
                    <a:pt x="798" y="1286"/>
                    <a:pt x="798" y="1286"/>
                  </a:cubicBezTo>
                  <a:cubicBezTo>
                    <a:pt x="754" y="1278"/>
                    <a:pt x="711" y="1267"/>
                    <a:pt x="671" y="1252"/>
                  </a:cubicBezTo>
                  <a:cubicBezTo>
                    <a:pt x="687" y="1262"/>
                    <a:pt x="687" y="1262"/>
                    <a:pt x="687" y="1262"/>
                  </a:cubicBezTo>
                  <a:lnTo>
                    <a:pt x="681" y="1271"/>
                  </a:lnTo>
                  <a:close/>
                  <a:moveTo>
                    <a:pt x="366" y="1058"/>
                  </a:moveTo>
                  <a:cubicBezTo>
                    <a:pt x="388" y="1083"/>
                    <a:pt x="412" y="1107"/>
                    <a:pt x="438" y="1129"/>
                  </a:cubicBezTo>
                  <a:cubicBezTo>
                    <a:pt x="442" y="1120"/>
                    <a:pt x="442" y="1120"/>
                    <a:pt x="442" y="1120"/>
                  </a:cubicBezTo>
                  <a:cubicBezTo>
                    <a:pt x="459" y="1129"/>
                    <a:pt x="459" y="1129"/>
                    <a:pt x="459" y="1129"/>
                  </a:cubicBezTo>
                  <a:cubicBezTo>
                    <a:pt x="426" y="1101"/>
                    <a:pt x="394" y="1070"/>
                    <a:pt x="366" y="1036"/>
                  </a:cubicBezTo>
                  <a:cubicBezTo>
                    <a:pt x="375" y="1053"/>
                    <a:pt x="375" y="1053"/>
                    <a:pt x="375" y="1053"/>
                  </a:cubicBezTo>
                  <a:lnTo>
                    <a:pt x="366" y="1058"/>
                  </a:lnTo>
                  <a:close/>
                  <a:moveTo>
                    <a:pt x="1398" y="1120"/>
                  </a:moveTo>
                  <a:cubicBezTo>
                    <a:pt x="1402" y="1129"/>
                    <a:pt x="1402" y="1129"/>
                    <a:pt x="1402" y="1129"/>
                  </a:cubicBezTo>
                  <a:cubicBezTo>
                    <a:pt x="1428" y="1107"/>
                    <a:pt x="1452" y="1083"/>
                    <a:pt x="1474" y="1058"/>
                  </a:cubicBezTo>
                  <a:cubicBezTo>
                    <a:pt x="1465" y="1053"/>
                    <a:pt x="1465" y="1053"/>
                    <a:pt x="1465" y="1053"/>
                  </a:cubicBezTo>
                  <a:cubicBezTo>
                    <a:pt x="1474" y="1036"/>
                    <a:pt x="1474" y="1036"/>
                    <a:pt x="1474" y="1036"/>
                  </a:cubicBezTo>
                  <a:cubicBezTo>
                    <a:pt x="1446" y="1070"/>
                    <a:pt x="1415" y="1101"/>
                    <a:pt x="1381" y="1129"/>
                  </a:cubicBezTo>
                  <a:lnTo>
                    <a:pt x="1398" y="1120"/>
                  </a:lnTo>
                  <a:close/>
                  <a:moveTo>
                    <a:pt x="1500" y="1053"/>
                  </a:moveTo>
                  <a:cubicBezTo>
                    <a:pt x="1644" y="1129"/>
                    <a:pt x="1644" y="1129"/>
                    <a:pt x="1644" y="1129"/>
                  </a:cubicBezTo>
                  <a:cubicBezTo>
                    <a:pt x="1761" y="926"/>
                    <a:pt x="1761" y="926"/>
                    <a:pt x="1761" y="926"/>
                  </a:cubicBezTo>
                  <a:cubicBezTo>
                    <a:pt x="1624" y="839"/>
                    <a:pt x="1624" y="839"/>
                    <a:pt x="1624" y="839"/>
                  </a:cubicBezTo>
                  <a:cubicBezTo>
                    <a:pt x="1624" y="840"/>
                    <a:pt x="1623" y="841"/>
                    <a:pt x="1623" y="842"/>
                  </a:cubicBezTo>
                  <a:cubicBezTo>
                    <a:pt x="1620" y="849"/>
                    <a:pt x="1620" y="849"/>
                    <a:pt x="1620" y="849"/>
                  </a:cubicBezTo>
                  <a:cubicBezTo>
                    <a:pt x="1603" y="843"/>
                    <a:pt x="1603" y="843"/>
                    <a:pt x="1603" y="843"/>
                  </a:cubicBezTo>
                  <a:cubicBezTo>
                    <a:pt x="1742" y="930"/>
                    <a:pt x="1742" y="930"/>
                    <a:pt x="1742" y="930"/>
                  </a:cubicBezTo>
                  <a:cubicBezTo>
                    <a:pt x="1638" y="1110"/>
                    <a:pt x="1638" y="1110"/>
                    <a:pt x="1638" y="1110"/>
                  </a:cubicBezTo>
                  <a:cubicBezTo>
                    <a:pt x="1492" y="1033"/>
                    <a:pt x="1492" y="1033"/>
                    <a:pt x="1492" y="1033"/>
                  </a:cubicBezTo>
                  <a:cubicBezTo>
                    <a:pt x="1507" y="1045"/>
                    <a:pt x="1507" y="1045"/>
                    <a:pt x="1507" y="1045"/>
                  </a:cubicBezTo>
                  <a:cubicBezTo>
                    <a:pt x="1502" y="1051"/>
                    <a:pt x="1502" y="1051"/>
                    <a:pt x="1502" y="1051"/>
                  </a:cubicBezTo>
                  <a:cubicBezTo>
                    <a:pt x="1501" y="1052"/>
                    <a:pt x="1501" y="1052"/>
                    <a:pt x="1500" y="1053"/>
                  </a:cubicBezTo>
                  <a:close/>
                  <a:moveTo>
                    <a:pt x="79" y="926"/>
                  </a:moveTo>
                  <a:cubicBezTo>
                    <a:pt x="196" y="1129"/>
                    <a:pt x="196" y="1129"/>
                    <a:pt x="196" y="1129"/>
                  </a:cubicBezTo>
                  <a:cubicBezTo>
                    <a:pt x="340" y="1053"/>
                    <a:pt x="340" y="1053"/>
                    <a:pt x="340" y="1053"/>
                  </a:cubicBezTo>
                  <a:cubicBezTo>
                    <a:pt x="340" y="1052"/>
                    <a:pt x="339" y="1052"/>
                    <a:pt x="339" y="1051"/>
                  </a:cubicBezTo>
                  <a:cubicBezTo>
                    <a:pt x="333" y="1045"/>
                    <a:pt x="333" y="1045"/>
                    <a:pt x="333" y="1045"/>
                  </a:cubicBezTo>
                  <a:cubicBezTo>
                    <a:pt x="348" y="1033"/>
                    <a:pt x="348" y="1033"/>
                    <a:pt x="348" y="1033"/>
                  </a:cubicBezTo>
                  <a:cubicBezTo>
                    <a:pt x="202" y="1110"/>
                    <a:pt x="202" y="1110"/>
                    <a:pt x="202" y="1110"/>
                  </a:cubicBezTo>
                  <a:cubicBezTo>
                    <a:pt x="98" y="930"/>
                    <a:pt x="98" y="930"/>
                    <a:pt x="98" y="930"/>
                  </a:cubicBezTo>
                  <a:cubicBezTo>
                    <a:pt x="238" y="843"/>
                    <a:pt x="238" y="843"/>
                    <a:pt x="238" y="843"/>
                  </a:cubicBezTo>
                  <a:cubicBezTo>
                    <a:pt x="220" y="849"/>
                    <a:pt x="220" y="849"/>
                    <a:pt x="220" y="849"/>
                  </a:cubicBezTo>
                  <a:cubicBezTo>
                    <a:pt x="217" y="842"/>
                    <a:pt x="217" y="842"/>
                    <a:pt x="217" y="842"/>
                  </a:cubicBezTo>
                  <a:cubicBezTo>
                    <a:pt x="217" y="841"/>
                    <a:pt x="216" y="840"/>
                    <a:pt x="216" y="839"/>
                  </a:cubicBezTo>
                  <a:lnTo>
                    <a:pt x="79" y="926"/>
                  </a:lnTo>
                  <a:close/>
                  <a:moveTo>
                    <a:pt x="233" y="809"/>
                  </a:moveTo>
                  <a:cubicBezTo>
                    <a:pt x="244" y="825"/>
                    <a:pt x="244" y="825"/>
                    <a:pt x="244" y="825"/>
                  </a:cubicBezTo>
                  <a:cubicBezTo>
                    <a:pt x="229" y="784"/>
                    <a:pt x="217" y="742"/>
                    <a:pt x="210" y="698"/>
                  </a:cubicBezTo>
                  <a:cubicBezTo>
                    <a:pt x="209" y="717"/>
                    <a:pt x="209" y="717"/>
                    <a:pt x="209" y="717"/>
                  </a:cubicBezTo>
                  <a:cubicBezTo>
                    <a:pt x="199" y="716"/>
                    <a:pt x="199" y="716"/>
                    <a:pt x="199" y="716"/>
                  </a:cubicBezTo>
                  <a:cubicBezTo>
                    <a:pt x="205" y="750"/>
                    <a:pt x="214" y="783"/>
                    <a:pt x="225" y="814"/>
                  </a:cubicBezTo>
                  <a:lnTo>
                    <a:pt x="233" y="809"/>
                  </a:lnTo>
                  <a:close/>
                  <a:moveTo>
                    <a:pt x="1630" y="698"/>
                  </a:moveTo>
                  <a:cubicBezTo>
                    <a:pt x="1623" y="742"/>
                    <a:pt x="1611" y="784"/>
                    <a:pt x="1596" y="825"/>
                  </a:cubicBezTo>
                  <a:cubicBezTo>
                    <a:pt x="1607" y="809"/>
                    <a:pt x="1607" y="809"/>
                    <a:pt x="1607" y="809"/>
                  </a:cubicBezTo>
                  <a:cubicBezTo>
                    <a:pt x="1615" y="814"/>
                    <a:pt x="1615" y="814"/>
                    <a:pt x="1615" y="814"/>
                  </a:cubicBezTo>
                  <a:cubicBezTo>
                    <a:pt x="1626" y="783"/>
                    <a:pt x="1635" y="750"/>
                    <a:pt x="1641" y="716"/>
                  </a:cubicBezTo>
                  <a:cubicBezTo>
                    <a:pt x="1631" y="717"/>
                    <a:pt x="1631" y="717"/>
                    <a:pt x="1631" y="717"/>
                  </a:cubicBezTo>
                  <a:lnTo>
                    <a:pt x="1630" y="698"/>
                  </a:lnTo>
                  <a:close/>
                  <a:moveTo>
                    <a:pt x="1644" y="685"/>
                  </a:moveTo>
                  <a:cubicBezTo>
                    <a:pt x="1663" y="688"/>
                    <a:pt x="1663" y="688"/>
                    <a:pt x="1663" y="688"/>
                  </a:cubicBezTo>
                  <a:cubicBezTo>
                    <a:pt x="1661" y="696"/>
                    <a:pt x="1661" y="696"/>
                    <a:pt x="1661" y="696"/>
                  </a:cubicBezTo>
                  <a:cubicBezTo>
                    <a:pt x="1661" y="697"/>
                    <a:pt x="1661" y="698"/>
                    <a:pt x="1661" y="699"/>
                  </a:cubicBezTo>
                  <a:cubicBezTo>
                    <a:pt x="1823" y="693"/>
                    <a:pt x="1823" y="693"/>
                    <a:pt x="1823" y="693"/>
                  </a:cubicBezTo>
                  <a:cubicBezTo>
                    <a:pt x="1823" y="458"/>
                    <a:pt x="1823" y="458"/>
                    <a:pt x="1823" y="458"/>
                  </a:cubicBezTo>
                  <a:cubicBezTo>
                    <a:pt x="1661" y="452"/>
                    <a:pt x="1661" y="452"/>
                    <a:pt x="1661" y="452"/>
                  </a:cubicBezTo>
                  <a:cubicBezTo>
                    <a:pt x="1661" y="453"/>
                    <a:pt x="1661" y="454"/>
                    <a:pt x="1661" y="455"/>
                  </a:cubicBezTo>
                  <a:cubicBezTo>
                    <a:pt x="1663" y="463"/>
                    <a:pt x="1663" y="463"/>
                    <a:pt x="1663" y="463"/>
                  </a:cubicBezTo>
                  <a:cubicBezTo>
                    <a:pt x="1644" y="466"/>
                    <a:pt x="1644" y="466"/>
                    <a:pt x="1644" y="466"/>
                  </a:cubicBezTo>
                  <a:cubicBezTo>
                    <a:pt x="1809" y="472"/>
                    <a:pt x="1809" y="472"/>
                    <a:pt x="1809" y="472"/>
                  </a:cubicBezTo>
                  <a:cubicBezTo>
                    <a:pt x="1809" y="679"/>
                    <a:pt x="1809" y="679"/>
                    <a:pt x="1809" y="679"/>
                  </a:cubicBezTo>
                  <a:lnTo>
                    <a:pt x="1644" y="685"/>
                  </a:lnTo>
                  <a:close/>
                  <a:moveTo>
                    <a:pt x="17" y="693"/>
                  </a:moveTo>
                  <a:cubicBezTo>
                    <a:pt x="179" y="699"/>
                    <a:pt x="179" y="699"/>
                    <a:pt x="179" y="699"/>
                  </a:cubicBezTo>
                  <a:cubicBezTo>
                    <a:pt x="179" y="698"/>
                    <a:pt x="179" y="697"/>
                    <a:pt x="179" y="696"/>
                  </a:cubicBezTo>
                  <a:cubicBezTo>
                    <a:pt x="177" y="688"/>
                    <a:pt x="177" y="688"/>
                    <a:pt x="177" y="688"/>
                  </a:cubicBezTo>
                  <a:cubicBezTo>
                    <a:pt x="196" y="685"/>
                    <a:pt x="196" y="685"/>
                    <a:pt x="196" y="685"/>
                  </a:cubicBezTo>
                  <a:cubicBezTo>
                    <a:pt x="31" y="679"/>
                    <a:pt x="31" y="679"/>
                    <a:pt x="31" y="679"/>
                  </a:cubicBezTo>
                  <a:cubicBezTo>
                    <a:pt x="31" y="472"/>
                    <a:pt x="31" y="472"/>
                    <a:pt x="31" y="472"/>
                  </a:cubicBezTo>
                  <a:cubicBezTo>
                    <a:pt x="196" y="466"/>
                    <a:pt x="196" y="466"/>
                    <a:pt x="196" y="466"/>
                  </a:cubicBezTo>
                  <a:cubicBezTo>
                    <a:pt x="177" y="463"/>
                    <a:pt x="177" y="463"/>
                    <a:pt x="177" y="463"/>
                  </a:cubicBezTo>
                  <a:cubicBezTo>
                    <a:pt x="179" y="455"/>
                    <a:pt x="179" y="455"/>
                    <a:pt x="179" y="455"/>
                  </a:cubicBezTo>
                  <a:cubicBezTo>
                    <a:pt x="179" y="454"/>
                    <a:pt x="179" y="453"/>
                    <a:pt x="179" y="452"/>
                  </a:cubicBezTo>
                  <a:cubicBezTo>
                    <a:pt x="17" y="458"/>
                    <a:pt x="17" y="458"/>
                    <a:pt x="17" y="458"/>
                  </a:cubicBezTo>
                  <a:lnTo>
                    <a:pt x="17" y="693"/>
                  </a:lnTo>
                  <a:close/>
                  <a:moveTo>
                    <a:pt x="209" y="434"/>
                  </a:moveTo>
                  <a:cubicBezTo>
                    <a:pt x="210" y="453"/>
                    <a:pt x="210" y="453"/>
                    <a:pt x="210" y="453"/>
                  </a:cubicBezTo>
                  <a:cubicBezTo>
                    <a:pt x="217" y="409"/>
                    <a:pt x="229" y="367"/>
                    <a:pt x="244" y="326"/>
                  </a:cubicBezTo>
                  <a:cubicBezTo>
                    <a:pt x="233" y="342"/>
                    <a:pt x="233" y="342"/>
                    <a:pt x="233" y="342"/>
                  </a:cubicBezTo>
                  <a:cubicBezTo>
                    <a:pt x="225" y="337"/>
                    <a:pt x="225" y="337"/>
                    <a:pt x="225" y="337"/>
                  </a:cubicBezTo>
                  <a:cubicBezTo>
                    <a:pt x="214" y="368"/>
                    <a:pt x="206" y="401"/>
                    <a:pt x="199" y="435"/>
                  </a:cubicBezTo>
                  <a:lnTo>
                    <a:pt x="209" y="434"/>
                  </a:lnTo>
                  <a:close/>
                  <a:moveTo>
                    <a:pt x="1596" y="326"/>
                  </a:moveTo>
                  <a:cubicBezTo>
                    <a:pt x="1611" y="367"/>
                    <a:pt x="1623" y="409"/>
                    <a:pt x="1630" y="453"/>
                  </a:cubicBezTo>
                  <a:cubicBezTo>
                    <a:pt x="1631" y="434"/>
                    <a:pt x="1631" y="434"/>
                    <a:pt x="1631" y="434"/>
                  </a:cubicBezTo>
                  <a:cubicBezTo>
                    <a:pt x="1641" y="435"/>
                    <a:pt x="1641" y="435"/>
                    <a:pt x="1641" y="435"/>
                  </a:cubicBezTo>
                  <a:cubicBezTo>
                    <a:pt x="1635" y="401"/>
                    <a:pt x="1626" y="368"/>
                    <a:pt x="1615" y="337"/>
                  </a:cubicBezTo>
                  <a:cubicBezTo>
                    <a:pt x="1607" y="342"/>
                    <a:pt x="1607" y="342"/>
                    <a:pt x="1607" y="342"/>
                  </a:cubicBezTo>
                  <a:lnTo>
                    <a:pt x="1596" y="326"/>
                  </a:lnTo>
                  <a:close/>
                  <a:moveTo>
                    <a:pt x="1620" y="302"/>
                  </a:moveTo>
                  <a:cubicBezTo>
                    <a:pt x="1623" y="309"/>
                    <a:pt x="1623" y="309"/>
                    <a:pt x="1623" y="309"/>
                  </a:cubicBezTo>
                  <a:cubicBezTo>
                    <a:pt x="1623" y="310"/>
                    <a:pt x="1624" y="311"/>
                    <a:pt x="1624" y="312"/>
                  </a:cubicBezTo>
                  <a:cubicBezTo>
                    <a:pt x="1761" y="225"/>
                    <a:pt x="1761" y="225"/>
                    <a:pt x="1761" y="225"/>
                  </a:cubicBezTo>
                  <a:cubicBezTo>
                    <a:pt x="1644" y="22"/>
                    <a:pt x="1644" y="22"/>
                    <a:pt x="1644" y="22"/>
                  </a:cubicBezTo>
                  <a:cubicBezTo>
                    <a:pt x="1588" y="51"/>
                    <a:pt x="1588" y="51"/>
                    <a:pt x="1588" y="51"/>
                  </a:cubicBezTo>
                  <a:cubicBezTo>
                    <a:pt x="1587" y="68"/>
                    <a:pt x="1587" y="68"/>
                    <a:pt x="1587" y="68"/>
                  </a:cubicBezTo>
                  <a:cubicBezTo>
                    <a:pt x="1638" y="41"/>
                    <a:pt x="1638" y="41"/>
                    <a:pt x="1638" y="41"/>
                  </a:cubicBezTo>
                  <a:cubicBezTo>
                    <a:pt x="1742" y="221"/>
                    <a:pt x="1742" y="221"/>
                    <a:pt x="1742" y="221"/>
                  </a:cubicBezTo>
                  <a:cubicBezTo>
                    <a:pt x="1603" y="308"/>
                    <a:pt x="1603" y="308"/>
                    <a:pt x="1603" y="308"/>
                  </a:cubicBezTo>
                  <a:lnTo>
                    <a:pt x="1620" y="302"/>
                  </a:lnTo>
                  <a:close/>
                  <a:moveTo>
                    <a:pt x="79" y="225"/>
                  </a:moveTo>
                  <a:cubicBezTo>
                    <a:pt x="216" y="312"/>
                    <a:pt x="216" y="312"/>
                    <a:pt x="216" y="312"/>
                  </a:cubicBezTo>
                  <a:cubicBezTo>
                    <a:pt x="216" y="311"/>
                    <a:pt x="217" y="310"/>
                    <a:pt x="217" y="309"/>
                  </a:cubicBezTo>
                  <a:cubicBezTo>
                    <a:pt x="220" y="302"/>
                    <a:pt x="220" y="302"/>
                    <a:pt x="220" y="302"/>
                  </a:cubicBezTo>
                  <a:cubicBezTo>
                    <a:pt x="238" y="308"/>
                    <a:pt x="238" y="308"/>
                    <a:pt x="238" y="308"/>
                  </a:cubicBezTo>
                  <a:cubicBezTo>
                    <a:pt x="98" y="221"/>
                    <a:pt x="98" y="221"/>
                    <a:pt x="98" y="221"/>
                  </a:cubicBezTo>
                  <a:cubicBezTo>
                    <a:pt x="202" y="41"/>
                    <a:pt x="202" y="41"/>
                    <a:pt x="202" y="41"/>
                  </a:cubicBezTo>
                  <a:cubicBezTo>
                    <a:pt x="253" y="68"/>
                    <a:pt x="253" y="68"/>
                    <a:pt x="253" y="68"/>
                  </a:cubicBezTo>
                  <a:cubicBezTo>
                    <a:pt x="251" y="51"/>
                    <a:pt x="251" y="51"/>
                    <a:pt x="251" y="51"/>
                  </a:cubicBezTo>
                  <a:cubicBezTo>
                    <a:pt x="196" y="22"/>
                    <a:pt x="196" y="22"/>
                    <a:pt x="196" y="22"/>
                  </a:cubicBezTo>
                  <a:lnTo>
                    <a:pt x="79"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4" name="Freeform 75">
              <a:extLst>
                <a:ext uri="{FF2B5EF4-FFF2-40B4-BE49-F238E27FC236}">
                  <a16:creationId xmlns:a16="http://schemas.microsoft.com/office/drawing/2014/main" id="{29262673-3892-67B4-8879-979505A436F5}"/>
                </a:ext>
              </a:extLst>
            </p:cNvPr>
            <p:cNvSpPr>
              <a:spLocks/>
            </p:cNvSpPr>
            <p:nvPr/>
          </p:nvSpPr>
          <p:spPr bwMode="auto">
            <a:xfrm>
              <a:off x="2099" y="2506"/>
              <a:ext cx="6" cy="6"/>
            </a:xfrm>
            <a:custGeom>
              <a:avLst/>
              <a:gdLst>
                <a:gd name="T0" fmla="*/ 12 w 19"/>
                <a:gd name="T1" fmla="*/ 0 h 19"/>
                <a:gd name="T2" fmla="*/ 0 w 19"/>
                <a:gd name="T3" fmla="*/ 10 h 19"/>
                <a:gd name="T4" fmla="*/ 8 w 19"/>
                <a:gd name="T5" fmla="*/ 19 h 19"/>
                <a:gd name="T6" fmla="*/ 19 w 19"/>
                <a:gd name="T7" fmla="*/ 14 h 19"/>
                <a:gd name="T8" fmla="*/ 12 w 19"/>
                <a:gd name="T9" fmla="*/ 0 h 19"/>
              </a:gdLst>
              <a:ahLst/>
              <a:cxnLst>
                <a:cxn ang="0">
                  <a:pos x="T0" y="T1"/>
                </a:cxn>
                <a:cxn ang="0">
                  <a:pos x="T2" y="T3"/>
                </a:cxn>
                <a:cxn ang="0">
                  <a:pos x="T4" y="T5"/>
                </a:cxn>
                <a:cxn ang="0">
                  <a:pos x="T6" y="T7"/>
                </a:cxn>
                <a:cxn ang="0">
                  <a:pos x="T8" y="T9"/>
                </a:cxn>
              </a:cxnLst>
              <a:rect l="0" t="0" r="r" b="b"/>
              <a:pathLst>
                <a:path w="19" h="19">
                  <a:moveTo>
                    <a:pt x="12" y="0"/>
                  </a:moveTo>
                  <a:cubicBezTo>
                    <a:pt x="0" y="10"/>
                    <a:pt x="0" y="10"/>
                    <a:pt x="0" y="10"/>
                  </a:cubicBezTo>
                  <a:cubicBezTo>
                    <a:pt x="3" y="13"/>
                    <a:pt x="5" y="16"/>
                    <a:pt x="8" y="19"/>
                  </a:cubicBezTo>
                  <a:cubicBezTo>
                    <a:pt x="19" y="14"/>
                    <a:pt x="19" y="14"/>
                    <a:pt x="19" y="14"/>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5" name="Freeform 76">
              <a:extLst>
                <a:ext uri="{FF2B5EF4-FFF2-40B4-BE49-F238E27FC236}">
                  <a16:creationId xmlns:a16="http://schemas.microsoft.com/office/drawing/2014/main" id="{09FD9A98-CBDF-2330-214D-C663FD2DFABB}"/>
                </a:ext>
              </a:extLst>
            </p:cNvPr>
            <p:cNvSpPr>
              <a:spLocks/>
            </p:cNvSpPr>
            <p:nvPr/>
          </p:nvSpPr>
          <p:spPr bwMode="auto">
            <a:xfrm>
              <a:off x="2521" y="2395"/>
              <a:ext cx="5" cy="5"/>
            </a:xfrm>
            <a:custGeom>
              <a:avLst/>
              <a:gdLst>
                <a:gd name="T0" fmla="*/ 0 w 15"/>
                <a:gd name="T1" fmla="*/ 0 h 15"/>
                <a:gd name="T2" fmla="*/ 1 w 15"/>
                <a:gd name="T3" fmla="*/ 15 h 15"/>
                <a:gd name="T4" fmla="*/ 13 w 15"/>
                <a:gd name="T5" fmla="*/ 15 h 15"/>
                <a:gd name="T6" fmla="*/ 15 w 15"/>
                <a:gd name="T7" fmla="*/ 2 h 15"/>
                <a:gd name="T8" fmla="*/ 0 w 15"/>
                <a:gd name="T9" fmla="*/ 0 h 15"/>
              </a:gdLst>
              <a:ahLst/>
              <a:cxnLst>
                <a:cxn ang="0">
                  <a:pos x="T0" y="T1"/>
                </a:cxn>
                <a:cxn ang="0">
                  <a:pos x="T2" y="T3"/>
                </a:cxn>
                <a:cxn ang="0">
                  <a:pos x="T4" y="T5"/>
                </a:cxn>
                <a:cxn ang="0">
                  <a:pos x="T6" y="T7"/>
                </a:cxn>
                <a:cxn ang="0">
                  <a:pos x="T8" y="T9"/>
                </a:cxn>
              </a:cxnLst>
              <a:rect l="0" t="0" r="r" b="b"/>
              <a:pathLst>
                <a:path w="15" h="15">
                  <a:moveTo>
                    <a:pt x="0" y="0"/>
                  </a:moveTo>
                  <a:cubicBezTo>
                    <a:pt x="1" y="15"/>
                    <a:pt x="1" y="15"/>
                    <a:pt x="1" y="15"/>
                  </a:cubicBezTo>
                  <a:cubicBezTo>
                    <a:pt x="13" y="15"/>
                    <a:pt x="13" y="15"/>
                    <a:pt x="13" y="15"/>
                  </a:cubicBezTo>
                  <a:cubicBezTo>
                    <a:pt x="14" y="10"/>
                    <a:pt x="15" y="6"/>
                    <a:pt x="15" y="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6" name="Freeform 77">
              <a:extLst>
                <a:ext uri="{FF2B5EF4-FFF2-40B4-BE49-F238E27FC236}">
                  <a16:creationId xmlns:a16="http://schemas.microsoft.com/office/drawing/2014/main" id="{1A249BD8-CE4E-6109-B18E-6F498A557107}"/>
                </a:ext>
              </a:extLst>
            </p:cNvPr>
            <p:cNvSpPr>
              <a:spLocks/>
            </p:cNvSpPr>
            <p:nvPr/>
          </p:nvSpPr>
          <p:spPr bwMode="auto">
            <a:xfrm>
              <a:off x="2059" y="2436"/>
              <a:ext cx="6" cy="6"/>
            </a:xfrm>
            <a:custGeom>
              <a:avLst/>
              <a:gdLst>
                <a:gd name="T0" fmla="*/ 18 w 18"/>
                <a:gd name="T1" fmla="*/ 13 h 19"/>
                <a:gd name="T2" fmla="*/ 10 w 18"/>
                <a:gd name="T3" fmla="*/ 0 h 19"/>
                <a:gd name="T4" fmla="*/ 0 w 18"/>
                <a:gd name="T5" fmla="*/ 7 h 19"/>
                <a:gd name="T6" fmla="*/ 4 w 18"/>
                <a:gd name="T7" fmla="*/ 19 h 19"/>
                <a:gd name="T8" fmla="*/ 18 w 18"/>
                <a:gd name="T9" fmla="*/ 13 h 19"/>
              </a:gdLst>
              <a:ahLst/>
              <a:cxnLst>
                <a:cxn ang="0">
                  <a:pos x="T0" y="T1"/>
                </a:cxn>
                <a:cxn ang="0">
                  <a:pos x="T2" y="T3"/>
                </a:cxn>
                <a:cxn ang="0">
                  <a:pos x="T4" y="T5"/>
                </a:cxn>
                <a:cxn ang="0">
                  <a:pos x="T6" y="T7"/>
                </a:cxn>
                <a:cxn ang="0">
                  <a:pos x="T8" y="T9"/>
                </a:cxn>
              </a:cxnLst>
              <a:rect l="0" t="0" r="r" b="b"/>
              <a:pathLst>
                <a:path w="18" h="19">
                  <a:moveTo>
                    <a:pt x="18" y="13"/>
                  </a:moveTo>
                  <a:cubicBezTo>
                    <a:pt x="10" y="0"/>
                    <a:pt x="10" y="0"/>
                    <a:pt x="10" y="0"/>
                  </a:cubicBezTo>
                  <a:cubicBezTo>
                    <a:pt x="0" y="7"/>
                    <a:pt x="0" y="7"/>
                    <a:pt x="0" y="7"/>
                  </a:cubicBezTo>
                  <a:cubicBezTo>
                    <a:pt x="1" y="11"/>
                    <a:pt x="2" y="15"/>
                    <a:pt x="4" y="19"/>
                  </a:cubicBezTo>
                  <a:lnTo>
                    <a:pt x="1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7" name="Freeform 78">
              <a:extLst>
                <a:ext uri="{FF2B5EF4-FFF2-40B4-BE49-F238E27FC236}">
                  <a16:creationId xmlns:a16="http://schemas.microsoft.com/office/drawing/2014/main" id="{F98E0011-3258-3342-F001-B4499B520157}"/>
                </a:ext>
              </a:extLst>
            </p:cNvPr>
            <p:cNvSpPr>
              <a:spLocks/>
            </p:cNvSpPr>
            <p:nvPr/>
          </p:nvSpPr>
          <p:spPr bwMode="auto">
            <a:xfrm>
              <a:off x="2243" y="2590"/>
              <a:ext cx="6" cy="5"/>
            </a:xfrm>
            <a:custGeom>
              <a:avLst/>
              <a:gdLst>
                <a:gd name="T0" fmla="*/ 16 w 16"/>
                <a:gd name="T1" fmla="*/ 0 h 15"/>
                <a:gd name="T2" fmla="*/ 0 w 16"/>
                <a:gd name="T3" fmla="*/ 0 h 15"/>
                <a:gd name="T4" fmla="*/ 1 w 16"/>
                <a:gd name="T5" fmla="*/ 12 h 15"/>
                <a:gd name="T6" fmla="*/ 13 w 16"/>
                <a:gd name="T7" fmla="*/ 15 h 15"/>
                <a:gd name="T8" fmla="*/ 16 w 16"/>
                <a:gd name="T9" fmla="*/ 0 h 15"/>
              </a:gdLst>
              <a:ahLst/>
              <a:cxnLst>
                <a:cxn ang="0">
                  <a:pos x="T0" y="T1"/>
                </a:cxn>
                <a:cxn ang="0">
                  <a:pos x="T2" y="T3"/>
                </a:cxn>
                <a:cxn ang="0">
                  <a:pos x="T4" y="T5"/>
                </a:cxn>
                <a:cxn ang="0">
                  <a:pos x="T6" y="T7"/>
                </a:cxn>
                <a:cxn ang="0">
                  <a:pos x="T8" y="T9"/>
                </a:cxn>
              </a:cxnLst>
              <a:rect l="0" t="0" r="r" b="b"/>
              <a:pathLst>
                <a:path w="16" h="15">
                  <a:moveTo>
                    <a:pt x="16" y="0"/>
                  </a:moveTo>
                  <a:cubicBezTo>
                    <a:pt x="0" y="0"/>
                    <a:pt x="0" y="0"/>
                    <a:pt x="0" y="0"/>
                  </a:cubicBezTo>
                  <a:cubicBezTo>
                    <a:pt x="1" y="12"/>
                    <a:pt x="1" y="12"/>
                    <a:pt x="1" y="12"/>
                  </a:cubicBezTo>
                  <a:cubicBezTo>
                    <a:pt x="5" y="13"/>
                    <a:pt x="9" y="14"/>
                    <a:pt x="13" y="15"/>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8" name="Freeform 79">
              <a:extLst>
                <a:ext uri="{FF2B5EF4-FFF2-40B4-BE49-F238E27FC236}">
                  <a16:creationId xmlns:a16="http://schemas.microsoft.com/office/drawing/2014/main" id="{A5BAC735-AA6E-26BD-07DB-ACBBF40B8CC0}"/>
                </a:ext>
              </a:extLst>
            </p:cNvPr>
            <p:cNvSpPr>
              <a:spLocks/>
            </p:cNvSpPr>
            <p:nvPr/>
          </p:nvSpPr>
          <p:spPr bwMode="auto">
            <a:xfrm>
              <a:off x="2048" y="2395"/>
              <a:ext cx="5" cy="5"/>
            </a:xfrm>
            <a:custGeom>
              <a:avLst/>
              <a:gdLst>
                <a:gd name="T0" fmla="*/ 15 w 15"/>
                <a:gd name="T1" fmla="*/ 0 h 15"/>
                <a:gd name="T2" fmla="*/ 0 w 15"/>
                <a:gd name="T3" fmla="*/ 2 h 15"/>
                <a:gd name="T4" fmla="*/ 2 w 15"/>
                <a:gd name="T5" fmla="*/ 15 h 15"/>
                <a:gd name="T6" fmla="*/ 14 w 15"/>
                <a:gd name="T7" fmla="*/ 15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cubicBezTo>
                    <a:pt x="0" y="2"/>
                    <a:pt x="0" y="2"/>
                    <a:pt x="0" y="2"/>
                  </a:cubicBezTo>
                  <a:cubicBezTo>
                    <a:pt x="0" y="6"/>
                    <a:pt x="1" y="10"/>
                    <a:pt x="2" y="15"/>
                  </a:cubicBezTo>
                  <a:cubicBezTo>
                    <a:pt x="14" y="15"/>
                    <a:pt x="14" y="15"/>
                    <a:pt x="14" y="15"/>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69" name="Freeform 80">
              <a:extLst>
                <a:ext uri="{FF2B5EF4-FFF2-40B4-BE49-F238E27FC236}">
                  <a16:creationId xmlns:a16="http://schemas.microsoft.com/office/drawing/2014/main" id="{82DE5676-FC9A-F357-E8A2-3E12B4BD12E4}"/>
                </a:ext>
              </a:extLst>
            </p:cNvPr>
            <p:cNvSpPr>
              <a:spLocks noEditPoints="1"/>
            </p:cNvSpPr>
            <p:nvPr/>
          </p:nvSpPr>
          <p:spPr bwMode="auto">
            <a:xfrm>
              <a:off x="2240" y="1923"/>
              <a:ext cx="93" cy="92"/>
            </a:xfrm>
            <a:custGeom>
              <a:avLst/>
              <a:gdLst>
                <a:gd name="T0" fmla="*/ 142 w 284"/>
                <a:gd name="T1" fmla="*/ 284 h 284"/>
                <a:gd name="T2" fmla="*/ 284 w 284"/>
                <a:gd name="T3" fmla="*/ 142 h 284"/>
                <a:gd name="T4" fmla="*/ 142 w 284"/>
                <a:gd name="T5" fmla="*/ 0 h 284"/>
                <a:gd name="T6" fmla="*/ 0 w 284"/>
                <a:gd name="T7" fmla="*/ 142 h 284"/>
                <a:gd name="T8" fmla="*/ 142 w 284"/>
                <a:gd name="T9" fmla="*/ 284 h 284"/>
                <a:gd name="T10" fmla="*/ 142 w 284"/>
                <a:gd name="T11" fmla="*/ 31 h 284"/>
                <a:gd name="T12" fmla="*/ 253 w 284"/>
                <a:gd name="T13" fmla="*/ 142 h 284"/>
                <a:gd name="T14" fmla="*/ 142 w 284"/>
                <a:gd name="T15" fmla="*/ 254 h 284"/>
                <a:gd name="T16" fmla="*/ 31 w 284"/>
                <a:gd name="T17" fmla="*/ 142 h 284"/>
                <a:gd name="T18" fmla="*/ 142 w 284"/>
                <a:gd name="T19" fmla="*/ 31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284">
                  <a:moveTo>
                    <a:pt x="142" y="284"/>
                  </a:moveTo>
                  <a:cubicBezTo>
                    <a:pt x="220" y="284"/>
                    <a:pt x="284" y="221"/>
                    <a:pt x="284" y="142"/>
                  </a:cubicBezTo>
                  <a:cubicBezTo>
                    <a:pt x="284" y="64"/>
                    <a:pt x="220" y="0"/>
                    <a:pt x="142" y="0"/>
                  </a:cubicBezTo>
                  <a:cubicBezTo>
                    <a:pt x="64" y="0"/>
                    <a:pt x="0" y="64"/>
                    <a:pt x="0" y="142"/>
                  </a:cubicBezTo>
                  <a:cubicBezTo>
                    <a:pt x="0" y="221"/>
                    <a:pt x="64" y="284"/>
                    <a:pt x="142" y="284"/>
                  </a:cubicBezTo>
                  <a:close/>
                  <a:moveTo>
                    <a:pt x="142" y="31"/>
                  </a:moveTo>
                  <a:cubicBezTo>
                    <a:pt x="203" y="31"/>
                    <a:pt x="253" y="81"/>
                    <a:pt x="253" y="142"/>
                  </a:cubicBezTo>
                  <a:cubicBezTo>
                    <a:pt x="253" y="204"/>
                    <a:pt x="203" y="254"/>
                    <a:pt x="142" y="254"/>
                  </a:cubicBezTo>
                  <a:cubicBezTo>
                    <a:pt x="81" y="254"/>
                    <a:pt x="31" y="204"/>
                    <a:pt x="31" y="142"/>
                  </a:cubicBezTo>
                  <a:cubicBezTo>
                    <a:pt x="31" y="81"/>
                    <a:pt x="81" y="31"/>
                    <a:pt x="14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0" name="Freeform 81">
              <a:extLst>
                <a:ext uri="{FF2B5EF4-FFF2-40B4-BE49-F238E27FC236}">
                  <a16:creationId xmlns:a16="http://schemas.microsoft.com/office/drawing/2014/main" id="{EE4C47A1-57F8-5BBA-E1E0-2881B9B7E99F}"/>
                </a:ext>
              </a:extLst>
            </p:cNvPr>
            <p:cNvSpPr>
              <a:spLocks noEditPoints="1"/>
            </p:cNvSpPr>
            <p:nvPr/>
          </p:nvSpPr>
          <p:spPr bwMode="auto">
            <a:xfrm>
              <a:off x="2238" y="1920"/>
              <a:ext cx="98" cy="98"/>
            </a:xfrm>
            <a:custGeom>
              <a:avLst/>
              <a:gdLst>
                <a:gd name="T0" fmla="*/ 150 w 301"/>
                <a:gd name="T1" fmla="*/ 301 h 301"/>
                <a:gd name="T2" fmla="*/ 0 w 301"/>
                <a:gd name="T3" fmla="*/ 150 h 301"/>
                <a:gd name="T4" fmla="*/ 150 w 301"/>
                <a:gd name="T5" fmla="*/ 0 h 301"/>
                <a:gd name="T6" fmla="*/ 301 w 301"/>
                <a:gd name="T7" fmla="*/ 150 h 301"/>
                <a:gd name="T8" fmla="*/ 150 w 301"/>
                <a:gd name="T9" fmla="*/ 301 h 301"/>
                <a:gd name="T10" fmla="*/ 150 w 301"/>
                <a:gd name="T11" fmla="*/ 16 h 301"/>
                <a:gd name="T12" fmla="*/ 16 w 301"/>
                <a:gd name="T13" fmla="*/ 150 h 301"/>
                <a:gd name="T14" fmla="*/ 150 w 301"/>
                <a:gd name="T15" fmla="*/ 284 h 301"/>
                <a:gd name="T16" fmla="*/ 284 w 301"/>
                <a:gd name="T17" fmla="*/ 150 h 301"/>
                <a:gd name="T18" fmla="*/ 150 w 301"/>
                <a:gd name="T19" fmla="*/ 16 h 301"/>
                <a:gd name="T20" fmla="*/ 150 w 301"/>
                <a:gd name="T21" fmla="*/ 270 h 301"/>
                <a:gd name="T22" fmla="*/ 30 w 301"/>
                <a:gd name="T23" fmla="*/ 150 h 301"/>
                <a:gd name="T24" fmla="*/ 150 w 301"/>
                <a:gd name="T25" fmla="*/ 31 h 301"/>
                <a:gd name="T26" fmla="*/ 270 w 301"/>
                <a:gd name="T27" fmla="*/ 150 h 301"/>
                <a:gd name="T28" fmla="*/ 150 w 301"/>
                <a:gd name="T29" fmla="*/ 270 h 301"/>
                <a:gd name="T30" fmla="*/ 150 w 301"/>
                <a:gd name="T31" fmla="*/ 47 h 301"/>
                <a:gd name="T32" fmla="*/ 47 w 301"/>
                <a:gd name="T33" fmla="*/ 150 h 301"/>
                <a:gd name="T34" fmla="*/ 150 w 301"/>
                <a:gd name="T35" fmla="*/ 253 h 301"/>
                <a:gd name="T36" fmla="*/ 253 w 301"/>
                <a:gd name="T37" fmla="*/ 150 h 301"/>
                <a:gd name="T38" fmla="*/ 150 w 301"/>
                <a:gd name="T39" fmla="*/ 4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1" h="301">
                  <a:moveTo>
                    <a:pt x="150" y="301"/>
                  </a:moveTo>
                  <a:cubicBezTo>
                    <a:pt x="67" y="301"/>
                    <a:pt x="0" y="233"/>
                    <a:pt x="0" y="150"/>
                  </a:cubicBezTo>
                  <a:cubicBezTo>
                    <a:pt x="0" y="67"/>
                    <a:pt x="67" y="0"/>
                    <a:pt x="150" y="0"/>
                  </a:cubicBezTo>
                  <a:cubicBezTo>
                    <a:pt x="233" y="0"/>
                    <a:pt x="301" y="67"/>
                    <a:pt x="301" y="150"/>
                  </a:cubicBezTo>
                  <a:cubicBezTo>
                    <a:pt x="301" y="233"/>
                    <a:pt x="233" y="301"/>
                    <a:pt x="150" y="301"/>
                  </a:cubicBezTo>
                  <a:close/>
                  <a:moveTo>
                    <a:pt x="150" y="16"/>
                  </a:moveTo>
                  <a:cubicBezTo>
                    <a:pt x="76" y="16"/>
                    <a:pt x="16" y="76"/>
                    <a:pt x="16" y="150"/>
                  </a:cubicBezTo>
                  <a:cubicBezTo>
                    <a:pt x="16" y="224"/>
                    <a:pt x="76" y="284"/>
                    <a:pt x="150" y="284"/>
                  </a:cubicBezTo>
                  <a:cubicBezTo>
                    <a:pt x="224" y="284"/>
                    <a:pt x="284" y="224"/>
                    <a:pt x="284" y="150"/>
                  </a:cubicBezTo>
                  <a:cubicBezTo>
                    <a:pt x="284" y="76"/>
                    <a:pt x="224" y="16"/>
                    <a:pt x="150" y="16"/>
                  </a:cubicBezTo>
                  <a:close/>
                  <a:moveTo>
                    <a:pt x="150" y="270"/>
                  </a:moveTo>
                  <a:cubicBezTo>
                    <a:pt x="84" y="270"/>
                    <a:pt x="30" y="216"/>
                    <a:pt x="30" y="150"/>
                  </a:cubicBezTo>
                  <a:cubicBezTo>
                    <a:pt x="30" y="84"/>
                    <a:pt x="84" y="31"/>
                    <a:pt x="150" y="31"/>
                  </a:cubicBezTo>
                  <a:cubicBezTo>
                    <a:pt x="216" y="31"/>
                    <a:pt x="270" y="84"/>
                    <a:pt x="270" y="150"/>
                  </a:cubicBezTo>
                  <a:cubicBezTo>
                    <a:pt x="270" y="216"/>
                    <a:pt x="216" y="270"/>
                    <a:pt x="150" y="270"/>
                  </a:cubicBezTo>
                  <a:close/>
                  <a:moveTo>
                    <a:pt x="150" y="47"/>
                  </a:moveTo>
                  <a:cubicBezTo>
                    <a:pt x="93" y="47"/>
                    <a:pt x="47" y="93"/>
                    <a:pt x="47" y="150"/>
                  </a:cubicBezTo>
                  <a:cubicBezTo>
                    <a:pt x="47" y="207"/>
                    <a:pt x="93" y="253"/>
                    <a:pt x="150" y="253"/>
                  </a:cubicBezTo>
                  <a:cubicBezTo>
                    <a:pt x="207" y="253"/>
                    <a:pt x="253" y="207"/>
                    <a:pt x="253" y="150"/>
                  </a:cubicBezTo>
                  <a:cubicBezTo>
                    <a:pt x="253" y="93"/>
                    <a:pt x="207"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1" name="Freeform 82">
              <a:extLst>
                <a:ext uri="{FF2B5EF4-FFF2-40B4-BE49-F238E27FC236}">
                  <a16:creationId xmlns:a16="http://schemas.microsoft.com/office/drawing/2014/main" id="{49E601A4-3E1C-DEA1-E451-871063BE0FE5}"/>
                </a:ext>
              </a:extLst>
            </p:cNvPr>
            <p:cNvSpPr>
              <a:spLocks/>
            </p:cNvSpPr>
            <p:nvPr/>
          </p:nvSpPr>
          <p:spPr bwMode="auto">
            <a:xfrm>
              <a:off x="2231" y="2202"/>
              <a:ext cx="30" cy="195"/>
            </a:xfrm>
            <a:custGeom>
              <a:avLst/>
              <a:gdLst>
                <a:gd name="T0" fmla="*/ 11 w 30"/>
                <a:gd name="T1" fmla="*/ 8 h 195"/>
                <a:gd name="T2" fmla="*/ 10 w 30"/>
                <a:gd name="T3" fmla="*/ 0 h 195"/>
                <a:gd name="T4" fmla="*/ 0 w 30"/>
                <a:gd name="T5" fmla="*/ 1 h 195"/>
                <a:gd name="T6" fmla="*/ 1 w 30"/>
                <a:gd name="T7" fmla="*/ 11 h 195"/>
                <a:gd name="T8" fmla="*/ 3 w 30"/>
                <a:gd name="T9" fmla="*/ 22 h 195"/>
                <a:gd name="T10" fmla="*/ 12 w 30"/>
                <a:gd name="T11" fmla="*/ 35 h 195"/>
                <a:gd name="T12" fmla="*/ 5 w 30"/>
                <a:gd name="T13" fmla="*/ 41 h 195"/>
                <a:gd name="T14" fmla="*/ 4 w 30"/>
                <a:gd name="T15" fmla="*/ 40 h 195"/>
                <a:gd name="T16" fmla="*/ 20 w 30"/>
                <a:gd name="T17" fmla="*/ 195 h 195"/>
                <a:gd name="T18" fmla="*/ 30 w 30"/>
                <a:gd name="T19" fmla="*/ 195 h 195"/>
                <a:gd name="T20" fmla="*/ 11 w 30"/>
                <a:gd name="T21"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95">
                  <a:moveTo>
                    <a:pt x="11" y="8"/>
                  </a:moveTo>
                  <a:lnTo>
                    <a:pt x="10" y="0"/>
                  </a:lnTo>
                  <a:lnTo>
                    <a:pt x="0" y="1"/>
                  </a:lnTo>
                  <a:lnTo>
                    <a:pt x="1" y="11"/>
                  </a:lnTo>
                  <a:lnTo>
                    <a:pt x="3" y="22"/>
                  </a:lnTo>
                  <a:lnTo>
                    <a:pt x="12" y="35"/>
                  </a:lnTo>
                  <a:lnTo>
                    <a:pt x="5" y="41"/>
                  </a:lnTo>
                  <a:lnTo>
                    <a:pt x="4" y="40"/>
                  </a:lnTo>
                  <a:lnTo>
                    <a:pt x="20" y="195"/>
                  </a:lnTo>
                  <a:lnTo>
                    <a:pt x="30" y="195"/>
                  </a:lnTo>
                  <a:lnTo>
                    <a:pt x="1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2" name="Freeform 83">
              <a:extLst>
                <a:ext uri="{FF2B5EF4-FFF2-40B4-BE49-F238E27FC236}">
                  <a16:creationId xmlns:a16="http://schemas.microsoft.com/office/drawing/2014/main" id="{6E024234-A3E8-B492-A474-04B5FAF7E84E}"/>
                </a:ext>
              </a:extLst>
            </p:cNvPr>
            <p:cNvSpPr>
              <a:spLocks noEditPoints="1"/>
            </p:cNvSpPr>
            <p:nvPr/>
          </p:nvSpPr>
          <p:spPr bwMode="auto">
            <a:xfrm>
              <a:off x="2228" y="2199"/>
              <a:ext cx="36" cy="200"/>
            </a:xfrm>
            <a:custGeom>
              <a:avLst/>
              <a:gdLst>
                <a:gd name="T0" fmla="*/ 36 w 36"/>
                <a:gd name="T1" fmla="*/ 200 h 200"/>
                <a:gd name="T2" fmla="*/ 21 w 36"/>
                <a:gd name="T3" fmla="*/ 200 h 200"/>
                <a:gd name="T4" fmla="*/ 4 w 36"/>
                <a:gd name="T5" fmla="*/ 34 h 200"/>
                <a:gd name="T6" fmla="*/ 8 w 36"/>
                <a:gd name="T7" fmla="*/ 40 h 200"/>
                <a:gd name="T8" fmla="*/ 11 w 36"/>
                <a:gd name="T9" fmla="*/ 38 h 200"/>
                <a:gd name="T10" fmla="*/ 3 w 36"/>
                <a:gd name="T11" fmla="*/ 27 h 200"/>
                <a:gd name="T12" fmla="*/ 0 w 36"/>
                <a:gd name="T13" fmla="*/ 1 h 200"/>
                <a:gd name="T14" fmla="*/ 16 w 36"/>
                <a:gd name="T15" fmla="*/ 0 h 200"/>
                <a:gd name="T16" fmla="*/ 36 w 36"/>
                <a:gd name="T17" fmla="*/ 200 h 200"/>
                <a:gd name="T18" fmla="*/ 26 w 36"/>
                <a:gd name="T19" fmla="*/ 195 h 200"/>
                <a:gd name="T20" fmla="*/ 30 w 36"/>
                <a:gd name="T21" fmla="*/ 195 h 200"/>
                <a:gd name="T22" fmla="*/ 14 w 36"/>
                <a:gd name="T23" fmla="*/ 42 h 200"/>
                <a:gd name="T24" fmla="*/ 10 w 36"/>
                <a:gd name="T25" fmla="*/ 45 h 200"/>
                <a:gd name="T26" fmla="*/ 26 w 36"/>
                <a:gd name="T27" fmla="*/ 195 h 200"/>
                <a:gd name="T28" fmla="*/ 8 w 36"/>
                <a:gd name="T29" fmla="*/ 24 h 200"/>
                <a:gd name="T30" fmla="*/ 13 w 36"/>
                <a:gd name="T31" fmla="*/ 32 h 200"/>
                <a:gd name="T32" fmla="*/ 11 w 36"/>
                <a:gd name="T33" fmla="*/ 6 h 200"/>
                <a:gd name="T34" fmla="*/ 6 w 36"/>
                <a:gd name="T35" fmla="*/ 6 h 200"/>
                <a:gd name="T36" fmla="*/ 8 w 36"/>
                <a:gd name="T37" fmla="*/ 2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0">
                  <a:moveTo>
                    <a:pt x="36" y="200"/>
                  </a:moveTo>
                  <a:lnTo>
                    <a:pt x="21" y="200"/>
                  </a:lnTo>
                  <a:lnTo>
                    <a:pt x="4" y="34"/>
                  </a:lnTo>
                  <a:lnTo>
                    <a:pt x="8" y="40"/>
                  </a:lnTo>
                  <a:lnTo>
                    <a:pt x="11" y="38"/>
                  </a:lnTo>
                  <a:lnTo>
                    <a:pt x="3" y="27"/>
                  </a:lnTo>
                  <a:lnTo>
                    <a:pt x="0" y="1"/>
                  </a:lnTo>
                  <a:lnTo>
                    <a:pt x="16" y="0"/>
                  </a:lnTo>
                  <a:lnTo>
                    <a:pt x="36" y="200"/>
                  </a:lnTo>
                  <a:close/>
                  <a:moveTo>
                    <a:pt x="26" y="195"/>
                  </a:moveTo>
                  <a:lnTo>
                    <a:pt x="30" y="195"/>
                  </a:lnTo>
                  <a:lnTo>
                    <a:pt x="14" y="42"/>
                  </a:lnTo>
                  <a:lnTo>
                    <a:pt x="10" y="45"/>
                  </a:lnTo>
                  <a:lnTo>
                    <a:pt x="26" y="195"/>
                  </a:lnTo>
                  <a:close/>
                  <a:moveTo>
                    <a:pt x="8" y="24"/>
                  </a:moveTo>
                  <a:lnTo>
                    <a:pt x="13" y="32"/>
                  </a:lnTo>
                  <a:lnTo>
                    <a:pt x="11" y="6"/>
                  </a:lnTo>
                  <a:lnTo>
                    <a:pt x="6" y="6"/>
                  </a:ln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3" name="Freeform 84">
              <a:extLst>
                <a:ext uri="{FF2B5EF4-FFF2-40B4-BE49-F238E27FC236}">
                  <a16:creationId xmlns:a16="http://schemas.microsoft.com/office/drawing/2014/main" id="{E36A8BBE-5F49-697A-6CC7-8DEB3D8C9C5B}"/>
                </a:ext>
              </a:extLst>
            </p:cNvPr>
            <p:cNvSpPr>
              <a:spLocks/>
            </p:cNvSpPr>
            <p:nvPr/>
          </p:nvSpPr>
          <p:spPr bwMode="auto">
            <a:xfrm>
              <a:off x="2315" y="2202"/>
              <a:ext cx="27" cy="195"/>
            </a:xfrm>
            <a:custGeom>
              <a:avLst/>
              <a:gdLst>
                <a:gd name="T0" fmla="*/ 17 w 27"/>
                <a:gd name="T1" fmla="*/ 0 h 195"/>
                <a:gd name="T2" fmla="*/ 17 w 27"/>
                <a:gd name="T3" fmla="*/ 8 h 195"/>
                <a:gd name="T4" fmla="*/ 0 w 27"/>
                <a:gd name="T5" fmla="*/ 195 h 195"/>
                <a:gd name="T6" fmla="*/ 10 w 27"/>
                <a:gd name="T7" fmla="*/ 195 h 195"/>
                <a:gd name="T8" fmla="*/ 24 w 27"/>
                <a:gd name="T9" fmla="*/ 41 h 195"/>
                <a:gd name="T10" fmla="*/ 16 w 27"/>
                <a:gd name="T11" fmla="*/ 35 h 195"/>
                <a:gd name="T12" fmla="*/ 25 w 27"/>
                <a:gd name="T13" fmla="*/ 23 h 195"/>
                <a:gd name="T14" fmla="*/ 26 w 27"/>
                <a:gd name="T15" fmla="*/ 11 h 195"/>
                <a:gd name="T16" fmla="*/ 27 w 27"/>
                <a:gd name="T17" fmla="*/ 1 h 195"/>
                <a:gd name="T18" fmla="*/ 17 w 27"/>
                <a:gd name="T1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95">
                  <a:moveTo>
                    <a:pt x="17" y="0"/>
                  </a:moveTo>
                  <a:lnTo>
                    <a:pt x="17" y="8"/>
                  </a:lnTo>
                  <a:lnTo>
                    <a:pt x="0" y="195"/>
                  </a:lnTo>
                  <a:lnTo>
                    <a:pt x="10" y="195"/>
                  </a:lnTo>
                  <a:lnTo>
                    <a:pt x="24" y="41"/>
                  </a:lnTo>
                  <a:lnTo>
                    <a:pt x="16" y="35"/>
                  </a:lnTo>
                  <a:lnTo>
                    <a:pt x="25" y="23"/>
                  </a:lnTo>
                  <a:lnTo>
                    <a:pt x="26" y="11"/>
                  </a:lnTo>
                  <a:lnTo>
                    <a:pt x="27" y="1"/>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4" name="Freeform 85">
              <a:extLst>
                <a:ext uri="{FF2B5EF4-FFF2-40B4-BE49-F238E27FC236}">
                  <a16:creationId xmlns:a16="http://schemas.microsoft.com/office/drawing/2014/main" id="{37A106F7-8FB9-F779-47EF-80AF18D4F329}"/>
                </a:ext>
              </a:extLst>
            </p:cNvPr>
            <p:cNvSpPr>
              <a:spLocks noEditPoints="1"/>
            </p:cNvSpPr>
            <p:nvPr/>
          </p:nvSpPr>
          <p:spPr bwMode="auto">
            <a:xfrm>
              <a:off x="2312" y="2199"/>
              <a:ext cx="33" cy="200"/>
            </a:xfrm>
            <a:custGeom>
              <a:avLst/>
              <a:gdLst>
                <a:gd name="T0" fmla="*/ 15 w 33"/>
                <a:gd name="T1" fmla="*/ 200 h 200"/>
                <a:gd name="T2" fmla="*/ 0 w 33"/>
                <a:gd name="T3" fmla="*/ 200 h 200"/>
                <a:gd name="T4" fmla="*/ 18 w 33"/>
                <a:gd name="T5" fmla="*/ 0 h 200"/>
                <a:gd name="T6" fmla="*/ 33 w 33"/>
                <a:gd name="T7" fmla="*/ 1 h 200"/>
                <a:gd name="T8" fmla="*/ 31 w 33"/>
                <a:gd name="T9" fmla="*/ 27 h 200"/>
                <a:gd name="T10" fmla="*/ 23 w 33"/>
                <a:gd name="T11" fmla="*/ 38 h 200"/>
                <a:gd name="T12" fmla="*/ 30 w 33"/>
                <a:gd name="T13" fmla="*/ 42 h 200"/>
                <a:gd name="T14" fmla="*/ 15 w 33"/>
                <a:gd name="T15" fmla="*/ 200 h 200"/>
                <a:gd name="T16" fmla="*/ 6 w 33"/>
                <a:gd name="T17" fmla="*/ 195 h 200"/>
                <a:gd name="T18" fmla="*/ 10 w 33"/>
                <a:gd name="T19" fmla="*/ 195 h 200"/>
                <a:gd name="T20" fmla="*/ 24 w 33"/>
                <a:gd name="T21" fmla="*/ 45 h 200"/>
                <a:gd name="T22" fmla="*/ 20 w 33"/>
                <a:gd name="T23" fmla="*/ 42 h 200"/>
                <a:gd name="T24" fmla="*/ 6 w 33"/>
                <a:gd name="T25" fmla="*/ 195 h 200"/>
                <a:gd name="T26" fmla="*/ 23 w 33"/>
                <a:gd name="T27" fmla="*/ 6 h 200"/>
                <a:gd name="T28" fmla="*/ 20 w 33"/>
                <a:gd name="T29" fmla="*/ 32 h 200"/>
                <a:gd name="T30" fmla="*/ 26 w 33"/>
                <a:gd name="T31" fmla="*/ 25 h 200"/>
                <a:gd name="T32" fmla="*/ 27 w 33"/>
                <a:gd name="T33" fmla="*/ 6 h 200"/>
                <a:gd name="T34" fmla="*/ 23 w 33"/>
                <a:gd name="T35"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200">
                  <a:moveTo>
                    <a:pt x="15" y="200"/>
                  </a:moveTo>
                  <a:lnTo>
                    <a:pt x="0" y="200"/>
                  </a:lnTo>
                  <a:lnTo>
                    <a:pt x="18" y="0"/>
                  </a:lnTo>
                  <a:lnTo>
                    <a:pt x="33" y="1"/>
                  </a:lnTo>
                  <a:lnTo>
                    <a:pt x="31" y="27"/>
                  </a:lnTo>
                  <a:lnTo>
                    <a:pt x="23" y="38"/>
                  </a:lnTo>
                  <a:lnTo>
                    <a:pt x="30" y="42"/>
                  </a:lnTo>
                  <a:lnTo>
                    <a:pt x="15" y="200"/>
                  </a:lnTo>
                  <a:close/>
                  <a:moveTo>
                    <a:pt x="6" y="195"/>
                  </a:moveTo>
                  <a:lnTo>
                    <a:pt x="10" y="195"/>
                  </a:lnTo>
                  <a:lnTo>
                    <a:pt x="24" y="45"/>
                  </a:lnTo>
                  <a:lnTo>
                    <a:pt x="20" y="42"/>
                  </a:lnTo>
                  <a:lnTo>
                    <a:pt x="6" y="195"/>
                  </a:lnTo>
                  <a:close/>
                  <a:moveTo>
                    <a:pt x="23" y="6"/>
                  </a:moveTo>
                  <a:lnTo>
                    <a:pt x="20" y="32"/>
                  </a:lnTo>
                  <a:lnTo>
                    <a:pt x="26" y="25"/>
                  </a:lnTo>
                  <a:lnTo>
                    <a:pt x="27" y="6"/>
                  </a:lnTo>
                  <a:lnTo>
                    <a:pt x="2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5" name="Rectangle 86">
              <a:extLst>
                <a:ext uri="{FF2B5EF4-FFF2-40B4-BE49-F238E27FC236}">
                  <a16:creationId xmlns:a16="http://schemas.microsoft.com/office/drawing/2014/main" id="{AC5C3FBC-6BDD-BAB9-AABE-676C77536756}"/>
                </a:ext>
              </a:extLst>
            </p:cNvPr>
            <p:cNvSpPr>
              <a:spLocks noChangeArrowheads="1"/>
            </p:cNvSpPr>
            <p:nvPr/>
          </p:nvSpPr>
          <p:spPr bwMode="auto">
            <a:xfrm>
              <a:off x="2282" y="2265"/>
              <a:ext cx="10" cy="1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6" name="Freeform 87">
              <a:extLst>
                <a:ext uri="{FF2B5EF4-FFF2-40B4-BE49-F238E27FC236}">
                  <a16:creationId xmlns:a16="http://schemas.microsoft.com/office/drawing/2014/main" id="{BF8718E6-FBB8-6D02-DEEE-EF6BA70891BF}"/>
                </a:ext>
              </a:extLst>
            </p:cNvPr>
            <p:cNvSpPr>
              <a:spLocks noEditPoints="1"/>
            </p:cNvSpPr>
            <p:nvPr/>
          </p:nvSpPr>
          <p:spPr bwMode="auto">
            <a:xfrm>
              <a:off x="2279" y="2262"/>
              <a:ext cx="16" cy="137"/>
            </a:xfrm>
            <a:custGeom>
              <a:avLst/>
              <a:gdLst>
                <a:gd name="T0" fmla="*/ 16 w 16"/>
                <a:gd name="T1" fmla="*/ 137 h 137"/>
                <a:gd name="T2" fmla="*/ 0 w 16"/>
                <a:gd name="T3" fmla="*/ 137 h 137"/>
                <a:gd name="T4" fmla="*/ 0 w 16"/>
                <a:gd name="T5" fmla="*/ 0 h 137"/>
                <a:gd name="T6" fmla="*/ 16 w 16"/>
                <a:gd name="T7" fmla="*/ 0 h 137"/>
                <a:gd name="T8" fmla="*/ 16 w 16"/>
                <a:gd name="T9" fmla="*/ 137 h 137"/>
                <a:gd name="T10" fmla="*/ 6 w 16"/>
                <a:gd name="T11" fmla="*/ 132 h 137"/>
                <a:gd name="T12" fmla="*/ 10 w 16"/>
                <a:gd name="T13" fmla="*/ 132 h 137"/>
                <a:gd name="T14" fmla="*/ 10 w 16"/>
                <a:gd name="T15" fmla="*/ 5 h 137"/>
                <a:gd name="T16" fmla="*/ 6 w 16"/>
                <a:gd name="T17" fmla="*/ 5 h 137"/>
                <a:gd name="T18" fmla="*/ 6 w 16"/>
                <a:gd name="T19" fmla="*/ 13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37">
                  <a:moveTo>
                    <a:pt x="16" y="137"/>
                  </a:moveTo>
                  <a:lnTo>
                    <a:pt x="0" y="137"/>
                  </a:lnTo>
                  <a:lnTo>
                    <a:pt x="0" y="0"/>
                  </a:lnTo>
                  <a:lnTo>
                    <a:pt x="16" y="0"/>
                  </a:lnTo>
                  <a:lnTo>
                    <a:pt x="16" y="137"/>
                  </a:lnTo>
                  <a:close/>
                  <a:moveTo>
                    <a:pt x="6" y="132"/>
                  </a:moveTo>
                  <a:lnTo>
                    <a:pt x="10" y="132"/>
                  </a:lnTo>
                  <a:lnTo>
                    <a:pt x="10" y="5"/>
                  </a:lnTo>
                  <a:lnTo>
                    <a:pt x="6" y="5"/>
                  </a:lnTo>
                  <a:lnTo>
                    <a:pt x="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7" name="Freeform 88">
              <a:extLst>
                <a:ext uri="{FF2B5EF4-FFF2-40B4-BE49-F238E27FC236}">
                  <a16:creationId xmlns:a16="http://schemas.microsoft.com/office/drawing/2014/main" id="{9CB4D6EB-25C7-F89B-A032-76E1646920DC}"/>
                </a:ext>
              </a:extLst>
            </p:cNvPr>
            <p:cNvSpPr>
              <a:spLocks/>
            </p:cNvSpPr>
            <p:nvPr/>
          </p:nvSpPr>
          <p:spPr bwMode="auto">
            <a:xfrm>
              <a:off x="2208" y="2031"/>
              <a:ext cx="158" cy="212"/>
            </a:xfrm>
            <a:custGeom>
              <a:avLst/>
              <a:gdLst>
                <a:gd name="T0" fmla="*/ 257 w 484"/>
                <a:gd name="T1" fmla="*/ 0 h 654"/>
                <a:gd name="T2" fmla="*/ 230 w 484"/>
                <a:gd name="T3" fmla="*/ 0 h 654"/>
                <a:gd name="T4" fmla="*/ 0 w 484"/>
                <a:gd name="T5" fmla="*/ 233 h 654"/>
                <a:gd name="T6" fmla="*/ 4 w 484"/>
                <a:gd name="T7" fmla="*/ 301 h 654"/>
                <a:gd name="T8" fmla="*/ 27 w 484"/>
                <a:gd name="T9" fmla="*/ 576 h 654"/>
                <a:gd name="T10" fmla="*/ 31 w 484"/>
                <a:gd name="T11" fmla="*/ 582 h 654"/>
                <a:gd name="T12" fmla="*/ 84 w 484"/>
                <a:gd name="T13" fmla="*/ 653 h 654"/>
                <a:gd name="T14" fmla="*/ 79 w 484"/>
                <a:gd name="T15" fmla="*/ 598 h 654"/>
                <a:gd name="T16" fmla="*/ 57 w 484"/>
                <a:gd name="T17" fmla="*/ 570 h 654"/>
                <a:gd name="T18" fmla="*/ 54 w 484"/>
                <a:gd name="T19" fmla="*/ 566 h 654"/>
                <a:gd name="T20" fmla="*/ 32 w 484"/>
                <a:gd name="T21" fmla="*/ 299 h 654"/>
                <a:gd name="T22" fmla="*/ 28 w 484"/>
                <a:gd name="T23" fmla="*/ 232 h 654"/>
                <a:gd name="T24" fmla="*/ 230 w 484"/>
                <a:gd name="T25" fmla="*/ 28 h 654"/>
                <a:gd name="T26" fmla="*/ 257 w 484"/>
                <a:gd name="T27" fmla="*/ 28 h 654"/>
                <a:gd name="T28" fmla="*/ 456 w 484"/>
                <a:gd name="T29" fmla="*/ 229 h 654"/>
                <a:gd name="T30" fmla="*/ 452 w 484"/>
                <a:gd name="T31" fmla="*/ 296 h 654"/>
                <a:gd name="T32" fmla="*/ 430 w 484"/>
                <a:gd name="T33" fmla="*/ 566 h 654"/>
                <a:gd name="T34" fmla="*/ 427 w 484"/>
                <a:gd name="T35" fmla="*/ 570 h 654"/>
                <a:gd name="T36" fmla="*/ 406 w 484"/>
                <a:gd name="T37" fmla="*/ 599 h 654"/>
                <a:gd name="T38" fmla="*/ 401 w 484"/>
                <a:gd name="T39" fmla="*/ 654 h 654"/>
                <a:gd name="T40" fmla="*/ 401 w 484"/>
                <a:gd name="T41" fmla="*/ 654 h 654"/>
                <a:gd name="T42" fmla="*/ 453 w 484"/>
                <a:gd name="T43" fmla="*/ 582 h 654"/>
                <a:gd name="T44" fmla="*/ 458 w 484"/>
                <a:gd name="T45" fmla="*/ 576 h 654"/>
                <a:gd name="T46" fmla="*/ 480 w 484"/>
                <a:gd name="T47" fmla="*/ 298 h 654"/>
                <a:gd name="T48" fmla="*/ 484 w 484"/>
                <a:gd name="T49" fmla="*/ 230 h 654"/>
                <a:gd name="T50" fmla="*/ 257 w 484"/>
                <a:gd name="T51"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4" h="654">
                  <a:moveTo>
                    <a:pt x="257" y="0"/>
                  </a:moveTo>
                  <a:cubicBezTo>
                    <a:pt x="230" y="0"/>
                    <a:pt x="230" y="0"/>
                    <a:pt x="230" y="0"/>
                  </a:cubicBezTo>
                  <a:cubicBezTo>
                    <a:pt x="103" y="0"/>
                    <a:pt x="0" y="104"/>
                    <a:pt x="0" y="233"/>
                  </a:cubicBezTo>
                  <a:cubicBezTo>
                    <a:pt x="4" y="301"/>
                    <a:pt x="4" y="301"/>
                    <a:pt x="4" y="301"/>
                  </a:cubicBezTo>
                  <a:cubicBezTo>
                    <a:pt x="27" y="576"/>
                    <a:pt x="27" y="576"/>
                    <a:pt x="27" y="576"/>
                  </a:cubicBezTo>
                  <a:cubicBezTo>
                    <a:pt x="31" y="582"/>
                    <a:pt x="31" y="582"/>
                    <a:pt x="31" y="582"/>
                  </a:cubicBezTo>
                  <a:cubicBezTo>
                    <a:pt x="84" y="653"/>
                    <a:pt x="84" y="653"/>
                    <a:pt x="84" y="653"/>
                  </a:cubicBezTo>
                  <a:cubicBezTo>
                    <a:pt x="79" y="598"/>
                    <a:pt x="79" y="598"/>
                    <a:pt x="79" y="598"/>
                  </a:cubicBezTo>
                  <a:cubicBezTo>
                    <a:pt x="57" y="570"/>
                    <a:pt x="57" y="570"/>
                    <a:pt x="57" y="570"/>
                  </a:cubicBezTo>
                  <a:cubicBezTo>
                    <a:pt x="54" y="566"/>
                    <a:pt x="54" y="566"/>
                    <a:pt x="54" y="566"/>
                  </a:cubicBezTo>
                  <a:cubicBezTo>
                    <a:pt x="32" y="299"/>
                    <a:pt x="32" y="299"/>
                    <a:pt x="32" y="299"/>
                  </a:cubicBezTo>
                  <a:cubicBezTo>
                    <a:pt x="28" y="232"/>
                    <a:pt x="28" y="232"/>
                    <a:pt x="28" y="232"/>
                  </a:cubicBezTo>
                  <a:cubicBezTo>
                    <a:pt x="28" y="120"/>
                    <a:pt x="119" y="28"/>
                    <a:pt x="230" y="28"/>
                  </a:cubicBezTo>
                  <a:cubicBezTo>
                    <a:pt x="257" y="28"/>
                    <a:pt x="257" y="28"/>
                    <a:pt x="257" y="28"/>
                  </a:cubicBezTo>
                  <a:cubicBezTo>
                    <a:pt x="367" y="28"/>
                    <a:pt x="456" y="119"/>
                    <a:pt x="456" y="229"/>
                  </a:cubicBezTo>
                  <a:cubicBezTo>
                    <a:pt x="452" y="296"/>
                    <a:pt x="452" y="296"/>
                    <a:pt x="452" y="296"/>
                  </a:cubicBezTo>
                  <a:cubicBezTo>
                    <a:pt x="430" y="566"/>
                    <a:pt x="430" y="566"/>
                    <a:pt x="430" y="566"/>
                  </a:cubicBezTo>
                  <a:cubicBezTo>
                    <a:pt x="427" y="570"/>
                    <a:pt x="427" y="570"/>
                    <a:pt x="427" y="570"/>
                  </a:cubicBezTo>
                  <a:cubicBezTo>
                    <a:pt x="406" y="599"/>
                    <a:pt x="406" y="599"/>
                    <a:pt x="406" y="599"/>
                  </a:cubicBezTo>
                  <a:cubicBezTo>
                    <a:pt x="401" y="654"/>
                    <a:pt x="401" y="654"/>
                    <a:pt x="401" y="654"/>
                  </a:cubicBezTo>
                  <a:cubicBezTo>
                    <a:pt x="401" y="654"/>
                    <a:pt x="401" y="654"/>
                    <a:pt x="401" y="654"/>
                  </a:cubicBezTo>
                  <a:cubicBezTo>
                    <a:pt x="453" y="582"/>
                    <a:pt x="453" y="582"/>
                    <a:pt x="453" y="582"/>
                  </a:cubicBezTo>
                  <a:cubicBezTo>
                    <a:pt x="458" y="576"/>
                    <a:pt x="458" y="576"/>
                    <a:pt x="458" y="576"/>
                  </a:cubicBezTo>
                  <a:cubicBezTo>
                    <a:pt x="480" y="298"/>
                    <a:pt x="480" y="298"/>
                    <a:pt x="480" y="298"/>
                  </a:cubicBezTo>
                  <a:cubicBezTo>
                    <a:pt x="484" y="230"/>
                    <a:pt x="484" y="230"/>
                    <a:pt x="484" y="230"/>
                  </a:cubicBezTo>
                  <a:cubicBezTo>
                    <a:pt x="484" y="103"/>
                    <a:pt x="382" y="0"/>
                    <a:pt x="2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8" name="Freeform 89">
              <a:extLst>
                <a:ext uri="{FF2B5EF4-FFF2-40B4-BE49-F238E27FC236}">
                  <a16:creationId xmlns:a16="http://schemas.microsoft.com/office/drawing/2014/main" id="{40569DC9-F420-743E-13C1-A5FC288CE81B}"/>
                </a:ext>
              </a:extLst>
            </p:cNvPr>
            <p:cNvSpPr>
              <a:spLocks noEditPoints="1"/>
            </p:cNvSpPr>
            <p:nvPr/>
          </p:nvSpPr>
          <p:spPr bwMode="auto">
            <a:xfrm>
              <a:off x="2205" y="2028"/>
              <a:ext cx="163" cy="223"/>
            </a:xfrm>
            <a:custGeom>
              <a:avLst/>
              <a:gdLst>
                <a:gd name="T0" fmla="*/ 103 w 500"/>
                <a:gd name="T1" fmla="*/ 689 h 689"/>
                <a:gd name="T2" fmla="*/ 27 w 500"/>
                <a:gd name="T3" fmla="*/ 587 h 689"/>
                <a:gd name="T4" fmla="*/ 4 w 500"/>
                <a:gd name="T5" fmla="*/ 310 h 689"/>
                <a:gd name="T6" fmla="*/ 0 w 500"/>
                <a:gd name="T7" fmla="*/ 241 h 689"/>
                <a:gd name="T8" fmla="*/ 69 w 500"/>
                <a:gd name="T9" fmla="*/ 70 h 689"/>
                <a:gd name="T10" fmla="*/ 238 w 500"/>
                <a:gd name="T11" fmla="*/ 0 h 689"/>
                <a:gd name="T12" fmla="*/ 265 w 500"/>
                <a:gd name="T13" fmla="*/ 0 h 689"/>
                <a:gd name="T14" fmla="*/ 500 w 500"/>
                <a:gd name="T15" fmla="*/ 238 h 689"/>
                <a:gd name="T16" fmla="*/ 496 w 500"/>
                <a:gd name="T17" fmla="*/ 306 h 689"/>
                <a:gd name="T18" fmla="*/ 474 w 500"/>
                <a:gd name="T19" fmla="*/ 587 h 689"/>
                <a:gd name="T20" fmla="*/ 411 w 500"/>
                <a:gd name="T21" fmla="*/ 673 h 689"/>
                <a:gd name="T22" fmla="*/ 400 w 500"/>
                <a:gd name="T23" fmla="*/ 667 h 689"/>
                <a:gd name="T24" fmla="*/ 401 w 500"/>
                <a:gd name="T25" fmla="*/ 661 h 689"/>
                <a:gd name="T26" fmla="*/ 406 w 500"/>
                <a:gd name="T27" fmla="*/ 604 h 689"/>
                <a:gd name="T28" fmla="*/ 430 w 500"/>
                <a:gd name="T29" fmla="*/ 571 h 689"/>
                <a:gd name="T30" fmla="*/ 452 w 500"/>
                <a:gd name="T31" fmla="*/ 303 h 689"/>
                <a:gd name="T32" fmla="*/ 456 w 500"/>
                <a:gd name="T33" fmla="*/ 237 h 689"/>
                <a:gd name="T34" fmla="*/ 265 w 500"/>
                <a:gd name="T35" fmla="*/ 44 h 689"/>
                <a:gd name="T36" fmla="*/ 238 w 500"/>
                <a:gd name="T37" fmla="*/ 44 h 689"/>
                <a:gd name="T38" fmla="*/ 44 w 500"/>
                <a:gd name="T39" fmla="*/ 240 h 689"/>
                <a:gd name="T40" fmla="*/ 48 w 500"/>
                <a:gd name="T41" fmla="*/ 307 h 689"/>
                <a:gd name="T42" fmla="*/ 70 w 500"/>
                <a:gd name="T43" fmla="*/ 571 h 689"/>
                <a:gd name="T44" fmla="*/ 95 w 500"/>
                <a:gd name="T45" fmla="*/ 603 h 689"/>
                <a:gd name="T46" fmla="*/ 103 w 500"/>
                <a:gd name="T47" fmla="*/ 689 h 689"/>
                <a:gd name="T48" fmla="*/ 422 w 500"/>
                <a:gd name="T49" fmla="*/ 610 h 689"/>
                <a:gd name="T50" fmla="*/ 420 w 500"/>
                <a:gd name="T51" fmla="*/ 633 h 689"/>
                <a:gd name="T52" fmla="*/ 457 w 500"/>
                <a:gd name="T53" fmla="*/ 581 h 689"/>
                <a:gd name="T54" fmla="*/ 480 w 500"/>
                <a:gd name="T55" fmla="*/ 305 h 689"/>
                <a:gd name="T56" fmla="*/ 484 w 500"/>
                <a:gd name="T57" fmla="*/ 238 h 689"/>
                <a:gd name="T58" fmla="*/ 265 w 500"/>
                <a:gd name="T59" fmla="*/ 16 h 689"/>
                <a:gd name="T60" fmla="*/ 238 w 500"/>
                <a:gd name="T61" fmla="*/ 16 h 689"/>
                <a:gd name="T62" fmla="*/ 81 w 500"/>
                <a:gd name="T63" fmla="*/ 82 h 689"/>
                <a:gd name="T64" fmla="*/ 16 w 500"/>
                <a:gd name="T65" fmla="*/ 241 h 689"/>
                <a:gd name="T66" fmla="*/ 20 w 500"/>
                <a:gd name="T67" fmla="*/ 309 h 689"/>
                <a:gd name="T68" fmla="*/ 43 w 500"/>
                <a:gd name="T69" fmla="*/ 581 h 689"/>
                <a:gd name="T70" fmla="*/ 81 w 500"/>
                <a:gd name="T71" fmla="*/ 632 h 689"/>
                <a:gd name="T72" fmla="*/ 79 w 500"/>
                <a:gd name="T73" fmla="*/ 610 h 689"/>
                <a:gd name="T74" fmla="*/ 54 w 500"/>
                <a:gd name="T75" fmla="*/ 577 h 689"/>
                <a:gd name="T76" fmla="*/ 32 w 500"/>
                <a:gd name="T77" fmla="*/ 308 h 689"/>
                <a:gd name="T78" fmla="*/ 28 w 500"/>
                <a:gd name="T79" fmla="*/ 240 h 689"/>
                <a:gd name="T80" fmla="*/ 238 w 500"/>
                <a:gd name="T81" fmla="*/ 28 h 689"/>
                <a:gd name="T82" fmla="*/ 265 w 500"/>
                <a:gd name="T83" fmla="*/ 28 h 689"/>
                <a:gd name="T84" fmla="*/ 472 w 500"/>
                <a:gd name="T85" fmla="*/ 237 h 689"/>
                <a:gd name="T86" fmla="*/ 468 w 500"/>
                <a:gd name="T87" fmla="*/ 304 h 689"/>
                <a:gd name="T88" fmla="*/ 446 w 500"/>
                <a:gd name="T89" fmla="*/ 577 h 689"/>
                <a:gd name="T90" fmla="*/ 422 w 500"/>
                <a:gd name="T91" fmla="*/ 61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 h="689">
                  <a:moveTo>
                    <a:pt x="103" y="689"/>
                  </a:moveTo>
                  <a:cubicBezTo>
                    <a:pt x="27" y="587"/>
                    <a:pt x="27" y="587"/>
                    <a:pt x="27" y="587"/>
                  </a:cubicBezTo>
                  <a:cubicBezTo>
                    <a:pt x="4" y="310"/>
                    <a:pt x="4" y="310"/>
                    <a:pt x="4" y="310"/>
                  </a:cubicBezTo>
                  <a:cubicBezTo>
                    <a:pt x="0" y="241"/>
                    <a:pt x="0" y="241"/>
                    <a:pt x="0" y="241"/>
                  </a:cubicBezTo>
                  <a:cubicBezTo>
                    <a:pt x="0" y="176"/>
                    <a:pt x="24" y="116"/>
                    <a:pt x="69" y="70"/>
                  </a:cubicBezTo>
                  <a:cubicBezTo>
                    <a:pt x="115" y="25"/>
                    <a:pt x="174" y="0"/>
                    <a:pt x="238" y="0"/>
                  </a:cubicBezTo>
                  <a:cubicBezTo>
                    <a:pt x="265" y="0"/>
                    <a:pt x="265" y="0"/>
                    <a:pt x="265" y="0"/>
                  </a:cubicBezTo>
                  <a:cubicBezTo>
                    <a:pt x="395" y="0"/>
                    <a:pt x="500" y="107"/>
                    <a:pt x="500" y="238"/>
                  </a:cubicBezTo>
                  <a:cubicBezTo>
                    <a:pt x="496" y="306"/>
                    <a:pt x="496" y="306"/>
                    <a:pt x="496" y="306"/>
                  </a:cubicBezTo>
                  <a:cubicBezTo>
                    <a:pt x="474" y="587"/>
                    <a:pt x="474" y="587"/>
                    <a:pt x="474" y="587"/>
                  </a:cubicBezTo>
                  <a:cubicBezTo>
                    <a:pt x="411" y="673"/>
                    <a:pt x="411" y="673"/>
                    <a:pt x="411" y="673"/>
                  </a:cubicBezTo>
                  <a:cubicBezTo>
                    <a:pt x="400" y="667"/>
                    <a:pt x="400" y="667"/>
                    <a:pt x="400" y="667"/>
                  </a:cubicBezTo>
                  <a:cubicBezTo>
                    <a:pt x="401" y="661"/>
                    <a:pt x="401" y="661"/>
                    <a:pt x="401" y="661"/>
                  </a:cubicBezTo>
                  <a:cubicBezTo>
                    <a:pt x="406" y="604"/>
                    <a:pt x="406" y="604"/>
                    <a:pt x="406" y="604"/>
                  </a:cubicBezTo>
                  <a:cubicBezTo>
                    <a:pt x="430" y="571"/>
                    <a:pt x="430" y="571"/>
                    <a:pt x="430" y="571"/>
                  </a:cubicBezTo>
                  <a:cubicBezTo>
                    <a:pt x="452" y="303"/>
                    <a:pt x="452" y="303"/>
                    <a:pt x="452" y="303"/>
                  </a:cubicBezTo>
                  <a:cubicBezTo>
                    <a:pt x="456" y="237"/>
                    <a:pt x="456" y="237"/>
                    <a:pt x="456" y="237"/>
                  </a:cubicBezTo>
                  <a:cubicBezTo>
                    <a:pt x="456" y="131"/>
                    <a:pt x="370" y="44"/>
                    <a:pt x="265" y="44"/>
                  </a:cubicBezTo>
                  <a:cubicBezTo>
                    <a:pt x="238" y="44"/>
                    <a:pt x="238" y="44"/>
                    <a:pt x="238" y="44"/>
                  </a:cubicBezTo>
                  <a:cubicBezTo>
                    <a:pt x="131" y="44"/>
                    <a:pt x="44" y="132"/>
                    <a:pt x="44" y="240"/>
                  </a:cubicBezTo>
                  <a:cubicBezTo>
                    <a:pt x="48" y="307"/>
                    <a:pt x="48" y="307"/>
                    <a:pt x="48" y="307"/>
                  </a:cubicBezTo>
                  <a:cubicBezTo>
                    <a:pt x="70" y="571"/>
                    <a:pt x="70" y="571"/>
                    <a:pt x="70" y="571"/>
                  </a:cubicBezTo>
                  <a:cubicBezTo>
                    <a:pt x="95" y="603"/>
                    <a:pt x="95" y="603"/>
                    <a:pt x="95" y="603"/>
                  </a:cubicBezTo>
                  <a:lnTo>
                    <a:pt x="103" y="689"/>
                  </a:lnTo>
                  <a:close/>
                  <a:moveTo>
                    <a:pt x="422" y="610"/>
                  </a:moveTo>
                  <a:cubicBezTo>
                    <a:pt x="420" y="633"/>
                    <a:pt x="420" y="633"/>
                    <a:pt x="420" y="633"/>
                  </a:cubicBezTo>
                  <a:cubicBezTo>
                    <a:pt x="457" y="581"/>
                    <a:pt x="457" y="581"/>
                    <a:pt x="457" y="581"/>
                  </a:cubicBezTo>
                  <a:cubicBezTo>
                    <a:pt x="480" y="305"/>
                    <a:pt x="480" y="305"/>
                    <a:pt x="480" y="305"/>
                  </a:cubicBezTo>
                  <a:cubicBezTo>
                    <a:pt x="484" y="238"/>
                    <a:pt x="484" y="238"/>
                    <a:pt x="484" y="238"/>
                  </a:cubicBezTo>
                  <a:cubicBezTo>
                    <a:pt x="484" y="116"/>
                    <a:pt x="386" y="16"/>
                    <a:pt x="265" y="16"/>
                  </a:cubicBezTo>
                  <a:cubicBezTo>
                    <a:pt x="238" y="16"/>
                    <a:pt x="238" y="16"/>
                    <a:pt x="238" y="16"/>
                  </a:cubicBezTo>
                  <a:cubicBezTo>
                    <a:pt x="179" y="16"/>
                    <a:pt x="123" y="39"/>
                    <a:pt x="81" y="82"/>
                  </a:cubicBezTo>
                  <a:cubicBezTo>
                    <a:pt x="39" y="124"/>
                    <a:pt x="16" y="181"/>
                    <a:pt x="16" y="241"/>
                  </a:cubicBezTo>
                  <a:cubicBezTo>
                    <a:pt x="20" y="309"/>
                    <a:pt x="20" y="309"/>
                    <a:pt x="20" y="309"/>
                  </a:cubicBezTo>
                  <a:cubicBezTo>
                    <a:pt x="43" y="581"/>
                    <a:pt x="43" y="581"/>
                    <a:pt x="43" y="581"/>
                  </a:cubicBezTo>
                  <a:cubicBezTo>
                    <a:pt x="81" y="632"/>
                    <a:pt x="81" y="632"/>
                    <a:pt x="81" y="632"/>
                  </a:cubicBezTo>
                  <a:cubicBezTo>
                    <a:pt x="79" y="610"/>
                    <a:pt x="79" y="610"/>
                    <a:pt x="79" y="610"/>
                  </a:cubicBezTo>
                  <a:cubicBezTo>
                    <a:pt x="54" y="577"/>
                    <a:pt x="54" y="577"/>
                    <a:pt x="54" y="577"/>
                  </a:cubicBezTo>
                  <a:cubicBezTo>
                    <a:pt x="32" y="308"/>
                    <a:pt x="32" y="308"/>
                    <a:pt x="32" y="308"/>
                  </a:cubicBezTo>
                  <a:cubicBezTo>
                    <a:pt x="28" y="240"/>
                    <a:pt x="28" y="240"/>
                    <a:pt x="28" y="240"/>
                  </a:cubicBezTo>
                  <a:cubicBezTo>
                    <a:pt x="28" y="123"/>
                    <a:pt x="122" y="28"/>
                    <a:pt x="238" y="28"/>
                  </a:cubicBezTo>
                  <a:cubicBezTo>
                    <a:pt x="265" y="28"/>
                    <a:pt x="265" y="28"/>
                    <a:pt x="265" y="28"/>
                  </a:cubicBezTo>
                  <a:cubicBezTo>
                    <a:pt x="379" y="28"/>
                    <a:pt x="472" y="122"/>
                    <a:pt x="472" y="237"/>
                  </a:cubicBezTo>
                  <a:cubicBezTo>
                    <a:pt x="468" y="304"/>
                    <a:pt x="468" y="304"/>
                    <a:pt x="468" y="304"/>
                  </a:cubicBezTo>
                  <a:cubicBezTo>
                    <a:pt x="446" y="577"/>
                    <a:pt x="446" y="577"/>
                    <a:pt x="446" y="577"/>
                  </a:cubicBezTo>
                  <a:lnTo>
                    <a:pt x="422"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79" name="Freeform 90">
              <a:extLst>
                <a:ext uri="{FF2B5EF4-FFF2-40B4-BE49-F238E27FC236}">
                  <a16:creationId xmlns:a16="http://schemas.microsoft.com/office/drawing/2014/main" id="{D0D5049A-243A-E866-A537-1DC91D568D18}"/>
                </a:ext>
              </a:extLst>
            </p:cNvPr>
            <p:cNvSpPr>
              <a:spLocks/>
            </p:cNvSpPr>
            <p:nvPr/>
          </p:nvSpPr>
          <p:spPr bwMode="auto">
            <a:xfrm>
              <a:off x="2234" y="2224"/>
              <a:ext cx="9" cy="19"/>
            </a:xfrm>
            <a:custGeom>
              <a:avLst/>
              <a:gdLst>
                <a:gd name="T0" fmla="*/ 9 w 9"/>
                <a:gd name="T1" fmla="*/ 13 h 19"/>
                <a:gd name="T2" fmla="*/ 0 w 9"/>
                <a:gd name="T3" fmla="*/ 0 h 19"/>
                <a:gd name="T4" fmla="*/ 1 w 9"/>
                <a:gd name="T5" fmla="*/ 18 h 19"/>
                <a:gd name="T6" fmla="*/ 2 w 9"/>
                <a:gd name="T7" fmla="*/ 19 h 19"/>
                <a:gd name="T8" fmla="*/ 9 w 9"/>
                <a:gd name="T9" fmla="*/ 13 h 19"/>
              </a:gdLst>
              <a:ahLst/>
              <a:cxnLst>
                <a:cxn ang="0">
                  <a:pos x="T0" y="T1"/>
                </a:cxn>
                <a:cxn ang="0">
                  <a:pos x="T2" y="T3"/>
                </a:cxn>
                <a:cxn ang="0">
                  <a:pos x="T4" y="T5"/>
                </a:cxn>
                <a:cxn ang="0">
                  <a:pos x="T6" y="T7"/>
                </a:cxn>
                <a:cxn ang="0">
                  <a:pos x="T8" y="T9"/>
                </a:cxn>
              </a:cxnLst>
              <a:rect l="0" t="0" r="r" b="b"/>
              <a:pathLst>
                <a:path w="9" h="19">
                  <a:moveTo>
                    <a:pt x="9" y="13"/>
                  </a:moveTo>
                  <a:lnTo>
                    <a:pt x="0" y="0"/>
                  </a:lnTo>
                  <a:lnTo>
                    <a:pt x="1" y="18"/>
                  </a:lnTo>
                  <a:lnTo>
                    <a:pt x="2" y="19"/>
                  </a:lnTo>
                  <a:lnTo>
                    <a:pt x="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0" name="Freeform 91">
              <a:extLst>
                <a:ext uri="{FF2B5EF4-FFF2-40B4-BE49-F238E27FC236}">
                  <a16:creationId xmlns:a16="http://schemas.microsoft.com/office/drawing/2014/main" id="{932215EA-7595-1C12-EA53-A58C192A23A1}"/>
                </a:ext>
              </a:extLst>
            </p:cNvPr>
            <p:cNvSpPr>
              <a:spLocks/>
            </p:cNvSpPr>
            <p:nvPr/>
          </p:nvSpPr>
          <p:spPr bwMode="auto">
            <a:xfrm>
              <a:off x="2331" y="2225"/>
              <a:ext cx="9" cy="18"/>
            </a:xfrm>
            <a:custGeom>
              <a:avLst/>
              <a:gdLst>
                <a:gd name="T0" fmla="*/ 0 w 9"/>
                <a:gd name="T1" fmla="*/ 12 h 18"/>
                <a:gd name="T2" fmla="*/ 8 w 9"/>
                <a:gd name="T3" fmla="*/ 18 h 18"/>
                <a:gd name="T4" fmla="*/ 9 w 9"/>
                <a:gd name="T5" fmla="*/ 0 h 18"/>
                <a:gd name="T6" fmla="*/ 0 w 9"/>
                <a:gd name="T7" fmla="*/ 12 h 18"/>
              </a:gdLst>
              <a:ahLst/>
              <a:cxnLst>
                <a:cxn ang="0">
                  <a:pos x="T0" y="T1"/>
                </a:cxn>
                <a:cxn ang="0">
                  <a:pos x="T2" y="T3"/>
                </a:cxn>
                <a:cxn ang="0">
                  <a:pos x="T4" y="T5"/>
                </a:cxn>
                <a:cxn ang="0">
                  <a:pos x="T6" y="T7"/>
                </a:cxn>
              </a:cxnLst>
              <a:rect l="0" t="0" r="r" b="b"/>
              <a:pathLst>
                <a:path w="9" h="18">
                  <a:moveTo>
                    <a:pt x="0" y="12"/>
                  </a:moveTo>
                  <a:lnTo>
                    <a:pt x="8" y="18"/>
                  </a:lnTo>
                  <a:lnTo>
                    <a:pt x="9"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1" name="Freeform 92">
              <a:extLst>
                <a:ext uri="{FF2B5EF4-FFF2-40B4-BE49-F238E27FC236}">
                  <a16:creationId xmlns:a16="http://schemas.microsoft.com/office/drawing/2014/main" id="{5E09BB72-4A89-88E6-5D6E-874D42E8557E}"/>
                </a:ext>
              </a:extLst>
            </p:cNvPr>
            <p:cNvSpPr>
              <a:spLocks noEditPoints="1"/>
            </p:cNvSpPr>
            <p:nvPr/>
          </p:nvSpPr>
          <p:spPr bwMode="auto">
            <a:xfrm>
              <a:off x="2096" y="1955"/>
              <a:ext cx="83" cy="83"/>
            </a:xfrm>
            <a:custGeom>
              <a:avLst/>
              <a:gdLst>
                <a:gd name="T0" fmla="*/ 129 w 257"/>
                <a:gd name="T1" fmla="*/ 0 h 257"/>
                <a:gd name="T2" fmla="*/ 0 w 257"/>
                <a:gd name="T3" fmla="*/ 128 h 257"/>
                <a:gd name="T4" fmla="*/ 129 w 257"/>
                <a:gd name="T5" fmla="*/ 257 h 257"/>
                <a:gd name="T6" fmla="*/ 257 w 257"/>
                <a:gd name="T7" fmla="*/ 128 h 257"/>
                <a:gd name="T8" fmla="*/ 129 w 257"/>
                <a:gd name="T9" fmla="*/ 0 h 257"/>
                <a:gd name="T10" fmla="*/ 31 w 257"/>
                <a:gd name="T11" fmla="*/ 128 h 257"/>
                <a:gd name="T12" fmla="*/ 129 w 257"/>
                <a:gd name="T13" fmla="*/ 30 h 257"/>
                <a:gd name="T14" fmla="*/ 226 w 257"/>
                <a:gd name="T15" fmla="*/ 117 h 257"/>
                <a:gd name="T16" fmla="*/ 226 w 257"/>
                <a:gd name="T17" fmla="*/ 128 h 257"/>
                <a:gd name="T18" fmla="*/ 129 w 257"/>
                <a:gd name="T19" fmla="*/ 226 h 257"/>
                <a:gd name="T20" fmla="*/ 40 w 257"/>
                <a:gd name="T21" fmla="*/ 168 h 257"/>
                <a:gd name="T22" fmla="*/ 31 w 257"/>
                <a:gd name="T23" fmla="*/ 12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257">
                  <a:moveTo>
                    <a:pt x="129" y="0"/>
                  </a:moveTo>
                  <a:cubicBezTo>
                    <a:pt x="58" y="0"/>
                    <a:pt x="0" y="57"/>
                    <a:pt x="0" y="128"/>
                  </a:cubicBezTo>
                  <a:cubicBezTo>
                    <a:pt x="0" y="199"/>
                    <a:pt x="58" y="257"/>
                    <a:pt x="129" y="257"/>
                  </a:cubicBezTo>
                  <a:cubicBezTo>
                    <a:pt x="200" y="257"/>
                    <a:pt x="257" y="199"/>
                    <a:pt x="257" y="128"/>
                  </a:cubicBezTo>
                  <a:cubicBezTo>
                    <a:pt x="257" y="57"/>
                    <a:pt x="200" y="0"/>
                    <a:pt x="129" y="0"/>
                  </a:cubicBezTo>
                  <a:close/>
                  <a:moveTo>
                    <a:pt x="31" y="128"/>
                  </a:moveTo>
                  <a:cubicBezTo>
                    <a:pt x="31" y="74"/>
                    <a:pt x="75" y="30"/>
                    <a:pt x="129" y="30"/>
                  </a:cubicBezTo>
                  <a:cubicBezTo>
                    <a:pt x="179" y="30"/>
                    <a:pt x="220" y="68"/>
                    <a:pt x="226" y="117"/>
                  </a:cubicBezTo>
                  <a:cubicBezTo>
                    <a:pt x="226" y="120"/>
                    <a:pt x="226" y="124"/>
                    <a:pt x="226" y="128"/>
                  </a:cubicBezTo>
                  <a:cubicBezTo>
                    <a:pt x="226" y="182"/>
                    <a:pt x="183" y="226"/>
                    <a:pt x="129" y="226"/>
                  </a:cubicBezTo>
                  <a:cubicBezTo>
                    <a:pt x="89" y="226"/>
                    <a:pt x="55" y="202"/>
                    <a:pt x="40" y="168"/>
                  </a:cubicBezTo>
                  <a:cubicBezTo>
                    <a:pt x="34" y="156"/>
                    <a:pt x="31" y="142"/>
                    <a:pt x="31"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2" name="Freeform 93">
              <a:extLst>
                <a:ext uri="{FF2B5EF4-FFF2-40B4-BE49-F238E27FC236}">
                  <a16:creationId xmlns:a16="http://schemas.microsoft.com/office/drawing/2014/main" id="{F9214C9E-98D5-3098-F7A9-D713FD6A1CB2}"/>
                </a:ext>
              </a:extLst>
            </p:cNvPr>
            <p:cNvSpPr>
              <a:spLocks noEditPoints="1"/>
            </p:cNvSpPr>
            <p:nvPr/>
          </p:nvSpPr>
          <p:spPr bwMode="auto">
            <a:xfrm>
              <a:off x="2093" y="1952"/>
              <a:ext cx="89" cy="89"/>
            </a:xfrm>
            <a:custGeom>
              <a:avLst/>
              <a:gdLst>
                <a:gd name="T0" fmla="*/ 137 w 274"/>
                <a:gd name="T1" fmla="*/ 274 h 274"/>
                <a:gd name="T2" fmla="*/ 0 w 274"/>
                <a:gd name="T3" fmla="*/ 137 h 274"/>
                <a:gd name="T4" fmla="*/ 137 w 274"/>
                <a:gd name="T5" fmla="*/ 0 h 274"/>
                <a:gd name="T6" fmla="*/ 274 w 274"/>
                <a:gd name="T7" fmla="*/ 137 h 274"/>
                <a:gd name="T8" fmla="*/ 137 w 274"/>
                <a:gd name="T9" fmla="*/ 274 h 274"/>
                <a:gd name="T10" fmla="*/ 137 w 274"/>
                <a:gd name="T11" fmla="*/ 17 h 274"/>
                <a:gd name="T12" fmla="*/ 16 w 274"/>
                <a:gd name="T13" fmla="*/ 137 h 274"/>
                <a:gd name="T14" fmla="*/ 137 w 274"/>
                <a:gd name="T15" fmla="*/ 257 h 274"/>
                <a:gd name="T16" fmla="*/ 257 w 274"/>
                <a:gd name="T17" fmla="*/ 137 h 274"/>
                <a:gd name="T18" fmla="*/ 137 w 274"/>
                <a:gd name="T19" fmla="*/ 17 h 274"/>
                <a:gd name="T20" fmla="*/ 137 w 274"/>
                <a:gd name="T21" fmla="*/ 243 h 274"/>
                <a:gd name="T22" fmla="*/ 40 w 274"/>
                <a:gd name="T23" fmla="*/ 180 h 274"/>
                <a:gd name="T24" fmla="*/ 31 w 274"/>
                <a:gd name="T25" fmla="*/ 137 h 274"/>
                <a:gd name="T26" fmla="*/ 137 w 274"/>
                <a:gd name="T27" fmla="*/ 31 h 274"/>
                <a:gd name="T28" fmla="*/ 242 w 274"/>
                <a:gd name="T29" fmla="*/ 125 h 274"/>
                <a:gd name="T30" fmla="*/ 243 w 274"/>
                <a:gd name="T31" fmla="*/ 137 h 274"/>
                <a:gd name="T32" fmla="*/ 137 w 274"/>
                <a:gd name="T33" fmla="*/ 243 h 274"/>
                <a:gd name="T34" fmla="*/ 137 w 274"/>
                <a:gd name="T35" fmla="*/ 48 h 274"/>
                <a:gd name="T36" fmla="*/ 47 w 274"/>
                <a:gd name="T37" fmla="*/ 137 h 274"/>
                <a:gd name="T38" fmla="*/ 55 w 274"/>
                <a:gd name="T39" fmla="*/ 173 h 274"/>
                <a:gd name="T40" fmla="*/ 137 w 274"/>
                <a:gd name="T41" fmla="*/ 227 h 274"/>
                <a:gd name="T42" fmla="*/ 226 w 274"/>
                <a:gd name="T43" fmla="*/ 137 h 274"/>
                <a:gd name="T44" fmla="*/ 225 w 274"/>
                <a:gd name="T45" fmla="*/ 127 h 274"/>
                <a:gd name="T46" fmla="*/ 137 w 274"/>
                <a:gd name="T47" fmla="*/ 4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4" h="274">
                  <a:moveTo>
                    <a:pt x="137" y="274"/>
                  </a:moveTo>
                  <a:cubicBezTo>
                    <a:pt x="61" y="274"/>
                    <a:pt x="0" y="213"/>
                    <a:pt x="0" y="137"/>
                  </a:cubicBezTo>
                  <a:cubicBezTo>
                    <a:pt x="0" y="62"/>
                    <a:pt x="61" y="0"/>
                    <a:pt x="137" y="0"/>
                  </a:cubicBezTo>
                  <a:cubicBezTo>
                    <a:pt x="212" y="0"/>
                    <a:pt x="274" y="62"/>
                    <a:pt x="274" y="137"/>
                  </a:cubicBezTo>
                  <a:cubicBezTo>
                    <a:pt x="274" y="213"/>
                    <a:pt x="212" y="274"/>
                    <a:pt x="137" y="274"/>
                  </a:cubicBezTo>
                  <a:close/>
                  <a:moveTo>
                    <a:pt x="137" y="17"/>
                  </a:moveTo>
                  <a:cubicBezTo>
                    <a:pt x="70" y="17"/>
                    <a:pt x="16" y="71"/>
                    <a:pt x="16" y="137"/>
                  </a:cubicBezTo>
                  <a:cubicBezTo>
                    <a:pt x="16" y="203"/>
                    <a:pt x="70" y="257"/>
                    <a:pt x="137" y="257"/>
                  </a:cubicBezTo>
                  <a:cubicBezTo>
                    <a:pt x="203" y="257"/>
                    <a:pt x="257" y="203"/>
                    <a:pt x="257" y="137"/>
                  </a:cubicBezTo>
                  <a:cubicBezTo>
                    <a:pt x="257" y="71"/>
                    <a:pt x="203" y="17"/>
                    <a:pt x="137" y="17"/>
                  </a:cubicBezTo>
                  <a:close/>
                  <a:moveTo>
                    <a:pt x="137" y="243"/>
                  </a:moveTo>
                  <a:cubicBezTo>
                    <a:pt x="95" y="243"/>
                    <a:pt x="57" y="218"/>
                    <a:pt x="40" y="180"/>
                  </a:cubicBezTo>
                  <a:cubicBezTo>
                    <a:pt x="34" y="166"/>
                    <a:pt x="31" y="152"/>
                    <a:pt x="31" y="137"/>
                  </a:cubicBezTo>
                  <a:cubicBezTo>
                    <a:pt x="31" y="79"/>
                    <a:pt x="78" y="31"/>
                    <a:pt x="137" y="31"/>
                  </a:cubicBezTo>
                  <a:cubicBezTo>
                    <a:pt x="190" y="31"/>
                    <a:pt x="236" y="71"/>
                    <a:pt x="242" y="125"/>
                  </a:cubicBezTo>
                  <a:cubicBezTo>
                    <a:pt x="242" y="129"/>
                    <a:pt x="243" y="133"/>
                    <a:pt x="243" y="137"/>
                  </a:cubicBezTo>
                  <a:cubicBezTo>
                    <a:pt x="243" y="196"/>
                    <a:pt x="195" y="243"/>
                    <a:pt x="137" y="243"/>
                  </a:cubicBezTo>
                  <a:close/>
                  <a:moveTo>
                    <a:pt x="137" y="48"/>
                  </a:moveTo>
                  <a:cubicBezTo>
                    <a:pt x="87" y="48"/>
                    <a:pt x="47" y="88"/>
                    <a:pt x="47" y="137"/>
                  </a:cubicBezTo>
                  <a:cubicBezTo>
                    <a:pt x="47" y="150"/>
                    <a:pt x="50" y="162"/>
                    <a:pt x="55" y="173"/>
                  </a:cubicBezTo>
                  <a:cubicBezTo>
                    <a:pt x="69" y="206"/>
                    <a:pt x="102" y="227"/>
                    <a:pt x="137" y="227"/>
                  </a:cubicBezTo>
                  <a:cubicBezTo>
                    <a:pt x="186" y="227"/>
                    <a:pt x="226" y="186"/>
                    <a:pt x="226" y="137"/>
                  </a:cubicBezTo>
                  <a:cubicBezTo>
                    <a:pt x="226" y="134"/>
                    <a:pt x="226" y="130"/>
                    <a:pt x="225" y="127"/>
                  </a:cubicBezTo>
                  <a:cubicBezTo>
                    <a:pt x="220" y="82"/>
                    <a:pt x="182" y="48"/>
                    <a:pt x="13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3" name="Freeform 94">
              <a:extLst>
                <a:ext uri="{FF2B5EF4-FFF2-40B4-BE49-F238E27FC236}">
                  <a16:creationId xmlns:a16="http://schemas.microsoft.com/office/drawing/2014/main" id="{567DE14D-4DCB-675F-8E19-FA7A83AF4C5A}"/>
                </a:ext>
              </a:extLst>
            </p:cNvPr>
            <p:cNvSpPr>
              <a:spLocks/>
            </p:cNvSpPr>
            <p:nvPr/>
          </p:nvSpPr>
          <p:spPr bwMode="auto">
            <a:xfrm>
              <a:off x="2066" y="2051"/>
              <a:ext cx="127" cy="194"/>
            </a:xfrm>
            <a:custGeom>
              <a:avLst/>
              <a:gdLst>
                <a:gd name="T0" fmla="*/ 232 w 390"/>
                <a:gd name="T1" fmla="*/ 0 h 598"/>
                <a:gd name="T2" fmla="*/ 208 w 390"/>
                <a:gd name="T3" fmla="*/ 0 h 598"/>
                <a:gd name="T4" fmla="*/ 0 w 390"/>
                <a:gd name="T5" fmla="*/ 210 h 598"/>
                <a:gd name="T6" fmla="*/ 4 w 390"/>
                <a:gd name="T7" fmla="*/ 271 h 598"/>
                <a:gd name="T8" fmla="*/ 15 w 390"/>
                <a:gd name="T9" fmla="*/ 414 h 598"/>
                <a:gd name="T10" fmla="*/ 18 w 390"/>
                <a:gd name="T11" fmla="*/ 450 h 598"/>
                <a:gd name="T12" fmla="*/ 24 w 390"/>
                <a:gd name="T13" fmla="*/ 519 h 598"/>
                <a:gd name="T14" fmla="*/ 30 w 390"/>
                <a:gd name="T15" fmla="*/ 525 h 598"/>
                <a:gd name="T16" fmla="*/ 114 w 390"/>
                <a:gd name="T17" fmla="*/ 598 h 598"/>
                <a:gd name="T18" fmla="*/ 104 w 390"/>
                <a:gd name="T19" fmla="*/ 548 h 598"/>
                <a:gd name="T20" fmla="*/ 54 w 390"/>
                <a:gd name="T21" fmla="*/ 504 h 598"/>
                <a:gd name="T22" fmla="*/ 51 w 390"/>
                <a:gd name="T23" fmla="*/ 468 h 598"/>
                <a:gd name="T24" fmla="*/ 48 w 390"/>
                <a:gd name="T25" fmla="*/ 431 h 598"/>
                <a:gd name="T26" fmla="*/ 34 w 390"/>
                <a:gd name="T27" fmla="*/ 269 h 598"/>
                <a:gd name="T28" fmla="*/ 31 w 390"/>
                <a:gd name="T29" fmla="*/ 209 h 598"/>
                <a:gd name="T30" fmla="*/ 208 w 390"/>
                <a:gd name="T31" fmla="*/ 30 h 598"/>
                <a:gd name="T32" fmla="*/ 232 w 390"/>
                <a:gd name="T33" fmla="*/ 30 h 598"/>
                <a:gd name="T34" fmla="*/ 366 w 390"/>
                <a:gd name="T35" fmla="*/ 94 h 598"/>
                <a:gd name="T36" fmla="*/ 390 w 390"/>
                <a:gd name="T37" fmla="*/ 74 h 598"/>
                <a:gd name="T38" fmla="*/ 232 w 390"/>
                <a:gd name="T3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0" h="598">
                  <a:moveTo>
                    <a:pt x="232" y="0"/>
                  </a:moveTo>
                  <a:cubicBezTo>
                    <a:pt x="208" y="0"/>
                    <a:pt x="208" y="0"/>
                    <a:pt x="208" y="0"/>
                  </a:cubicBezTo>
                  <a:cubicBezTo>
                    <a:pt x="93" y="0"/>
                    <a:pt x="0" y="94"/>
                    <a:pt x="0" y="210"/>
                  </a:cubicBezTo>
                  <a:cubicBezTo>
                    <a:pt x="4" y="271"/>
                    <a:pt x="4" y="271"/>
                    <a:pt x="4" y="271"/>
                  </a:cubicBezTo>
                  <a:cubicBezTo>
                    <a:pt x="15" y="414"/>
                    <a:pt x="15" y="414"/>
                    <a:pt x="15" y="414"/>
                  </a:cubicBezTo>
                  <a:cubicBezTo>
                    <a:pt x="18" y="450"/>
                    <a:pt x="18" y="450"/>
                    <a:pt x="18" y="450"/>
                  </a:cubicBezTo>
                  <a:cubicBezTo>
                    <a:pt x="24" y="519"/>
                    <a:pt x="24" y="519"/>
                    <a:pt x="24" y="519"/>
                  </a:cubicBezTo>
                  <a:cubicBezTo>
                    <a:pt x="30" y="525"/>
                    <a:pt x="30" y="525"/>
                    <a:pt x="30" y="525"/>
                  </a:cubicBezTo>
                  <a:cubicBezTo>
                    <a:pt x="114" y="598"/>
                    <a:pt x="114" y="598"/>
                    <a:pt x="114" y="598"/>
                  </a:cubicBezTo>
                  <a:cubicBezTo>
                    <a:pt x="104" y="548"/>
                    <a:pt x="104" y="548"/>
                    <a:pt x="104" y="548"/>
                  </a:cubicBezTo>
                  <a:cubicBezTo>
                    <a:pt x="54" y="504"/>
                    <a:pt x="54" y="504"/>
                    <a:pt x="54" y="504"/>
                  </a:cubicBezTo>
                  <a:cubicBezTo>
                    <a:pt x="51" y="468"/>
                    <a:pt x="51" y="468"/>
                    <a:pt x="51" y="468"/>
                  </a:cubicBezTo>
                  <a:cubicBezTo>
                    <a:pt x="48" y="431"/>
                    <a:pt x="48" y="431"/>
                    <a:pt x="48" y="431"/>
                  </a:cubicBezTo>
                  <a:cubicBezTo>
                    <a:pt x="34" y="269"/>
                    <a:pt x="34" y="269"/>
                    <a:pt x="34" y="269"/>
                  </a:cubicBezTo>
                  <a:cubicBezTo>
                    <a:pt x="31" y="209"/>
                    <a:pt x="31" y="209"/>
                    <a:pt x="31" y="209"/>
                  </a:cubicBezTo>
                  <a:cubicBezTo>
                    <a:pt x="31" y="111"/>
                    <a:pt x="110" y="30"/>
                    <a:pt x="208" y="30"/>
                  </a:cubicBezTo>
                  <a:cubicBezTo>
                    <a:pt x="232" y="30"/>
                    <a:pt x="232" y="30"/>
                    <a:pt x="232" y="30"/>
                  </a:cubicBezTo>
                  <a:cubicBezTo>
                    <a:pt x="284" y="30"/>
                    <a:pt x="333" y="53"/>
                    <a:pt x="366" y="94"/>
                  </a:cubicBezTo>
                  <a:cubicBezTo>
                    <a:pt x="390" y="74"/>
                    <a:pt x="390" y="74"/>
                    <a:pt x="390" y="74"/>
                  </a:cubicBezTo>
                  <a:cubicBezTo>
                    <a:pt x="351" y="27"/>
                    <a:pt x="293" y="0"/>
                    <a:pt x="2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4" name="Freeform 95">
              <a:extLst>
                <a:ext uri="{FF2B5EF4-FFF2-40B4-BE49-F238E27FC236}">
                  <a16:creationId xmlns:a16="http://schemas.microsoft.com/office/drawing/2014/main" id="{617A9361-BA01-D794-5647-96E5695D5092}"/>
                </a:ext>
              </a:extLst>
            </p:cNvPr>
            <p:cNvSpPr>
              <a:spLocks noEditPoints="1"/>
            </p:cNvSpPr>
            <p:nvPr/>
          </p:nvSpPr>
          <p:spPr bwMode="auto">
            <a:xfrm>
              <a:off x="2064" y="2048"/>
              <a:ext cx="133" cy="204"/>
            </a:xfrm>
            <a:custGeom>
              <a:avLst/>
              <a:gdLst>
                <a:gd name="T0" fmla="*/ 135 w 410"/>
                <a:gd name="T1" fmla="*/ 629 h 629"/>
                <a:gd name="T2" fmla="*/ 24 w 410"/>
                <a:gd name="T3" fmla="*/ 532 h 629"/>
                <a:gd name="T4" fmla="*/ 3 w 410"/>
                <a:gd name="T5" fmla="*/ 281 h 629"/>
                <a:gd name="T6" fmla="*/ 0 w 410"/>
                <a:gd name="T7" fmla="*/ 220 h 629"/>
                <a:gd name="T8" fmla="*/ 63 w 410"/>
                <a:gd name="T9" fmla="*/ 64 h 629"/>
                <a:gd name="T10" fmla="*/ 216 w 410"/>
                <a:gd name="T11" fmla="*/ 0 h 629"/>
                <a:gd name="T12" fmla="*/ 240 w 410"/>
                <a:gd name="T13" fmla="*/ 0 h 629"/>
                <a:gd name="T14" fmla="*/ 404 w 410"/>
                <a:gd name="T15" fmla="*/ 78 h 629"/>
                <a:gd name="T16" fmla="*/ 410 w 410"/>
                <a:gd name="T17" fmla="*/ 84 h 629"/>
                <a:gd name="T18" fmla="*/ 373 w 410"/>
                <a:gd name="T19" fmla="*/ 114 h 629"/>
                <a:gd name="T20" fmla="*/ 368 w 410"/>
                <a:gd name="T21" fmla="*/ 108 h 629"/>
                <a:gd name="T22" fmla="*/ 240 w 410"/>
                <a:gd name="T23" fmla="*/ 48 h 629"/>
                <a:gd name="T24" fmla="*/ 216 w 410"/>
                <a:gd name="T25" fmla="*/ 48 h 629"/>
                <a:gd name="T26" fmla="*/ 47 w 410"/>
                <a:gd name="T27" fmla="*/ 218 h 629"/>
                <a:gd name="T28" fmla="*/ 51 w 410"/>
                <a:gd name="T29" fmla="*/ 278 h 629"/>
                <a:gd name="T30" fmla="*/ 70 w 410"/>
                <a:gd name="T31" fmla="*/ 509 h 629"/>
                <a:gd name="T32" fmla="*/ 120 w 410"/>
                <a:gd name="T33" fmla="*/ 553 h 629"/>
                <a:gd name="T34" fmla="*/ 135 w 410"/>
                <a:gd name="T35" fmla="*/ 629 h 629"/>
                <a:gd name="T36" fmla="*/ 40 w 410"/>
                <a:gd name="T37" fmla="*/ 524 h 629"/>
                <a:gd name="T38" fmla="*/ 109 w 410"/>
                <a:gd name="T39" fmla="*/ 585 h 629"/>
                <a:gd name="T40" fmla="*/ 104 w 410"/>
                <a:gd name="T41" fmla="*/ 562 h 629"/>
                <a:gd name="T42" fmla="*/ 54 w 410"/>
                <a:gd name="T43" fmla="*/ 517 h 629"/>
                <a:gd name="T44" fmla="*/ 34 w 410"/>
                <a:gd name="T45" fmla="*/ 279 h 629"/>
                <a:gd name="T46" fmla="*/ 30 w 410"/>
                <a:gd name="T47" fmla="*/ 219 h 629"/>
                <a:gd name="T48" fmla="*/ 216 w 410"/>
                <a:gd name="T49" fmla="*/ 31 h 629"/>
                <a:gd name="T50" fmla="*/ 240 w 410"/>
                <a:gd name="T51" fmla="*/ 31 h 629"/>
                <a:gd name="T52" fmla="*/ 375 w 410"/>
                <a:gd name="T53" fmla="*/ 91 h 629"/>
                <a:gd name="T54" fmla="*/ 386 w 410"/>
                <a:gd name="T55" fmla="*/ 82 h 629"/>
                <a:gd name="T56" fmla="*/ 240 w 410"/>
                <a:gd name="T57" fmla="*/ 17 h 629"/>
                <a:gd name="T58" fmla="*/ 216 w 410"/>
                <a:gd name="T59" fmla="*/ 17 h 629"/>
                <a:gd name="T60" fmla="*/ 75 w 410"/>
                <a:gd name="T61" fmla="*/ 76 h 629"/>
                <a:gd name="T62" fmla="*/ 16 w 410"/>
                <a:gd name="T63" fmla="*/ 219 h 629"/>
                <a:gd name="T64" fmla="*/ 20 w 410"/>
                <a:gd name="T65" fmla="*/ 280 h 629"/>
                <a:gd name="T66" fmla="*/ 40 w 410"/>
                <a:gd name="T67" fmla="*/ 52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0" h="629">
                  <a:moveTo>
                    <a:pt x="135" y="629"/>
                  </a:moveTo>
                  <a:cubicBezTo>
                    <a:pt x="24" y="532"/>
                    <a:pt x="24" y="532"/>
                    <a:pt x="24" y="532"/>
                  </a:cubicBezTo>
                  <a:cubicBezTo>
                    <a:pt x="3" y="281"/>
                    <a:pt x="3" y="281"/>
                    <a:pt x="3" y="281"/>
                  </a:cubicBezTo>
                  <a:cubicBezTo>
                    <a:pt x="0" y="220"/>
                    <a:pt x="0" y="220"/>
                    <a:pt x="0" y="220"/>
                  </a:cubicBezTo>
                  <a:cubicBezTo>
                    <a:pt x="0" y="161"/>
                    <a:pt x="22" y="106"/>
                    <a:pt x="63" y="64"/>
                  </a:cubicBezTo>
                  <a:cubicBezTo>
                    <a:pt x="104" y="23"/>
                    <a:pt x="158" y="0"/>
                    <a:pt x="216" y="0"/>
                  </a:cubicBezTo>
                  <a:cubicBezTo>
                    <a:pt x="240" y="0"/>
                    <a:pt x="240" y="0"/>
                    <a:pt x="240" y="0"/>
                  </a:cubicBezTo>
                  <a:cubicBezTo>
                    <a:pt x="304" y="0"/>
                    <a:pt x="364" y="29"/>
                    <a:pt x="404" y="78"/>
                  </a:cubicBezTo>
                  <a:cubicBezTo>
                    <a:pt x="410" y="84"/>
                    <a:pt x="410" y="84"/>
                    <a:pt x="410" y="84"/>
                  </a:cubicBezTo>
                  <a:cubicBezTo>
                    <a:pt x="373" y="114"/>
                    <a:pt x="373" y="114"/>
                    <a:pt x="373" y="114"/>
                  </a:cubicBezTo>
                  <a:cubicBezTo>
                    <a:pt x="368" y="108"/>
                    <a:pt x="368" y="108"/>
                    <a:pt x="368" y="108"/>
                  </a:cubicBezTo>
                  <a:cubicBezTo>
                    <a:pt x="336" y="70"/>
                    <a:pt x="290" y="48"/>
                    <a:pt x="240" y="48"/>
                  </a:cubicBezTo>
                  <a:cubicBezTo>
                    <a:pt x="216" y="48"/>
                    <a:pt x="216" y="48"/>
                    <a:pt x="216" y="48"/>
                  </a:cubicBezTo>
                  <a:cubicBezTo>
                    <a:pt x="123" y="48"/>
                    <a:pt x="47" y="124"/>
                    <a:pt x="47" y="218"/>
                  </a:cubicBezTo>
                  <a:cubicBezTo>
                    <a:pt x="51" y="278"/>
                    <a:pt x="51" y="278"/>
                    <a:pt x="51" y="278"/>
                  </a:cubicBezTo>
                  <a:cubicBezTo>
                    <a:pt x="70" y="509"/>
                    <a:pt x="70" y="509"/>
                    <a:pt x="70" y="509"/>
                  </a:cubicBezTo>
                  <a:cubicBezTo>
                    <a:pt x="120" y="553"/>
                    <a:pt x="120" y="553"/>
                    <a:pt x="120" y="553"/>
                  </a:cubicBezTo>
                  <a:lnTo>
                    <a:pt x="135" y="629"/>
                  </a:lnTo>
                  <a:close/>
                  <a:moveTo>
                    <a:pt x="40" y="524"/>
                  </a:moveTo>
                  <a:cubicBezTo>
                    <a:pt x="109" y="585"/>
                    <a:pt x="109" y="585"/>
                    <a:pt x="109" y="585"/>
                  </a:cubicBezTo>
                  <a:cubicBezTo>
                    <a:pt x="104" y="562"/>
                    <a:pt x="104" y="562"/>
                    <a:pt x="104" y="562"/>
                  </a:cubicBezTo>
                  <a:cubicBezTo>
                    <a:pt x="54" y="517"/>
                    <a:pt x="54" y="517"/>
                    <a:pt x="54" y="517"/>
                  </a:cubicBezTo>
                  <a:cubicBezTo>
                    <a:pt x="34" y="279"/>
                    <a:pt x="34" y="279"/>
                    <a:pt x="34" y="279"/>
                  </a:cubicBezTo>
                  <a:cubicBezTo>
                    <a:pt x="30" y="219"/>
                    <a:pt x="30" y="219"/>
                    <a:pt x="30" y="219"/>
                  </a:cubicBezTo>
                  <a:cubicBezTo>
                    <a:pt x="30" y="115"/>
                    <a:pt x="114" y="31"/>
                    <a:pt x="216" y="31"/>
                  </a:cubicBezTo>
                  <a:cubicBezTo>
                    <a:pt x="240" y="31"/>
                    <a:pt x="240" y="31"/>
                    <a:pt x="240" y="31"/>
                  </a:cubicBezTo>
                  <a:cubicBezTo>
                    <a:pt x="292" y="31"/>
                    <a:pt x="341" y="53"/>
                    <a:pt x="375" y="91"/>
                  </a:cubicBezTo>
                  <a:cubicBezTo>
                    <a:pt x="386" y="82"/>
                    <a:pt x="386" y="82"/>
                    <a:pt x="386" y="82"/>
                  </a:cubicBezTo>
                  <a:cubicBezTo>
                    <a:pt x="349" y="40"/>
                    <a:pt x="296" y="17"/>
                    <a:pt x="240" y="17"/>
                  </a:cubicBezTo>
                  <a:cubicBezTo>
                    <a:pt x="216" y="17"/>
                    <a:pt x="216" y="17"/>
                    <a:pt x="216" y="17"/>
                  </a:cubicBezTo>
                  <a:cubicBezTo>
                    <a:pt x="163" y="17"/>
                    <a:pt x="113" y="38"/>
                    <a:pt x="75" y="76"/>
                  </a:cubicBezTo>
                  <a:cubicBezTo>
                    <a:pt x="37" y="114"/>
                    <a:pt x="16" y="165"/>
                    <a:pt x="16" y="219"/>
                  </a:cubicBezTo>
                  <a:cubicBezTo>
                    <a:pt x="20" y="280"/>
                    <a:pt x="20" y="280"/>
                    <a:pt x="20" y="280"/>
                  </a:cubicBezTo>
                  <a:lnTo>
                    <a:pt x="40"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5" name="Freeform 96">
              <a:extLst>
                <a:ext uri="{FF2B5EF4-FFF2-40B4-BE49-F238E27FC236}">
                  <a16:creationId xmlns:a16="http://schemas.microsoft.com/office/drawing/2014/main" id="{918CBDE2-4BCF-BCDC-652C-1F7779DADC5A}"/>
                </a:ext>
              </a:extLst>
            </p:cNvPr>
            <p:cNvSpPr>
              <a:spLocks/>
            </p:cNvSpPr>
            <p:nvPr/>
          </p:nvSpPr>
          <p:spPr bwMode="auto">
            <a:xfrm>
              <a:off x="2094" y="2200"/>
              <a:ext cx="32" cy="129"/>
            </a:xfrm>
            <a:custGeom>
              <a:avLst/>
              <a:gdLst>
                <a:gd name="T0" fmla="*/ 31 w 96"/>
                <a:gd name="T1" fmla="*/ 0 h 397"/>
                <a:gd name="T2" fmla="*/ 0 w 96"/>
                <a:gd name="T3" fmla="*/ 0 h 397"/>
                <a:gd name="T4" fmla="*/ 18 w 96"/>
                <a:gd name="T5" fmla="*/ 89 h 397"/>
                <a:gd name="T6" fmla="*/ 54 w 96"/>
                <a:gd name="T7" fmla="*/ 121 h 397"/>
                <a:gd name="T8" fmla="*/ 33 w 96"/>
                <a:gd name="T9" fmla="*/ 144 h 397"/>
                <a:gd name="T10" fmla="*/ 28 w 96"/>
                <a:gd name="T11" fmla="*/ 139 h 397"/>
                <a:gd name="T12" fmla="*/ 29 w 96"/>
                <a:gd name="T13" fmla="*/ 145 h 397"/>
                <a:gd name="T14" fmla="*/ 79 w 96"/>
                <a:gd name="T15" fmla="*/ 397 h 397"/>
                <a:gd name="T16" fmla="*/ 81 w 96"/>
                <a:gd name="T17" fmla="*/ 386 h 397"/>
                <a:gd name="T18" fmla="*/ 96 w 96"/>
                <a:gd name="T19" fmla="*/ 332 h 397"/>
                <a:gd name="T20" fmla="*/ 31 w 96"/>
                <a:gd name="T2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397">
                  <a:moveTo>
                    <a:pt x="31" y="0"/>
                  </a:moveTo>
                  <a:cubicBezTo>
                    <a:pt x="0" y="0"/>
                    <a:pt x="0" y="0"/>
                    <a:pt x="0" y="0"/>
                  </a:cubicBezTo>
                  <a:cubicBezTo>
                    <a:pt x="18" y="89"/>
                    <a:pt x="18" y="89"/>
                    <a:pt x="18" y="89"/>
                  </a:cubicBezTo>
                  <a:cubicBezTo>
                    <a:pt x="54" y="121"/>
                    <a:pt x="54" y="121"/>
                    <a:pt x="54" y="121"/>
                  </a:cubicBezTo>
                  <a:cubicBezTo>
                    <a:pt x="33" y="144"/>
                    <a:pt x="33" y="144"/>
                    <a:pt x="33" y="144"/>
                  </a:cubicBezTo>
                  <a:cubicBezTo>
                    <a:pt x="28" y="139"/>
                    <a:pt x="28" y="139"/>
                    <a:pt x="28" y="139"/>
                  </a:cubicBezTo>
                  <a:cubicBezTo>
                    <a:pt x="29" y="145"/>
                    <a:pt x="29" y="145"/>
                    <a:pt x="29" y="145"/>
                  </a:cubicBezTo>
                  <a:cubicBezTo>
                    <a:pt x="79" y="397"/>
                    <a:pt x="79" y="397"/>
                    <a:pt x="79" y="397"/>
                  </a:cubicBezTo>
                  <a:cubicBezTo>
                    <a:pt x="79" y="393"/>
                    <a:pt x="80" y="390"/>
                    <a:pt x="81" y="386"/>
                  </a:cubicBezTo>
                  <a:cubicBezTo>
                    <a:pt x="85" y="368"/>
                    <a:pt x="90" y="350"/>
                    <a:pt x="96" y="332"/>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6" name="Freeform 97">
              <a:extLst>
                <a:ext uri="{FF2B5EF4-FFF2-40B4-BE49-F238E27FC236}">
                  <a16:creationId xmlns:a16="http://schemas.microsoft.com/office/drawing/2014/main" id="{D938C230-0145-F509-6CEF-6134AA0484B9}"/>
                </a:ext>
              </a:extLst>
            </p:cNvPr>
            <p:cNvSpPr>
              <a:spLocks noEditPoints="1"/>
            </p:cNvSpPr>
            <p:nvPr/>
          </p:nvSpPr>
          <p:spPr bwMode="auto">
            <a:xfrm>
              <a:off x="2091" y="2197"/>
              <a:ext cx="38" cy="145"/>
            </a:xfrm>
            <a:custGeom>
              <a:avLst/>
              <a:gdLst>
                <a:gd name="T0" fmla="*/ 88 w 115"/>
                <a:gd name="T1" fmla="*/ 447 h 447"/>
                <a:gd name="T2" fmla="*/ 25 w 115"/>
                <a:gd name="T3" fmla="*/ 126 h 447"/>
                <a:gd name="T4" fmla="*/ 42 w 115"/>
                <a:gd name="T5" fmla="*/ 141 h 447"/>
                <a:gd name="T6" fmla="*/ 52 w 115"/>
                <a:gd name="T7" fmla="*/ 130 h 447"/>
                <a:gd name="T8" fmla="*/ 20 w 115"/>
                <a:gd name="T9" fmla="*/ 103 h 447"/>
                <a:gd name="T10" fmla="*/ 0 w 115"/>
                <a:gd name="T11" fmla="*/ 0 h 447"/>
                <a:gd name="T12" fmla="*/ 47 w 115"/>
                <a:gd name="T13" fmla="*/ 0 h 447"/>
                <a:gd name="T14" fmla="*/ 73 w 115"/>
                <a:gd name="T15" fmla="*/ 131 h 447"/>
                <a:gd name="T16" fmla="*/ 115 w 115"/>
                <a:gd name="T17" fmla="*/ 342 h 447"/>
                <a:gd name="T18" fmla="*/ 114 w 115"/>
                <a:gd name="T19" fmla="*/ 344 h 447"/>
                <a:gd name="T20" fmla="*/ 99 w 115"/>
                <a:gd name="T21" fmla="*/ 397 h 447"/>
                <a:gd name="T22" fmla="*/ 98 w 115"/>
                <a:gd name="T23" fmla="*/ 403 h 447"/>
                <a:gd name="T24" fmla="*/ 88 w 115"/>
                <a:gd name="T25" fmla="*/ 447 h 447"/>
                <a:gd name="T26" fmla="*/ 48 w 115"/>
                <a:gd name="T27" fmla="*/ 159 h 447"/>
                <a:gd name="T28" fmla="*/ 89 w 115"/>
                <a:gd name="T29" fmla="*/ 367 h 447"/>
                <a:gd name="T30" fmla="*/ 98 w 115"/>
                <a:gd name="T31" fmla="*/ 341 h 447"/>
                <a:gd name="T32" fmla="*/ 59 w 115"/>
                <a:gd name="T33" fmla="*/ 147 h 447"/>
                <a:gd name="T34" fmla="*/ 48 w 115"/>
                <a:gd name="T35" fmla="*/ 159 h 447"/>
                <a:gd name="T36" fmla="*/ 36 w 115"/>
                <a:gd name="T37" fmla="*/ 94 h 447"/>
                <a:gd name="T38" fmla="*/ 52 w 115"/>
                <a:gd name="T39" fmla="*/ 108 h 447"/>
                <a:gd name="T40" fmla="*/ 34 w 115"/>
                <a:gd name="T41" fmla="*/ 17 h 447"/>
                <a:gd name="T42" fmla="*/ 20 w 115"/>
                <a:gd name="T43" fmla="*/ 17 h 447"/>
                <a:gd name="T44" fmla="*/ 36 w 115"/>
                <a:gd name="T45" fmla="*/ 9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447">
                  <a:moveTo>
                    <a:pt x="88" y="447"/>
                  </a:moveTo>
                  <a:cubicBezTo>
                    <a:pt x="25" y="126"/>
                    <a:pt x="25" y="126"/>
                    <a:pt x="25" y="126"/>
                  </a:cubicBezTo>
                  <a:cubicBezTo>
                    <a:pt x="42" y="141"/>
                    <a:pt x="42" y="141"/>
                    <a:pt x="42" y="141"/>
                  </a:cubicBezTo>
                  <a:cubicBezTo>
                    <a:pt x="52" y="130"/>
                    <a:pt x="52" y="130"/>
                    <a:pt x="52" y="130"/>
                  </a:cubicBezTo>
                  <a:cubicBezTo>
                    <a:pt x="20" y="103"/>
                    <a:pt x="20" y="103"/>
                    <a:pt x="20" y="103"/>
                  </a:cubicBezTo>
                  <a:cubicBezTo>
                    <a:pt x="0" y="0"/>
                    <a:pt x="0" y="0"/>
                    <a:pt x="0" y="0"/>
                  </a:cubicBezTo>
                  <a:cubicBezTo>
                    <a:pt x="47" y="0"/>
                    <a:pt x="47" y="0"/>
                    <a:pt x="47" y="0"/>
                  </a:cubicBezTo>
                  <a:cubicBezTo>
                    <a:pt x="73" y="131"/>
                    <a:pt x="73" y="131"/>
                    <a:pt x="73" y="131"/>
                  </a:cubicBezTo>
                  <a:cubicBezTo>
                    <a:pt x="115" y="342"/>
                    <a:pt x="115" y="342"/>
                    <a:pt x="115" y="342"/>
                  </a:cubicBezTo>
                  <a:cubicBezTo>
                    <a:pt x="114" y="344"/>
                    <a:pt x="114" y="344"/>
                    <a:pt x="114" y="344"/>
                  </a:cubicBezTo>
                  <a:cubicBezTo>
                    <a:pt x="108" y="362"/>
                    <a:pt x="103" y="380"/>
                    <a:pt x="99" y="397"/>
                  </a:cubicBezTo>
                  <a:cubicBezTo>
                    <a:pt x="98" y="399"/>
                    <a:pt x="98" y="401"/>
                    <a:pt x="98" y="403"/>
                  </a:cubicBezTo>
                  <a:lnTo>
                    <a:pt x="88" y="447"/>
                  </a:lnTo>
                  <a:close/>
                  <a:moveTo>
                    <a:pt x="48" y="159"/>
                  </a:moveTo>
                  <a:cubicBezTo>
                    <a:pt x="89" y="367"/>
                    <a:pt x="89" y="367"/>
                    <a:pt x="89" y="367"/>
                  </a:cubicBezTo>
                  <a:cubicBezTo>
                    <a:pt x="92" y="358"/>
                    <a:pt x="95" y="349"/>
                    <a:pt x="98" y="341"/>
                  </a:cubicBezTo>
                  <a:cubicBezTo>
                    <a:pt x="59" y="147"/>
                    <a:pt x="59" y="147"/>
                    <a:pt x="59" y="147"/>
                  </a:cubicBezTo>
                  <a:lnTo>
                    <a:pt x="48" y="159"/>
                  </a:lnTo>
                  <a:close/>
                  <a:moveTo>
                    <a:pt x="36" y="94"/>
                  </a:moveTo>
                  <a:cubicBezTo>
                    <a:pt x="52" y="108"/>
                    <a:pt x="52" y="108"/>
                    <a:pt x="52" y="108"/>
                  </a:cubicBezTo>
                  <a:cubicBezTo>
                    <a:pt x="34" y="17"/>
                    <a:pt x="34" y="17"/>
                    <a:pt x="34" y="17"/>
                  </a:cubicBezTo>
                  <a:cubicBezTo>
                    <a:pt x="20" y="17"/>
                    <a:pt x="20" y="17"/>
                    <a:pt x="20" y="17"/>
                  </a:cubicBezTo>
                  <a:lnTo>
                    <a:pt x="3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7" name="Freeform 98">
              <a:extLst>
                <a:ext uri="{FF2B5EF4-FFF2-40B4-BE49-F238E27FC236}">
                  <a16:creationId xmlns:a16="http://schemas.microsoft.com/office/drawing/2014/main" id="{51E95E4E-7917-01D8-0C72-41C9467F694D}"/>
                </a:ext>
              </a:extLst>
            </p:cNvPr>
            <p:cNvSpPr>
              <a:spLocks/>
            </p:cNvSpPr>
            <p:nvPr/>
          </p:nvSpPr>
          <p:spPr bwMode="auto">
            <a:xfrm>
              <a:off x="2100" y="2229"/>
              <a:ext cx="12" cy="18"/>
            </a:xfrm>
            <a:custGeom>
              <a:avLst/>
              <a:gdLst>
                <a:gd name="T0" fmla="*/ 5 w 12"/>
                <a:gd name="T1" fmla="*/ 18 h 18"/>
                <a:gd name="T2" fmla="*/ 12 w 12"/>
                <a:gd name="T3" fmla="*/ 10 h 18"/>
                <a:gd name="T4" fmla="*/ 0 w 12"/>
                <a:gd name="T5" fmla="*/ 0 h 18"/>
                <a:gd name="T6" fmla="*/ 3 w 12"/>
                <a:gd name="T7" fmla="*/ 16 h 18"/>
                <a:gd name="T8" fmla="*/ 5 w 12"/>
                <a:gd name="T9" fmla="*/ 18 h 18"/>
              </a:gdLst>
              <a:ahLst/>
              <a:cxnLst>
                <a:cxn ang="0">
                  <a:pos x="T0" y="T1"/>
                </a:cxn>
                <a:cxn ang="0">
                  <a:pos x="T2" y="T3"/>
                </a:cxn>
                <a:cxn ang="0">
                  <a:pos x="T4" y="T5"/>
                </a:cxn>
                <a:cxn ang="0">
                  <a:pos x="T6" y="T7"/>
                </a:cxn>
                <a:cxn ang="0">
                  <a:pos x="T8" y="T9"/>
                </a:cxn>
              </a:cxnLst>
              <a:rect l="0" t="0" r="r" b="b"/>
              <a:pathLst>
                <a:path w="12" h="18">
                  <a:moveTo>
                    <a:pt x="5" y="18"/>
                  </a:moveTo>
                  <a:lnTo>
                    <a:pt x="12" y="10"/>
                  </a:lnTo>
                  <a:lnTo>
                    <a:pt x="0" y="0"/>
                  </a:lnTo>
                  <a:lnTo>
                    <a:pt x="3" y="16"/>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8" name="Freeform 99">
              <a:extLst>
                <a:ext uri="{FF2B5EF4-FFF2-40B4-BE49-F238E27FC236}">
                  <a16:creationId xmlns:a16="http://schemas.microsoft.com/office/drawing/2014/main" id="{D806E82A-9EE5-2B36-6FC9-3442283347C5}"/>
                </a:ext>
              </a:extLst>
            </p:cNvPr>
            <p:cNvSpPr>
              <a:spLocks noEditPoints="1"/>
            </p:cNvSpPr>
            <p:nvPr/>
          </p:nvSpPr>
          <p:spPr bwMode="auto">
            <a:xfrm>
              <a:off x="2394" y="1955"/>
              <a:ext cx="84" cy="83"/>
            </a:xfrm>
            <a:custGeom>
              <a:avLst/>
              <a:gdLst>
                <a:gd name="T0" fmla="*/ 128 w 257"/>
                <a:gd name="T1" fmla="*/ 0 h 257"/>
                <a:gd name="T2" fmla="*/ 0 w 257"/>
                <a:gd name="T3" fmla="*/ 128 h 257"/>
                <a:gd name="T4" fmla="*/ 128 w 257"/>
                <a:gd name="T5" fmla="*/ 257 h 257"/>
                <a:gd name="T6" fmla="*/ 257 w 257"/>
                <a:gd name="T7" fmla="*/ 128 h 257"/>
                <a:gd name="T8" fmla="*/ 128 w 257"/>
                <a:gd name="T9" fmla="*/ 0 h 257"/>
                <a:gd name="T10" fmla="*/ 217 w 257"/>
                <a:gd name="T11" fmla="*/ 168 h 257"/>
                <a:gd name="T12" fmla="*/ 128 w 257"/>
                <a:gd name="T13" fmla="*/ 226 h 257"/>
                <a:gd name="T14" fmla="*/ 31 w 257"/>
                <a:gd name="T15" fmla="*/ 128 h 257"/>
                <a:gd name="T16" fmla="*/ 31 w 257"/>
                <a:gd name="T17" fmla="*/ 117 h 257"/>
                <a:gd name="T18" fmla="*/ 128 w 257"/>
                <a:gd name="T19" fmla="*/ 30 h 257"/>
                <a:gd name="T20" fmla="*/ 226 w 257"/>
                <a:gd name="T21" fmla="*/ 128 h 257"/>
                <a:gd name="T22" fmla="*/ 217 w 257"/>
                <a:gd name="T23" fmla="*/ 16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257">
                  <a:moveTo>
                    <a:pt x="128" y="0"/>
                  </a:moveTo>
                  <a:cubicBezTo>
                    <a:pt x="57" y="0"/>
                    <a:pt x="0" y="57"/>
                    <a:pt x="0" y="128"/>
                  </a:cubicBezTo>
                  <a:cubicBezTo>
                    <a:pt x="0" y="199"/>
                    <a:pt x="57" y="257"/>
                    <a:pt x="128" y="257"/>
                  </a:cubicBezTo>
                  <a:cubicBezTo>
                    <a:pt x="199" y="257"/>
                    <a:pt x="257" y="199"/>
                    <a:pt x="257" y="128"/>
                  </a:cubicBezTo>
                  <a:cubicBezTo>
                    <a:pt x="257" y="57"/>
                    <a:pt x="199" y="0"/>
                    <a:pt x="128" y="0"/>
                  </a:cubicBezTo>
                  <a:close/>
                  <a:moveTo>
                    <a:pt x="217" y="168"/>
                  </a:moveTo>
                  <a:cubicBezTo>
                    <a:pt x="202" y="202"/>
                    <a:pt x="168" y="226"/>
                    <a:pt x="128" y="226"/>
                  </a:cubicBezTo>
                  <a:cubicBezTo>
                    <a:pt x="74" y="226"/>
                    <a:pt x="31" y="182"/>
                    <a:pt x="31" y="128"/>
                  </a:cubicBezTo>
                  <a:cubicBezTo>
                    <a:pt x="31" y="124"/>
                    <a:pt x="31" y="120"/>
                    <a:pt x="31" y="117"/>
                  </a:cubicBezTo>
                  <a:cubicBezTo>
                    <a:pt x="37" y="68"/>
                    <a:pt x="78" y="30"/>
                    <a:pt x="128" y="30"/>
                  </a:cubicBezTo>
                  <a:cubicBezTo>
                    <a:pt x="182" y="30"/>
                    <a:pt x="226" y="74"/>
                    <a:pt x="226" y="128"/>
                  </a:cubicBezTo>
                  <a:cubicBezTo>
                    <a:pt x="226" y="142"/>
                    <a:pt x="223" y="155"/>
                    <a:pt x="217"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89" name="Freeform 100">
              <a:extLst>
                <a:ext uri="{FF2B5EF4-FFF2-40B4-BE49-F238E27FC236}">
                  <a16:creationId xmlns:a16="http://schemas.microsoft.com/office/drawing/2014/main" id="{C4DC464B-7980-645A-EC10-DEA4C7A0C3F6}"/>
                </a:ext>
              </a:extLst>
            </p:cNvPr>
            <p:cNvSpPr>
              <a:spLocks noEditPoints="1"/>
            </p:cNvSpPr>
            <p:nvPr/>
          </p:nvSpPr>
          <p:spPr bwMode="auto">
            <a:xfrm>
              <a:off x="2391" y="1952"/>
              <a:ext cx="90" cy="89"/>
            </a:xfrm>
            <a:custGeom>
              <a:avLst/>
              <a:gdLst>
                <a:gd name="T0" fmla="*/ 137 w 274"/>
                <a:gd name="T1" fmla="*/ 274 h 274"/>
                <a:gd name="T2" fmla="*/ 0 w 274"/>
                <a:gd name="T3" fmla="*/ 137 h 274"/>
                <a:gd name="T4" fmla="*/ 137 w 274"/>
                <a:gd name="T5" fmla="*/ 0 h 274"/>
                <a:gd name="T6" fmla="*/ 274 w 274"/>
                <a:gd name="T7" fmla="*/ 137 h 274"/>
                <a:gd name="T8" fmla="*/ 137 w 274"/>
                <a:gd name="T9" fmla="*/ 274 h 274"/>
                <a:gd name="T10" fmla="*/ 137 w 274"/>
                <a:gd name="T11" fmla="*/ 17 h 274"/>
                <a:gd name="T12" fmla="*/ 17 w 274"/>
                <a:gd name="T13" fmla="*/ 137 h 274"/>
                <a:gd name="T14" fmla="*/ 137 w 274"/>
                <a:gd name="T15" fmla="*/ 257 h 274"/>
                <a:gd name="T16" fmla="*/ 257 w 274"/>
                <a:gd name="T17" fmla="*/ 137 h 274"/>
                <a:gd name="T18" fmla="*/ 137 w 274"/>
                <a:gd name="T19" fmla="*/ 17 h 274"/>
                <a:gd name="T20" fmla="*/ 137 w 274"/>
                <a:gd name="T21" fmla="*/ 243 h 274"/>
                <a:gd name="T22" fmla="*/ 31 w 274"/>
                <a:gd name="T23" fmla="*/ 137 h 274"/>
                <a:gd name="T24" fmla="*/ 32 w 274"/>
                <a:gd name="T25" fmla="*/ 125 h 274"/>
                <a:gd name="T26" fmla="*/ 137 w 274"/>
                <a:gd name="T27" fmla="*/ 31 h 274"/>
                <a:gd name="T28" fmla="*/ 243 w 274"/>
                <a:gd name="T29" fmla="*/ 137 h 274"/>
                <a:gd name="T30" fmla="*/ 234 w 274"/>
                <a:gd name="T31" fmla="*/ 180 h 274"/>
                <a:gd name="T32" fmla="*/ 234 w 274"/>
                <a:gd name="T33" fmla="*/ 180 h 274"/>
                <a:gd name="T34" fmla="*/ 137 w 274"/>
                <a:gd name="T35" fmla="*/ 243 h 274"/>
                <a:gd name="T36" fmla="*/ 137 w 274"/>
                <a:gd name="T37" fmla="*/ 48 h 274"/>
                <a:gd name="T38" fmla="*/ 48 w 274"/>
                <a:gd name="T39" fmla="*/ 127 h 274"/>
                <a:gd name="T40" fmla="*/ 48 w 274"/>
                <a:gd name="T41" fmla="*/ 137 h 274"/>
                <a:gd name="T42" fmla="*/ 137 w 274"/>
                <a:gd name="T43" fmla="*/ 227 h 274"/>
                <a:gd name="T44" fmla="*/ 219 w 274"/>
                <a:gd name="T45" fmla="*/ 173 h 274"/>
                <a:gd name="T46" fmla="*/ 227 w 274"/>
                <a:gd name="T47" fmla="*/ 137 h 274"/>
                <a:gd name="T48" fmla="*/ 137 w 274"/>
                <a:gd name="T49" fmla="*/ 4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4" h="274">
                  <a:moveTo>
                    <a:pt x="137" y="274"/>
                  </a:moveTo>
                  <a:cubicBezTo>
                    <a:pt x="62" y="274"/>
                    <a:pt x="0" y="213"/>
                    <a:pt x="0" y="137"/>
                  </a:cubicBezTo>
                  <a:cubicBezTo>
                    <a:pt x="0" y="62"/>
                    <a:pt x="62" y="0"/>
                    <a:pt x="137" y="0"/>
                  </a:cubicBezTo>
                  <a:cubicBezTo>
                    <a:pt x="213" y="0"/>
                    <a:pt x="274" y="62"/>
                    <a:pt x="274" y="137"/>
                  </a:cubicBezTo>
                  <a:cubicBezTo>
                    <a:pt x="274" y="213"/>
                    <a:pt x="213" y="274"/>
                    <a:pt x="137" y="274"/>
                  </a:cubicBezTo>
                  <a:close/>
                  <a:moveTo>
                    <a:pt x="137" y="17"/>
                  </a:moveTo>
                  <a:cubicBezTo>
                    <a:pt x="71" y="17"/>
                    <a:pt x="17" y="71"/>
                    <a:pt x="17" y="137"/>
                  </a:cubicBezTo>
                  <a:cubicBezTo>
                    <a:pt x="17" y="203"/>
                    <a:pt x="71" y="257"/>
                    <a:pt x="137" y="257"/>
                  </a:cubicBezTo>
                  <a:cubicBezTo>
                    <a:pt x="204" y="257"/>
                    <a:pt x="257" y="203"/>
                    <a:pt x="257" y="137"/>
                  </a:cubicBezTo>
                  <a:cubicBezTo>
                    <a:pt x="257" y="71"/>
                    <a:pt x="204" y="17"/>
                    <a:pt x="137" y="17"/>
                  </a:cubicBezTo>
                  <a:close/>
                  <a:moveTo>
                    <a:pt x="137" y="243"/>
                  </a:moveTo>
                  <a:cubicBezTo>
                    <a:pt x="79" y="243"/>
                    <a:pt x="31" y="196"/>
                    <a:pt x="31" y="137"/>
                  </a:cubicBezTo>
                  <a:cubicBezTo>
                    <a:pt x="31" y="133"/>
                    <a:pt x="32" y="129"/>
                    <a:pt x="32" y="125"/>
                  </a:cubicBezTo>
                  <a:cubicBezTo>
                    <a:pt x="38" y="71"/>
                    <a:pt x="83" y="31"/>
                    <a:pt x="137" y="31"/>
                  </a:cubicBezTo>
                  <a:cubicBezTo>
                    <a:pt x="196" y="31"/>
                    <a:pt x="243" y="79"/>
                    <a:pt x="243" y="137"/>
                  </a:cubicBezTo>
                  <a:cubicBezTo>
                    <a:pt x="243" y="152"/>
                    <a:pt x="240" y="166"/>
                    <a:pt x="234" y="180"/>
                  </a:cubicBezTo>
                  <a:cubicBezTo>
                    <a:pt x="234" y="180"/>
                    <a:pt x="234" y="180"/>
                    <a:pt x="234" y="180"/>
                  </a:cubicBezTo>
                  <a:cubicBezTo>
                    <a:pt x="217" y="218"/>
                    <a:pt x="179" y="243"/>
                    <a:pt x="137" y="243"/>
                  </a:cubicBezTo>
                  <a:close/>
                  <a:moveTo>
                    <a:pt x="137" y="48"/>
                  </a:moveTo>
                  <a:cubicBezTo>
                    <a:pt x="92" y="48"/>
                    <a:pt x="54" y="82"/>
                    <a:pt x="48" y="127"/>
                  </a:cubicBezTo>
                  <a:cubicBezTo>
                    <a:pt x="48" y="130"/>
                    <a:pt x="48" y="134"/>
                    <a:pt x="48" y="137"/>
                  </a:cubicBezTo>
                  <a:cubicBezTo>
                    <a:pt x="48" y="186"/>
                    <a:pt x="88" y="227"/>
                    <a:pt x="137" y="227"/>
                  </a:cubicBezTo>
                  <a:cubicBezTo>
                    <a:pt x="172" y="227"/>
                    <a:pt x="205" y="206"/>
                    <a:pt x="219" y="173"/>
                  </a:cubicBezTo>
                  <a:cubicBezTo>
                    <a:pt x="224" y="162"/>
                    <a:pt x="227" y="150"/>
                    <a:pt x="227" y="137"/>
                  </a:cubicBezTo>
                  <a:cubicBezTo>
                    <a:pt x="227" y="88"/>
                    <a:pt x="186" y="48"/>
                    <a:pt x="13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0" name="Freeform 101">
              <a:extLst>
                <a:ext uri="{FF2B5EF4-FFF2-40B4-BE49-F238E27FC236}">
                  <a16:creationId xmlns:a16="http://schemas.microsoft.com/office/drawing/2014/main" id="{050DC174-8083-4FBE-3E8E-27D4064F8994}"/>
                </a:ext>
              </a:extLst>
            </p:cNvPr>
            <p:cNvSpPr>
              <a:spLocks/>
            </p:cNvSpPr>
            <p:nvPr/>
          </p:nvSpPr>
          <p:spPr bwMode="auto">
            <a:xfrm>
              <a:off x="2380" y="2051"/>
              <a:ext cx="127" cy="194"/>
            </a:xfrm>
            <a:custGeom>
              <a:avLst/>
              <a:gdLst>
                <a:gd name="T0" fmla="*/ 182 w 390"/>
                <a:gd name="T1" fmla="*/ 0 h 598"/>
                <a:gd name="T2" fmla="*/ 158 w 390"/>
                <a:gd name="T3" fmla="*/ 0 h 598"/>
                <a:gd name="T4" fmla="*/ 0 w 390"/>
                <a:gd name="T5" fmla="*/ 74 h 598"/>
                <a:gd name="T6" fmla="*/ 24 w 390"/>
                <a:gd name="T7" fmla="*/ 94 h 598"/>
                <a:gd name="T8" fmla="*/ 158 w 390"/>
                <a:gd name="T9" fmla="*/ 30 h 598"/>
                <a:gd name="T10" fmla="*/ 182 w 390"/>
                <a:gd name="T11" fmla="*/ 30 h 598"/>
                <a:gd name="T12" fmla="*/ 359 w 390"/>
                <a:gd name="T13" fmla="*/ 208 h 598"/>
                <a:gd name="T14" fmla="*/ 356 w 390"/>
                <a:gd name="T15" fmla="*/ 269 h 598"/>
                <a:gd name="T16" fmla="*/ 342 w 390"/>
                <a:gd name="T17" fmla="*/ 431 h 598"/>
                <a:gd name="T18" fmla="*/ 339 w 390"/>
                <a:gd name="T19" fmla="*/ 468 h 598"/>
                <a:gd name="T20" fmla="*/ 336 w 390"/>
                <a:gd name="T21" fmla="*/ 504 h 598"/>
                <a:gd name="T22" fmla="*/ 286 w 390"/>
                <a:gd name="T23" fmla="*/ 548 h 598"/>
                <a:gd name="T24" fmla="*/ 276 w 390"/>
                <a:gd name="T25" fmla="*/ 598 h 598"/>
                <a:gd name="T26" fmla="*/ 360 w 390"/>
                <a:gd name="T27" fmla="*/ 525 h 598"/>
                <a:gd name="T28" fmla="*/ 366 w 390"/>
                <a:gd name="T29" fmla="*/ 519 h 598"/>
                <a:gd name="T30" fmla="*/ 372 w 390"/>
                <a:gd name="T31" fmla="*/ 451 h 598"/>
                <a:gd name="T32" fmla="*/ 375 w 390"/>
                <a:gd name="T33" fmla="*/ 414 h 598"/>
                <a:gd name="T34" fmla="*/ 386 w 390"/>
                <a:gd name="T35" fmla="*/ 271 h 598"/>
                <a:gd name="T36" fmla="*/ 390 w 390"/>
                <a:gd name="T37" fmla="*/ 209 h 598"/>
                <a:gd name="T38" fmla="*/ 182 w 390"/>
                <a:gd name="T3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0" h="598">
                  <a:moveTo>
                    <a:pt x="182" y="0"/>
                  </a:moveTo>
                  <a:cubicBezTo>
                    <a:pt x="158" y="0"/>
                    <a:pt x="158" y="0"/>
                    <a:pt x="158" y="0"/>
                  </a:cubicBezTo>
                  <a:cubicBezTo>
                    <a:pt x="96" y="0"/>
                    <a:pt x="39" y="27"/>
                    <a:pt x="0" y="74"/>
                  </a:cubicBezTo>
                  <a:cubicBezTo>
                    <a:pt x="24" y="94"/>
                    <a:pt x="24" y="94"/>
                    <a:pt x="24" y="94"/>
                  </a:cubicBezTo>
                  <a:cubicBezTo>
                    <a:pt x="57" y="53"/>
                    <a:pt x="106" y="30"/>
                    <a:pt x="158" y="30"/>
                  </a:cubicBezTo>
                  <a:cubicBezTo>
                    <a:pt x="182" y="30"/>
                    <a:pt x="182" y="30"/>
                    <a:pt x="182" y="30"/>
                  </a:cubicBezTo>
                  <a:cubicBezTo>
                    <a:pt x="280" y="30"/>
                    <a:pt x="359" y="111"/>
                    <a:pt x="359" y="208"/>
                  </a:cubicBezTo>
                  <a:cubicBezTo>
                    <a:pt x="356" y="269"/>
                    <a:pt x="356" y="269"/>
                    <a:pt x="356" y="269"/>
                  </a:cubicBezTo>
                  <a:cubicBezTo>
                    <a:pt x="342" y="431"/>
                    <a:pt x="342" y="431"/>
                    <a:pt x="342" y="431"/>
                  </a:cubicBezTo>
                  <a:cubicBezTo>
                    <a:pt x="339" y="468"/>
                    <a:pt x="339" y="468"/>
                    <a:pt x="339" y="468"/>
                  </a:cubicBezTo>
                  <a:cubicBezTo>
                    <a:pt x="336" y="504"/>
                    <a:pt x="336" y="504"/>
                    <a:pt x="336" y="504"/>
                  </a:cubicBezTo>
                  <a:cubicBezTo>
                    <a:pt x="286" y="548"/>
                    <a:pt x="286" y="548"/>
                    <a:pt x="286" y="548"/>
                  </a:cubicBezTo>
                  <a:cubicBezTo>
                    <a:pt x="276" y="598"/>
                    <a:pt x="276" y="598"/>
                    <a:pt x="276" y="598"/>
                  </a:cubicBezTo>
                  <a:cubicBezTo>
                    <a:pt x="360" y="525"/>
                    <a:pt x="360" y="525"/>
                    <a:pt x="360" y="525"/>
                  </a:cubicBezTo>
                  <a:cubicBezTo>
                    <a:pt x="366" y="519"/>
                    <a:pt x="366" y="519"/>
                    <a:pt x="366" y="519"/>
                  </a:cubicBezTo>
                  <a:cubicBezTo>
                    <a:pt x="372" y="451"/>
                    <a:pt x="372" y="451"/>
                    <a:pt x="372" y="451"/>
                  </a:cubicBezTo>
                  <a:cubicBezTo>
                    <a:pt x="375" y="414"/>
                    <a:pt x="375" y="414"/>
                    <a:pt x="375" y="414"/>
                  </a:cubicBezTo>
                  <a:cubicBezTo>
                    <a:pt x="386" y="271"/>
                    <a:pt x="386" y="271"/>
                    <a:pt x="386" y="271"/>
                  </a:cubicBezTo>
                  <a:cubicBezTo>
                    <a:pt x="390" y="209"/>
                    <a:pt x="390" y="209"/>
                    <a:pt x="390" y="209"/>
                  </a:cubicBezTo>
                  <a:cubicBezTo>
                    <a:pt x="390" y="94"/>
                    <a:pt x="297" y="0"/>
                    <a:pt x="1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1" name="Freeform 102">
              <a:extLst>
                <a:ext uri="{FF2B5EF4-FFF2-40B4-BE49-F238E27FC236}">
                  <a16:creationId xmlns:a16="http://schemas.microsoft.com/office/drawing/2014/main" id="{25343375-4029-0493-B80F-02549B8D1388}"/>
                </a:ext>
              </a:extLst>
            </p:cNvPr>
            <p:cNvSpPr>
              <a:spLocks noEditPoints="1"/>
            </p:cNvSpPr>
            <p:nvPr/>
          </p:nvSpPr>
          <p:spPr bwMode="auto">
            <a:xfrm>
              <a:off x="2376" y="2048"/>
              <a:ext cx="134" cy="204"/>
            </a:xfrm>
            <a:custGeom>
              <a:avLst/>
              <a:gdLst>
                <a:gd name="T0" fmla="*/ 275 w 410"/>
                <a:gd name="T1" fmla="*/ 629 h 629"/>
                <a:gd name="T2" fmla="*/ 290 w 410"/>
                <a:gd name="T3" fmla="*/ 553 h 629"/>
                <a:gd name="T4" fmla="*/ 340 w 410"/>
                <a:gd name="T5" fmla="*/ 509 h 629"/>
                <a:gd name="T6" fmla="*/ 359 w 410"/>
                <a:gd name="T7" fmla="*/ 277 h 629"/>
                <a:gd name="T8" fmla="*/ 363 w 410"/>
                <a:gd name="T9" fmla="*/ 217 h 629"/>
                <a:gd name="T10" fmla="*/ 194 w 410"/>
                <a:gd name="T11" fmla="*/ 48 h 629"/>
                <a:gd name="T12" fmla="*/ 170 w 410"/>
                <a:gd name="T13" fmla="*/ 48 h 629"/>
                <a:gd name="T14" fmla="*/ 42 w 410"/>
                <a:gd name="T15" fmla="*/ 108 h 629"/>
                <a:gd name="T16" fmla="*/ 37 w 410"/>
                <a:gd name="T17" fmla="*/ 114 h 629"/>
                <a:gd name="T18" fmla="*/ 0 w 410"/>
                <a:gd name="T19" fmla="*/ 84 h 629"/>
                <a:gd name="T20" fmla="*/ 6 w 410"/>
                <a:gd name="T21" fmla="*/ 78 h 629"/>
                <a:gd name="T22" fmla="*/ 170 w 410"/>
                <a:gd name="T23" fmla="*/ 0 h 629"/>
                <a:gd name="T24" fmla="*/ 194 w 410"/>
                <a:gd name="T25" fmla="*/ 0 h 629"/>
                <a:gd name="T26" fmla="*/ 410 w 410"/>
                <a:gd name="T27" fmla="*/ 218 h 629"/>
                <a:gd name="T28" fmla="*/ 407 w 410"/>
                <a:gd name="T29" fmla="*/ 280 h 629"/>
                <a:gd name="T30" fmla="*/ 386 w 410"/>
                <a:gd name="T31" fmla="*/ 532 h 629"/>
                <a:gd name="T32" fmla="*/ 275 w 410"/>
                <a:gd name="T33" fmla="*/ 629 h 629"/>
                <a:gd name="T34" fmla="*/ 305 w 410"/>
                <a:gd name="T35" fmla="*/ 562 h 629"/>
                <a:gd name="T36" fmla="*/ 301 w 410"/>
                <a:gd name="T37" fmla="*/ 585 h 629"/>
                <a:gd name="T38" fmla="*/ 370 w 410"/>
                <a:gd name="T39" fmla="*/ 524 h 629"/>
                <a:gd name="T40" fmla="*/ 390 w 410"/>
                <a:gd name="T41" fmla="*/ 279 h 629"/>
                <a:gd name="T42" fmla="*/ 394 w 410"/>
                <a:gd name="T43" fmla="*/ 218 h 629"/>
                <a:gd name="T44" fmla="*/ 194 w 410"/>
                <a:gd name="T45" fmla="*/ 17 h 629"/>
                <a:gd name="T46" fmla="*/ 170 w 410"/>
                <a:gd name="T47" fmla="*/ 17 h 629"/>
                <a:gd name="T48" fmla="*/ 24 w 410"/>
                <a:gd name="T49" fmla="*/ 82 h 629"/>
                <a:gd name="T50" fmla="*/ 35 w 410"/>
                <a:gd name="T51" fmla="*/ 91 h 629"/>
                <a:gd name="T52" fmla="*/ 170 w 410"/>
                <a:gd name="T53" fmla="*/ 31 h 629"/>
                <a:gd name="T54" fmla="*/ 194 w 410"/>
                <a:gd name="T55" fmla="*/ 31 h 629"/>
                <a:gd name="T56" fmla="*/ 380 w 410"/>
                <a:gd name="T57" fmla="*/ 217 h 629"/>
                <a:gd name="T58" fmla="*/ 376 w 410"/>
                <a:gd name="T59" fmla="*/ 278 h 629"/>
                <a:gd name="T60" fmla="*/ 356 w 410"/>
                <a:gd name="T61" fmla="*/ 517 h 629"/>
                <a:gd name="T62" fmla="*/ 305 w 410"/>
                <a:gd name="T63" fmla="*/ 562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0" h="629">
                  <a:moveTo>
                    <a:pt x="275" y="629"/>
                  </a:moveTo>
                  <a:cubicBezTo>
                    <a:pt x="290" y="553"/>
                    <a:pt x="290" y="553"/>
                    <a:pt x="290" y="553"/>
                  </a:cubicBezTo>
                  <a:cubicBezTo>
                    <a:pt x="340" y="509"/>
                    <a:pt x="340" y="509"/>
                    <a:pt x="340" y="509"/>
                  </a:cubicBezTo>
                  <a:cubicBezTo>
                    <a:pt x="359" y="277"/>
                    <a:pt x="359" y="277"/>
                    <a:pt x="359" y="277"/>
                  </a:cubicBezTo>
                  <a:cubicBezTo>
                    <a:pt x="363" y="217"/>
                    <a:pt x="363" y="217"/>
                    <a:pt x="363" y="217"/>
                  </a:cubicBezTo>
                  <a:cubicBezTo>
                    <a:pt x="363" y="124"/>
                    <a:pt x="287" y="48"/>
                    <a:pt x="194" y="48"/>
                  </a:cubicBezTo>
                  <a:cubicBezTo>
                    <a:pt x="170" y="48"/>
                    <a:pt x="170" y="48"/>
                    <a:pt x="170" y="48"/>
                  </a:cubicBezTo>
                  <a:cubicBezTo>
                    <a:pt x="120" y="48"/>
                    <a:pt x="74" y="70"/>
                    <a:pt x="42" y="108"/>
                  </a:cubicBezTo>
                  <a:cubicBezTo>
                    <a:pt x="37" y="114"/>
                    <a:pt x="37" y="114"/>
                    <a:pt x="37" y="114"/>
                  </a:cubicBezTo>
                  <a:cubicBezTo>
                    <a:pt x="0" y="84"/>
                    <a:pt x="0" y="84"/>
                    <a:pt x="0" y="84"/>
                  </a:cubicBezTo>
                  <a:cubicBezTo>
                    <a:pt x="6" y="78"/>
                    <a:pt x="6" y="78"/>
                    <a:pt x="6" y="78"/>
                  </a:cubicBezTo>
                  <a:cubicBezTo>
                    <a:pt x="46" y="29"/>
                    <a:pt x="106" y="0"/>
                    <a:pt x="170" y="0"/>
                  </a:cubicBezTo>
                  <a:cubicBezTo>
                    <a:pt x="194" y="0"/>
                    <a:pt x="194" y="0"/>
                    <a:pt x="194" y="0"/>
                  </a:cubicBezTo>
                  <a:cubicBezTo>
                    <a:pt x="313" y="0"/>
                    <a:pt x="410" y="98"/>
                    <a:pt x="410" y="218"/>
                  </a:cubicBezTo>
                  <a:cubicBezTo>
                    <a:pt x="407" y="280"/>
                    <a:pt x="407" y="280"/>
                    <a:pt x="407" y="280"/>
                  </a:cubicBezTo>
                  <a:cubicBezTo>
                    <a:pt x="386" y="532"/>
                    <a:pt x="386" y="532"/>
                    <a:pt x="386" y="532"/>
                  </a:cubicBezTo>
                  <a:lnTo>
                    <a:pt x="275" y="629"/>
                  </a:lnTo>
                  <a:close/>
                  <a:moveTo>
                    <a:pt x="305" y="562"/>
                  </a:moveTo>
                  <a:cubicBezTo>
                    <a:pt x="301" y="585"/>
                    <a:pt x="301" y="585"/>
                    <a:pt x="301" y="585"/>
                  </a:cubicBezTo>
                  <a:cubicBezTo>
                    <a:pt x="370" y="524"/>
                    <a:pt x="370" y="524"/>
                    <a:pt x="370" y="524"/>
                  </a:cubicBezTo>
                  <a:cubicBezTo>
                    <a:pt x="390" y="279"/>
                    <a:pt x="390" y="279"/>
                    <a:pt x="390" y="279"/>
                  </a:cubicBezTo>
                  <a:cubicBezTo>
                    <a:pt x="394" y="218"/>
                    <a:pt x="394" y="218"/>
                    <a:pt x="394" y="218"/>
                  </a:cubicBezTo>
                  <a:cubicBezTo>
                    <a:pt x="394" y="107"/>
                    <a:pt x="304" y="17"/>
                    <a:pt x="194" y="17"/>
                  </a:cubicBezTo>
                  <a:cubicBezTo>
                    <a:pt x="170" y="17"/>
                    <a:pt x="170" y="17"/>
                    <a:pt x="170" y="17"/>
                  </a:cubicBezTo>
                  <a:cubicBezTo>
                    <a:pt x="114" y="17"/>
                    <a:pt x="61" y="40"/>
                    <a:pt x="24" y="82"/>
                  </a:cubicBezTo>
                  <a:cubicBezTo>
                    <a:pt x="35" y="91"/>
                    <a:pt x="35" y="91"/>
                    <a:pt x="35" y="91"/>
                  </a:cubicBezTo>
                  <a:cubicBezTo>
                    <a:pt x="69" y="53"/>
                    <a:pt x="118" y="31"/>
                    <a:pt x="170" y="31"/>
                  </a:cubicBezTo>
                  <a:cubicBezTo>
                    <a:pt x="194" y="31"/>
                    <a:pt x="194" y="31"/>
                    <a:pt x="194" y="31"/>
                  </a:cubicBezTo>
                  <a:cubicBezTo>
                    <a:pt x="296" y="31"/>
                    <a:pt x="380" y="115"/>
                    <a:pt x="380" y="217"/>
                  </a:cubicBezTo>
                  <a:cubicBezTo>
                    <a:pt x="376" y="278"/>
                    <a:pt x="376" y="278"/>
                    <a:pt x="376" y="278"/>
                  </a:cubicBezTo>
                  <a:cubicBezTo>
                    <a:pt x="356" y="517"/>
                    <a:pt x="356" y="517"/>
                    <a:pt x="356" y="517"/>
                  </a:cubicBezTo>
                  <a:lnTo>
                    <a:pt x="305"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2" name="Freeform 103">
              <a:extLst>
                <a:ext uri="{FF2B5EF4-FFF2-40B4-BE49-F238E27FC236}">
                  <a16:creationId xmlns:a16="http://schemas.microsoft.com/office/drawing/2014/main" id="{5EAB9D16-D3BF-AC59-E950-CCE14D2463DE}"/>
                </a:ext>
              </a:extLst>
            </p:cNvPr>
            <p:cNvSpPr>
              <a:spLocks/>
            </p:cNvSpPr>
            <p:nvPr/>
          </p:nvSpPr>
          <p:spPr bwMode="auto">
            <a:xfrm>
              <a:off x="2448" y="2200"/>
              <a:ext cx="31" cy="128"/>
            </a:xfrm>
            <a:custGeom>
              <a:avLst/>
              <a:gdLst>
                <a:gd name="T0" fmla="*/ 96 w 96"/>
                <a:gd name="T1" fmla="*/ 0 h 396"/>
                <a:gd name="T2" fmla="*/ 65 w 96"/>
                <a:gd name="T3" fmla="*/ 0 h 396"/>
                <a:gd name="T4" fmla="*/ 0 w 96"/>
                <a:gd name="T5" fmla="*/ 332 h 396"/>
                <a:gd name="T6" fmla="*/ 15 w 96"/>
                <a:gd name="T7" fmla="*/ 386 h 396"/>
                <a:gd name="T8" fmla="*/ 17 w 96"/>
                <a:gd name="T9" fmla="*/ 396 h 396"/>
                <a:gd name="T10" fmla="*/ 67 w 96"/>
                <a:gd name="T11" fmla="*/ 145 h 396"/>
                <a:gd name="T12" fmla="*/ 68 w 96"/>
                <a:gd name="T13" fmla="*/ 139 h 396"/>
                <a:gd name="T14" fmla="*/ 63 w 96"/>
                <a:gd name="T15" fmla="*/ 144 h 396"/>
                <a:gd name="T16" fmla="*/ 42 w 96"/>
                <a:gd name="T17" fmla="*/ 121 h 396"/>
                <a:gd name="T18" fmla="*/ 78 w 96"/>
                <a:gd name="T19" fmla="*/ 89 h 396"/>
                <a:gd name="T20" fmla="*/ 96 w 96"/>
                <a:gd name="T21"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396">
                  <a:moveTo>
                    <a:pt x="96" y="0"/>
                  </a:moveTo>
                  <a:cubicBezTo>
                    <a:pt x="65" y="0"/>
                    <a:pt x="65" y="0"/>
                    <a:pt x="65" y="0"/>
                  </a:cubicBezTo>
                  <a:cubicBezTo>
                    <a:pt x="0" y="332"/>
                    <a:pt x="0" y="332"/>
                    <a:pt x="0" y="332"/>
                  </a:cubicBezTo>
                  <a:cubicBezTo>
                    <a:pt x="6" y="350"/>
                    <a:pt x="11" y="368"/>
                    <a:pt x="15" y="386"/>
                  </a:cubicBezTo>
                  <a:cubicBezTo>
                    <a:pt x="16" y="389"/>
                    <a:pt x="17" y="393"/>
                    <a:pt x="17" y="396"/>
                  </a:cubicBezTo>
                  <a:cubicBezTo>
                    <a:pt x="67" y="145"/>
                    <a:pt x="67" y="145"/>
                    <a:pt x="67" y="145"/>
                  </a:cubicBezTo>
                  <a:cubicBezTo>
                    <a:pt x="68" y="139"/>
                    <a:pt x="68" y="139"/>
                    <a:pt x="68" y="139"/>
                  </a:cubicBezTo>
                  <a:cubicBezTo>
                    <a:pt x="63" y="144"/>
                    <a:pt x="63" y="144"/>
                    <a:pt x="63" y="144"/>
                  </a:cubicBezTo>
                  <a:cubicBezTo>
                    <a:pt x="42" y="121"/>
                    <a:pt x="42" y="121"/>
                    <a:pt x="42" y="121"/>
                  </a:cubicBezTo>
                  <a:cubicBezTo>
                    <a:pt x="78" y="89"/>
                    <a:pt x="78" y="89"/>
                    <a:pt x="78" y="89"/>
                  </a:cubicBezTo>
                  <a:lnTo>
                    <a:pt x="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3" name="Freeform 104">
              <a:extLst>
                <a:ext uri="{FF2B5EF4-FFF2-40B4-BE49-F238E27FC236}">
                  <a16:creationId xmlns:a16="http://schemas.microsoft.com/office/drawing/2014/main" id="{601DFD72-9162-01FB-5DFC-EE08CC95203B}"/>
                </a:ext>
              </a:extLst>
            </p:cNvPr>
            <p:cNvSpPr>
              <a:spLocks noEditPoints="1"/>
            </p:cNvSpPr>
            <p:nvPr/>
          </p:nvSpPr>
          <p:spPr bwMode="auto">
            <a:xfrm>
              <a:off x="2445" y="2197"/>
              <a:ext cx="38" cy="145"/>
            </a:xfrm>
            <a:custGeom>
              <a:avLst/>
              <a:gdLst>
                <a:gd name="T0" fmla="*/ 27 w 115"/>
                <a:gd name="T1" fmla="*/ 446 h 446"/>
                <a:gd name="T2" fmla="*/ 17 w 115"/>
                <a:gd name="T3" fmla="*/ 402 h 446"/>
                <a:gd name="T4" fmla="*/ 16 w 115"/>
                <a:gd name="T5" fmla="*/ 397 h 446"/>
                <a:gd name="T6" fmla="*/ 1 w 115"/>
                <a:gd name="T7" fmla="*/ 344 h 446"/>
                <a:gd name="T8" fmla="*/ 0 w 115"/>
                <a:gd name="T9" fmla="*/ 341 h 446"/>
                <a:gd name="T10" fmla="*/ 42 w 115"/>
                <a:gd name="T11" fmla="*/ 131 h 446"/>
                <a:gd name="T12" fmla="*/ 43 w 115"/>
                <a:gd name="T13" fmla="*/ 126 h 446"/>
                <a:gd name="T14" fmla="*/ 67 w 115"/>
                <a:gd name="T15" fmla="*/ 0 h 446"/>
                <a:gd name="T16" fmla="*/ 115 w 115"/>
                <a:gd name="T17" fmla="*/ 0 h 446"/>
                <a:gd name="T18" fmla="*/ 94 w 115"/>
                <a:gd name="T19" fmla="*/ 103 h 446"/>
                <a:gd name="T20" fmla="*/ 63 w 115"/>
                <a:gd name="T21" fmla="*/ 130 h 446"/>
                <a:gd name="T22" fmla="*/ 72 w 115"/>
                <a:gd name="T23" fmla="*/ 141 h 446"/>
                <a:gd name="T24" fmla="*/ 90 w 115"/>
                <a:gd name="T25" fmla="*/ 126 h 446"/>
                <a:gd name="T26" fmla="*/ 27 w 115"/>
                <a:gd name="T27" fmla="*/ 446 h 446"/>
                <a:gd name="T28" fmla="*/ 17 w 115"/>
                <a:gd name="T29" fmla="*/ 340 h 446"/>
                <a:gd name="T30" fmla="*/ 26 w 115"/>
                <a:gd name="T31" fmla="*/ 367 h 446"/>
                <a:gd name="T32" fmla="*/ 66 w 115"/>
                <a:gd name="T33" fmla="*/ 159 h 446"/>
                <a:gd name="T34" fmla="*/ 55 w 115"/>
                <a:gd name="T35" fmla="*/ 147 h 446"/>
                <a:gd name="T36" fmla="*/ 17 w 115"/>
                <a:gd name="T37" fmla="*/ 340 h 446"/>
                <a:gd name="T38" fmla="*/ 81 w 115"/>
                <a:gd name="T39" fmla="*/ 17 h 446"/>
                <a:gd name="T40" fmla="*/ 63 w 115"/>
                <a:gd name="T41" fmla="*/ 108 h 446"/>
                <a:gd name="T42" fmla="*/ 79 w 115"/>
                <a:gd name="T43" fmla="*/ 94 h 446"/>
                <a:gd name="T44" fmla="*/ 95 w 115"/>
                <a:gd name="T45" fmla="*/ 17 h 446"/>
                <a:gd name="T46" fmla="*/ 81 w 115"/>
                <a:gd name="T47" fmla="*/ 17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46">
                  <a:moveTo>
                    <a:pt x="27" y="446"/>
                  </a:moveTo>
                  <a:cubicBezTo>
                    <a:pt x="17" y="402"/>
                    <a:pt x="17" y="402"/>
                    <a:pt x="17" y="402"/>
                  </a:cubicBezTo>
                  <a:cubicBezTo>
                    <a:pt x="17" y="401"/>
                    <a:pt x="17" y="399"/>
                    <a:pt x="16" y="397"/>
                  </a:cubicBezTo>
                  <a:cubicBezTo>
                    <a:pt x="12" y="379"/>
                    <a:pt x="7" y="362"/>
                    <a:pt x="1" y="344"/>
                  </a:cubicBezTo>
                  <a:cubicBezTo>
                    <a:pt x="0" y="341"/>
                    <a:pt x="0" y="341"/>
                    <a:pt x="0" y="341"/>
                  </a:cubicBezTo>
                  <a:cubicBezTo>
                    <a:pt x="42" y="131"/>
                    <a:pt x="42" y="131"/>
                    <a:pt x="42" y="131"/>
                  </a:cubicBezTo>
                  <a:cubicBezTo>
                    <a:pt x="43" y="126"/>
                    <a:pt x="43" y="126"/>
                    <a:pt x="43" y="126"/>
                  </a:cubicBezTo>
                  <a:cubicBezTo>
                    <a:pt x="67" y="0"/>
                    <a:pt x="67" y="0"/>
                    <a:pt x="67" y="0"/>
                  </a:cubicBezTo>
                  <a:cubicBezTo>
                    <a:pt x="115" y="0"/>
                    <a:pt x="115" y="0"/>
                    <a:pt x="115" y="0"/>
                  </a:cubicBezTo>
                  <a:cubicBezTo>
                    <a:pt x="94" y="103"/>
                    <a:pt x="94" y="103"/>
                    <a:pt x="94" y="103"/>
                  </a:cubicBezTo>
                  <a:cubicBezTo>
                    <a:pt x="63" y="130"/>
                    <a:pt x="63" y="130"/>
                    <a:pt x="63" y="130"/>
                  </a:cubicBezTo>
                  <a:cubicBezTo>
                    <a:pt x="72" y="141"/>
                    <a:pt x="72" y="141"/>
                    <a:pt x="72" y="141"/>
                  </a:cubicBezTo>
                  <a:cubicBezTo>
                    <a:pt x="90" y="126"/>
                    <a:pt x="90" y="126"/>
                    <a:pt x="90" y="126"/>
                  </a:cubicBezTo>
                  <a:lnTo>
                    <a:pt x="27" y="446"/>
                  </a:lnTo>
                  <a:close/>
                  <a:moveTo>
                    <a:pt x="17" y="340"/>
                  </a:moveTo>
                  <a:cubicBezTo>
                    <a:pt x="20" y="349"/>
                    <a:pt x="23" y="358"/>
                    <a:pt x="26" y="367"/>
                  </a:cubicBezTo>
                  <a:cubicBezTo>
                    <a:pt x="66" y="159"/>
                    <a:pt x="66" y="159"/>
                    <a:pt x="66" y="159"/>
                  </a:cubicBezTo>
                  <a:cubicBezTo>
                    <a:pt x="55" y="147"/>
                    <a:pt x="55" y="147"/>
                    <a:pt x="55" y="147"/>
                  </a:cubicBezTo>
                  <a:lnTo>
                    <a:pt x="17" y="340"/>
                  </a:lnTo>
                  <a:close/>
                  <a:moveTo>
                    <a:pt x="81" y="17"/>
                  </a:moveTo>
                  <a:cubicBezTo>
                    <a:pt x="63" y="108"/>
                    <a:pt x="63" y="108"/>
                    <a:pt x="63" y="108"/>
                  </a:cubicBezTo>
                  <a:cubicBezTo>
                    <a:pt x="79" y="94"/>
                    <a:pt x="79" y="94"/>
                    <a:pt x="79" y="94"/>
                  </a:cubicBezTo>
                  <a:cubicBezTo>
                    <a:pt x="95" y="17"/>
                    <a:pt x="95" y="17"/>
                    <a:pt x="95" y="17"/>
                  </a:cubicBezTo>
                  <a:lnTo>
                    <a:pt x="8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4" name="Freeform 105">
              <a:extLst>
                <a:ext uri="{FF2B5EF4-FFF2-40B4-BE49-F238E27FC236}">
                  <a16:creationId xmlns:a16="http://schemas.microsoft.com/office/drawing/2014/main" id="{B74DFD80-B543-B567-2ED9-BDB7B8870196}"/>
                </a:ext>
              </a:extLst>
            </p:cNvPr>
            <p:cNvSpPr>
              <a:spLocks/>
            </p:cNvSpPr>
            <p:nvPr/>
          </p:nvSpPr>
          <p:spPr bwMode="auto">
            <a:xfrm>
              <a:off x="2116" y="2308"/>
              <a:ext cx="341" cy="225"/>
            </a:xfrm>
            <a:custGeom>
              <a:avLst/>
              <a:gdLst>
                <a:gd name="T0" fmla="*/ 1034 w 1046"/>
                <a:gd name="T1" fmla="*/ 64 h 694"/>
                <a:gd name="T2" fmla="*/ 1032 w 1046"/>
                <a:gd name="T3" fmla="*/ 54 h 694"/>
                <a:gd name="T4" fmla="*/ 1017 w 1046"/>
                <a:gd name="T5" fmla="*/ 0 h 694"/>
                <a:gd name="T6" fmla="*/ 1004 w 1046"/>
                <a:gd name="T7" fmla="*/ 67 h 694"/>
                <a:gd name="T8" fmla="*/ 1014 w 1046"/>
                <a:gd name="T9" fmla="*/ 138 h 694"/>
                <a:gd name="T10" fmla="*/ 1014 w 1046"/>
                <a:gd name="T11" fmla="*/ 144 h 694"/>
                <a:gd name="T12" fmla="*/ 1015 w 1046"/>
                <a:gd name="T13" fmla="*/ 171 h 694"/>
                <a:gd name="T14" fmla="*/ 871 w 1046"/>
                <a:gd name="T15" fmla="*/ 519 h 694"/>
                <a:gd name="T16" fmla="*/ 523 w 1046"/>
                <a:gd name="T17" fmla="*/ 663 h 694"/>
                <a:gd name="T18" fmla="*/ 175 w 1046"/>
                <a:gd name="T19" fmla="*/ 519 h 694"/>
                <a:gd name="T20" fmla="*/ 31 w 1046"/>
                <a:gd name="T21" fmla="*/ 171 h 694"/>
                <a:gd name="T22" fmla="*/ 32 w 1046"/>
                <a:gd name="T23" fmla="*/ 144 h 694"/>
                <a:gd name="T24" fmla="*/ 32 w 1046"/>
                <a:gd name="T25" fmla="*/ 138 h 694"/>
                <a:gd name="T26" fmla="*/ 42 w 1046"/>
                <a:gd name="T27" fmla="*/ 67 h 694"/>
                <a:gd name="T28" fmla="*/ 29 w 1046"/>
                <a:gd name="T29" fmla="*/ 0 h 694"/>
                <a:gd name="T30" fmla="*/ 14 w 1046"/>
                <a:gd name="T31" fmla="*/ 54 h 694"/>
                <a:gd name="T32" fmla="*/ 12 w 1046"/>
                <a:gd name="T33" fmla="*/ 65 h 694"/>
                <a:gd name="T34" fmla="*/ 0 w 1046"/>
                <a:gd name="T35" fmla="*/ 171 h 694"/>
                <a:gd name="T36" fmla="*/ 523 w 1046"/>
                <a:gd name="T37" fmla="*/ 694 h 694"/>
                <a:gd name="T38" fmla="*/ 1046 w 1046"/>
                <a:gd name="T39" fmla="*/ 171 h 694"/>
                <a:gd name="T40" fmla="*/ 1034 w 1046"/>
                <a:gd name="T41" fmla="*/ 6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6" h="694">
                  <a:moveTo>
                    <a:pt x="1034" y="64"/>
                  </a:moveTo>
                  <a:cubicBezTo>
                    <a:pt x="1034" y="61"/>
                    <a:pt x="1033" y="57"/>
                    <a:pt x="1032" y="54"/>
                  </a:cubicBezTo>
                  <a:cubicBezTo>
                    <a:pt x="1028" y="36"/>
                    <a:pt x="1023" y="18"/>
                    <a:pt x="1017" y="0"/>
                  </a:cubicBezTo>
                  <a:cubicBezTo>
                    <a:pt x="1004" y="67"/>
                    <a:pt x="1004" y="67"/>
                    <a:pt x="1004" y="67"/>
                  </a:cubicBezTo>
                  <a:cubicBezTo>
                    <a:pt x="1009" y="90"/>
                    <a:pt x="1012" y="114"/>
                    <a:pt x="1014" y="138"/>
                  </a:cubicBezTo>
                  <a:cubicBezTo>
                    <a:pt x="1014" y="140"/>
                    <a:pt x="1014" y="142"/>
                    <a:pt x="1014" y="144"/>
                  </a:cubicBezTo>
                  <a:cubicBezTo>
                    <a:pt x="1015" y="153"/>
                    <a:pt x="1015" y="162"/>
                    <a:pt x="1015" y="171"/>
                  </a:cubicBezTo>
                  <a:cubicBezTo>
                    <a:pt x="1015" y="307"/>
                    <a:pt x="960" y="430"/>
                    <a:pt x="871" y="519"/>
                  </a:cubicBezTo>
                  <a:cubicBezTo>
                    <a:pt x="782" y="608"/>
                    <a:pt x="659" y="663"/>
                    <a:pt x="523" y="663"/>
                  </a:cubicBezTo>
                  <a:cubicBezTo>
                    <a:pt x="387" y="663"/>
                    <a:pt x="264" y="608"/>
                    <a:pt x="175" y="519"/>
                  </a:cubicBezTo>
                  <a:cubicBezTo>
                    <a:pt x="86" y="430"/>
                    <a:pt x="31" y="307"/>
                    <a:pt x="31" y="171"/>
                  </a:cubicBezTo>
                  <a:cubicBezTo>
                    <a:pt x="31" y="162"/>
                    <a:pt x="31" y="153"/>
                    <a:pt x="32" y="144"/>
                  </a:cubicBezTo>
                  <a:cubicBezTo>
                    <a:pt x="32" y="142"/>
                    <a:pt x="32" y="140"/>
                    <a:pt x="32" y="138"/>
                  </a:cubicBezTo>
                  <a:cubicBezTo>
                    <a:pt x="34" y="114"/>
                    <a:pt x="37" y="90"/>
                    <a:pt x="42" y="67"/>
                  </a:cubicBezTo>
                  <a:cubicBezTo>
                    <a:pt x="29" y="0"/>
                    <a:pt x="29" y="0"/>
                    <a:pt x="29" y="0"/>
                  </a:cubicBezTo>
                  <a:cubicBezTo>
                    <a:pt x="23" y="18"/>
                    <a:pt x="18" y="36"/>
                    <a:pt x="14" y="54"/>
                  </a:cubicBezTo>
                  <a:cubicBezTo>
                    <a:pt x="13" y="58"/>
                    <a:pt x="12" y="61"/>
                    <a:pt x="12" y="65"/>
                  </a:cubicBezTo>
                  <a:cubicBezTo>
                    <a:pt x="4" y="99"/>
                    <a:pt x="0" y="135"/>
                    <a:pt x="0" y="171"/>
                  </a:cubicBezTo>
                  <a:cubicBezTo>
                    <a:pt x="0" y="460"/>
                    <a:pt x="234" y="694"/>
                    <a:pt x="523" y="694"/>
                  </a:cubicBezTo>
                  <a:cubicBezTo>
                    <a:pt x="812" y="694"/>
                    <a:pt x="1046" y="460"/>
                    <a:pt x="1046" y="171"/>
                  </a:cubicBezTo>
                  <a:cubicBezTo>
                    <a:pt x="1046" y="134"/>
                    <a:pt x="1042" y="99"/>
                    <a:pt x="103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5" name="Freeform 106">
              <a:extLst>
                <a:ext uri="{FF2B5EF4-FFF2-40B4-BE49-F238E27FC236}">
                  <a16:creationId xmlns:a16="http://schemas.microsoft.com/office/drawing/2014/main" id="{AF913164-DC35-8D58-0B25-E8ECC7B0D70B}"/>
                </a:ext>
              </a:extLst>
            </p:cNvPr>
            <p:cNvSpPr>
              <a:spLocks noEditPoints="1"/>
            </p:cNvSpPr>
            <p:nvPr/>
          </p:nvSpPr>
          <p:spPr bwMode="auto">
            <a:xfrm>
              <a:off x="2114" y="2297"/>
              <a:ext cx="346" cy="238"/>
            </a:xfrm>
            <a:custGeom>
              <a:avLst/>
              <a:gdLst>
                <a:gd name="T0" fmla="*/ 531 w 1062"/>
                <a:gd name="T1" fmla="*/ 734 h 734"/>
                <a:gd name="T2" fmla="*/ 0 w 1062"/>
                <a:gd name="T3" fmla="*/ 203 h 734"/>
                <a:gd name="T4" fmla="*/ 12 w 1062"/>
                <a:gd name="T5" fmla="*/ 95 h 734"/>
                <a:gd name="T6" fmla="*/ 12 w 1062"/>
                <a:gd name="T7" fmla="*/ 91 h 734"/>
                <a:gd name="T8" fmla="*/ 14 w 1062"/>
                <a:gd name="T9" fmla="*/ 85 h 734"/>
                <a:gd name="T10" fmla="*/ 29 w 1062"/>
                <a:gd name="T11" fmla="*/ 30 h 734"/>
                <a:gd name="T12" fmla="*/ 39 w 1062"/>
                <a:gd name="T13" fmla="*/ 1 h 734"/>
                <a:gd name="T14" fmla="*/ 59 w 1062"/>
                <a:gd name="T15" fmla="*/ 99 h 734"/>
                <a:gd name="T16" fmla="*/ 58 w 1062"/>
                <a:gd name="T17" fmla="*/ 101 h 734"/>
                <a:gd name="T18" fmla="*/ 49 w 1062"/>
                <a:gd name="T19" fmla="*/ 170 h 734"/>
                <a:gd name="T20" fmla="*/ 48 w 1062"/>
                <a:gd name="T21" fmla="*/ 177 h 734"/>
                <a:gd name="T22" fmla="*/ 47 w 1062"/>
                <a:gd name="T23" fmla="*/ 203 h 734"/>
                <a:gd name="T24" fmla="*/ 189 w 1062"/>
                <a:gd name="T25" fmla="*/ 545 h 734"/>
                <a:gd name="T26" fmla="*/ 531 w 1062"/>
                <a:gd name="T27" fmla="*/ 687 h 734"/>
                <a:gd name="T28" fmla="*/ 873 w 1062"/>
                <a:gd name="T29" fmla="*/ 545 h 734"/>
                <a:gd name="T30" fmla="*/ 1015 w 1062"/>
                <a:gd name="T31" fmla="*/ 203 h 734"/>
                <a:gd name="T32" fmla="*/ 1014 w 1062"/>
                <a:gd name="T33" fmla="*/ 177 h 734"/>
                <a:gd name="T34" fmla="*/ 1013 w 1062"/>
                <a:gd name="T35" fmla="*/ 170 h 734"/>
                <a:gd name="T36" fmla="*/ 1004 w 1062"/>
                <a:gd name="T37" fmla="*/ 100 h 734"/>
                <a:gd name="T38" fmla="*/ 1003 w 1062"/>
                <a:gd name="T39" fmla="*/ 99 h 734"/>
                <a:gd name="T40" fmla="*/ 1023 w 1062"/>
                <a:gd name="T41" fmla="*/ 0 h 734"/>
                <a:gd name="T42" fmla="*/ 1033 w 1062"/>
                <a:gd name="T43" fmla="*/ 29 h 734"/>
                <a:gd name="T44" fmla="*/ 1048 w 1062"/>
                <a:gd name="T45" fmla="*/ 84 h 734"/>
                <a:gd name="T46" fmla="*/ 1050 w 1062"/>
                <a:gd name="T47" fmla="*/ 90 h 734"/>
                <a:gd name="T48" fmla="*/ 1050 w 1062"/>
                <a:gd name="T49" fmla="*/ 94 h 734"/>
                <a:gd name="T50" fmla="*/ 1062 w 1062"/>
                <a:gd name="T51" fmla="*/ 203 h 734"/>
                <a:gd name="T52" fmla="*/ 531 w 1062"/>
                <a:gd name="T53" fmla="*/ 734 h 734"/>
                <a:gd name="T54" fmla="*/ 35 w 1062"/>
                <a:gd name="T55" fmla="*/ 66 h 734"/>
                <a:gd name="T56" fmla="*/ 30 w 1062"/>
                <a:gd name="T57" fmla="*/ 88 h 734"/>
                <a:gd name="T58" fmla="*/ 29 w 1062"/>
                <a:gd name="T59" fmla="*/ 94 h 734"/>
                <a:gd name="T60" fmla="*/ 28 w 1062"/>
                <a:gd name="T61" fmla="*/ 98 h 734"/>
                <a:gd name="T62" fmla="*/ 17 w 1062"/>
                <a:gd name="T63" fmla="*/ 203 h 734"/>
                <a:gd name="T64" fmla="*/ 531 w 1062"/>
                <a:gd name="T65" fmla="*/ 717 h 734"/>
                <a:gd name="T66" fmla="*/ 1045 w 1062"/>
                <a:gd name="T67" fmla="*/ 203 h 734"/>
                <a:gd name="T68" fmla="*/ 1034 w 1062"/>
                <a:gd name="T69" fmla="*/ 98 h 734"/>
                <a:gd name="T70" fmla="*/ 1033 w 1062"/>
                <a:gd name="T71" fmla="*/ 93 h 734"/>
                <a:gd name="T72" fmla="*/ 1032 w 1062"/>
                <a:gd name="T73" fmla="*/ 88 h 734"/>
                <a:gd name="T74" fmla="*/ 1027 w 1062"/>
                <a:gd name="T75" fmla="*/ 65 h 734"/>
                <a:gd name="T76" fmla="*/ 1020 w 1062"/>
                <a:gd name="T77" fmla="*/ 99 h 734"/>
                <a:gd name="T78" fmla="*/ 1030 w 1062"/>
                <a:gd name="T79" fmla="*/ 169 h 734"/>
                <a:gd name="T80" fmla="*/ 1030 w 1062"/>
                <a:gd name="T81" fmla="*/ 176 h 734"/>
                <a:gd name="T82" fmla="*/ 1031 w 1062"/>
                <a:gd name="T83" fmla="*/ 203 h 734"/>
                <a:gd name="T84" fmla="*/ 885 w 1062"/>
                <a:gd name="T85" fmla="*/ 557 h 734"/>
                <a:gd name="T86" fmla="*/ 531 w 1062"/>
                <a:gd name="T87" fmla="*/ 703 h 734"/>
                <a:gd name="T88" fmla="*/ 177 w 1062"/>
                <a:gd name="T89" fmla="*/ 557 h 734"/>
                <a:gd name="T90" fmla="*/ 31 w 1062"/>
                <a:gd name="T91" fmla="*/ 203 h 734"/>
                <a:gd name="T92" fmla="*/ 32 w 1062"/>
                <a:gd name="T93" fmla="*/ 176 h 734"/>
                <a:gd name="T94" fmla="*/ 32 w 1062"/>
                <a:gd name="T95" fmla="*/ 169 h 734"/>
                <a:gd name="T96" fmla="*/ 42 w 1062"/>
                <a:gd name="T97" fmla="*/ 99 h 734"/>
                <a:gd name="T98" fmla="*/ 35 w 1062"/>
                <a:gd name="T99" fmla="*/ 66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2" h="734">
                  <a:moveTo>
                    <a:pt x="531" y="734"/>
                  </a:moveTo>
                  <a:cubicBezTo>
                    <a:pt x="238" y="734"/>
                    <a:pt x="0" y="496"/>
                    <a:pt x="0" y="203"/>
                  </a:cubicBezTo>
                  <a:cubicBezTo>
                    <a:pt x="0" y="168"/>
                    <a:pt x="4" y="131"/>
                    <a:pt x="12" y="95"/>
                  </a:cubicBezTo>
                  <a:cubicBezTo>
                    <a:pt x="12" y="91"/>
                    <a:pt x="12" y="91"/>
                    <a:pt x="12" y="91"/>
                  </a:cubicBezTo>
                  <a:cubicBezTo>
                    <a:pt x="13" y="89"/>
                    <a:pt x="13" y="87"/>
                    <a:pt x="14" y="85"/>
                  </a:cubicBezTo>
                  <a:cubicBezTo>
                    <a:pt x="18" y="67"/>
                    <a:pt x="23" y="48"/>
                    <a:pt x="29" y="30"/>
                  </a:cubicBezTo>
                  <a:cubicBezTo>
                    <a:pt x="39" y="1"/>
                    <a:pt x="39" y="1"/>
                    <a:pt x="39" y="1"/>
                  </a:cubicBezTo>
                  <a:cubicBezTo>
                    <a:pt x="59" y="99"/>
                    <a:pt x="59" y="99"/>
                    <a:pt x="59" y="99"/>
                  </a:cubicBezTo>
                  <a:cubicBezTo>
                    <a:pt x="58" y="101"/>
                    <a:pt x="58" y="101"/>
                    <a:pt x="58" y="101"/>
                  </a:cubicBezTo>
                  <a:cubicBezTo>
                    <a:pt x="53" y="124"/>
                    <a:pt x="50" y="147"/>
                    <a:pt x="49" y="170"/>
                  </a:cubicBezTo>
                  <a:cubicBezTo>
                    <a:pt x="48" y="177"/>
                    <a:pt x="48" y="177"/>
                    <a:pt x="48" y="177"/>
                  </a:cubicBezTo>
                  <a:cubicBezTo>
                    <a:pt x="48" y="185"/>
                    <a:pt x="47" y="194"/>
                    <a:pt x="47" y="203"/>
                  </a:cubicBezTo>
                  <a:cubicBezTo>
                    <a:pt x="47" y="332"/>
                    <a:pt x="98" y="454"/>
                    <a:pt x="189" y="545"/>
                  </a:cubicBezTo>
                  <a:cubicBezTo>
                    <a:pt x="280" y="636"/>
                    <a:pt x="402" y="687"/>
                    <a:pt x="531" y="687"/>
                  </a:cubicBezTo>
                  <a:cubicBezTo>
                    <a:pt x="660" y="687"/>
                    <a:pt x="782" y="636"/>
                    <a:pt x="873" y="545"/>
                  </a:cubicBezTo>
                  <a:cubicBezTo>
                    <a:pt x="964" y="454"/>
                    <a:pt x="1015" y="332"/>
                    <a:pt x="1015" y="203"/>
                  </a:cubicBezTo>
                  <a:cubicBezTo>
                    <a:pt x="1015" y="194"/>
                    <a:pt x="1014" y="185"/>
                    <a:pt x="1014" y="177"/>
                  </a:cubicBezTo>
                  <a:cubicBezTo>
                    <a:pt x="1013" y="170"/>
                    <a:pt x="1013" y="170"/>
                    <a:pt x="1013" y="170"/>
                  </a:cubicBezTo>
                  <a:cubicBezTo>
                    <a:pt x="1012" y="147"/>
                    <a:pt x="1009" y="124"/>
                    <a:pt x="1004" y="100"/>
                  </a:cubicBezTo>
                  <a:cubicBezTo>
                    <a:pt x="1003" y="99"/>
                    <a:pt x="1003" y="99"/>
                    <a:pt x="1003" y="99"/>
                  </a:cubicBezTo>
                  <a:cubicBezTo>
                    <a:pt x="1023" y="0"/>
                    <a:pt x="1023" y="0"/>
                    <a:pt x="1023" y="0"/>
                  </a:cubicBezTo>
                  <a:cubicBezTo>
                    <a:pt x="1033" y="29"/>
                    <a:pt x="1033" y="29"/>
                    <a:pt x="1033" y="29"/>
                  </a:cubicBezTo>
                  <a:cubicBezTo>
                    <a:pt x="1039" y="48"/>
                    <a:pt x="1044" y="66"/>
                    <a:pt x="1048" y="84"/>
                  </a:cubicBezTo>
                  <a:cubicBezTo>
                    <a:pt x="1049" y="86"/>
                    <a:pt x="1049" y="88"/>
                    <a:pt x="1050" y="90"/>
                  </a:cubicBezTo>
                  <a:cubicBezTo>
                    <a:pt x="1050" y="94"/>
                    <a:pt x="1050" y="94"/>
                    <a:pt x="1050" y="94"/>
                  </a:cubicBezTo>
                  <a:cubicBezTo>
                    <a:pt x="1058" y="131"/>
                    <a:pt x="1062" y="167"/>
                    <a:pt x="1062" y="203"/>
                  </a:cubicBezTo>
                  <a:cubicBezTo>
                    <a:pt x="1062" y="496"/>
                    <a:pt x="824" y="734"/>
                    <a:pt x="531" y="734"/>
                  </a:cubicBezTo>
                  <a:close/>
                  <a:moveTo>
                    <a:pt x="35" y="66"/>
                  </a:moveTo>
                  <a:cubicBezTo>
                    <a:pt x="33" y="73"/>
                    <a:pt x="31" y="81"/>
                    <a:pt x="30" y="88"/>
                  </a:cubicBezTo>
                  <a:cubicBezTo>
                    <a:pt x="29" y="90"/>
                    <a:pt x="29" y="92"/>
                    <a:pt x="29" y="94"/>
                  </a:cubicBezTo>
                  <a:cubicBezTo>
                    <a:pt x="28" y="98"/>
                    <a:pt x="28" y="98"/>
                    <a:pt x="28" y="98"/>
                  </a:cubicBezTo>
                  <a:cubicBezTo>
                    <a:pt x="20" y="133"/>
                    <a:pt x="17" y="169"/>
                    <a:pt x="17" y="203"/>
                  </a:cubicBezTo>
                  <a:cubicBezTo>
                    <a:pt x="17" y="487"/>
                    <a:pt x="247" y="717"/>
                    <a:pt x="531" y="717"/>
                  </a:cubicBezTo>
                  <a:cubicBezTo>
                    <a:pt x="815" y="717"/>
                    <a:pt x="1045" y="487"/>
                    <a:pt x="1045" y="203"/>
                  </a:cubicBezTo>
                  <a:cubicBezTo>
                    <a:pt x="1045" y="168"/>
                    <a:pt x="1042" y="133"/>
                    <a:pt x="1034" y="98"/>
                  </a:cubicBezTo>
                  <a:cubicBezTo>
                    <a:pt x="1033" y="93"/>
                    <a:pt x="1033" y="93"/>
                    <a:pt x="1033" y="93"/>
                  </a:cubicBezTo>
                  <a:cubicBezTo>
                    <a:pt x="1033" y="92"/>
                    <a:pt x="1033" y="90"/>
                    <a:pt x="1032" y="88"/>
                  </a:cubicBezTo>
                  <a:cubicBezTo>
                    <a:pt x="1031" y="80"/>
                    <a:pt x="1029" y="73"/>
                    <a:pt x="1027" y="65"/>
                  </a:cubicBezTo>
                  <a:cubicBezTo>
                    <a:pt x="1020" y="99"/>
                    <a:pt x="1020" y="99"/>
                    <a:pt x="1020" y="99"/>
                  </a:cubicBezTo>
                  <a:cubicBezTo>
                    <a:pt x="1025" y="122"/>
                    <a:pt x="1028" y="146"/>
                    <a:pt x="1030" y="169"/>
                  </a:cubicBezTo>
                  <a:cubicBezTo>
                    <a:pt x="1030" y="176"/>
                    <a:pt x="1030" y="176"/>
                    <a:pt x="1030" y="176"/>
                  </a:cubicBezTo>
                  <a:cubicBezTo>
                    <a:pt x="1031" y="185"/>
                    <a:pt x="1031" y="194"/>
                    <a:pt x="1031" y="203"/>
                  </a:cubicBezTo>
                  <a:cubicBezTo>
                    <a:pt x="1031" y="337"/>
                    <a:pt x="979" y="462"/>
                    <a:pt x="885" y="557"/>
                  </a:cubicBezTo>
                  <a:cubicBezTo>
                    <a:pt x="790" y="651"/>
                    <a:pt x="665" y="703"/>
                    <a:pt x="531" y="703"/>
                  </a:cubicBezTo>
                  <a:cubicBezTo>
                    <a:pt x="397" y="703"/>
                    <a:pt x="272" y="651"/>
                    <a:pt x="177" y="557"/>
                  </a:cubicBezTo>
                  <a:cubicBezTo>
                    <a:pt x="83" y="462"/>
                    <a:pt x="31" y="337"/>
                    <a:pt x="31" y="203"/>
                  </a:cubicBezTo>
                  <a:cubicBezTo>
                    <a:pt x="31" y="194"/>
                    <a:pt x="31" y="185"/>
                    <a:pt x="32" y="176"/>
                  </a:cubicBezTo>
                  <a:cubicBezTo>
                    <a:pt x="32" y="169"/>
                    <a:pt x="32" y="169"/>
                    <a:pt x="32" y="169"/>
                  </a:cubicBezTo>
                  <a:cubicBezTo>
                    <a:pt x="34" y="146"/>
                    <a:pt x="37" y="122"/>
                    <a:pt x="42" y="99"/>
                  </a:cubicBezTo>
                  <a:lnTo>
                    <a:pt x="3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sp>
          <p:nvSpPr>
            <p:cNvPr id="96" name="Freeform 107">
              <a:extLst>
                <a:ext uri="{FF2B5EF4-FFF2-40B4-BE49-F238E27FC236}">
                  <a16:creationId xmlns:a16="http://schemas.microsoft.com/office/drawing/2014/main" id="{7EF26C7C-4CEB-69D1-D654-BA8183298481}"/>
                </a:ext>
              </a:extLst>
            </p:cNvPr>
            <p:cNvSpPr>
              <a:spLocks/>
            </p:cNvSpPr>
            <p:nvPr/>
          </p:nvSpPr>
          <p:spPr bwMode="auto">
            <a:xfrm>
              <a:off x="2462" y="2229"/>
              <a:ext cx="11" cy="18"/>
            </a:xfrm>
            <a:custGeom>
              <a:avLst/>
              <a:gdLst>
                <a:gd name="T0" fmla="*/ 7 w 11"/>
                <a:gd name="T1" fmla="*/ 18 h 18"/>
                <a:gd name="T2" fmla="*/ 8 w 11"/>
                <a:gd name="T3" fmla="*/ 16 h 18"/>
                <a:gd name="T4" fmla="*/ 11 w 11"/>
                <a:gd name="T5" fmla="*/ 0 h 18"/>
                <a:gd name="T6" fmla="*/ 0 w 11"/>
                <a:gd name="T7" fmla="*/ 10 h 18"/>
                <a:gd name="T8" fmla="*/ 7 w 11"/>
                <a:gd name="T9" fmla="*/ 18 h 18"/>
              </a:gdLst>
              <a:ahLst/>
              <a:cxnLst>
                <a:cxn ang="0">
                  <a:pos x="T0" y="T1"/>
                </a:cxn>
                <a:cxn ang="0">
                  <a:pos x="T2" y="T3"/>
                </a:cxn>
                <a:cxn ang="0">
                  <a:pos x="T4" y="T5"/>
                </a:cxn>
                <a:cxn ang="0">
                  <a:pos x="T6" y="T7"/>
                </a:cxn>
                <a:cxn ang="0">
                  <a:pos x="T8" y="T9"/>
                </a:cxn>
              </a:cxnLst>
              <a:rect l="0" t="0" r="r" b="b"/>
              <a:pathLst>
                <a:path w="11" h="18">
                  <a:moveTo>
                    <a:pt x="7" y="18"/>
                  </a:moveTo>
                  <a:lnTo>
                    <a:pt x="8" y="16"/>
                  </a:lnTo>
                  <a:lnTo>
                    <a:pt x="11" y="0"/>
                  </a:lnTo>
                  <a:lnTo>
                    <a:pt x="0" y="10"/>
                  </a:ln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IN" sz="1799" kern="0">
                <a:solidFill>
                  <a:srgbClr val="FFFFFF"/>
                </a:solidFill>
                <a:latin typeface="EYInterstate Light"/>
              </a:endParaRPr>
            </a:p>
          </p:txBody>
        </p:sp>
      </p:grpSp>
      <p:sp>
        <p:nvSpPr>
          <p:cNvPr id="97" name="Content Placeholder 2" descr="Progress Diagram.">
            <a:extLst>
              <a:ext uri="{FF2B5EF4-FFF2-40B4-BE49-F238E27FC236}">
                <a16:creationId xmlns:a16="http://schemas.microsoft.com/office/drawing/2014/main" id="{5A6681DF-39D1-80C4-B43C-3DD4B4B946CF}"/>
              </a:ext>
            </a:extLst>
          </p:cNvPr>
          <p:cNvSpPr txBox="1">
            <a:spLocks/>
          </p:cNvSpPr>
          <p:nvPr/>
        </p:nvSpPr>
        <p:spPr>
          <a:xfrm>
            <a:off x="3498799" y="3313023"/>
            <a:ext cx="2518688" cy="2043358"/>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AE154B"/>
              </a:buClr>
              <a:buSzPct val="100000"/>
              <a:buNone/>
            </a:pPr>
            <a:r>
              <a:rPr lang="en-US" sz="1099" b="1">
                <a:solidFill>
                  <a:srgbClr val="1A1A24"/>
                </a:solidFill>
                <a:latin typeface="EYInterstate Regular" panose="02000503020000020004" pitchFamily="2" charset="0"/>
              </a:rPr>
              <a:t>Onboarding, information gathering and script tailoring </a:t>
            </a:r>
            <a:endParaRPr lang="en-GB" sz="1099" b="1">
              <a:solidFill>
                <a:schemeClr val="tx1"/>
              </a:solidFill>
              <a:latin typeface="EYInterstate Regular" panose="02000503020000020004" pitchFamily="2" charset="0"/>
            </a:endParaRPr>
          </a:p>
          <a:p>
            <a:pPr marL="182472" indent="-182472">
              <a:buClr>
                <a:srgbClr val="AE154B"/>
              </a:buClr>
              <a:buSzPct val="100000"/>
              <a:buFont typeface="Wingdings" panose="05000000000000000000" pitchFamily="2" charset="2"/>
              <a:buChar char="§"/>
              <a:defRPr/>
            </a:pPr>
            <a:r>
              <a:rPr lang="en-GB" sz="1099">
                <a:solidFill>
                  <a:schemeClr val="tx1"/>
                </a:solidFill>
              </a:rPr>
              <a:t>Understand the environment through information gathering of the Linux servers and database (DB) </a:t>
            </a:r>
          </a:p>
          <a:p>
            <a:pPr marL="182472" indent="-182472">
              <a:buClr>
                <a:srgbClr val="AE154B"/>
              </a:buClr>
              <a:buSzPct val="100000"/>
              <a:buFont typeface="Wingdings" panose="05000000000000000000" pitchFamily="2" charset="2"/>
              <a:buChar char="§"/>
              <a:defRPr/>
            </a:pPr>
            <a:r>
              <a:rPr lang="en-GB" sz="1099">
                <a:solidFill>
                  <a:schemeClr val="tx1"/>
                </a:solidFill>
              </a:rPr>
              <a:t>Develop, test and troubleshoot scripts that will effectively meet the project requirements.</a:t>
            </a:r>
          </a:p>
        </p:txBody>
      </p:sp>
      <p:sp>
        <p:nvSpPr>
          <p:cNvPr id="98" name="Freeform: Shape 97">
            <a:extLst>
              <a:ext uri="{FF2B5EF4-FFF2-40B4-BE49-F238E27FC236}">
                <a16:creationId xmlns:a16="http://schemas.microsoft.com/office/drawing/2014/main" id="{108CCD6E-F43E-C89F-EE0F-C310784E24B6}"/>
              </a:ext>
            </a:extLst>
          </p:cNvPr>
          <p:cNvSpPr>
            <a:spLocks/>
          </p:cNvSpPr>
          <p:nvPr/>
        </p:nvSpPr>
        <p:spPr>
          <a:xfrm>
            <a:off x="9195093" y="973779"/>
            <a:ext cx="1665847" cy="632699"/>
          </a:xfrm>
          <a:custGeom>
            <a:avLst/>
            <a:gdLst>
              <a:gd name="connsiteX0" fmla="*/ 1169078 w 2517798"/>
              <a:gd name="connsiteY0" fmla="*/ 810 h 956275"/>
              <a:gd name="connsiteX1" fmla="*/ 1698218 w 2517798"/>
              <a:gd name="connsiteY1" fmla="*/ 71876 h 956275"/>
              <a:gd name="connsiteX2" fmla="*/ 2319051 w 2517798"/>
              <a:gd name="connsiteY2" fmla="*/ 410970 h 956275"/>
              <a:gd name="connsiteX3" fmla="*/ 2460574 w 2517798"/>
              <a:gd name="connsiteY3" fmla="*/ 288229 h 956275"/>
              <a:gd name="connsiteX4" fmla="*/ 2515670 w 2517798"/>
              <a:gd name="connsiteY4" fmla="*/ 313006 h 956275"/>
              <a:gd name="connsiteX5" fmla="*/ 2517798 w 2517798"/>
              <a:gd name="connsiteY5" fmla="*/ 893184 h 956275"/>
              <a:gd name="connsiteX6" fmla="*/ 2446504 w 2517798"/>
              <a:gd name="connsiteY6" fmla="*/ 955608 h 956275"/>
              <a:gd name="connsiteX7" fmla="*/ 1869890 w 2517798"/>
              <a:gd name="connsiteY7" fmla="*/ 874911 h 956275"/>
              <a:gd name="connsiteX8" fmla="*/ 1852628 w 2517798"/>
              <a:gd name="connsiteY8" fmla="*/ 817846 h 956275"/>
              <a:gd name="connsiteX9" fmla="*/ 1988713 w 2517798"/>
              <a:gd name="connsiteY9" fmla="*/ 699456 h 956275"/>
              <a:gd name="connsiteX10" fmla="*/ 1643122 w 2517798"/>
              <a:gd name="connsiteY10" fmla="*/ 505682 h 956275"/>
              <a:gd name="connsiteX11" fmla="*/ 817040 w 2517798"/>
              <a:gd name="connsiteY11" fmla="*/ 491667 h 956275"/>
              <a:gd name="connsiteX12" fmla="*/ 293393 w 2517798"/>
              <a:gd name="connsiteY12" fmla="*/ 808136 h 956275"/>
              <a:gd name="connsiteX13" fmla="*/ 103277 w 2517798"/>
              <a:gd name="connsiteY13" fmla="*/ 793068 h 956275"/>
              <a:gd name="connsiteX14" fmla="*/ 65561 w 2517798"/>
              <a:gd name="connsiteY14" fmla="*/ 455074 h 956275"/>
              <a:gd name="connsiteX15" fmla="*/ 811719 w 2517798"/>
              <a:gd name="connsiteY15" fmla="*/ 48198 h 956275"/>
              <a:gd name="connsiteX16" fmla="*/ 1169078 w 2517798"/>
              <a:gd name="connsiteY16" fmla="*/ 810 h 95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7798" h="956275">
                <a:moveTo>
                  <a:pt x="1169078" y="810"/>
                </a:moveTo>
                <a:cubicBezTo>
                  <a:pt x="1362035" y="-5080"/>
                  <a:pt x="1542966" y="21412"/>
                  <a:pt x="1698218" y="71876"/>
                </a:cubicBezTo>
                <a:cubicBezTo>
                  <a:pt x="1957381" y="148314"/>
                  <a:pt x="2204603" y="319464"/>
                  <a:pt x="2319051" y="410970"/>
                </a:cubicBezTo>
                <a:lnTo>
                  <a:pt x="2460574" y="288229"/>
                </a:lnTo>
                <a:cubicBezTo>
                  <a:pt x="2490841" y="262399"/>
                  <a:pt x="2515670" y="273162"/>
                  <a:pt x="2515670" y="313006"/>
                </a:cubicBezTo>
                <a:lnTo>
                  <a:pt x="2517798" y="893184"/>
                </a:lnTo>
                <a:cubicBezTo>
                  <a:pt x="2517798" y="933029"/>
                  <a:pt x="2485402" y="961012"/>
                  <a:pt x="2446504" y="955608"/>
                </a:cubicBezTo>
                <a:lnTo>
                  <a:pt x="1869890" y="874911"/>
                </a:lnTo>
                <a:cubicBezTo>
                  <a:pt x="1830992" y="869507"/>
                  <a:pt x="1822361" y="843676"/>
                  <a:pt x="1852628" y="817846"/>
                </a:cubicBezTo>
                <a:lnTo>
                  <a:pt x="1988713" y="699456"/>
                </a:lnTo>
                <a:cubicBezTo>
                  <a:pt x="1902286" y="636986"/>
                  <a:pt x="1778142" y="556289"/>
                  <a:pt x="1643122" y="505682"/>
                </a:cubicBezTo>
                <a:cubicBezTo>
                  <a:pt x="1364569" y="401261"/>
                  <a:pt x="1065444" y="406665"/>
                  <a:pt x="817040" y="491667"/>
                </a:cubicBezTo>
                <a:cubicBezTo>
                  <a:pt x="480199" y="606851"/>
                  <a:pt x="383012" y="772642"/>
                  <a:pt x="293393" y="808136"/>
                </a:cubicBezTo>
                <a:cubicBezTo>
                  <a:pt x="231794" y="832913"/>
                  <a:pt x="159437" y="827555"/>
                  <a:pt x="103277" y="793068"/>
                </a:cubicBezTo>
                <a:cubicBezTo>
                  <a:pt x="-16610" y="720981"/>
                  <a:pt x="-36000" y="550885"/>
                  <a:pt x="65561" y="455074"/>
                </a:cubicBezTo>
                <a:cubicBezTo>
                  <a:pt x="258751" y="261346"/>
                  <a:pt x="588144" y="93402"/>
                  <a:pt x="811719" y="48198"/>
                </a:cubicBezTo>
                <a:cubicBezTo>
                  <a:pt x="933202" y="19534"/>
                  <a:pt x="1053305" y="4343"/>
                  <a:pt x="1169078" y="810"/>
                </a:cubicBezTo>
                <a:close/>
              </a:path>
            </a:pathLst>
          </a:custGeom>
          <a:solidFill>
            <a:srgbClr val="685E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US" sz="2999" kern="0">
              <a:solidFill>
                <a:srgbClr val="FFFFFF"/>
              </a:solidFill>
              <a:latin typeface="EYInterstate Regular" panose="02000503020000020004" pitchFamily="2" charset="0"/>
            </a:endParaRPr>
          </a:p>
        </p:txBody>
      </p:sp>
      <p:sp>
        <p:nvSpPr>
          <p:cNvPr id="99" name="Freeform: Shape 98">
            <a:extLst>
              <a:ext uri="{FF2B5EF4-FFF2-40B4-BE49-F238E27FC236}">
                <a16:creationId xmlns:a16="http://schemas.microsoft.com/office/drawing/2014/main" id="{205DC18D-5403-2B39-3796-CA37E5B8D2A8}"/>
              </a:ext>
            </a:extLst>
          </p:cNvPr>
          <p:cNvSpPr>
            <a:spLocks/>
          </p:cNvSpPr>
          <p:nvPr/>
        </p:nvSpPr>
        <p:spPr>
          <a:xfrm>
            <a:off x="6551730" y="973803"/>
            <a:ext cx="4346571" cy="2205481"/>
          </a:xfrm>
          <a:custGeom>
            <a:avLst/>
            <a:gdLst>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443800 w 7726630"/>
              <a:gd name="connsiteY24" fmla="*/ 1754240 h 3920548"/>
              <a:gd name="connsiteX25" fmla="*/ 3394038 w 7726630"/>
              <a:gd name="connsiteY25" fmla="*/ 1877596 h 3920548"/>
              <a:gd name="connsiteX26" fmla="*/ 3264524 w 7726630"/>
              <a:gd name="connsiteY26" fmla="*/ 1742934 h 3920548"/>
              <a:gd name="connsiteX27" fmla="*/ 2002166 w 7726630"/>
              <a:gd name="connsiteY27" fmla="*/ 626688 h 3920548"/>
              <a:gd name="connsiteX28" fmla="*/ 427389 w 7726630"/>
              <a:gd name="connsiteY28" fmla="*/ 900950 h 3920548"/>
              <a:gd name="connsiteX29" fmla="*/ 134002 w 7726630"/>
              <a:gd name="connsiteY29" fmla="*/ 942886 h 3920548"/>
              <a:gd name="connsiteX30" fmla="*/ 89597 w 7726630"/>
              <a:gd name="connsiteY30" fmla="*/ 526321 h 3920548"/>
              <a:gd name="connsiteX31" fmla="*/ 1501103 w 7726630"/>
              <a:gd name="connsiteY31"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394038 w 7726630"/>
              <a:gd name="connsiteY24" fmla="*/ 1877596 h 3920548"/>
              <a:gd name="connsiteX25" fmla="*/ 3264524 w 7726630"/>
              <a:gd name="connsiteY25" fmla="*/ 1742934 h 3920548"/>
              <a:gd name="connsiteX26" fmla="*/ 2002166 w 7726630"/>
              <a:gd name="connsiteY26" fmla="*/ 626688 h 3920548"/>
              <a:gd name="connsiteX27" fmla="*/ 427389 w 7726630"/>
              <a:gd name="connsiteY27" fmla="*/ 900950 h 3920548"/>
              <a:gd name="connsiteX28" fmla="*/ 134002 w 7726630"/>
              <a:gd name="connsiteY28" fmla="*/ 942886 h 3920548"/>
              <a:gd name="connsiteX29" fmla="*/ 89597 w 7726630"/>
              <a:gd name="connsiteY29" fmla="*/ 526321 h 3920548"/>
              <a:gd name="connsiteX30" fmla="*/ 1501103 w 7726630"/>
              <a:gd name="connsiteY30"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394038 w 7726630"/>
              <a:gd name="connsiteY23" fmla="*/ 1877596 h 3920548"/>
              <a:gd name="connsiteX24" fmla="*/ 3264524 w 7726630"/>
              <a:gd name="connsiteY24" fmla="*/ 1742934 h 3920548"/>
              <a:gd name="connsiteX25" fmla="*/ 2002166 w 7726630"/>
              <a:gd name="connsiteY25" fmla="*/ 626688 h 3920548"/>
              <a:gd name="connsiteX26" fmla="*/ 427389 w 7726630"/>
              <a:gd name="connsiteY26" fmla="*/ 900950 h 3920548"/>
              <a:gd name="connsiteX27" fmla="*/ 134002 w 7726630"/>
              <a:gd name="connsiteY27" fmla="*/ 942886 h 3920548"/>
              <a:gd name="connsiteX28" fmla="*/ 89597 w 7726630"/>
              <a:gd name="connsiteY28" fmla="*/ 526321 h 3920548"/>
              <a:gd name="connsiteX29" fmla="*/ 1501103 w 7726630"/>
              <a:gd name="connsiteY29"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3394038 w 7726630"/>
              <a:gd name="connsiteY22" fmla="*/ 1877596 h 3920548"/>
              <a:gd name="connsiteX23" fmla="*/ 3264524 w 7726630"/>
              <a:gd name="connsiteY23" fmla="*/ 1742934 h 3920548"/>
              <a:gd name="connsiteX24" fmla="*/ 2002166 w 7726630"/>
              <a:gd name="connsiteY24" fmla="*/ 626688 h 3920548"/>
              <a:gd name="connsiteX25" fmla="*/ 427389 w 7726630"/>
              <a:gd name="connsiteY25" fmla="*/ 900950 h 3920548"/>
              <a:gd name="connsiteX26" fmla="*/ 134002 w 7726630"/>
              <a:gd name="connsiteY26" fmla="*/ 942886 h 3920548"/>
              <a:gd name="connsiteX27" fmla="*/ 89597 w 7726630"/>
              <a:gd name="connsiteY27" fmla="*/ 526321 h 3920548"/>
              <a:gd name="connsiteX28" fmla="*/ 1501103 w 7726630"/>
              <a:gd name="connsiteY28"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3394038 w 7726630"/>
              <a:gd name="connsiteY21" fmla="*/ 1877596 h 3920548"/>
              <a:gd name="connsiteX22" fmla="*/ 3264524 w 7726630"/>
              <a:gd name="connsiteY22" fmla="*/ 1742934 h 3920548"/>
              <a:gd name="connsiteX23" fmla="*/ 2002166 w 7726630"/>
              <a:gd name="connsiteY23" fmla="*/ 626688 h 3920548"/>
              <a:gd name="connsiteX24" fmla="*/ 427389 w 7726630"/>
              <a:gd name="connsiteY24" fmla="*/ 900950 h 3920548"/>
              <a:gd name="connsiteX25" fmla="*/ 134002 w 7726630"/>
              <a:gd name="connsiteY25" fmla="*/ 942886 h 3920548"/>
              <a:gd name="connsiteX26" fmla="*/ 89597 w 7726630"/>
              <a:gd name="connsiteY26" fmla="*/ 526321 h 3920548"/>
              <a:gd name="connsiteX27" fmla="*/ 1501103 w 7726630"/>
              <a:gd name="connsiteY27"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314136 w 7726630"/>
              <a:gd name="connsiteY6" fmla="*/ 2108176 h 3920548"/>
              <a:gd name="connsiteX7" fmla="*/ 4457569 w 7726630"/>
              <a:gd name="connsiteY7" fmla="*/ 2259327 h 3920548"/>
              <a:gd name="connsiteX8" fmla="*/ 6414726 w 7726630"/>
              <a:gd name="connsiteY8" fmla="*/ 3407390 h 3920548"/>
              <a:gd name="connsiteX9" fmla="*/ 7127167 w 7726630"/>
              <a:gd name="connsiteY9" fmla="*/ 3100088 h 3920548"/>
              <a:gd name="connsiteX10" fmla="*/ 7026764 w 7726630"/>
              <a:gd name="connsiteY10" fmla="*/ 2999730 h 3920548"/>
              <a:gd name="connsiteX11" fmla="*/ 7063672 w 7726630"/>
              <a:gd name="connsiteY11" fmla="*/ 2907004 h 3920548"/>
              <a:gd name="connsiteX12" fmla="*/ 7602070 w 7726630"/>
              <a:gd name="connsiteY12" fmla="*/ 2896828 h 3920548"/>
              <a:gd name="connsiteX13" fmla="*/ 7726611 w 7726630"/>
              <a:gd name="connsiteY13" fmla="*/ 3023854 h 3920548"/>
              <a:gd name="connsiteX14" fmla="*/ 7716466 w 7726630"/>
              <a:gd name="connsiteY14" fmla="*/ 3562313 h 3920548"/>
              <a:gd name="connsiteX15" fmla="*/ 7623759 w 7726630"/>
              <a:gd name="connsiteY15" fmla="*/ 3599158 h 3920548"/>
              <a:gd name="connsiteX16" fmla="*/ 7485224 w 7726630"/>
              <a:gd name="connsiteY16" fmla="*/ 3460727 h 3920548"/>
              <a:gd name="connsiteX17" fmla="*/ 6450234 w 7726630"/>
              <a:gd name="connsiteY17" fmla="*/ 3911636 h 3920548"/>
              <a:gd name="connsiteX18" fmla="*/ 4124875 w 7726630"/>
              <a:gd name="connsiteY18" fmla="*/ 2639003 h 3920548"/>
              <a:gd name="connsiteX19" fmla="*/ 3949607 w 7726630"/>
              <a:gd name="connsiteY19" fmla="*/ 2457411 h 3920548"/>
              <a:gd name="connsiteX20" fmla="*/ 3394038 w 7726630"/>
              <a:gd name="connsiteY20" fmla="*/ 1877596 h 3920548"/>
              <a:gd name="connsiteX21" fmla="*/ 3264524 w 7726630"/>
              <a:gd name="connsiteY21" fmla="*/ 1742934 h 3920548"/>
              <a:gd name="connsiteX22" fmla="*/ 2002166 w 7726630"/>
              <a:gd name="connsiteY22" fmla="*/ 626688 h 3920548"/>
              <a:gd name="connsiteX23" fmla="*/ 427389 w 7726630"/>
              <a:gd name="connsiteY23" fmla="*/ 900950 h 3920548"/>
              <a:gd name="connsiteX24" fmla="*/ 134002 w 7726630"/>
              <a:gd name="connsiteY24" fmla="*/ 942886 h 3920548"/>
              <a:gd name="connsiteX25" fmla="*/ 89597 w 7726630"/>
              <a:gd name="connsiteY25" fmla="*/ 526321 h 3920548"/>
              <a:gd name="connsiteX26" fmla="*/ 1501103 w 7726630"/>
              <a:gd name="connsiteY26"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4314136 w 7726630"/>
              <a:gd name="connsiteY5" fmla="*/ 2108176 h 3920548"/>
              <a:gd name="connsiteX6" fmla="*/ 4457569 w 7726630"/>
              <a:gd name="connsiteY6" fmla="*/ 2259327 h 3920548"/>
              <a:gd name="connsiteX7" fmla="*/ 6414726 w 7726630"/>
              <a:gd name="connsiteY7" fmla="*/ 3407390 h 3920548"/>
              <a:gd name="connsiteX8" fmla="*/ 7127167 w 7726630"/>
              <a:gd name="connsiteY8" fmla="*/ 3100088 h 3920548"/>
              <a:gd name="connsiteX9" fmla="*/ 7026764 w 7726630"/>
              <a:gd name="connsiteY9" fmla="*/ 2999730 h 3920548"/>
              <a:gd name="connsiteX10" fmla="*/ 7063672 w 7726630"/>
              <a:gd name="connsiteY10" fmla="*/ 2907004 h 3920548"/>
              <a:gd name="connsiteX11" fmla="*/ 7602070 w 7726630"/>
              <a:gd name="connsiteY11" fmla="*/ 2896828 h 3920548"/>
              <a:gd name="connsiteX12" fmla="*/ 7726611 w 7726630"/>
              <a:gd name="connsiteY12" fmla="*/ 3023854 h 3920548"/>
              <a:gd name="connsiteX13" fmla="*/ 7716466 w 7726630"/>
              <a:gd name="connsiteY13" fmla="*/ 3562313 h 3920548"/>
              <a:gd name="connsiteX14" fmla="*/ 7623759 w 7726630"/>
              <a:gd name="connsiteY14" fmla="*/ 3599158 h 3920548"/>
              <a:gd name="connsiteX15" fmla="*/ 7485224 w 7726630"/>
              <a:gd name="connsiteY15" fmla="*/ 3460727 h 3920548"/>
              <a:gd name="connsiteX16" fmla="*/ 6450234 w 7726630"/>
              <a:gd name="connsiteY16" fmla="*/ 3911636 h 3920548"/>
              <a:gd name="connsiteX17" fmla="*/ 4124875 w 7726630"/>
              <a:gd name="connsiteY17" fmla="*/ 2639003 h 3920548"/>
              <a:gd name="connsiteX18" fmla="*/ 3949607 w 7726630"/>
              <a:gd name="connsiteY18" fmla="*/ 2457411 h 3920548"/>
              <a:gd name="connsiteX19" fmla="*/ 3394038 w 7726630"/>
              <a:gd name="connsiteY19" fmla="*/ 1877596 h 3920548"/>
              <a:gd name="connsiteX20" fmla="*/ 3264524 w 7726630"/>
              <a:gd name="connsiteY20" fmla="*/ 1742934 h 3920548"/>
              <a:gd name="connsiteX21" fmla="*/ 2002166 w 7726630"/>
              <a:gd name="connsiteY21" fmla="*/ 626688 h 3920548"/>
              <a:gd name="connsiteX22" fmla="*/ 427389 w 7726630"/>
              <a:gd name="connsiteY22" fmla="*/ 900950 h 3920548"/>
              <a:gd name="connsiteX23" fmla="*/ 134002 w 7726630"/>
              <a:gd name="connsiteY23" fmla="*/ 942886 h 3920548"/>
              <a:gd name="connsiteX24" fmla="*/ 89597 w 7726630"/>
              <a:gd name="connsiteY24" fmla="*/ 526321 h 3920548"/>
              <a:gd name="connsiteX25" fmla="*/ 1501103 w 7726630"/>
              <a:gd name="connsiteY25"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4314136 w 7726630"/>
              <a:gd name="connsiteY4" fmla="*/ 2108176 h 3920548"/>
              <a:gd name="connsiteX5" fmla="*/ 4457569 w 7726630"/>
              <a:gd name="connsiteY5" fmla="*/ 2259327 h 3920548"/>
              <a:gd name="connsiteX6" fmla="*/ 6414726 w 7726630"/>
              <a:gd name="connsiteY6" fmla="*/ 3407390 h 3920548"/>
              <a:gd name="connsiteX7" fmla="*/ 7127167 w 7726630"/>
              <a:gd name="connsiteY7" fmla="*/ 3100088 h 3920548"/>
              <a:gd name="connsiteX8" fmla="*/ 7026764 w 7726630"/>
              <a:gd name="connsiteY8" fmla="*/ 2999730 h 3920548"/>
              <a:gd name="connsiteX9" fmla="*/ 7063672 w 7726630"/>
              <a:gd name="connsiteY9" fmla="*/ 2907004 h 3920548"/>
              <a:gd name="connsiteX10" fmla="*/ 7602070 w 7726630"/>
              <a:gd name="connsiteY10" fmla="*/ 2896828 h 3920548"/>
              <a:gd name="connsiteX11" fmla="*/ 7726611 w 7726630"/>
              <a:gd name="connsiteY11" fmla="*/ 3023854 h 3920548"/>
              <a:gd name="connsiteX12" fmla="*/ 7716466 w 7726630"/>
              <a:gd name="connsiteY12" fmla="*/ 3562313 h 3920548"/>
              <a:gd name="connsiteX13" fmla="*/ 7623759 w 7726630"/>
              <a:gd name="connsiteY13" fmla="*/ 3599158 h 3920548"/>
              <a:gd name="connsiteX14" fmla="*/ 7485224 w 7726630"/>
              <a:gd name="connsiteY14" fmla="*/ 3460727 h 3920548"/>
              <a:gd name="connsiteX15" fmla="*/ 6450234 w 7726630"/>
              <a:gd name="connsiteY15" fmla="*/ 3911636 h 3920548"/>
              <a:gd name="connsiteX16" fmla="*/ 4124875 w 7726630"/>
              <a:gd name="connsiteY16" fmla="*/ 2639003 h 3920548"/>
              <a:gd name="connsiteX17" fmla="*/ 3949607 w 7726630"/>
              <a:gd name="connsiteY17" fmla="*/ 2457411 h 3920548"/>
              <a:gd name="connsiteX18" fmla="*/ 3394038 w 7726630"/>
              <a:gd name="connsiteY18" fmla="*/ 1877596 h 3920548"/>
              <a:gd name="connsiteX19" fmla="*/ 3264524 w 7726630"/>
              <a:gd name="connsiteY19" fmla="*/ 1742934 h 3920548"/>
              <a:gd name="connsiteX20" fmla="*/ 2002166 w 7726630"/>
              <a:gd name="connsiteY20" fmla="*/ 626688 h 3920548"/>
              <a:gd name="connsiteX21" fmla="*/ 427389 w 7726630"/>
              <a:gd name="connsiteY21" fmla="*/ 900950 h 3920548"/>
              <a:gd name="connsiteX22" fmla="*/ 134002 w 7726630"/>
              <a:gd name="connsiteY22" fmla="*/ 942886 h 3920548"/>
              <a:gd name="connsiteX23" fmla="*/ 89597 w 7726630"/>
              <a:gd name="connsiteY23" fmla="*/ 526321 h 3920548"/>
              <a:gd name="connsiteX24" fmla="*/ 1501103 w 7726630"/>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30" h="3920548">
                <a:moveTo>
                  <a:pt x="1501103" y="914"/>
                </a:moveTo>
                <a:cubicBezTo>
                  <a:pt x="1679131" y="6348"/>
                  <a:pt x="1855737" y="36111"/>
                  <a:pt x="2022430" y="93260"/>
                </a:cubicBezTo>
                <a:cubicBezTo>
                  <a:pt x="2560923" y="277407"/>
                  <a:pt x="2874574" y="570773"/>
                  <a:pt x="3602316" y="1367093"/>
                </a:cubicBezTo>
                <a:cubicBezTo>
                  <a:pt x="3618880" y="1383588"/>
                  <a:pt x="3675971" y="1444535"/>
                  <a:pt x="3755970" y="1527103"/>
                </a:cubicBezTo>
                <a:lnTo>
                  <a:pt x="4314136" y="2108176"/>
                </a:lnTo>
                <a:lnTo>
                  <a:pt x="4457569" y="2259327"/>
                </a:lnTo>
                <a:cubicBezTo>
                  <a:pt x="5153568" y="3021310"/>
                  <a:pt x="5746714" y="3515380"/>
                  <a:pt x="6414726" y="3407390"/>
                </a:cubicBezTo>
                <a:cubicBezTo>
                  <a:pt x="6779080" y="3347737"/>
                  <a:pt x="6991256" y="3211850"/>
                  <a:pt x="7127167" y="3100088"/>
                </a:cubicBezTo>
                <a:lnTo>
                  <a:pt x="7026764" y="2999730"/>
                </a:lnTo>
                <a:cubicBezTo>
                  <a:pt x="6977262" y="2950165"/>
                  <a:pt x="6993705" y="2908320"/>
                  <a:pt x="7063672" y="2907004"/>
                </a:cubicBezTo>
                <a:lnTo>
                  <a:pt x="7602070" y="2896828"/>
                </a:lnTo>
                <a:cubicBezTo>
                  <a:pt x="7672036" y="2895600"/>
                  <a:pt x="7727836" y="2952709"/>
                  <a:pt x="7726611" y="3023854"/>
                </a:cubicBezTo>
                <a:lnTo>
                  <a:pt x="7716466" y="3562313"/>
                </a:lnTo>
                <a:cubicBezTo>
                  <a:pt x="7715066" y="3632230"/>
                  <a:pt x="7673261" y="3648723"/>
                  <a:pt x="7623759" y="3599158"/>
                </a:cubicBezTo>
                <a:lnTo>
                  <a:pt x="7485224" y="3460727"/>
                </a:lnTo>
                <a:cubicBezTo>
                  <a:pt x="7266752" y="3643635"/>
                  <a:pt x="6873186" y="3873475"/>
                  <a:pt x="6450234" y="3911636"/>
                </a:cubicBezTo>
                <a:cubicBezTo>
                  <a:pt x="5441832" y="4003046"/>
                  <a:pt x="4831019" y="3378177"/>
                  <a:pt x="4124875" y="2639003"/>
                </a:cubicBezTo>
                <a:cubicBezTo>
                  <a:pt x="4122251" y="2637775"/>
                  <a:pt x="4051234" y="2562857"/>
                  <a:pt x="3949607" y="2457411"/>
                </a:cubicBezTo>
                <a:lnTo>
                  <a:pt x="3394038" y="1877596"/>
                </a:lnTo>
                <a:lnTo>
                  <a:pt x="3264524" y="1742934"/>
                </a:lnTo>
                <a:cubicBezTo>
                  <a:pt x="2567267" y="981002"/>
                  <a:pt x="2356521" y="793035"/>
                  <a:pt x="2002166" y="626688"/>
                </a:cubicBezTo>
                <a:cubicBezTo>
                  <a:pt x="1498033" y="389143"/>
                  <a:pt x="826149" y="513647"/>
                  <a:pt x="427389" y="900950"/>
                </a:cubicBezTo>
                <a:cubicBezTo>
                  <a:pt x="349857" y="975876"/>
                  <a:pt x="229330" y="993676"/>
                  <a:pt x="134002" y="942886"/>
                </a:cubicBezTo>
                <a:cubicBezTo>
                  <a:pt x="-19652" y="861623"/>
                  <a:pt x="-50136" y="644394"/>
                  <a:pt x="89597" y="526321"/>
                </a:cubicBezTo>
                <a:cubicBezTo>
                  <a:pt x="420120" y="187267"/>
                  <a:pt x="967017" y="-15389"/>
                  <a:pt x="1501103" y="914"/>
                </a:cubicBezTo>
                <a:close/>
              </a:path>
            </a:pathLst>
          </a:custGeom>
          <a:solidFill>
            <a:srgbClr val="9E8F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100" name="Oval 99">
            <a:extLst>
              <a:ext uri="{FF2B5EF4-FFF2-40B4-BE49-F238E27FC236}">
                <a16:creationId xmlns:a16="http://schemas.microsoft.com/office/drawing/2014/main" id="{81FAD3B6-7B96-B641-96AF-65D11867477C}"/>
              </a:ext>
            </a:extLst>
          </p:cNvPr>
          <p:cNvSpPr>
            <a:spLocks/>
          </p:cNvSpPr>
          <p:nvPr/>
        </p:nvSpPr>
        <p:spPr>
          <a:xfrm>
            <a:off x="10481422" y="1820558"/>
            <a:ext cx="526624" cy="526624"/>
          </a:xfrm>
          <a:prstGeom prst="ellipse">
            <a:avLst/>
          </a:prstGeom>
          <a:solidFill>
            <a:schemeClr val="tx1">
              <a:lumMod val="50000"/>
              <a:lumOff val="50000"/>
            </a:schemeClr>
          </a:solidFill>
          <a:ln w="12700" cap="flat" cmpd="sng" algn="ctr">
            <a:noFill/>
            <a:prstDash val="solid"/>
            <a:miter lim="800000"/>
          </a:ln>
          <a:effectLst/>
        </p:spPr>
        <p:txBody>
          <a:bodyPr lIns="0" rIns="0" rtlCol="0" anchor="ctr"/>
          <a:lstStyle/>
          <a:p>
            <a:pPr algn="ctr">
              <a:defRPr/>
            </a:pPr>
            <a:r>
              <a:rPr lang="en-US" sz="1799" b="1" kern="0">
                <a:solidFill>
                  <a:prstClr val="white"/>
                </a:solidFill>
                <a:latin typeface="EYInterstate Regular" panose="02000503020000020004" pitchFamily="2" charset="0"/>
              </a:rPr>
              <a:t>04</a:t>
            </a:r>
          </a:p>
        </p:txBody>
      </p:sp>
      <p:grpSp>
        <p:nvGrpSpPr>
          <p:cNvPr id="101" name="Group 108">
            <a:extLst>
              <a:ext uri="{FF2B5EF4-FFF2-40B4-BE49-F238E27FC236}">
                <a16:creationId xmlns:a16="http://schemas.microsoft.com/office/drawing/2014/main" id="{D6FF7CA8-C7C0-EBD8-80E1-C12E67414797}"/>
              </a:ext>
            </a:extLst>
          </p:cNvPr>
          <p:cNvGrpSpPr>
            <a:grpSpLocks noChangeAspect="1"/>
          </p:cNvGrpSpPr>
          <p:nvPr/>
        </p:nvGrpSpPr>
        <p:grpSpPr bwMode="auto">
          <a:xfrm>
            <a:off x="7148331" y="1814743"/>
            <a:ext cx="616654" cy="572952"/>
            <a:chOff x="3164" y="3022"/>
            <a:chExt cx="762" cy="708"/>
          </a:xfrm>
          <a:solidFill>
            <a:schemeClr val="bg1"/>
          </a:solidFill>
        </p:grpSpPr>
        <p:sp>
          <p:nvSpPr>
            <p:cNvPr id="102" name="Freeform 109">
              <a:extLst>
                <a:ext uri="{FF2B5EF4-FFF2-40B4-BE49-F238E27FC236}">
                  <a16:creationId xmlns:a16="http://schemas.microsoft.com/office/drawing/2014/main" id="{4C3C2F95-E9D0-52E7-3E78-34ED09B00541}"/>
                </a:ext>
              </a:extLst>
            </p:cNvPr>
            <p:cNvSpPr>
              <a:spLocks noEditPoints="1"/>
            </p:cNvSpPr>
            <p:nvPr/>
          </p:nvSpPr>
          <p:spPr bwMode="auto">
            <a:xfrm>
              <a:off x="3164" y="3022"/>
              <a:ext cx="762" cy="506"/>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3" name="Freeform 110">
              <a:extLst>
                <a:ext uri="{FF2B5EF4-FFF2-40B4-BE49-F238E27FC236}">
                  <a16:creationId xmlns:a16="http://schemas.microsoft.com/office/drawing/2014/main" id="{B56D1C13-823F-24B7-0B01-E06A00E2AD46}"/>
                </a:ext>
              </a:extLst>
            </p:cNvPr>
            <p:cNvSpPr>
              <a:spLocks noEditPoints="1"/>
            </p:cNvSpPr>
            <p:nvPr/>
          </p:nvSpPr>
          <p:spPr bwMode="auto">
            <a:xfrm>
              <a:off x="3164" y="3510"/>
              <a:ext cx="762" cy="116"/>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4" name="Rectangle 111">
              <a:extLst>
                <a:ext uri="{FF2B5EF4-FFF2-40B4-BE49-F238E27FC236}">
                  <a16:creationId xmlns:a16="http://schemas.microsoft.com/office/drawing/2014/main" id="{249FF5A2-5A80-EF38-7D2E-B4AD932F7CD6}"/>
                </a:ext>
              </a:extLst>
            </p:cNvPr>
            <p:cNvSpPr>
              <a:spLocks noChangeArrowheads="1"/>
            </p:cNvSpPr>
            <p:nvPr/>
          </p:nvSpPr>
          <p:spPr bwMode="auto">
            <a:xfrm>
              <a:off x="3500" y="3554"/>
              <a:ext cx="9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5" name="Freeform 112">
              <a:extLst>
                <a:ext uri="{FF2B5EF4-FFF2-40B4-BE49-F238E27FC236}">
                  <a16:creationId xmlns:a16="http://schemas.microsoft.com/office/drawing/2014/main" id="{C8470F0A-C122-D368-91EF-7F6C1221659A}"/>
                </a:ext>
              </a:extLst>
            </p:cNvPr>
            <p:cNvSpPr>
              <a:spLocks noEditPoints="1"/>
            </p:cNvSpPr>
            <p:nvPr/>
          </p:nvSpPr>
          <p:spPr bwMode="auto">
            <a:xfrm>
              <a:off x="3434" y="3608"/>
              <a:ext cx="222" cy="122"/>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6" name="Rectangle 113">
              <a:extLst>
                <a:ext uri="{FF2B5EF4-FFF2-40B4-BE49-F238E27FC236}">
                  <a16:creationId xmlns:a16="http://schemas.microsoft.com/office/drawing/2014/main" id="{E0670C06-36C3-05AD-DE1B-2036D93A597A}"/>
                </a:ext>
              </a:extLst>
            </p:cNvPr>
            <p:cNvSpPr>
              <a:spLocks noChangeArrowheads="1"/>
            </p:cNvSpPr>
            <p:nvPr/>
          </p:nvSpPr>
          <p:spPr bwMode="auto">
            <a:xfrm>
              <a:off x="3352" y="37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7" name="Freeform 114">
              <a:extLst>
                <a:ext uri="{FF2B5EF4-FFF2-40B4-BE49-F238E27FC236}">
                  <a16:creationId xmlns:a16="http://schemas.microsoft.com/office/drawing/2014/main" id="{9E975C7D-E0F0-3585-532D-46D293FF7294}"/>
                </a:ext>
              </a:extLst>
            </p:cNvPr>
            <p:cNvSpPr>
              <a:spLocks noEditPoints="1"/>
            </p:cNvSpPr>
            <p:nvPr/>
          </p:nvSpPr>
          <p:spPr bwMode="auto">
            <a:xfrm>
              <a:off x="3224"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8" name="Freeform 115">
              <a:extLst>
                <a:ext uri="{FF2B5EF4-FFF2-40B4-BE49-F238E27FC236}">
                  <a16:creationId xmlns:a16="http://schemas.microsoft.com/office/drawing/2014/main" id="{585FDBBB-FA5A-287B-307C-D5EEE29EE911}"/>
                </a:ext>
              </a:extLst>
            </p:cNvPr>
            <p:cNvSpPr>
              <a:spLocks noEditPoints="1"/>
            </p:cNvSpPr>
            <p:nvPr/>
          </p:nvSpPr>
          <p:spPr bwMode="auto">
            <a:xfrm>
              <a:off x="3430"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9" name="Rectangle 116">
              <a:extLst>
                <a:ext uri="{FF2B5EF4-FFF2-40B4-BE49-F238E27FC236}">
                  <a16:creationId xmlns:a16="http://schemas.microsoft.com/office/drawing/2014/main" id="{501B459F-A539-41CE-C18C-5F9A2C602EAC}"/>
                </a:ext>
              </a:extLst>
            </p:cNvPr>
            <p:cNvSpPr>
              <a:spLocks noChangeArrowheads="1"/>
            </p:cNvSpPr>
            <p:nvPr/>
          </p:nvSpPr>
          <p:spPr bwMode="auto">
            <a:xfrm>
              <a:off x="3636" y="3088"/>
              <a:ext cx="2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0" name="Rectangle 117">
              <a:extLst>
                <a:ext uri="{FF2B5EF4-FFF2-40B4-BE49-F238E27FC236}">
                  <a16:creationId xmlns:a16="http://schemas.microsoft.com/office/drawing/2014/main" id="{52DE533E-40FA-EF62-ADD0-7F64C315442E}"/>
                </a:ext>
              </a:extLst>
            </p:cNvPr>
            <p:cNvSpPr>
              <a:spLocks noChangeArrowheads="1"/>
            </p:cNvSpPr>
            <p:nvPr/>
          </p:nvSpPr>
          <p:spPr bwMode="auto">
            <a:xfrm>
              <a:off x="3236" y="3440"/>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1" name="Rectangle 118">
              <a:extLst>
                <a:ext uri="{FF2B5EF4-FFF2-40B4-BE49-F238E27FC236}">
                  <a16:creationId xmlns:a16="http://schemas.microsoft.com/office/drawing/2014/main" id="{1852B3C8-5DF7-AB3E-A3D6-4322ADC0653C}"/>
                </a:ext>
              </a:extLst>
            </p:cNvPr>
            <p:cNvSpPr>
              <a:spLocks noChangeArrowheads="1"/>
            </p:cNvSpPr>
            <p:nvPr/>
          </p:nvSpPr>
          <p:spPr bwMode="auto">
            <a:xfrm>
              <a:off x="3284" y="3422"/>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2" name="Rectangle 119">
              <a:extLst>
                <a:ext uri="{FF2B5EF4-FFF2-40B4-BE49-F238E27FC236}">
                  <a16:creationId xmlns:a16="http://schemas.microsoft.com/office/drawing/2014/main" id="{3DF55FD7-3436-97F5-4026-8366B7717DBA}"/>
                </a:ext>
              </a:extLst>
            </p:cNvPr>
            <p:cNvSpPr>
              <a:spLocks noChangeArrowheads="1"/>
            </p:cNvSpPr>
            <p:nvPr/>
          </p:nvSpPr>
          <p:spPr bwMode="auto">
            <a:xfrm>
              <a:off x="3330" y="3374"/>
              <a:ext cx="18"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3" name="Rectangle 120">
              <a:extLst>
                <a:ext uri="{FF2B5EF4-FFF2-40B4-BE49-F238E27FC236}">
                  <a16:creationId xmlns:a16="http://schemas.microsoft.com/office/drawing/2014/main" id="{A7C99A38-6829-0AC0-152B-4B84665FC621}"/>
                </a:ext>
              </a:extLst>
            </p:cNvPr>
            <p:cNvSpPr>
              <a:spLocks noChangeArrowheads="1"/>
            </p:cNvSpPr>
            <p:nvPr/>
          </p:nvSpPr>
          <p:spPr bwMode="auto">
            <a:xfrm>
              <a:off x="337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4" name="Rectangle 121">
              <a:extLst>
                <a:ext uri="{FF2B5EF4-FFF2-40B4-BE49-F238E27FC236}">
                  <a16:creationId xmlns:a16="http://schemas.microsoft.com/office/drawing/2014/main" id="{5323A5B6-87A6-0E24-92FB-753227592ADB}"/>
                </a:ext>
              </a:extLst>
            </p:cNvPr>
            <p:cNvSpPr>
              <a:spLocks noChangeArrowheads="1"/>
            </p:cNvSpPr>
            <p:nvPr/>
          </p:nvSpPr>
          <p:spPr bwMode="auto">
            <a:xfrm>
              <a:off x="3422"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5" name="Rectangle 122">
              <a:extLst>
                <a:ext uri="{FF2B5EF4-FFF2-40B4-BE49-F238E27FC236}">
                  <a16:creationId xmlns:a16="http://schemas.microsoft.com/office/drawing/2014/main" id="{D10C3C05-E211-B538-4CED-61D08A1A49EA}"/>
                </a:ext>
              </a:extLst>
            </p:cNvPr>
            <p:cNvSpPr>
              <a:spLocks noChangeArrowheads="1"/>
            </p:cNvSpPr>
            <p:nvPr/>
          </p:nvSpPr>
          <p:spPr bwMode="auto">
            <a:xfrm>
              <a:off x="3468"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6" name="Rectangle 123">
              <a:extLst>
                <a:ext uri="{FF2B5EF4-FFF2-40B4-BE49-F238E27FC236}">
                  <a16:creationId xmlns:a16="http://schemas.microsoft.com/office/drawing/2014/main" id="{AFDCB2A1-2CBD-4771-B8A4-83719A89B4FD}"/>
                </a:ext>
              </a:extLst>
            </p:cNvPr>
            <p:cNvSpPr>
              <a:spLocks noChangeArrowheads="1"/>
            </p:cNvSpPr>
            <p:nvPr/>
          </p:nvSpPr>
          <p:spPr bwMode="auto">
            <a:xfrm>
              <a:off x="3514" y="3332"/>
              <a:ext cx="18"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7" name="Rectangle 124">
              <a:extLst>
                <a:ext uri="{FF2B5EF4-FFF2-40B4-BE49-F238E27FC236}">
                  <a16:creationId xmlns:a16="http://schemas.microsoft.com/office/drawing/2014/main" id="{9D02210F-76D2-17D9-870D-9FA6A75FBCF7}"/>
                </a:ext>
              </a:extLst>
            </p:cNvPr>
            <p:cNvSpPr>
              <a:spLocks noChangeArrowheads="1"/>
            </p:cNvSpPr>
            <p:nvPr/>
          </p:nvSpPr>
          <p:spPr bwMode="auto">
            <a:xfrm>
              <a:off x="3560" y="3370"/>
              <a:ext cx="18"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8" name="Rectangle 125">
              <a:extLst>
                <a:ext uri="{FF2B5EF4-FFF2-40B4-BE49-F238E27FC236}">
                  <a16:creationId xmlns:a16="http://schemas.microsoft.com/office/drawing/2014/main" id="{BDDBA4B9-086F-5B70-93AE-266B8A048C6D}"/>
                </a:ext>
              </a:extLst>
            </p:cNvPr>
            <p:cNvSpPr>
              <a:spLocks noChangeArrowheads="1"/>
            </p:cNvSpPr>
            <p:nvPr/>
          </p:nvSpPr>
          <p:spPr bwMode="auto">
            <a:xfrm>
              <a:off x="3606"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9" name="Rectangle 126">
              <a:extLst>
                <a:ext uri="{FF2B5EF4-FFF2-40B4-BE49-F238E27FC236}">
                  <a16:creationId xmlns:a16="http://schemas.microsoft.com/office/drawing/2014/main" id="{4913CD85-F988-4BF5-BE28-9995DAF357DC}"/>
                </a:ext>
              </a:extLst>
            </p:cNvPr>
            <p:cNvSpPr>
              <a:spLocks noChangeArrowheads="1"/>
            </p:cNvSpPr>
            <p:nvPr/>
          </p:nvSpPr>
          <p:spPr bwMode="auto">
            <a:xfrm>
              <a:off x="3652"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0" name="Rectangle 127">
              <a:extLst>
                <a:ext uri="{FF2B5EF4-FFF2-40B4-BE49-F238E27FC236}">
                  <a16:creationId xmlns:a16="http://schemas.microsoft.com/office/drawing/2014/main" id="{1CE56E60-10D1-B312-14AE-C301C85B9E6D}"/>
                </a:ext>
              </a:extLst>
            </p:cNvPr>
            <p:cNvSpPr>
              <a:spLocks noChangeArrowheads="1"/>
            </p:cNvSpPr>
            <p:nvPr/>
          </p:nvSpPr>
          <p:spPr bwMode="auto">
            <a:xfrm>
              <a:off x="3698" y="3380"/>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1" name="Rectangle 128">
              <a:extLst>
                <a:ext uri="{FF2B5EF4-FFF2-40B4-BE49-F238E27FC236}">
                  <a16:creationId xmlns:a16="http://schemas.microsoft.com/office/drawing/2014/main" id="{92708116-A498-31EB-30DC-7382ED1B482B}"/>
                </a:ext>
              </a:extLst>
            </p:cNvPr>
            <p:cNvSpPr>
              <a:spLocks noChangeArrowheads="1"/>
            </p:cNvSpPr>
            <p:nvPr/>
          </p:nvSpPr>
          <p:spPr bwMode="auto">
            <a:xfrm>
              <a:off x="3744" y="3274"/>
              <a:ext cx="18" cy="1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2" name="Rectangle 129">
              <a:extLst>
                <a:ext uri="{FF2B5EF4-FFF2-40B4-BE49-F238E27FC236}">
                  <a16:creationId xmlns:a16="http://schemas.microsoft.com/office/drawing/2014/main" id="{F62ED44C-052B-7FC0-9DF4-69ED8E65C628}"/>
                </a:ext>
              </a:extLst>
            </p:cNvPr>
            <p:cNvSpPr>
              <a:spLocks noChangeArrowheads="1"/>
            </p:cNvSpPr>
            <p:nvPr/>
          </p:nvSpPr>
          <p:spPr bwMode="auto">
            <a:xfrm>
              <a:off x="3790"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3" name="Rectangle 130">
              <a:extLst>
                <a:ext uri="{FF2B5EF4-FFF2-40B4-BE49-F238E27FC236}">
                  <a16:creationId xmlns:a16="http://schemas.microsoft.com/office/drawing/2014/main" id="{4CA92CA4-E07B-CBB2-3350-BFFA4578E23D}"/>
                </a:ext>
              </a:extLst>
            </p:cNvPr>
            <p:cNvSpPr>
              <a:spLocks noChangeArrowheads="1"/>
            </p:cNvSpPr>
            <p:nvPr/>
          </p:nvSpPr>
          <p:spPr bwMode="auto">
            <a:xfrm>
              <a:off x="383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5" name="Freeform 131">
              <a:extLst>
                <a:ext uri="{FF2B5EF4-FFF2-40B4-BE49-F238E27FC236}">
                  <a16:creationId xmlns:a16="http://schemas.microsoft.com/office/drawing/2014/main" id="{FFD0AB87-6A89-F22D-D5F0-4C130C42A1EF}"/>
                </a:ext>
              </a:extLst>
            </p:cNvPr>
            <p:cNvSpPr>
              <a:spLocks/>
            </p:cNvSpPr>
            <p:nvPr/>
          </p:nvSpPr>
          <p:spPr bwMode="auto">
            <a:xfrm>
              <a:off x="3224" y="3222"/>
              <a:ext cx="630" cy="192"/>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grpSp>
      <p:grpSp>
        <p:nvGrpSpPr>
          <p:cNvPr id="127" name="Group 185">
            <a:extLst>
              <a:ext uri="{FF2B5EF4-FFF2-40B4-BE49-F238E27FC236}">
                <a16:creationId xmlns:a16="http://schemas.microsoft.com/office/drawing/2014/main" id="{A9166CCC-7743-D460-D0C9-3A64EDC685B8}"/>
              </a:ext>
            </a:extLst>
          </p:cNvPr>
          <p:cNvGrpSpPr>
            <a:grpSpLocks noChangeAspect="1"/>
          </p:cNvGrpSpPr>
          <p:nvPr/>
        </p:nvGrpSpPr>
        <p:grpSpPr bwMode="auto">
          <a:xfrm>
            <a:off x="4366740" y="1786515"/>
            <a:ext cx="671446" cy="594710"/>
            <a:chOff x="609" y="3064"/>
            <a:chExt cx="700" cy="620"/>
          </a:xfrm>
          <a:solidFill>
            <a:schemeClr val="bg1"/>
          </a:solidFill>
        </p:grpSpPr>
        <p:sp>
          <p:nvSpPr>
            <p:cNvPr id="128" name="Freeform 186">
              <a:extLst>
                <a:ext uri="{FF2B5EF4-FFF2-40B4-BE49-F238E27FC236}">
                  <a16:creationId xmlns:a16="http://schemas.microsoft.com/office/drawing/2014/main" id="{0DAE17BA-08F9-1735-3EE4-4E3452B3983E}"/>
                </a:ext>
              </a:extLst>
            </p:cNvPr>
            <p:cNvSpPr>
              <a:spLocks/>
            </p:cNvSpPr>
            <p:nvPr/>
          </p:nvSpPr>
          <p:spPr bwMode="auto">
            <a:xfrm>
              <a:off x="609" y="3064"/>
              <a:ext cx="394" cy="500"/>
            </a:xfrm>
            <a:custGeom>
              <a:avLst/>
              <a:gdLst>
                <a:gd name="T0" fmla="*/ 394 w 394"/>
                <a:gd name="T1" fmla="*/ 500 h 500"/>
                <a:gd name="T2" fmla="*/ 300 w 394"/>
                <a:gd name="T3" fmla="*/ 500 h 500"/>
                <a:gd name="T4" fmla="*/ 300 w 394"/>
                <a:gd name="T5" fmla="*/ 482 h 500"/>
                <a:gd name="T6" fmla="*/ 376 w 394"/>
                <a:gd name="T7" fmla="*/ 482 h 500"/>
                <a:gd name="T8" fmla="*/ 376 w 394"/>
                <a:gd name="T9" fmla="*/ 102 h 500"/>
                <a:gd name="T10" fmla="*/ 290 w 394"/>
                <a:gd name="T11" fmla="*/ 18 h 500"/>
                <a:gd name="T12" fmla="*/ 18 w 394"/>
                <a:gd name="T13" fmla="*/ 18 h 500"/>
                <a:gd name="T14" fmla="*/ 18 w 394"/>
                <a:gd name="T15" fmla="*/ 482 h 500"/>
                <a:gd name="T16" fmla="*/ 190 w 394"/>
                <a:gd name="T17" fmla="*/ 482 h 500"/>
                <a:gd name="T18" fmla="*/ 190 w 394"/>
                <a:gd name="T19" fmla="*/ 500 h 500"/>
                <a:gd name="T20" fmla="*/ 0 w 394"/>
                <a:gd name="T21" fmla="*/ 500 h 500"/>
                <a:gd name="T22" fmla="*/ 0 w 394"/>
                <a:gd name="T23" fmla="*/ 0 h 500"/>
                <a:gd name="T24" fmla="*/ 296 w 394"/>
                <a:gd name="T25" fmla="*/ 0 h 500"/>
                <a:gd name="T26" fmla="*/ 394 w 394"/>
                <a:gd name="T27" fmla="*/ 94 h 500"/>
                <a:gd name="T28" fmla="*/ 394 w 394"/>
                <a:gd name="T29"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4" h="500">
                  <a:moveTo>
                    <a:pt x="394" y="500"/>
                  </a:moveTo>
                  <a:lnTo>
                    <a:pt x="300" y="500"/>
                  </a:lnTo>
                  <a:lnTo>
                    <a:pt x="300" y="482"/>
                  </a:lnTo>
                  <a:lnTo>
                    <a:pt x="376" y="482"/>
                  </a:lnTo>
                  <a:lnTo>
                    <a:pt x="376" y="102"/>
                  </a:lnTo>
                  <a:lnTo>
                    <a:pt x="290" y="18"/>
                  </a:lnTo>
                  <a:lnTo>
                    <a:pt x="18" y="18"/>
                  </a:lnTo>
                  <a:lnTo>
                    <a:pt x="18" y="482"/>
                  </a:lnTo>
                  <a:lnTo>
                    <a:pt x="190" y="482"/>
                  </a:lnTo>
                  <a:lnTo>
                    <a:pt x="190" y="500"/>
                  </a:lnTo>
                  <a:lnTo>
                    <a:pt x="0" y="500"/>
                  </a:lnTo>
                  <a:lnTo>
                    <a:pt x="0" y="0"/>
                  </a:lnTo>
                  <a:lnTo>
                    <a:pt x="296" y="0"/>
                  </a:lnTo>
                  <a:lnTo>
                    <a:pt x="394" y="94"/>
                  </a:lnTo>
                  <a:lnTo>
                    <a:pt x="394"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29" name="Freeform 187">
              <a:extLst>
                <a:ext uri="{FF2B5EF4-FFF2-40B4-BE49-F238E27FC236}">
                  <a16:creationId xmlns:a16="http://schemas.microsoft.com/office/drawing/2014/main" id="{A2A58502-60CB-CB5A-B34C-FED0B2C209C5}"/>
                </a:ext>
              </a:extLst>
            </p:cNvPr>
            <p:cNvSpPr>
              <a:spLocks/>
            </p:cNvSpPr>
            <p:nvPr/>
          </p:nvSpPr>
          <p:spPr bwMode="auto">
            <a:xfrm>
              <a:off x="865" y="3506"/>
              <a:ext cx="66" cy="98"/>
            </a:xfrm>
            <a:custGeom>
              <a:avLst/>
              <a:gdLst>
                <a:gd name="T0" fmla="*/ 54 w 66"/>
                <a:gd name="T1" fmla="*/ 98 h 98"/>
                <a:gd name="T2" fmla="*/ 0 w 66"/>
                <a:gd name="T3" fmla="*/ 48 h 98"/>
                <a:gd name="T4" fmla="*/ 54 w 66"/>
                <a:gd name="T5" fmla="*/ 0 h 98"/>
                <a:gd name="T6" fmla="*/ 66 w 66"/>
                <a:gd name="T7" fmla="*/ 14 h 98"/>
                <a:gd name="T8" fmla="*/ 28 w 66"/>
                <a:gd name="T9" fmla="*/ 48 h 98"/>
                <a:gd name="T10" fmla="*/ 66 w 66"/>
                <a:gd name="T11" fmla="*/ 84 h 98"/>
                <a:gd name="T12" fmla="*/ 54 w 66"/>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66" h="98">
                  <a:moveTo>
                    <a:pt x="54" y="98"/>
                  </a:moveTo>
                  <a:lnTo>
                    <a:pt x="0" y="48"/>
                  </a:lnTo>
                  <a:lnTo>
                    <a:pt x="54" y="0"/>
                  </a:lnTo>
                  <a:lnTo>
                    <a:pt x="66" y="14"/>
                  </a:lnTo>
                  <a:lnTo>
                    <a:pt x="28" y="48"/>
                  </a:lnTo>
                  <a:lnTo>
                    <a:pt x="66" y="84"/>
                  </a:lnTo>
                  <a:lnTo>
                    <a:pt x="54"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0" name="Rectangle 188">
              <a:extLst>
                <a:ext uri="{FF2B5EF4-FFF2-40B4-BE49-F238E27FC236}">
                  <a16:creationId xmlns:a16="http://schemas.microsoft.com/office/drawing/2014/main" id="{044C65E8-6A86-5741-9BE7-F514B55C790F}"/>
                </a:ext>
              </a:extLst>
            </p:cNvPr>
            <p:cNvSpPr>
              <a:spLocks noChangeArrowheads="1"/>
            </p:cNvSpPr>
            <p:nvPr/>
          </p:nvSpPr>
          <p:spPr bwMode="auto">
            <a:xfrm>
              <a:off x="895" y="3666"/>
              <a:ext cx="24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1" name="Freeform 189">
              <a:extLst>
                <a:ext uri="{FF2B5EF4-FFF2-40B4-BE49-F238E27FC236}">
                  <a16:creationId xmlns:a16="http://schemas.microsoft.com/office/drawing/2014/main" id="{789FE03F-010D-A8F6-5E22-A3DE1FA82501}"/>
                </a:ext>
              </a:extLst>
            </p:cNvPr>
            <p:cNvSpPr>
              <a:spLocks/>
            </p:cNvSpPr>
            <p:nvPr/>
          </p:nvSpPr>
          <p:spPr bwMode="auto">
            <a:xfrm>
              <a:off x="1125" y="3646"/>
              <a:ext cx="94" cy="38"/>
            </a:xfrm>
            <a:custGeom>
              <a:avLst/>
              <a:gdLst>
                <a:gd name="T0" fmla="*/ 94 w 94"/>
                <a:gd name="T1" fmla="*/ 38 h 38"/>
                <a:gd name="T2" fmla="*/ 0 w 94"/>
                <a:gd name="T3" fmla="*/ 38 h 38"/>
                <a:gd name="T4" fmla="*/ 0 w 94"/>
                <a:gd name="T5" fmla="*/ 20 h 38"/>
                <a:gd name="T6" fmla="*/ 76 w 94"/>
                <a:gd name="T7" fmla="*/ 20 h 38"/>
                <a:gd name="T8" fmla="*/ 76 w 94"/>
                <a:gd name="T9" fmla="*/ 0 h 38"/>
                <a:gd name="T10" fmla="*/ 94 w 94"/>
                <a:gd name="T11" fmla="*/ 0 h 38"/>
                <a:gd name="T12" fmla="*/ 94 w 9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94" h="38">
                  <a:moveTo>
                    <a:pt x="94" y="38"/>
                  </a:moveTo>
                  <a:lnTo>
                    <a:pt x="0" y="38"/>
                  </a:lnTo>
                  <a:lnTo>
                    <a:pt x="0" y="20"/>
                  </a:lnTo>
                  <a:lnTo>
                    <a:pt x="76" y="20"/>
                  </a:lnTo>
                  <a:lnTo>
                    <a:pt x="76" y="0"/>
                  </a:lnTo>
                  <a:lnTo>
                    <a:pt x="94" y="0"/>
                  </a:lnTo>
                  <a:lnTo>
                    <a:pt x="9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2" name="Freeform 190">
              <a:extLst>
                <a:ext uri="{FF2B5EF4-FFF2-40B4-BE49-F238E27FC236}">
                  <a16:creationId xmlns:a16="http://schemas.microsoft.com/office/drawing/2014/main" id="{C36D68DF-37D5-3976-00B5-6E6736E0E4CF}"/>
                </a:ext>
              </a:extLst>
            </p:cNvPr>
            <p:cNvSpPr>
              <a:spLocks/>
            </p:cNvSpPr>
            <p:nvPr/>
          </p:nvSpPr>
          <p:spPr bwMode="auto">
            <a:xfrm>
              <a:off x="1001" y="3186"/>
              <a:ext cx="218" cy="300"/>
            </a:xfrm>
            <a:custGeom>
              <a:avLst/>
              <a:gdLst>
                <a:gd name="T0" fmla="*/ 218 w 218"/>
                <a:gd name="T1" fmla="*/ 300 h 300"/>
                <a:gd name="T2" fmla="*/ 200 w 218"/>
                <a:gd name="T3" fmla="*/ 300 h 300"/>
                <a:gd name="T4" fmla="*/ 200 w 218"/>
                <a:gd name="T5" fmla="*/ 102 h 300"/>
                <a:gd name="T6" fmla="*/ 114 w 218"/>
                <a:gd name="T7" fmla="*/ 18 h 300"/>
                <a:gd name="T8" fmla="*/ 0 w 218"/>
                <a:gd name="T9" fmla="*/ 18 h 300"/>
                <a:gd name="T10" fmla="*/ 0 w 218"/>
                <a:gd name="T11" fmla="*/ 0 h 300"/>
                <a:gd name="T12" fmla="*/ 120 w 218"/>
                <a:gd name="T13" fmla="*/ 0 h 300"/>
                <a:gd name="T14" fmla="*/ 218 w 218"/>
                <a:gd name="T15" fmla="*/ 94 h 300"/>
                <a:gd name="T16" fmla="*/ 218 w 218"/>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00">
                  <a:moveTo>
                    <a:pt x="218" y="300"/>
                  </a:moveTo>
                  <a:lnTo>
                    <a:pt x="200" y="300"/>
                  </a:lnTo>
                  <a:lnTo>
                    <a:pt x="200" y="102"/>
                  </a:lnTo>
                  <a:lnTo>
                    <a:pt x="114" y="18"/>
                  </a:lnTo>
                  <a:lnTo>
                    <a:pt x="0" y="18"/>
                  </a:lnTo>
                  <a:lnTo>
                    <a:pt x="0" y="0"/>
                  </a:lnTo>
                  <a:lnTo>
                    <a:pt x="120" y="0"/>
                  </a:lnTo>
                  <a:lnTo>
                    <a:pt x="218" y="94"/>
                  </a:lnTo>
                  <a:lnTo>
                    <a:pt x="218"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3" name="Freeform 191">
              <a:extLst>
                <a:ext uri="{FF2B5EF4-FFF2-40B4-BE49-F238E27FC236}">
                  <a16:creationId xmlns:a16="http://schemas.microsoft.com/office/drawing/2014/main" id="{AF868C50-BB2F-8606-868A-9108236D9C66}"/>
                </a:ext>
              </a:extLst>
            </p:cNvPr>
            <p:cNvSpPr>
              <a:spLocks/>
            </p:cNvSpPr>
            <p:nvPr/>
          </p:nvSpPr>
          <p:spPr bwMode="auto">
            <a:xfrm>
              <a:off x="813" y="3210"/>
              <a:ext cx="100" cy="474"/>
            </a:xfrm>
            <a:custGeom>
              <a:avLst/>
              <a:gdLst>
                <a:gd name="T0" fmla="*/ 100 w 100"/>
                <a:gd name="T1" fmla="*/ 474 h 474"/>
                <a:gd name="T2" fmla="*/ 0 w 100"/>
                <a:gd name="T3" fmla="*/ 474 h 474"/>
                <a:gd name="T4" fmla="*/ 0 w 100"/>
                <a:gd name="T5" fmla="*/ 0 h 474"/>
                <a:gd name="T6" fmla="*/ 82 w 100"/>
                <a:gd name="T7" fmla="*/ 0 h 474"/>
                <a:gd name="T8" fmla="*/ 82 w 100"/>
                <a:gd name="T9" fmla="*/ 18 h 474"/>
                <a:gd name="T10" fmla="*/ 18 w 100"/>
                <a:gd name="T11" fmla="*/ 18 h 474"/>
                <a:gd name="T12" fmla="*/ 18 w 100"/>
                <a:gd name="T13" fmla="*/ 456 h 474"/>
                <a:gd name="T14" fmla="*/ 100 w 100"/>
                <a:gd name="T15" fmla="*/ 456 h 474"/>
                <a:gd name="T16" fmla="*/ 100 w 100"/>
                <a:gd name="T17"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74">
                  <a:moveTo>
                    <a:pt x="100" y="474"/>
                  </a:moveTo>
                  <a:lnTo>
                    <a:pt x="0" y="474"/>
                  </a:lnTo>
                  <a:lnTo>
                    <a:pt x="0" y="0"/>
                  </a:lnTo>
                  <a:lnTo>
                    <a:pt x="82" y="0"/>
                  </a:lnTo>
                  <a:lnTo>
                    <a:pt x="82" y="18"/>
                  </a:lnTo>
                  <a:lnTo>
                    <a:pt x="18" y="18"/>
                  </a:lnTo>
                  <a:lnTo>
                    <a:pt x="18" y="456"/>
                  </a:lnTo>
                  <a:lnTo>
                    <a:pt x="100" y="456"/>
                  </a:lnTo>
                  <a:lnTo>
                    <a:pt x="10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4" name="Freeform 192">
              <a:extLst>
                <a:ext uri="{FF2B5EF4-FFF2-40B4-BE49-F238E27FC236}">
                  <a16:creationId xmlns:a16="http://schemas.microsoft.com/office/drawing/2014/main" id="{002A63A4-994C-4414-2BE8-F86D2B4F7746}"/>
                </a:ext>
              </a:extLst>
            </p:cNvPr>
            <p:cNvSpPr>
              <a:spLocks/>
            </p:cNvSpPr>
            <p:nvPr/>
          </p:nvSpPr>
          <p:spPr bwMode="auto">
            <a:xfrm>
              <a:off x="875" y="3172"/>
              <a:ext cx="60" cy="94"/>
            </a:xfrm>
            <a:custGeom>
              <a:avLst/>
              <a:gdLst>
                <a:gd name="T0" fmla="*/ 12 w 60"/>
                <a:gd name="T1" fmla="*/ 94 h 94"/>
                <a:gd name="T2" fmla="*/ 0 w 60"/>
                <a:gd name="T3" fmla="*/ 80 h 94"/>
                <a:gd name="T4" fmla="*/ 34 w 60"/>
                <a:gd name="T5" fmla="*/ 46 h 94"/>
                <a:gd name="T6" fmla="*/ 0 w 60"/>
                <a:gd name="T7" fmla="*/ 12 h 94"/>
                <a:gd name="T8" fmla="*/ 12 w 60"/>
                <a:gd name="T9" fmla="*/ 0 h 94"/>
                <a:gd name="T10" fmla="*/ 60 w 60"/>
                <a:gd name="T11" fmla="*/ 46 h 94"/>
                <a:gd name="T12" fmla="*/ 12 w 60"/>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60" h="94">
                  <a:moveTo>
                    <a:pt x="12" y="94"/>
                  </a:moveTo>
                  <a:lnTo>
                    <a:pt x="0" y="80"/>
                  </a:lnTo>
                  <a:lnTo>
                    <a:pt x="34" y="46"/>
                  </a:lnTo>
                  <a:lnTo>
                    <a:pt x="0" y="12"/>
                  </a:lnTo>
                  <a:lnTo>
                    <a:pt x="12" y="0"/>
                  </a:lnTo>
                  <a:lnTo>
                    <a:pt x="60" y="46"/>
                  </a:lnTo>
                  <a:lnTo>
                    <a:pt x="1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5" name="Rectangle 193">
              <a:extLst>
                <a:ext uri="{FF2B5EF4-FFF2-40B4-BE49-F238E27FC236}">
                  <a16:creationId xmlns:a16="http://schemas.microsoft.com/office/drawing/2014/main" id="{CF40638C-3385-319A-84FD-4542D51400FD}"/>
                </a:ext>
              </a:extLst>
            </p:cNvPr>
            <p:cNvSpPr>
              <a:spLocks noChangeArrowheads="1"/>
            </p:cNvSpPr>
            <p:nvPr/>
          </p:nvSpPr>
          <p:spPr bwMode="auto">
            <a:xfrm>
              <a:off x="665" y="3248"/>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6" name="Rectangle 194">
              <a:extLst>
                <a:ext uri="{FF2B5EF4-FFF2-40B4-BE49-F238E27FC236}">
                  <a16:creationId xmlns:a16="http://schemas.microsoft.com/office/drawing/2014/main" id="{57FC9659-5E96-4248-A61A-341441DE431E}"/>
                </a:ext>
              </a:extLst>
            </p:cNvPr>
            <p:cNvSpPr>
              <a:spLocks noChangeArrowheads="1"/>
            </p:cNvSpPr>
            <p:nvPr/>
          </p:nvSpPr>
          <p:spPr bwMode="auto">
            <a:xfrm>
              <a:off x="665" y="3286"/>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7" name="Rectangle 195">
              <a:extLst>
                <a:ext uri="{FF2B5EF4-FFF2-40B4-BE49-F238E27FC236}">
                  <a16:creationId xmlns:a16="http://schemas.microsoft.com/office/drawing/2014/main" id="{053E1026-DC4C-8C12-6E04-8F9EE4E5C154}"/>
                </a:ext>
              </a:extLst>
            </p:cNvPr>
            <p:cNvSpPr>
              <a:spLocks noChangeArrowheads="1"/>
            </p:cNvSpPr>
            <p:nvPr/>
          </p:nvSpPr>
          <p:spPr bwMode="auto">
            <a:xfrm>
              <a:off x="665" y="3344"/>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8" name="Rectangle 196">
              <a:extLst>
                <a:ext uri="{FF2B5EF4-FFF2-40B4-BE49-F238E27FC236}">
                  <a16:creationId xmlns:a16="http://schemas.microsoft.com/office/drawing/2014/main" id="{14E42B7E-5ABC-FBA1-99A9-7DD9E172B580}"/>
                </a:ext>
              </a:extLst>
            </p:cNvPr>
            <p:cNvSpPr>
              <a:spLocks noChangeArrowheads="1"/>
            </p:cNvSpPr>
            <p:nvPr/>
          </p:nvSpPr>
          <p:spPr bwMode="auto">
            <a:xfrm>
              <a:off x="665" y="3382"/>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9" name="Rectangle 197">
              <a:extLst>
                <a:ext uri="{FF2B5EF4-FFF2-40B4-BE49-F238E27FC236}">
                  <a16:creationId xmlns:a16="http://schemas.microsoft.com/office/drawing/2014/main" id="{1436702F-01EB-0577-F922-722D00242278}"/>
                </a:ext>
              </a:extLst>
            </p:cNvPr>
            <p:cNvSpPr>
              <a:spLocks noChangeArrowheads="1"/>
            </p:cNvSpPr>
            <p:nvPr/>
          </p:nvSpPr>
          <p:spPr bwMode="auto">
            <a:xfrm>
              <a:off x="1047" y="3376"/>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0" name="Rectangle 198">
              <a:extLst>
                <a:ext uri="{FF2B5EF4-FFF2-40B4-BE49-F238E27FC236}">
                  <a16:creationId xmlns:a16="http://schemas.microsoft.com/office/drawing/2014/main" id="{28C743CE-8CEF-0E80-3234-1BE076B4C1C0}"/>
                </a:ext>
              </a:extLst>
            </p:cNvPr>
            <p:cNvSpPr>
              <a:spLocks noChangeArrowheads="1"/>
            </p:cNvSpPr>
            <p:nvPr/>
          </p:nvSpPr>
          <p:spPr bwMode="auto">
            <a:xfrm>
              <a:off x="1047" y="3414"/>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1" name="Freeform 199">
              <a:extLst>
                <a:ext uri="{FF2B5EF4-FFF2-40B4-BE49-F238E27FC236}">
                  <a16:creationId xmlns:a16="http://schemas.microsoft.com/office/drawing/2014/main" id="{D0DC66B9-374B-8235-630A-CB39A7704E27}"/>
                </a:ext>
              </a:extLst>
            </p:cNvPr>
            <p:cNvSpPr>
              <a:spLocks/>
            </p:cNvSpPr>
            <p:nvPr/>
          </p:nvSpPr>
          <p:spPr bwMode="auto">
            <a:xfrm>
              <a:off x="1177" y="3516"/>
              <a:ext cx="132" cy="128"/>
            </a:xfrm>
            <a:custGeom>
              <a:avLst/>
              <a:gdLst>
                <a:gd name="T0" fmla="*/ 40 w 132"/>
                <a:gd name="T1" fmla="*/ 128 h 128"/>
                <a:gd name="T2" fmla="*/ 0 w 132"/>
                <a:gd name="T3" fmla="*/ 88 h 128"/>
                <a:gd name="T4" fmla="*/ 78 w 132"/>
                <a:gd name="T5" fmla="*/ 88 h 128"/>
                <a:gd name="T6" fmla="*/ 78 w 132"/>
                <a:gd name="T7" fmla="*/ 88 h 128"/>
                <a:gd name="T8" fmla="*/ 84 w 132"/>
                <a:gd name="T9" fmla="*/ 88 h 128"/>
                <a:gd name="T10" fmla="*/ 92 w 132"/>
                <a:gd name="T11" fmla="*/ 86 h 128"/>
                <a:gd name="T12" fmla="*/ 98 w 132"/>
                <a:gd name="T13" fmla="*/ 82 h 128"/>
                <a:gd name="T14" fmla="*/ 102 w 132"/>
                <a:gd name="T15" fmla="*/ 78 h 128"/>
                <a:gd name="T16" fmla="*/ 108 w 132"/>
                <a:gd name="T17" fmla="*/ 72 h 128"/>
                <a:gd name="T18" fmla="*/ 110 w 132"/>
                <a:gd name="T19" fmla="*/ 66 h 128"/>
                <a:gd name="T20" fmla="*/ 112 w 132"/>
                <a:gd name="T21" fmla="*/ 60 h 128"/>
                <a:gd name="T22" fmla="*/ 114 w 132"/>
                <a:gd name="T23" fmla="*/ 54 h 128"/>
                <a:gd name="T24" fmla="*/ 114 w 132"/>
                <a:gd name="T25" fmla="*/ 54 h 128"/>
                <a:gd name="T26" fmla="*/ 112 w 132"/>
                <a:gd name="T27" fmla="*/ 46 h 128"/>
                <a:gd name="T28" fmla="*/ 110 w 132"/>
                <a:gd name="T29" fmla="*/ 40 h 128"/>
                <a:gd name="T30" fmla="*/ 108 w 132"/>
                <a:gd name="T31" fmla="*/ 34 h 128"/>
                <a:gd name="T32" fmla="*/ 102 w 132"/>
                <a:gd name="T33" fmla="*/ 28 h 128"/>
                <a:gd name="T34" fmla="*/ 98 w 132"/>
                <a:gd name="T35" fmla="*/ 24 h 128"/>
                <a:gd name="T36" fmla="*/ 92 w 132"/>
                <a:gd name="T37" fmla="*/ 20 h 128"/>
                <a:gd name="T38" fmla="*/ 84 w 132"/>
                <a:gd name="T39" fmla="*/ 18 h 128"/>
                <a:gd name="T40" fmla="*/ 78 w 132"/>
                <a:gd name="T41" fmla="*/ 18 h 128"/>
                <a:gd name="T42" fmla="*/ 68 w 132"/>
                <a:gd name="T43" fmla="*/ 18 h 128"/>
                <a:gd name="T44" fmla="*/ 68 w 132"/>
                <a:gd name="T45" fmla="*/ 0 h 128"/>
                <a:gd name="T46" fmla="*/ 78 w 132"/>
                <a:gd name="T47" fmla="*/ 0 h 128"/>
                <a:gd name="T48" fmla="*/ 78 w 132"/>
                <a:gd name="T49" fmla="*/ 0 h 128"/>
                <a:gd name="T50" fmla="*/ 88 w 132"/>
                <a:gd name="T51" fmla="*/ 0 h 128"/>
                <a:gd name="T52" fmla="*/ 98 w 132"/>
                <a:gd name="T53" fmla="*/ 4 h 128"/>
                <a:gd name="T54" fmla="*/ 108 w 132"/>
                <a:gd name="T55" fmla="*/ 8 h 128"/>
                <a:gd name="T56" fmla="*/ 116 w 132"/>
                <a:gd name="T57" fmla="*/ 16 h 128"/>
                <a:gd name="T58" fmla="*/ 122 w 132"/>
                <a:gd name="T59" fmla="*/ 24 h 128"/>
                <a:gd name="T60" fmla="*/ 126 w 132"/>
                <a:gd name="T61" fmla="*/ 32 h 128"/>
                <a:gd name="T62" fmla="*/ 130 w 132"/>
                <a:gd name="T63" fmla="*/ 42 h 128"/>
                <a:gd name="T64" fmla="*/ 132 w 132"/>
                <a:gd name="T65" fmla="*/ 54 h 128"/>
                <a:gd name="T66" fmla="*/ 132 w 132"/>
                <a:gd name="T67" fmla="*/ 54 h 128"/>
                <a:gd name="T68" fmla="*/ 130 w 132"/>
                <a:gd name="T69" fmla="*/ 64 h 128"/>
                <a:gd name="T70" fmla="*/ 126 w 132"/>
                <a:gd name="T71" fmla="*/ 74 h 128"/>
                <a:gd name="T72" fmla="*/ 122 w 132"/>
                <a:gd name="T73" fmla="*/ 84 h 128"/>
                <a:gd name="T74" fmla="*/ 116 w 132"/>
                <a:gd name="T75" fmla="*/ 90 h 128"/>
                <a:gd name="T76" fmla="*/ 108 w 132"/>
                <a:gd name="T77" fmla="*/ 98 h 128"/>
                <a:gd name="T78" fmla="*/ 98 w 132"/>
                <a:gd name="T79" fmla="*/ 102 h 128"/>
                <a:gd name="T80" fmla="*/ 88 w 132"/>
                <a:gd name="T81" fmla="*/ 106 h 128"/>
                <a:gd name="T82" fmla="*/ 78 w 132"/>
                <a:gd name="T83" fmla="*/ 106 h 128"/>
                <a:gd name="T84" fmla="*/ 44 w 132"/>
                <a:gd name="T85" fmla="*/ 106 h 128"/>
                <a:gd name="T86" fmla="*/ 52 w 132"/>
                <a:gd name="T87" fmla="*/ 116 h 128"/>
                <a:gd name="T88" fmla="*/ 40 w 132"/>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8">
                  <a:moveTo>
                    <a:pt x="40" y="128"/>
                  </a:moveTo>
                  <a:lnTo>
                    <a:pt x="0" y="88"/>
                  </a:lnTo>
                  <a:lnTo>
                    <a:pt x="78" y="88"/>
                  </a:lnTo>
                  <a:lnTo>
                    <a:pt x="78" y="88"/>
                  </a:lnTo>
                  <a:lnTo>
                    <a:pt x="84" y="88"/>
                  </a:lnTo>
                  <a:lnTo>
                    <a:pt x="92" y="86"/>
                  </a:lnTo>
                  <a:lnTo>
                    <a:pt x="98" y="82"/>
                  </a:lnTo>
                  <a:lnTo>
                    <a:pt x="102" y="78"/>
                  </a:lnTo>
                  <a:lnTo>
                    <a:pt x="108" y="72"/>
                  </a:lnTo>
                  <a:lnTo>
                    <a:pt x="110" y="66"/>
                  </a:lnTo>
                  <a:lnTo>
                    <a:pt x="112" y="60"/>
                  </a:lnTo>
                  <a:lnTo>
                    <a:pt x="114" y="54"/>
                  </a:lnTo>
                  <a:lnTo>
                    <a:pt x="114" y="54"/>
                  </a:lnTo>
                  <a:lnTo>
                    <a:pt x="112" y="46"/>
                  </a:lnTo>
                  <a:lnTo>
                    <a:pt x="110" y="40"/>
                  </a:lnTo>
                  <a:lnTo>
                    <a:pt x="108" y="34"/>
                  </a:lnTo>
                  <a:lnTo>
                    <a:pt x="102" y="28"/>
                  </a:lnTo>
                  <a:lnTo>
                    <a:pt x="98" y="24"/>
                  </a:lnTo>
                  <a:lnTo>
                    <a:pt x="92" y="20"/>
                  </a:lnTo>
                  <a:lnTo>
                    <a:pt x="84" y="18"/>
                  </a:lnTo>
                  <a:lnTo>
                    <a:pt x="78" y="18"/>
                  </a:lnTo>
                  <a:lnTo>
                    <a:pt x="68" y="18"/>
                  </a:lnTo>
                  <a:lnTo>
                    <a:pt x="68" y="0"/>
                  </a:lnTo>
                  <a:lnTo>
                    <a:pt x="78" y="0"/>
                  </a:lnTo>
                  <a:lnTo>
                    <a:pt x="78" y="0"/>
                  </a:lnTo>
                  <a:lnTo>
                    <a:pt x="88" y="0"/>
                  </a:lnTo>
                  <a:lnTo>
                    <a:pt x="98" y="4"/>
                  </a:lnTo>
                  <a:lnTo>
                    <a:pt x="108" y="8"/>
                  </a:lnTo>
                  <a:lnTo>
                    <a:pt x="116" y="16"/>
                  </a:lnTo>
                  <a:lnTo>
                    <a:pt x="122" y="24"/>
                  </a:lnTo>
                  <a:lnTo>
                    <a:pt x="126" y="32"/>
                  </a:lnTo>
                  <a:lnTo>
                    <a:pt x="130" y="42"/>
                  </a:lnTo>
                  <a:lnTo>
                    <a:pt x="132" y="54"/>
                  </a:lnTo>
                  <a:lnTo>
                    <a:pt x="132" y="54"/>
                  </a:lnTo>
                  <a:lnTo>
                    <a:pt x="130" y="64"/>
                  </a:lnTo>
                  <a:lnTo>
                    <a:pt x="126" y="74"/>
                  </a:lnTo>
                  <a:lnTo>
                    <a:pt x="122" y="84"/>
                  </a:lnTo>
                  <a:lnTo>
                    <a:pt x="116" y="90"/>
                  </a:lnTo>
                  <a:lnTo>
                    <a:pt x="108" y="98"/>
                  </a:lnTo>
                  <a:lnTo>
                    <a:pt x="98" y="102"/>
                  </a:lnTo>
                  <a:lnTo>
                    <a:pt x="88" y="106"/>
                  </a:lnTo>
                  <a:lnTo>
                    <a:pt x="78" y="106"/>
                  </a:lnTo>
                  <a:lnTo>
                    <a:pt x="44" y="106"/>
                  </a:lnTo>
                  <a:lnTo>
                    <a:pt x="52" y="116"/>
                  </a:lnTo>
                  <a:lnTo>
                    <a:pt x="4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2" name="Freeform 200">
              <a:extLst>
                <a:ext uri="{FF2B5EF4-FFF2-40B4-BE49-F238E27FC236}">
                  <a16:creationId xmlns:a16="http://schemas.microsoft.com/office/drawing/2014/main" id="{42D4944E-27DA-4A93-4AC6-98793FCF05BF}"/>
                </a:ext>
              </a:extLst>
            </p:cNvPr>
            <p:cNvSpPr>
              <a:spLocks/>
            </p:cNvSpPr>
            <p:nvPr/>
          </p:nvSpPr>
          <p:spPr bwMode="auto">
            <a:xfrm>
              <a:off x="1109" y="3494"/>
              <a:ext cx="116" cy="128"/>
            </a:xfrm>
            <a:custGeom>
              <a:avLst/>
              <a:gdLst>
                <a:gd name="T0" fmla="*/ 62 w 116"/>
                <a:gd name="T1" fmla="*/ 128 h 128"/>
                <a:gd name="T2" fmla="*/ 54 w 116"/>
                <a:gd name="T3" fmla="*/ 128 h 128"/>
                <a:gd name="T4" fmla="*/ 54 w 116"/>
                <a:gd name="T5" fmla="*/ 128 h 128"/>
                <a:gd name="T6" fmla="*/ 42 w 116"/>
                <a:gd name="T7" fmla="*/ 128 h 128"/>
                <a:gd name="T8" fmla="*/ 32 w 116"/>
                <a:gd name="T9" fmla="*/ 124 h 128"/>
                <a:gd name="T10" fmla="*/ 24 w 116"/>
                <a:gd name="T11" fmla="*/ 120 h 128"/>
                <a:gd name="T12" fmla="*/ 16 w 116"/>
                <a:gd name="T13" fmla="*/ 112 h 128"/>
                <a:gd name="T14" fmla="*/ 8 w 116"/>
                <a:gd name="T15" fmla="*/ 106 h 128"/>
                <a:gd name="T16" fmla="*/ 4 w 116"/>
                <a:gd name="T17" fmla="*/ 96 h 128"/>
                <a:gd name="T18" fmla="*/ 0 w 116"/>
                <a:gd name="T19" fmla="*/ 86 h 128"/>
                <a:gd name="T20" fmla="*/ 0 w 116"/>
                <a:gd name="T21" fmla="*/ 76 h 128"/>
                <a:gd name="T22" fmla="*/ 0 w 116"/>
                <a:gd name="T23" fmla="*/ 76 h 128"/>
                <a:gd name="T24" fmla="*/ 0 w 116"/>
                <a:gd name="T25" fmla="*/ 64 h 128"/>
                <a:gd name="T26" fmla="*/ 4 w 116"/>
                <a:gd name="T27" fmla="*/ 54 h 128"/>
                <a:gd name="T28" fmla="*/ 8 w 116"/>
                <a:gd name="T29" fmla="*/ 46 h 128"/>
                <a:gd name="T30" fmla="*/ 16 w 116"/>
                <a:gd name="T31" fmla="*/ 38 h 128"/>
                <a:gd name="T32" fmla="*/ 24 w 116"/>
                <a:gd name="T33" fmla="*/ 30 h 128"/>
                <a:gd name="T34" fmla="*/ 32 w 116"/>
                <a:gd name="T35" fmla="*/ 26 h 128"/>
                <a:gd name="T36" fmla="*/ 42 w 116"/>
                <a:gd name="T37" fmla="*/ 22 h 128"/>
                <a:gd name="T38" fmla="*/ 54 w 116"/>
                <a:gd name="T39" fmla="*/ 22 h 128"/>
                <a:gd name="T40" fmla="*/ 74 w 116"/>
                <a:gd name="T41" fmla="*/ 22 h 128"/>
                <a:gd name="T42" fmla="*/ 64 w 116"/>
                <a:gd name="T43" fmla="*/ 14 h 128"/>
                <a:gd name="T44" fmla="*/ 78 w 116"/>
                <a:gd name="T45" fmla="*/ 0 h 128"/>
                <a:gd name="T46" fmla="*/ 116 w 116"/>
                <a:gd name="T47" fmla="*/ 40 h 128"/>
                <a:gd name="T48" fmla="*/ 54 w 116"/>
                <a:gd name="T49" fmla="*/ 40 h 128"/>
                <a:gd name="T50" fmla="*/ 54 w 116"/>
                <a:gd name="T51" fmla="*/ 40 h 128"/>
                <a:gd name="T52" fmla="*/ 46 w 116"/>
                <a:gd name="T53" fmla="*/ 40 h 128"/>
                <a:gd name="T54" fmla="*/ 40 w 116"/>
                <a:gd name="T55" fmla="*/ 42 h 128"/>
                <a:gd name="T56" fmla="*/ 34 w 116"/>
                <a:gd name="T57" fmla="*/ 46 h 128"/>
                <a:gd name="T58" fmla="*/ 28 w 116"/>
                <a:gd name="T59" fmla="*/ 50 h 128"/>
                <a:gd name="T60" fmla="*/ 24 w 116"/>
                <a:gd name="T61" fmla="*/ 56 h 128"/>
                <a:gd name="T62" fmla="*/ 20 w 116"/>
                <a:gd name="T63" fmla="*/ 62 h 128"/>
                <a:gd name="T64" fmla="*/ 18 w 116"/>
                <a:gd name="T65" fmla="*/ 68 h 128"/>
                <a:gd name="T66" fmla="*/ 18 w 116"/>
                <a:gd name="T67" fmla="*/ 76 h 128"/>
                <a:gd name="T68" fmla="*/ 18 w 116"/>
                <a:gd name="T69" fmla="*/ 76 h 128"/>
                <a:gd name="T70" fmla="*/ 18 w 116"/>
                <a:gd name="T71" fmla="*/ 82 h 128"/>
                <a:gd name="T72" fmla="*/ 20 w 116"/>
                <a:gd name="T73" fmla="*/ 88 h 128"/>
                <a:gd name="T74" fmla="*/ 24 w 116"/>
                <a:gd name="T75" fmla="*/ 94 h 128"/>
                <a:gd name="T76" fmla="*/ 28 w 116"/>
                <a:gd name="T77" fmla="*/ 100 h 128"/>
                <a:gd name="T78" fmla="*/ 34 w 116"/>
                <a:gd name="T79" fmla="*/ 104 h 128"/>
                <a:gd name="T80" fmla="*/ 40 w 116"/>
                <a:gd name="T81" fmla="*/ 108 h 128"/>
                <a:gd name="T82" fmla="*/ 46 w 116"/>
                <a:gd name="T83" fmla="*/ 110 h 128"/>
                <a:gd name="T84" fmla="*/ 54 w 116"/>
                <a:gd name="T85" fmla="*/ 110 h 128"/>
                <a:gd name="T86" fmla="*/ 62 w 116"/>
                <a:gd name="T87" fmla="*/ 110 h 128"/>
                <a:gd name="T88" fmla="*/ 62 w 116"/>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8">
                  <a:moveTo>
                    <a:pt x="62" y="128"/>
                  </a:moveTo>
                  <a:lnTo>
                    <a:pt x="54" y="128"/>
                  </a:lnTo>
                  <a:lnTo>
                    <a:pt x="54" y="128"/>
                  </a:lnTo>
                  <a:lnTo>
                    <a:pt x="42" y="128"/>
                  </a:lnTo>
                  <a:lnTo>
                    <a:pt x="32" y="124"/>
                  </a:lnTo>
                  <a:lnTo>
                    <a:pt x="24" y="120"/>
                  </a:lnTo>
                  <a:lnTo>
                    <a:pt x="16" y="112"/>
                  </a:lnTo>
                  <a:lnTo>
                    <a:pt x="8" y="106"/>
                  </a:lnTo>
                  <a:lnTo>
                    <a:pt x="4" y="96"/>
                  </a:lnTo>
                  <a:lnTo>
                    <a:pt x="0" y="86"/>
                  </a:lnTo>
                  <a:lnTo>
                    <a:pt x="0" y="76"/>
                  </a:lnTo>
                  <a:lnTo>
                    <a:pt x="0" y="76"/>
                  </a:lnTo>
                  <a:lnTo>
                    <a:pt x="0" y="64"/>
                  </a:lnTo>
                  <a:lnTo>
                    <a:pt x="4" y="54"/>
                  </a:lnTo>
                  <a:lnTo>
                    <a:pt x="8" y="46"/>
                  </a:lnTo>
                  <a:lnTo>
                    <a:pt x="16" y="38"/>
                  </a:lnTo>
                  <a:lnTo>
                    <a:pt x="24" y="30"/>
                  </a:lnTo>
                  <a:lnTo>
                    <a:pt x="32" y="26"/>
                  </a:lnTo>
                  <a:lnTo>
                    <a:pt x="42" y="22"/>
                  </a:lnTo>
                  <a:lnTo>
                    <a:pt x="54" y="22"/>
                  </a:lnTo>
                  <a:lnTo>
                    <a:pt x="74" y="22"/>
                  </a:lnTo>
                  <a:lnTo>
                    <a:pt x="64" y="14"/>
                  </a:lnTo>
                  <a:lnTo>
                    <a:pt x="78" y="0"/>
                  </a:lnTo>
                  <a:lnTo>
                    <a:pt x="116" y="40"/>
                  </a:lnTo>
                  <a:lnTo>
                    <a:pt x="54" y="40"/>
                  </a:lnTo>
                  <a:lnTo>
                    <a:pt x="54" y="40"/>
                  </a:lnTo>
                  <a:lnTo>
                    <a:pt x="46" y="40"/>
                  </a:lnTo>
                  <a:lnTo>
                    <a:pt x="40" y="42"/>
                  </a:lnTo>
                  <a:lnTo>
                    <a:pt x="34" y="46"/>
                  </a:lnTo>
                  <a:lnTo>
                    <a:pt x="28" y="50"/>
                  </a:lnTo>
                  <a:lnTo>
                    <a:pt x="24" y="56"/>
                  </a:lnTo>
                  <a:lnTo>
                    <a:pt x="20" y="62"/>
                  </a:lnTo>
                  <a:lnTo>
                    <a:pt x="18" y="68"/>
                  </a:lnTo>
                  <a:lnTo>
                    <a:pt x="18" y="76"/>
                  </a:lnTo>
                  <a:lnTo>
                    <a:pt x="18" y="76"/>
                  </a:lnTo>
                  <a:lnTo>
                    <a:pt x="18" y="82"/>
                  </a:lnTo>
                  <a:lnTo>
                    <a:pt x="20" y="88"/>
                  </a:lnTo>
                  <a:lnTo>
                    <a:pt x="24" y="94"/>
                  </a:lnTo>
                  <a:lnTo>
                    <a:pt x="28" y="100"/>
                  </a:lnTo>
                  <a:lnTo>
                    <a:pt x="34" y="104"/>
                  </a:lnTo>
                  <a:lnTo>
                    <a:pt x="40" y="108"/>
                  </a:lnTo>
                  <a:lnTo>
                    <a:pt x="46" y="110"/>
                  </a:lnTo>
                  <a:lnTo>
                    <a:pt x="54" y="110"/>
                  </a:lnTo>
                  <a:lnTo>
                    <a:pt x="62" y="110"/>
                  </a:lnTo>
                  <a:lnTo>
                    <a:pt x="6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3" name="Line 201">
              <a:extLst>
                <a:ext uri="{FF2B5EF4-FFF2-40B4-BE49-F238E27FC236}">
                  <a16:creationId xmlns:a16="http://schemas.microsoft.com/office/drawing/2014/main" id="{0C3C9A11-78D7-5C6D-9163-45BF2A100288}"/>
                </a:ext>
              </a:extLst>
            </p:cNvPr>
            <p:cNvSpPr>
              <a:spLocks noChangeShapeType="1"/>
            </p:cNvSpPr>
            <p:nvPr/>
          </p:nvSpPr>
          <p:spPr bwMode="auto">
            <a:xfrm>
              <a:off x="991" y="31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4" name="Line 202">
              <a:extLst>
                <a:ext uri="{FF2B5EF4-FFF2-40B4-BE49-F238E27FC236}">
                  <a16:creationId xmlns:a16="http://schemas.microsoft.com/office/drawing/2014/main" id="{D53C8509-1904-6D78-267A-0306279A124B}"/>
                </a:ext>
              </a:extLst>
            </p:cNvPr>
            <p:cNvSpPr>
              <a:spLocks noChangeShapeType="1"/>
            </p:cNvSpPr>
            <p:nvPr/>
          </p:nvSpPr>
          <p:spPr bwMode="auto">
            <a:xfrm>
              <a:off x="991" y="3162"/>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US" sz="1799"/>
            </a:p>
          </p:txBody>
        </p:sp>
        <p:sp>
          <p:nvSpPr>
            <p:cNvPr id="145" name="Line 203">
              <a:extLst>
                <a:ext uri="{FF2B5EF4-FFF2-40B4-BE49-F238E27FC236}">
                  <a16:creationId xmlns:a16="http://schemas.microsoft.com/office/drawing/2014/main" id="{8282FA92-098C-5FDD-BEBD-382E79C24B1B}"/>
                </a:ext>
              </a:extLst>
            </p:cNvPr>
            <p:cNvSpPr>
              <a:spLocks noChangeShapeType="1"/>
            </p:cNvSpPr>
            <p:nvPr/>
          </p:nvSpPr>
          <p:spPr bwMode="auto">
            <a:xfrm>
              <a:off x="899" y="307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6" name="Line 204">
              <a:extLst>
                <a:ext uri="{FF2B5EF4-FFF2-40B4-BE49-F238E27FC236}">
                  <a16:creationId xmlns:a16="http://schemas.microsoft.com/office/drawing/2014/main" id="{E39253BE-719C-193A-5139-B70B2DCF335F}"/>
                </a:ext>
              </a:extLst>
            </p:cNvPr>
            <p:cNvSpPr>
              <a:spLocks noChangeShapeType="1"/>
            </p:cNvSpPr>
            <p:nvPr/>
          </p:nvSpPr>
          <p:spPr bwMode="auto">
            <a:xfrm>
              <a:off x="899" y="3074"/>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US" sz="1799"/>
            </a:p>
          </p:txBody>
        </p:sp>
      </p:grpSp>
      <p:grpSp>
        <p:nvGrpSpPr>
          <p:cNvPr id="147" name="Group 146">
            <a:extLst>
              <a:ext uri="{FF2B5EF4-FFF2-40B4-BE49-F238E27FC236}">
                <a16:creationId xmlns:a16="http://schemas.microsoft.com/office/drawing/2014/main" id="{2B73FEBF-7662-9CB5-0C02-50BB234E5917}"/>
              </a:ext>
            </a:extLst>
          </p:cNvPr>
          <p:cNvGrpSpPr/>
          <p:nvPr/>
        </p:nvGrpSpPr>
        <p:grpSpPr>
          <a:xfrm>
            <a:off x="9762120" y="1748947"/>
            <a:ext cx="657540" cy="650743"/>
            <a:chOff x="7031038" y="2970213"/>
            <a:chExt cx="1228725" cy="1216025"/>
          </a:xfrm>
          <a:solidFill>
            <a:schemeClr val="bg1"/>
          </a:solidFill>
        </p:grpSpPr>
        <p:sp>
          <p:nvSpPr>
            <p:cNvPr id="148" name="Freeform 5">
              <a:extLst>
                <a:ext uri="{FF2B5EF4-FFF2-40B4-BE49-F238E27FC236}">
                  <a16:creationId xmlns:a16="http://schemas.microsoft.com/office/drawing/2014/main" id="{40ECA595-D7C7-62F2-7393-9E7E6EC0F113}"/>
                </a:ext>
              </a:extLst>
            </p:cNvPr>
            <p:cNvSpPr>
              <a:spLocks/>
            </p:cNvSpPr>
            <p:nvPr/>
          </p:nvSpPr>
          <p:spPr bwMode="auto">
            <a:xfrm>
              <a:off x="7183438" y="3081338"/>
              <a:ext cx="930275" cy="600075"/>
            </a:xfrm>
            <a:custGeom>
              <a:avLst/>
              <a:gdLst>
                <a:gd name="T0" fmla="*/ 12 w 586"/>
                <a:gd name="T1" fmla="*/ 378 h 378"/>
                <a:gd name="T2" fmla="*/ 0 w 586"/>
                <a:gd name="T3" fmla="*/ 364 h 378"/>
                <a:gd name="T4" fmla="*/ 136 w 586"/>
                <a:gd name="T5" fmla="*/ 228 h 378"/>
                <a:gd name="T6" fmla="*/ 256 w 586"/>
                <a:gd name="T7" fmla="*/ 228 h 378"/>
                <a:gd name="T8" fmla="*/ 372 w 586"/>
                <a:gd name="T9" fmla="*/ 112 h 378"/>
                <a:gd name="T10" fmla="*/ 462 w 586"/>
                <a:gd name="T11" fmla="*/ 112 h 378"/>
                <a:gd name="T12" fmla="*/ 574 w 586"/>
                <a:gd name="T13" fmla="*/ 0 h 378"/>
                <a:gd name="T14" fmla="*/ 586 w 586"/>
                <a:gd name="T15" fmla="*/ 14 h 378"/>
                <a:gd name="T16" fmla="*/ 470 w 586"/>
                <a:gd name="T17" fmla="*/ 130 h 378"/>
                <a:gd name="T18" fmla="*/ 380 w 586"/>
                <a:gd name="T19" fmla="*/ 130 h 378"/>
                <a:gd name="T20" fmla="*/ 264 w 586"/>
                <a:gd name="T21" fmla="*/ 246 h 378"/>
                <a:gd name="T22" fmla="*/ 144 w 586"/>
                <a:gd name="T23" fmla="*/ 246 h 378"/>
                <a:gd name="T24" fmla="*/ 12 w 586"/>
                <a:gd name="T25"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378">
                  <a:moveTo>
                    <a:pt x="12" y="378"/>
                  </a:moveTo>
                  <a:lnTo>
                    <a:pt x="0" y="364"/>
                  </a:lnTo>
                  <a:lnTo>
                    <a:pt x="136" y="228"/>
                  </a:lnTo>
                  <a:lnTo>
                    <a:pt x="256" y="228"/>
                  </a:lnTo>
                  <a:lnTo>
                    <a:pt x="372" y="112"/>
                  </a:lnTo>
                  <a:lnTo>
                    <a:pt x="462" y="112"/>
                  </a:lnTo>
                  <a:lnTo>
                    <a:pt x="574" y="0"/>
                  </a:lnTo>
                  <a:lnTo>
                    <a:pt x="586" y="14"/>
                  </a:lnTo>
                  <a:lnTo>
                    <a:pt x="470" y="130"/>
                  </a:lnTo>
                  <a:lnTo>
                    <a:pt x="380" y="130"/>
                  </a:lnTo>
                  <a:lnTo>
                    <a:pt x="264" y="246"/>
                  </a:lnTo>
                  <a:lnTo>
                    <a:pt x="144" y="246"/>
                  </a:lnTo>
                  <a:lnTo>
                    <a:pt x="12" y="37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49" name="Rectangle 6">
              <a:extLst>
                <a:ext uri="{FF2B5EF4-FFF2-40B4-BE49-F238E27FC236}">
                  <a16:creationId xmlns:a16="http://schemas.microsoft.com/office/drawing/2014/main" id="{7F664705-C9C2-32A8-96C5-6A48D7261BC4}"/>
                </a:ext>
              </a:extLst>
            </p:cNvPr>
            <p:cNvSpPr>
              <a:spLocks noChangeArrowheads="1"/>
            </p:cNvSpPr>
            <p:nvPr/>
          </p:nvSpPr>
          <p:spPr bwMode="auto">
            <a:xfrm>
              <a:off x="7116763" y="2970213"/>
              <a:ext cx="28575" cy="12160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50" name="Rectangle 149">
              <a:extLst>
                <a:ext uri="{FF2B5EF4-FFF2-40B4-BE49-F238E27FC236}">
                  <a16:creationId xmlns:a16="http://schemas.microsoft.com/office/drawing/2014/main" id="{1CC46176-2D83-9A97-E1E6-F1B08B7072A7}"/>
                </a:ext>
              </a:extLst>
            </p:cNvPr>
            <p:cNvSpPr>
              <a:spLocks noChangeArrowheads="1"/>
            </p:cNvSpPr>
            <p:nvPr/>
          </p:nvSpPr>
          <p:spPr bwMode="auto">
            <a:xfrm>
              <a:off x="7031038" y="4071938"/>
              <a:ext cx="122872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73" name="Rectangle 172">
              <a:extLst>
                <a:ext uri="{FF2B5EF4-FFF2-40B4-BE49-F238E27FC236}">
                  <a16:creationId xmlns:a16="http://schemas.microsoft.com/office/drawing/2014/main" id="{0BF18656-AB92-ACA0-9E27-D9EC3663DB1B}"/>
                </a:ext>
              </a:extLst>
            </p:cNvPr>
            <p:cNvSpPr>
              <a:spLocks noChangeArrowheads="1"/>
            </p:cNvSpPr>
            <p:nvPr/>
          </p:nvSpPr>
          <p:spPr bwMode="auto">
            <a:xfrm>
              <a:off x="7215188" y="3881438"/>
              <a:ext cx="28575" cy="155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74" name="Rectangle 9">
              <a:extLst>
                <a:ext uri="{FF2B5EF4-FFF2-40B4-BE49-F238E27FC236}">
                  <a16:creationId xmlns:a16="http://schemas.microsoft.com/office/drawing/2014/main" id="{CFD38EEB-2E48-41A6-4457-93475DCC5EA7}"/>
                </a:ext>
              </a:extLst>
            </p:cNvPr>
            <p:cNvSpPr>
              <a:spLocks noChangeArrowheads="1"/>
            </p:cNvSpPr>
            <p:nvPr/>
          </p:nvSpPr>
          <p:spPr bwMode="auto">
            <a:xfrm>
              <a:off x="72151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77" name="Rectangle 10">
              <a:extLst>
                <a:ext uri="{FF2B5EF4-FFF2-40B4-BE49-F238E27FC236}">
                  <a16:creationId xmlns:a16="http://schemas.microsoft.com/office/drawing/2014/main" id="{A146E78F-38D9-3DD1-7005-8B219F423248}"/>
                </a:ext>
              </a:extLst>
            </p:cNvPr>
            <p:cNvSpPr>
              <a:spLocks noChangeArrowheads="1"/>
            </p:cNvSpPr>
            <p:nvPr/>
          </p:nvSpPr>
          <p:spPr bwMode="auto">
            <a:xfrm>
              <a:off x="72977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78" name="Rectangle 11">
              <a:extLst>
                <a:ext uri="{FF2B5EF4-FFF2-40B4-BE49-F238E27FC236}">
                  <a16:creationId xmlns:a16="http://schemas.microsoft.com/office/drawing/2014/main" id="{460CDA71-727D-698A-8B29-34FCBE6FAFC0}"/>
                </a:ext>
              </a:extLst>
            </p:cNvPr>
            <p:cNvSpPr>
              <a:spLocks noChangeArrowheads="1"/>
            </p:cNvSpPr>
            <p:nvPr/>
          </p:nvSpPr>
          <p:spPr bwMode="auto">
            <a:xfrm>
              <a:off x="73771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79" name="Rectangle 12">
              <a:extLst>
                <a:ext uri="{FF2B5EF4-FFF2-40B4-BE49-F238E27FC236}">
                  <a16:creationId xmlns:a16="http://schemas.microsoft.com/office/drawing/2014/main" id="{F4AAC1C0-3B2C-9A1B-5559-0E6603F9425C}"/>
                </a:ext>
              </a:extLst>
            </p:cNvPr>
            <p:cNvSpPr>
              <a:spLocks noChangeArrowheads="1"/>
            </p:cNvSpPr>
            <p:nvPr/>
          </p:nvSpPr>
          <p:spPr bwMode="auto">
            <a:xfrm>
              <a:off x="74564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0" name="Rectangle 13">
              <a:extLst>
                <a:ext uri="{FF2B5EF4-FFF2-40B4-BE49-F238E27FC236}">
                  <a16:creationId xmlns:a16="http://schemas.microsoft.com/office/drawing/2014/main" id="{8DAFA217-F896-AB20-622E-FA054494C70D}"/>
                </a:ext>
              </a:extLst>
            </p:cNvPr>
            <p:cNvSpPr>
              <a:spLocks noChangeArrowheads="1"/>
            </p:cNvSpPr>
            <p:nvPr/>
          </p:nvSpPr>
          <p:spPr bwMode="auto">
            <a:xfrm>
              <a:off x="75390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1" name="Rectangle 14">
              <a:extLst>
                <a:ext uri="{FF2B5EF4-FFF2-40B4-BE49-F238E27FC236}">
                  <a16:creationId xmlns:a16="http://schemas.microsoft.com/office/drawing/2014/main" id="{171E6320-8DE2-FA6E-27D9-DA2EAB3A57F7}"/>
                </a:ext>
              </a:extLst>
            </p:cNvPr>
            <p:cNvSpPr>
              <a:spLocks noChangeArrowheads="1"/>
            </p:cNvSpPr>
            <p:nvPr/>
          </p:nvSpPr>
          <p:spPr bwMode="auto">
            <a:xfrm>
              <a:off x="76184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2" name="Rectangle 15">
              <a:extLst>
                <a:ext uri="{FF2B5EF4-FFF2-40B4-BE49-F238E27FC236}">
                  <a16:creationId xmlns:a16="http://schemas.microsoft.com/office/drawing/2014/main" id="{C8FF48A8-AB2F-85F4-2E13-65C61384494C}"/>
                </a:ext>
              </a:extLst>
            </p:cNvPr>
            <p:cNvSpPr>
              <a:spLocks noChangeArrowheads="1"/>
            </p:cNvSpPr>
            <p:nvPr/>
          </p:nvSpPr>
          <p:spPr bwMode="auto">
            <a:xfrm>
              <a:off x="770096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3" name="Rectangle 16">
              <a:extLst>
                <a:ext uri="{FF2B5EF4-FFF2-40B4-BE49-F238E27FC236}">
                  <a16:creationId xmlns:a16="http://schemas.microsoft.com/office/drawing/2014/main" id="{A971EB86-0B67-B323-CDC9-AB7B93269231}"/>
                </a:ext>
              </a:extLst>
            </p:cNvPr>
            <p:cNvSpPr>
              <a:spLocks noChangeArrowheads="1"/>
            </p:cNvSpPr>
            <p:nvPr/>
          </p:nvSpPr>
          <p:spPr bwMode="auto">
            <a:xfrm>
              <a:off x="77803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4" name="Rectangle 17">
              <a:extLst>
                <a:ext uri="{FF2B5EF4-FFF2-40B4-BE49-F238E27FC236}">
                  <a16:creationId xmlns:a16="http://schemas.microsoft.com/office/drawing/2014/main" id="{00B00E4F-B946-C3A4-D675-47C87EC08C33}"/>
                </a:ext>
              </a:extLst>
            </p:cNvPr>
            <p:cNvSpPr>
              <a:spLocks noChangeArrowheads="1"/>
            </p:cNvSpPr>
            <p:nvPr/>
          </p:nvSpPr>
          <p:spPr bwMode="auto">
            <a:xfrm>
              <a:off x="78628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5" name="Rectangle 18">
              <a:extLst>
                <a:ext uri="{FF2B5EF4-FFF2-40B4-BE49-F238E27FC236}">
                  <a16:creationId xmlns:a16="http://schemas.microsoft.com/office/drawing/2014/main" id="{08A8DA82-F15A-D8AD-9A2F-B4B4B6E8F284}"/>
                </a:ext>
              </a:extLst>
            </p:cNvPr>
            <p:cNvSpPr>
              <a:spLocks noChangeArrowheads="1"/>
            </p:cNvSpPr>
            <p:nvPr/>
          </p:nvSpPr>
          <p:spPr bwMode="auto">
            <a:xfrm>
              <a:off x="794226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6" name="Rectangle 19">
              <a:extLst>
                <a:ext uri="{FF2B5EF4-FFF2-40B4-BE49-F238E27FC236}">
                  <a16:creationId xmlns:a16="http://schemas.microsoft.com/office/drawing/2014/main" id="{707F6E38-215D-E71E-40D8-F8D22E049FB2}"/>
                </a:ext>
              </a:extLst>
            </p:cNvPr>
            <p:cNvSpPr>
              <a:spLocks noChangeArrowheads="1"/>
            </p:cNvSpPr>
            <p:nvPr/>
          </p:nvSpPr>
          <p:spPr bwMode="auto">
            <a:xfrm>
              <a:off x="80248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7" name="Rectangle 20">
              <a:extLst>
                <a:ext uri="{FF2B5EF4-FFF2-40B4-BE49-F238E27FC236}">
                  <a16:creationId xmlns:a16="http://schemas.microsoft.com/office/drawing/2014/main" id="{3E8DD9E4-9E79-6EFE-0106-AFC459A437EE}"/>
                </a:ext>
              </a:extLst>
            </p:cNvPr>
            <p:cNvSpPr>
              <a:spLocks noChangeArrowheads="1"/>
            </p:cNvSpPr>
            <p:nvPr/>
          </p:nvSpPr>
          <p:spPr bwMode="auto">
            <a:xfrm>
              <a:off x="81041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8" name="Rectangle 21">
              <a:extLst>
                <a:ext uri="{FF2B5EF4-FFF2-40B4-BE49-F238E27FC236}">
                  <a16:creationId xmlns:a16="http://schemas.microsoft.com/office/drawing/2014/main" id="{8D50090E-3E7D-D570-6550-ECE2A74D0D2D}"/>
                </a:ext>
              </a:extLst>
            </p:cNvPr>
            <p:cNvSpPr>
              <a:spLocks noChangeArrowheads="1"/>
            </p:cNvSpPr>
            <p:nvPr/>
          </p:nvSpPr>
          <p:spPr bwMode="auto">
            <a:xfrm>
              <a:off x="7297738" y="3757613"/>
              <a:ext cx="28575" cy="2794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89" name="Rectangle 22">
              <a:extLst>
                <a:ext uri="{FF2B5EF4-FFF2-40B4-BE49-F238E27FC236}">
                  <a16:creationId xmlns:a16="http://schemas.microsoft.com/office/drawing/2014/main" id="{EDFB1943-D190-5F3C-BA22-51CDCD4190B0}"/>
                </a:ext>
              </a:extLst>
            </p:cNvPr>
            <p:cNvSpPr>
              <a:spLocks noChangeArrowheads="1"/>
            </p:cNvSpPr>
            <p:nvPr/>
          </p:nvSpPr>
          <p:spPr bwMode="auto">
            <a:xfrm>
              <a:off x="7377113" y="3557588"/>
              <a:ext cx="28575" cy="4794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0" name="Rectangle 23">
              <a:extLst>
                <a:ext uri="{FF2B5EF4-FFF2-40B4-BE49-F238E27FC236}">
                  <a16:creationId xmlns:a16="http://schemas.microsoft.com/office/drawing/2014/main" id="{542BDC41-BA46-A31F-FCFF-4A614BD1A60E}"/>
                </a:ext>
              </a:extLst>
            </p:cNvPr>
            <p:cNvSpPr>
              <a:spLocks noChangeArrowheads="1"/>
            </p:cNvSpPr>
            <p:nvPr/>
          </p:nvSpPr>
          <p:spPr bwMode="auto">
            <a:xfrm>
              <a:off x="7456488" y="3665538"/>
              <a:ext cx="28575" cy="3714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1" name="Rectangle 24">
              <a:extLst>
                <a:ext uri="{FF2B5EF4-FFF2-40B4-BE49-F238E27FC236}">
                  <a16:creationId xmlns:a16="http://schemas.microsoft.com/office/drawing/2014/main" id="{CB3E316E-274C-094F-6B30-F9C91A5E3089}"/>
                </a:ext>
              </a:extLst>
            </p:cNvPr>
            <p:cNvSpPr>
              <a:spLocks noChangeArrowheads="1"/>
            </p:cNvSpPr>
            <p:nvPr/>
          </p:nvSpPr>
          <p:spPr bwMode="auto">
            <a:xfrm>
              <a:off x="7539038" y="3687763"/>
              <a:ext cx="28575" cy="3492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2" name="Rectangle 25">
              <a:extLst>
                <a:ext uri="{FF2B5EF4-FFF2-40B4-BE49-F238E27FC236}">
                  <a16:creationId xmlns:a16="http://schemas.microsoft.com/office/drawing/2014/main" id="{8F377A05-3F24-38A5-A0AF-130EA8DD2E49}"/>
                </a:ext>
              </a:extLst>
            </p:cNvPr>
            <p:cNvSpPr>
              <a:spLocks noChangeArrowheads="1"/>
            </p:cNvSpPr>
            <p:nvPr/>
          </p:nvSpPr>
          <p:spPr bwMode="auto">
            <a:xfrm>
              <a:off x="7618413" y="3592513"/>
              <a:ext cx="28575" cy="4445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3" name="Rectangle 26">
              <a:extLst>
                <a:ext uri="{FF2B5EF4-FFF2-40B4-BE49-F238E27FC236}">
                  <a16:creationId xmlns:a16="http://schemas.microsoft.com/office/drawing/2014/main" id="{9E13F021-4039-389E-1E3B-D988BCA333DC}"/>
                </a:ext>
              </a:extLst>
            </p:cNvPr>
            <p:cNvSpPr>
              <a:spLocks noChangeArrowheads="1"/>
            </p:cNvSpPr>
            <p:nvPr/>
          </p:nvSpPr>
          <p:spPr bwMode="auto">
            <a:xfrm>
              <a:off x="7700963" y="3494088"/>
              <a:ext cx="28575" cy="5429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4" name="Rectangle 27">
              <a:extLst>
                <a:ext uri="{FF2B5EF4-FFF2-40B4-BE49-F238E27FC236}">
                  <a16:creationId xmlns:a16="http://schemas.microsoft.com/office/drawing/2014/main" id="{186EBE8B-A8D0-41AE-564D-E319FC4C909C}"/>
                </a:ext>
              </a:extLst>
            </p:cNvPr>
            <p:cNvSpPr>
              <a:spLocks noChangeArrowheads="1"/>
            </p:cNvSpPr>
            <p:nvPr/>
          </p:nvSpPr>
          <p:spPr bwMode="auto">
            <a:xfrm>
              <a:off x="7780338" y="3697288"/>
              <a:ext cx="28575" cy="3397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5" name="Rectangle 28">
              <a:extLst>
                <a:ext uri="{FF2B5EF4-FFF2-40B4-BE49-F238E27FC236}">
                  <a16:creationId xmlns:a16="http://schemas.microsoft.com/office/drawing/2014/main" id="{52FC4D69-9760-6B01-5C7C-39412C93162A}"/>
                </a:ext>
              </a:extLst>
            </p:cNvPr>
            <p:cNvSpPr>
              <a:spLocks noChangeArrowheads="1"/>
            </p:cNvSpPr>
            <p:nvPr/>
          </p:nvSpPr>
          <p:spPr bwMode="auto">
            <a:xfrm>
              <a:off x="7862888" y="3646488"/>
              <a:ext cx="28575" cy="3905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6" name="Rectangle 29">
              <a:extLst>
                <a:ext uri="{FF2B5EF4-FFF2-40B4-BE49-F238E27FC236}">
                  <a16:creationId xmlns:a16="http://schemas.microsoft.com/office/drawing/2014/main" id="{E2D74879-1920-1E33-9420-946526DE012E}"/>
                </a:ext>
              </a:extLst>
            </p:cNvPr>
            <p:cNvSpPr>
              <a:spLocks noChangeArrowheads="1"/>
            </p:cNvSpPr>
            <p:nvPr/>
          </p:nvSpPr>
          <p:spPr bwMode="auto">
            <a:xfrm>
              <a:off x="7942263" y="3548063"/>
              <a:ext cx="28575" cy="4889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7" name="Rectangle 30">
              <a:extLst>
                <a:ext uri="{FF2B5EF4-FFF2-40B4-BE49-F238E27FC236}">
                  <a16:creationId xmlns:a16="http://schemas.microsoft.com/office/drawing/2014/main" id="{09986CCB-5CDD-031E-9C9D-4953DDD5F054}"/>
                </a:ext>
              </a:extLst>
            </p:cNvPr>
            <p:cNvSpPr>
              <a:spLocks noChangeArrowheads="1"/>
            </p:cNvSpPr>
            <p:nvPr/>
          </p:nvSpPr>
          <p:spPr bwMode="auto">
            <a:xfrm>
              <a:off x="8024813" y="3471863"/>
              <a:ext cx="28575" cy="5651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198" name="Rectangle 31">
              <a:extLst>
                <a:ext uri="{FF2B5EF4-FFF2-40B4-BE49-F238E27FC236}">
                  <a16:creationId xmlns:a16="http://schemas.microsoft.com/office/drawing/2014/main" id="{ACFBE86B-9097-8D97-5F2D-F2D482B1325A}"/>
                </a:ext>
              </a:extLst>
            </p:cNvPr>
            <p:cNvSpPr>
              <a:spLocks noChangeArrowheads="1"/>
            </p:cNvSpPr>
            <p:nvPr/>
          </p:nvSpPr>
          <p:spPr bwMode="auto">
            <a:xfrm>
              <a:off x="8104188" y="3376613"/>
              <a:ext cx="28575" cy="6604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08" name="Freeform 32">
              <a:extLst>
                <a:ext uri="{FF2B5EF4-FFF2-40B4-BE49-F238E27FC236}">
                  <a16:creationId xmlns:a16="http://schemas.microsoft.com/office/drawing/2014/main" id="{8AC9A27A-C018-44A2-20DB-9DB065D3909D}"/>
                </a:ext>
              </a:extLst>
            </p:cNvPr>
            <p:cNvSpPr>
              <a:spLocks/>
            </p:cNvSpPr>
            <p:nvPr/>
          </p:nvSpPr>
          <p:spPr bwMode="auto">
            <a:xfrm>
              <a:off x="8024813" y="3065463"/>
              <a:ext cx="104775" cy="104775"/>
            </a:xfrm>
            <a:custGeom>
              <a:avLst/>
              <a:gdLst>
                <a:gd name="T0" fmla="*/ 66 w 66"/>
                <a:gd name="T1" fmla="*/ 66 h 66"/>
                <a:gd name="T2" fmla="*/ 48 w 66"/>
                <a:gd name="T3" fmla="*/ 66 h 66"/>
                <a:gd name="T4" fmla="*/ 48 w 66"/>
                <a:gd name="T5" fmla="*/ 18 h 66"/>
                <a:gd name="T6" fmla="*/ 0 w 66"/>
                <a:gd name="T7" fmla="*/ 18 h 66"/>
                <a:gd name="T8" fmla="*/ 0 w 66"/>
                <a:gd name="T9" fmla="*/ 0 h 66"/>
                <a:gd name="T10" fmla="*/ 66 w 66"/>
                <a:gd name="T11" fmla="*/ 0 h 66"/>
                <a:gd name="T12" fmla="*/ 66 w 66"/>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66" y="66"/>
                  </a:moveTo>
                  <a:lnTo>
                    <a:pt x="48" y="66"/>
                  </a:lnTo>
                  <a:lnTo>
                    <a:pt x="48" y="18"/>
                  </a:lnTo>
                  <a:lnTo>
                    <a:pt x="0" y="18"/>
                  </a:lnTo>
                  <a:lnTo>
                    <a:pt x="0" y="0"/>
                  </a:lnTo>
                  <a:lnTo>
                    <a:pt x="66" y="0"/>
                  </a:lnTo>
                  <a:lnTo>
                    <a:pt x="66" y="66"/>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0" name="Freeform 33">
              <a:extLst>
                <a:ext uri="{FF2B5EF4-FFF2-40B4-BE49-F238E27FC236}">
                  <a16:creationId xmlns:a16="http://schemas.microsoft.com/office/drawing/2014/main" id="{DFE19BE1-4A61-772C-CF7C-63B5A70A6CEE}"/>
                </a:ext>
              </a:extLst>
            </p:cNvPr>
            <p:cNvSpPr>
              <a:spLocks/>
            </p:cNvSpPr>
            <p:nvPr/>
          </p:nvSpPr>
          <p:spPr bwMode="auto">
            <a:xfrm>
              <a:off x="7183438" y="3081338"/>
              <a:ext cx="930275" cy="600075"/>
            </a:xfrm>
            <a:custGeom>
              <a:avLst/>
              <a:gdLst>
                <a:gd name="T0" fmla="*/ 12 w 586"/>
                <a:gd name="T1" fmla="*/ 378 h 378"/>
                <a:gd name="T2" fmla="*/ 0 w 586"/>
                <a:gd name="T3" fmla="*/ 364 h 378"/>
                <a:gd name="T4" fmla="*/ 136 w 586"/>
                <a:gd name="T5" fmla="*/ 228 h 378"/>
                <a:gd name="T6" fmla="*/ 256 w 586"/>
                <a:gd name="T7" fmla="*/ 228 h 378"/>
                <a:gd name="T8" fmla="*/ 372 w 586"/>
                <a:gd name="T9" fmla="*/ 112 h 378"/>
                <a:gd name="T10" fmla="*/ 462 w 586"/>
                <a:gd name="T11" fmla="*/ 112 h 378"/>
                <a:gd name="T12" fmla="*/ 574 w 586"/>
                <a:gd name="T13" fmla="*/ 0 h 378"/>
                <a:gd name="T14" fmla="*/ 586 w 586"/>
                <a:gd name="T15" fmla="*/ 14 h 378"/>
                <a:gd name="T16" fmla="*/ 470 w 586"/>
                <a:gd name="T17" fmla="*/ 130 h 378"/>
                <a:gd name="T18" fmla="*/ 380 w 586"/>
                <a:gd name="T19" fmla="*/ 130 h 378"/>
                <a:gd name="T20" fmla="*/ 264 w 586"/>
                <a:gd name="T21" fmla="*/ 246 h 378"/>
                <a:gd name="T22" fmla="*/ 144 w 586"/>
                <a:gd name="T23" fmla="*/ 246 h 378"/>
                <a:gd name="T24" fmla="*/ 12 w 586"/>
                <a:gd name="T25"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378">
                  <a:moveTo>
                    <a:pt x="12" y="378"/>
                  </a:moveTo>
                  <a:lnTo>
                    <a:pt x="0" y="364"/>
                  </a:lnTo>
                  <a:lnTo>
                    <a:pt x="136" y="228"/>
                  </a:lnTo>
                  <a:lnTo>
                    <a:pt x="256" y="228"/>
                  </a:lnTo>
                  <a:lnTo>
                    <a:pt x="372" y="112"/>
                  </a:lnTo>
                  <a:lnTo>
                    <a:pt x="462" y="112"/>
                  </a:lnTo>
                  <a:lnTo>
                    <a:pt x="574" y="0"/>
                  </a:lnTo>
                  <a:lnTo>
                    <a:pt x="586" y="14"/>
                  </a:lnTo>
                  <a:lnTo>
                    <a:pt x="470" y="130"/>
                  </a:lnTo>
                  <a:lnTo>
                    <a:pt x="380" y="130"/>
                  </a:lnTo>
                  <a:lnTo>
                    <a:pt x="264" y="246"/>
                  </a:lnTo>
                  <a:lnTo>
                    <a:pt x="144" y="246"/>
                  </a:lnTo>
                  <a:lnTo>
                    <a:pt x="12" y="378"/>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1" name="Rectangle 34">
              <a:extLst>
                <a:ext uri="{FF2B5EF4-FFF2-40B4-BE49-F238E27FC236}">
                  <a16:creationId xmlns:a16="http://schemas.microsoft.com/office/drawing/2014/main" id="{81948341-8576-5DD6-F982-9455CC152383}"/>
                </a:ext>
              </a:extLst>
            </p:cNvPr>
            <p:cNvSpPr>
              <a:spLocks noChangeArrowheads="1"/>
            </p:cNvSpPr>
            <p:nvPr/>
          </p:nvSpPr>
          <p:spPr bwMode="auto">
            <a:xfrm>
              <a:off x="7116763" y="2970213"/>
              <a:ext cx="28575" cy="12160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2" name="Rectangle 35">
              <a:extLst>
                <a:ext uri="{FF2B5EF4-FFF2-40B4-BE49-F238E27FC236}">
                  <a16:creationId xmlns:a16="http://schemas.microsoft.com/office/drawing/2014/main" id="{98C77BF7-0B85-CBE9-07E8-919AF7842828}"/>
                </a:ext>
              </a:extLst>
            </p:cNvPr>
            <p:cNvSpPr>
              <a:spLocks noChangeArrowheads="1"/>
            </p:cNvSpPr>
            <p:nvPr/>
          </p:nvSpPr>
          <p:spPr bwMode="auto">
            <a:xfrm>
              <a:off x="7031038" y="4071938"/>
              <a:ext cx="1228725" cy="28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3" name="Rectangle 36">
              <a:extLst>
                <a:ext uri="{FF2B5EF4-FFF2-40B4-BE49-F238E27FC236}">
                  <a16:creationId xmlns:a16="http://schemas.microsoft.com/office/drawing/2014/main" id="{137A13A9-6A8D-7988-B843-680682B256D5}"/>
                </a:ext>
              </a:extLst>
            </p:cNvPr>
            <p:cNvSpPr>
              <a:spLocks noChangeArrowheads="1"/>
            </p:cNvSpPr>
            <p:nvPr/>
          </p:nvSpPr>
          <p:spPr bwMode="auto">
            <a:xfrm>
              <a:off x="7215188" y="3881438"/>
              <a:ext cx="28575" cy="1555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5" name="Rectangle 37">
              <a:extLst>
                <a:ext uri="{FF2B5EF4-FFF2-40B4-BE49-F238E27FC236}">
                  <a16:creationId xmlns:a16="http://schemas.microsoft.com/office/drawing/2014/main" id="{5E89EA25-ED70-8049-AA3F-2846CBB737BC}"/>
                </a:ext>
              </a:extLst>
            </p:cNvPr>
            <p:cNvSpPr>
              <a:spLocks noChangeArrowheads="1"/>
            </p:cNvSpPr>
            <p:nvPr/>
          </p:nvSpPr>
          <p:spPr bwMode="auto">
            <a:xfrm>
              <a:off x="72151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6" name="Rectangle 38">
              <a:extLst>
                <a:ext uri="{FF2B5EF4-FFF2-40B4-BE49-F238E27FC236}">
                  <a16:creationId xmlns:a16="http://schemas.microsoft.com/office/drawing/2014/main" id="{34A9033D-183B-B01A-4643-5F9E1B5706F5}"/>
                </a:ext>
              </a:extLst>
            </p:cNvPr>
            <p:cNvSpPr>
              <a:spLocks noChangeArrowheads="1"/>
            </p:cNvSpPr>
            <p:nvPr/>
          </p:nvSpPr>
          <p:spPr bwMode="auto">
            <a:xfrm>
              <a:off x="72977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7" name="Rectangle 39">
              <a:extLst>
                <a:ext uri="{FF2B5EF4-FFF2-40B4-BE49-F238E27FC236}">
                  <a16:creationId xmlns:a16="http://schemas.microsoft.com/office/drawing/2014/main" id="{7BA914A3-A4D1-2DEE-42BF-D1F649873D54}"/>
                </a:ext>
              </a:extLst>
            </p:cNvPr>
            <p:cNvSpPr>
              <a:spLocks noChangeArrowheads="1"/>
            </p:cNvSpPr>
            <p:nvPr/>
          </p:nvSpPr>
          <p:spPr bwMode="auto">
            <a:xfrm>
              <a:off x="73771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8" name="Rectangle 40">
              <a:extLst>
                <a:ext uri="{FF2B5EF4-FFF2-40B4-BE49-F238E27FC236}">
                  <a16:creationId xmlns:a16="http://schemas.microsoft.com/office/drawing/2014/main" id="{AE3B8704-ED60-3A94-CACD-9D10E27C8255}"/>
                </a:ext>
              </a:extLst>
            </p:cNvPr>
            <p:cNvSpPr>
              <a:spLocks noChangeArrowheads="1"/>
            </p:cNvSpPr>
            <p:nvPr/>
          </p:nvSpPr>
          <p:spPr bwMode="auto">
            <a:xfrm>
              <a:off x="74564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19" name="Rectangle 41">
              <a:extLst>
                <a:ext uri="{FF2B5EF4-FFF2-40B4-BE49-F238E27FC236}">
                  <a16:creationId xmlns:a16="http://schemas.microsoft.com/office/drawing/2014/main" id="{E9A37763-DE3E-DF1B-08D2-D7DC06B9A0E4}"/>
                </a:ext>
              </a:extLst>
            </p:cNvPr>
            <p:cNvSpPr>
              <a:spLocks noChangeArrowheads="1"/>
            </p:cNvSpPr>
            <p:nvPr/>
          </p:nvSpPr>
          <p:spPr bwMode="auto">
            <a:xfrm>
              <a:off x="75390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0" name="Rectangle 42">
              <a:extLst>
                <a:ext uri="{FF2B5EF4-FFF2-40B4-BE49-F238E27FC236}">
                  <a16:creationId xmlns:a16="http://schemas.microsoft.com/office/drawing/2014/main" id="{721F9310-B7C6-FA8D-25AA-6B3CAE996C5F}"/>
                </a:ext>
              </a:extLst>
            </p:cNvPr>
            <p:cNvSpPr>
              <a:spLocks noChangeArrowheads="1"/>
            </p:cNvSpPr>
            <p:nvPr/>
          </p:nvSpPr>
          <p:spPr bwMode="auto">
            <a:xfrm>
              <a:off x="76184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1" name="Rectangle 43">
              <a:extLst>
                <a:ext uri="{FF2B5EF4-FFF2-40B4-BE49-F238E27FC236}">
                  <a16:creationId xmlns:a16="http://schemas.microsoft.com/office/drawing/2014/main" id="{5B309C9F-23A1-8098-150E-1549EE7415D5}"/>
                </a:ext>
              </a:extLst>
            </p:cNvPr>
            <p:cNvSpPr>
              <a:spLocks noChangeArrowheads="1"/>
            </p:cNvSpPr>
            <p:nvPr/>
          </p:nvSpPr>
          <p:spPr bwMode="auto">
            <a:xfrm>
              <a:off x="770096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2" name="Rectangle 44">
              <a:extLst>
                <a:ext uri="{FF2B5EF4-FFF2-40B4-BE49-F238E27FC236}">
                  <a16:creationId xmlns:a16="http://schemas.microsoft.com/office/drawing/2014/main" id="{111A285B-BCCD-BC01-1D81-72416ED1E900}"/>
                </a:ext>
              </a:extLst>
            </p:cNvPr>
            <p:cNvSpPr>
              <a:spLocks noChangeArrowheads="1"/>
            </p:cNvSpPr>
            <p:nvPr/>
          </p:nvSpPr>
          <p:spPr bwMode="auto">
            <a:xfrm>
              <a:off x="778033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3" name="Rectangle 45">
              <a:extLst>
                <a:ext uri="{FF2B5EF4-FFF2-40B4-BE49-F238E27FC236}">
                  <a16:creationId xmlns:a16="http://schemas.microsoft.com/office/drawing/2014/main" id="{3D25C2E1-0BEC-3ADF-02FE-0DEDF05C0F0E}"/>
                </a:ext>
              </a:extLst>
            </p:cNvPr>
            <p:cNvSpPr>
              <a:spLocks noChangeArrowheads="1"/>
            </p:cNvSpPr>
            <p:nvPr/>
          </p:nvSpPr>
          <p:spPr bwMode="auto">
            <a:xfrm>
              <a:off x="78628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4" name="Rectangle 46">
              <a:extLst>
                <a:ext uri="{FF2B5EF4-FFF2-40B4-BE49-F238E27FC236}">
                  <a16:creationId xmlns:a16="http://schemas.microsoft.com/office/drawing/2014/main" id="{C05A3120-FB7F-4728-BF63-EB3778874092}"/>
                </a:ext>
              </a:extLst>
            </p:cNvPr>
            <p:cNvSpPr>
              <a:spLocks noChangeArrowheads="1"/>
            </p:cNvSpPr>
            <p:nvPr/>
          </p:nvSpPr>
          <p:spPr bwMode="auto">
            <a:xfrm>
              <a:off x="794226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5" name="Rectangle 47">
              <a:extLst>
                <a:ext uri="{FF2B5EF4-FFF2-40B4-BE49-F238E27FC236}">
                  <a16:creationId xmlns:a16="http://schemas.microsoft.com/office/drawing/2014/main" id="{23CBE3A7-FE70-C2A3-5B9C-42D21E13DB15}"/>
                </a:ext>
              </a:extLst>
            </p:cNvPr>
            <p:cNvSpPr>
              <a:spLocks noChangeArrowheads="1"/>
            </p:cNvSpPr>
            <p:nvPr/>
          </p:nvSpPr>
          <p:spPr bwMode="auto">
            <a:xfrm>
              <a:off x="8024813"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6" name="Rectangle 48">
              <a:extLst>
                <a:ext uri="{FF2B5EF4-FFF2-40B4-BE49-F238E27FC236}">
                  <a16:creationId xmlns:a16="http://schemas.microsoft.com/office/drawing/2014/main" id="{E3ECFD13-D119-3EEB-C39D-597A0F1148B3}"/>
                </a:ext>
              </a:extLst>
            </p:cNvPr>
            <p:cNvSpPr>
              <a:spLocks noChangeArrowheads="1"/>
            </p:cNvSpPr>
            <p:nvPr/>
          </p:nvSpPr>
          <p:spPr bwMode="auto">
            <a:xfrm>
              <a:off x="8104188" y="4129088"/>
              <a:ext cx="28575" cy="381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7" name="Rectangle 49">
              <a:extLst>
                <a:ext uri="{FF2B5EF4-FFF2-40B4-BE49-F238E27FC236}">
                  <a16:creationId xmlns:a16="http://schemas.microsoft.com/office/drawing/2014/main" id="{1E8CD085-5DFA-4113-2AFA-0710CA8CE3AB}"/>
                </a:ext>
              </a:extLst>
            </p:cNvPr>
            <p:cNvSpPr>
              <a:spLocks noChangeArrowheads="1"/>
            </p:cNvSpPr>
            <p:nvPr/>
          </p:nvSpPr>
          <p:spPr bwMode="auto">
            <a:xfrm>
              <a:off x="7297738" y="3757613"/>
              <a:ext cx="28575" cy="2794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8" name="Rectangle 50">
              <a:extLst>
                <a:ext uri="{FF2B5EF4-FFF2-40B4-BE49-F238E27FC236}">
                  <a16:creationId xmlns:a16="http://schemas.microsoft.com/office/drawing/2014/main" id="{C5857245-0DE2-789C-B9AF-1323E7145A5C}"/>
                </a:ext>
              </a:extLst>
            </p:cNvPr>
            <p:cNvSpPr>
              <a:spLocks noChangeArrowheads="1"/>
            </p:cNvSpPr>
            <p:nvPr/>
          </p:nvSpPr>
          <p:spPr bwMode="auto">
            <a:xfrm>
              <a:off x="7377113" y="3557588"/>
              <a:ext cx="28575" cy="4794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29" name="Rectangle 51">
              <a:extLst>
                <a:ext uri="{FF2B5EF4-FFF2-40B4-BE49-F238E27FC236}">
                  <a16:creationId xmlns:a16="http://schemas.microsoft.com/office/drawing/2014/main" id="{7254B349-9712-A52A-F156-8EE7AF92AF03}"/>
                </a:ext>
              </a:extLst>
            </p:cNvPr>
            <p:cNvSpPr>
              <a:spLocks noChangeArrowheads="1"/>
            </p:cNvSpPr>
            <p:nvPr/>
          </p:nvSpPr>
          <p:spPr bwMode="auto">
            <a:xfrm>
              <a:off x="7456488" y="3665538"/>
              <a:ext cx="28575" cy="37147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0" name="Rectangle 52">
              <a:extLst>
                <a:ext uri="{FF2B5EF4-FFF2-40B4-BE49-F238E27FC236}">
                  <a16:creationId xmlns:a16="http://schemas.microsoft.com/office/drawing/2014/main" id="{D2D2EE40-BC89-A0DC-B447-7896D62F685F}"/>
                </a:ext>
              </a:extLst>
            </p:cNvPr>
            <p:cNvSpPr>
              <a:spLocks noChangeArrowheads="1"/>
            </p:cNvSpPr>
            <p:nvPr/>
          </p:nvSpPr>
          <p:spPr bwMode="auto">
            <a:xfrm>
              <a:off x="7539038" y="3687763"/>
              <a:ext cx="28575" cy="3492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1" name="Rectangle 53">
              <a:extLst>
                <a:ext uri="{FF2B5EF4-FFF2-40B4-BE49-F238E27FC236}">
                  <a16:creationId xmlns:a16="http://schemas.microsoft.com/office/drawing/2014/main" id="{5C0F78BF-C2D6-80BA-0AF0-96FC1D259EC5}"/>
                </a:ext>
              </a:extLst>
            </p:cNvPr>
            <p:cNvSpPr>
              <a:spLocks noChangeArrowheads="1"/>
            </p:cNvSpPr>
            <p:nvPr/>
          </p:nvSpPr>
          <p:spPr bwMode="auto">
            <a:xfrm>
              <a:off x="7618413" y="3592513"/>
              <a:ext cx="28575" cy="4445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2" name="Rectangle 54">
              <a:extLst>
                <a:ext uri="{FF2B5EF4-FFF2-40B4-BE49-F238E27FC236}">
                  <a16:creationId xmlns:a16="http://schemas.microsoft.com/office/drawing/2014/main" id="{00474494-9921-F056-24DE-C851E6A606BE}"/>
                </a:ext>
              </a:extLst>
            </p:cNvPr>
            <p:cNvSpPr>
              <a:spLocks noChangeArrowheads="1"/>
            </p:cNvSpPr>
            <p:nvPr/>
          </p:nvSpPr>
          <p:spPr bwMode="auto">
            <a:xfrm>
              <a:off x="7700963" y="3494088"/>
              <a:ext cx="28575" cy="5429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3" name="Rectangle 55">
              <a:extLst>
                <a:ext uri="{FF2B5EF4-FFF2-40B4-BE49-F238E27FC236}">
                  <a16:creationId xmlns:a16="http://schemas.microsoft.com/office/drawing/2014/main" id="{21F848B8-5DD0-9D62-1A19-E1ACBAF1EB1C}"/>
                </a:ext>
              </a:extLst>
            </p:cNvPr>
            <p:cNvSpPr>
              <a:spLocks noChangeArrowheads="1"/>
            </p:cNvSpPr>
            <p:nvPr/>
          </p:nvSpPr>
          <p:spPr bwMode="auto">
            <a:xfrm>
              <a:off x="7780338" y="3697288"/>
              <a:ext cx="28575" cy="3397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4" name="Rectangle 56">
              <a:extLst>
                <a:ext uri="{FF2B5EF4-FFF2-40B4-BE49-F238E27FC236}">
                  <a16:creationId xmlns:a16="http://schemas.microsoft.com/office/drawing/2014/main" id="{4DB1D78A-7205-5441-3ABF-09556566F74A}"/>
                </a:ext>
              </a:extLst>
            </p:cNvPr>
            <p:cNvSpPr>
              <a:spLocks noChangeArrowheads="1"/>
            </p:cNvSpPr>
            <p:nvPr/>
          </p:nvSpPr>
          <p:spPr bwMode="auto">
            <a:xfrm>
              <a:off x="7862888" y="3646488"/>
              <a:ext cx="28575" cy="390525"/>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5" name="Rectangle 57">
              <a:extLst>
                <a:ext uri="{FF2B5EF4-FFF2-40B4-BE49-F238E27FC236}">
                  <a16:creationId xmlns:a16="http://schemas.microsoft.com/office/drawing/2014/main" id="{BE2FB289-427F-3E57-BA2A-AB376FD9A7F2}"/>
                </a:ext>
              </a:extLst>
            </p:cNvPr>
            <p:cNvSpPr>
              <a:spLocks noChangeArrowheads="1"/>
            </p:cNvSpPr>
            <p:nvPr/>
          </p:nvSpPr>
          <p:spPr bwMode="auto">
            <a:xfrm>
              <a:off x="7942263" y="3548063"/>
              <a:ext cx="28575" cy="4889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6" name="Rectangle 58">
              <a:extLst>
                <a:ext uri="{FF2B5EF4-FFF2-40B4-BE49-F238E27FC236}">
                  <a16:creationId xmlns:a16="http://schemas.microsoft.com/office/drawing/2014/main" id="{E05B805E-60F7-5289-3F36-A3499A4AD5CB}"/>
                </a:ext>
              </a:extLst>
            </p:cNvPr>
            <p:cNvSpPr>
              <a:spLocks noChangeArrowheads="1"/>
            </p:cNvSpPr>
            <p:nvPr/>
          </p:nvSpPr>
          <p:spPr bwMode="auto">
            <a:xfrm>
              <a:off x="8024813" y="3471863"/>
              <a:ext cx="28575" cy="56515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7" name="Rectangle 59">
              <a:extLst>
                <a:ext uri="{FF2B5EF4-FFF2-40B4-BE49-F238E27FC236}">
                  <a16:creationId xmlns:a16="http://schemas.microsoft.com/office/drawing/2014/main" id="{79CFDD23-2B66-E87D-C6A3-66EF14B2E168}"/>
                </a:ext>
              </a:extLst>
            </p:cNvPr>
            <p:cNvSpPr>
              <a:spLocks noChangeArrowheads="1"/>
            </p:cNvSpPr>
            <p:nvPr/>
          </p:nvSpPr>
          <p:spPr bwMode="auto">
            <a:xfrm>
              <a:off x="8104188" y="3376613"/>
              <a:ext cx="28575" cy="660400"/>
            </a:xfrm>
            <a:prstGeom prst="rect">
              <a:avLst/>
            </a:prstGeom>
            <a:grpFill/>
            <a:ln>
              <a:noFill/>
            </a:ln>
          </p:spPr>
          <p:txBody>
            <a:bodyPr vert="horz" wrap="square" lIns="91392" tIns="45696" rIns="91392" bIns="45696" numCol="1" anchor="t" anchorCtr="0" compatLnSpc="1">
              <a:prstTxWarp prst="textNoShape">
                <a:avLst/>
              </a:prstTxWarp>
            </a:bodyPr>
            <a:lstStyle/>
            <a:p>
              <a:endParaRPr lang="en-IN" sz="1799"/>
            </a:p>
          </p:txBody>
        </p:sp>
        <p:sp>
          <p:nvSpPr>
            <p:cNvPr id="238" name="Freeform 60">
              <a:extLst>
                <a:ext uri="{FF2B5EF4-FFF2-40B4-BE49-F238E27FC236}">
                  <a16:creationId xmlns:a16="http://schemas.microsoft.com/office/drawing/2014/main" id="{34621925-55F4-A0FD-4466-E5F01292D3F8}"/>
                </a:ext>
              </a:extLst>
            </p:cNvPr>
            <p:cNvSpPr>
              <a:spLocks/>
            </p:cNvSpPr>
            <p:nvPr/>
          </p:nvSpPr>
          <p:spPr bwMode="auto">
            <a:xfrm>
              <a:off x="8024813" y="3065463"/>
              <a:ext cx="104775" cy="104775"/>
            </a:xfrm>
            <a:custGeom>
              <a:avLst/>
              <a:gdLst>
                <a:gd name="T0" fmla="*/ 66 w 66"/>
                <a:gd name="T1" fmla="*/ 66 h 66"/>
                <a:gd name="T2" fmla="*/ 48 w 66"/>
                <a:gd name="T3" fmla="*/ 66 h 66"/>
                <a:gd name="T4" fmla="*/ 48 w 66"/>
                <a:gd name="T5" fmla="*/ 18 h 66"/>
                <a:gd name="T6" fmla="*/ 0 w 66"/>
                <a:gd name="T7" fmla="*/ 18 h 66"/>
                <a:gd name="T8" fmla="*/ 0 w 66"/>
                <a:gd name="T9" fmla="*/ 0 h 66"/>
                <a:gd name="T10" fmla="*/ 66 w 66"/>
                <a:gd name="T11" fmla="*/ 0 h 66"/>
                <a:gd name="T12" fmla="*/ 66 w 66"/>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66" y="66"/>
                  </a:moveTo>
                  <a:lnTo>
                    <a:pt x="48" y="66"/>
                  </a:lnTo>
                  <a:lnTo>
                    <a:pt x="48" y="18"/>
                  </a:lnTo>
                  <a:lnTo>
                    <a:pt x="0" y="18"/>
                  </a:lnTo>
                  <a:lnTo>
                    <a:pt x="0" y="0"/>
                  </a:lnTo>
                  <a:lnTo>
                    <a:pt x="66" y="0"/>
                  </a:lnTo>
                  <a:lnTo>
                    <a:pt x="66" y="66"/>
                  </a:lnTo>
                  <a:close/>
                </a:path>
              </a:pathLst>
            </a:custGeom>
            <a:grpFill/>
            <a:ln>
              <a:noFill/>
            </a:ln>
          </p:spPr>
          <p:txBody>
            <a:bodyPr vert="horz" wrap="square" lIns="91392" tIns="45696" rIns="91392" bIns="45696" numCol="1" anchor="t" anchorCtr="0" compatLnSpc="1">
              <a:prstTxWarp prst="textNoShape">
                <a:avLst/>
              </a:prstTxWarp>
            </a:bodyPr>
            <a:lstStyle/>
            <a:p>
              <a:endParaRPr lang="en-IN" sz="1799"/>
            </a:p>
          </p:txBody>
        </p:sp>
      </p:grpSp>
      <p:sp>
        <p:nvSpPr>
          <p:cNvPr id="239" name="TextBox 238">
            <a:extLst>
              <a:ext uri="{FF2B5EF4-FFF2-40B4-BE49-F238E27FC236}">
                <a16:creationId xmlns:a16="http://schemas.microsoft.com/office/drawing/2014/main" id="{5DDB6B03-0BAA-5AF5-1116-23D806914E31}"/>
              </a:ext>
            </a:extLst>
          </p:cNvPr>
          <p:cNvSpPr txBox="1"/>
          <p:nvPr/>
        </p:nvSpPr>
        <p:spPr>
          <a:xfrm>
            <a:off x="6184624" y="3313025"/>
            <a:ext cx="2518688" cy="2460931"/>
          </a:xfrm>
          <a:prstGeom prst="rect">
            <a:avLst/>
          </a:prstGeom>
          <a:noFill/>
        </p:spPr>
        <p:txBody>
          <a:bodyPr wrap="square" rtlCol="0">
            <a:spAutoFit/>
          </a:bodyPr>
          <a:lstStyle/>
          <a:p>
            <a:pPr>
              <a:buClr>
                <a:srgbClr val="AE154B"/>
              </a:buClr>
              <a:buSzPct val="100000"/>
              <a:defRPr/>
            </a:pPr>
            <a:r>
              <a:rPr lang="en-US" sz="1099" b="1">
                <a:solidFill>
                  <a:srgbClr val="1A1A24"/>
                </a:solidFill>
                <a:latin typeface="EYInterstate Regular" panose="02000503020000020004" pitchFamily="2" charset="0"/>
              </a:rPr>
              <a:t>Execution</a:t>
            </a:r>
          </a:p>
          <a:p>
            <a:pPr marL="182472" indent="-182472">
              <a:buClr>
                <a:srgbClr val="AE154B"/>
              </a:buClr>
              <a:buSzPct val="100000"/>
              <a:buFont typeface="Wingdings" panose="05000000000000000000" pitchFamily="2" charset="2"/>
              <a:buChar char="§"/>
              <a:defRPr/>
            </a:pPr>
            <a:r>
              <a:rPr lang="en-GB" sz="1099">
                <a:latin typeface="EYInterstate Light" panose="02000506000000020004" pitchFamily="2" charset="0"/>
              </a:rPr>
              <a:t>Facilitate accurate and reliable insights by extracting, synthesizing, and rationalizing data. </a:t>
            </a:r>
          </a:p>
          <a:p>
            <a:pPr marL="182472" indent="-182472">
              <a:buClr>
                <a:srgbClr val="AE154B"/>
              </a:buClr>
              <a:buSzPct val="100000"/>
              <a:buFont typeface="Wingdings" panose="05000000000000000000" pitchFamily="2" charset="2"/>
              <a:buChar char="§"/>
              <a:defRPr/>
            </a:pPr>
            <a:r>
              <a:rPr lang="en-GB" sz="1099">
                <a:latin typeface="EYInterstate Light" panose="02000506000000020004" pitchFamily="2" charset="0"/>
              </a:rPr>
              <a:t>Secure Absa approval to remediate the identified accounts in collaboration with Absa.</a:t>
            </a:r>
          </a:p>
          <a:p>
            <a:pPr marL="182472" indent="-182472">
              <a:buClr>
                <a:srgbClr val="AE154B"/>
              </a:buClr>
              <a:buSzPct val="100000"/>
              <a:buFont typeface="Wingdings" panose="05000000000000000000" pitchFamily="2" charset="2"/>
              <a:buChar char="§"/>
              <a:defRPr/>
            </a:pPr>
            <a:r>
              <a:rPr lang="en-GB" sz="1099">
                <a:latin typeface="EYInterstate Light" panose="02000506000000020004" pitchFamily="2" charset="0"/>
              </a:rPr>
              <a:t>Provide comprehensive reporting to support informed decision-making.</a:t>
            </a:r>
          </a:p>
          <a:p>
            <a:pPr marL="182472" indent="-182472">
              <a:buClr>
                <a:srgbClr val="AE154B"/>
              </a:buClr>
              <a:buSzPct val="100000"/>
              <a:buFont typeface="Wingdings" panose="05000000000000000000" pitchFamily="2" charset="2"/>
              <a:buChar char="§"/>
              <a:defRPr/>
            </a:pPr>
            <a:r>
              <a:rPr lang="en-GB" sz="1099">
                <a:latin typeface="EYInterstate Light" panose="02000506000000020004" pitchFamily="2" charset="0"/>
              </a:rPr>
              <a:t>Accuracy of each batch is maintained through an iterative approach.</a:t>
            </a:r>
            <a:endParaRPr lang="en-US" sz="1099">
              <a:latin typeface="EYInterstate Light" panose="02000506000000020004" pitchFamily="2" charset="0"/>
            </a:endParaRPr>
          </a:p>
        </p:txBody>
      </p:sp>
    </p:spTree>
    <p:extLst>
      <p:ext uri="{BB962C8B-B14F-4D97-AF65-F5344CB8AC3E}">
        <p14:creationId xmlns:p14="http://schemas.microsoft.com/office/powerpoint/2010/main" val="3621699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234A87-E846-8909-280C-842777E4BFDF}"/>
              </a:ext>
            </a:extLst>
          </p:cNvPr>
          <p:cNvSpPr>
            <a:spLocks noGrp="1"/>
          </p:cNvSpPr>
          <p:nvPr>
            <p:ph type="body" sz="quarter" idx="11"/>
          </p:nvPr>
        </p:nvSpPr>
        <p:spPr/>
        <p:txBody>
          <a:bodyPr/>
          <a:lstStyle/>
          <a:p>
            <a:r>
              <a:rPr lang="en-US"/>
              <a:t>Execution phase | Our approach  </a:t>
            </a:r>
            <a:endParaRPr lang="en-GB"/>
          </a:p>
        </p:txBody>
      </p:sp>
      <p:sp>
        <p:nvSpPr>
          <p:cNvPr id="3" name="Content Placeholder 2">
            <a:extLst>
              <a:ext uri="{FF2B5EF4-FFF2-40B4-BE49-F238E27FC236}">
                <a16:creationId xmlns:a16="http://schemas.microsoft.com/office/drawing/2014/main" id="{B492CB2C-9A30-1D25-6053-7061CF7542F0}"/>
              </a:ext>
            </a:extLst>
          </p:cNvPr>
          <p:cNvSpPr txBox="1">
            <a:spLocks/>
          </p:cNvSpPr>
          <p:nvPr/>
        </p:nvSpPr>
        <p:spPr>
          <a:xfrm>
            <a:off x="947738" y="1007344"/>
            <a:ext cx="11032187" cy="611952"/>
          </a:xfrm>
          <a:prstGeom prst="rect">
            <a:avLst/>
          </a:prstGeom>
        </p:spPr>
        <p:txBody>
          <a:bodyPr vert="horz" lIns="0" tIns="0" rIns="0" bIns="0" rtlCol="0" anchor="t" anchorCtr="0">
            <a:noAutofit/>
          </a:bodyPr>
          <a:lstStyle>
            <a:defPPr>
              <a:defRPr lang="en-US"/>
            </a:defPPr>
            <a:lvl1pPr marR="0" indent="0" algn="ctr" fontAlgn="auto">
              <a:lnSpc>
                <a:spcPct val="100000"/>
              </a:lnSpc>
              <a:spcBef>
                <a:spcPct val="20000"/>
              </a:spcBef>
              <a:spcAft>
                <a:spcPts val="0"/>
              </a:spcAft>
              <a:buClr>
                <a:srgbClr val="FFE600"/>
              </a:buClr>
              <a:buSzPct val="70000"/>
              <a:buFont typeface="Arial" pitchFamily="34" charset="0"/>
              <a:buNone/>
              <a:tabLst/>
              <a:defRPr sz="1200">
                <a:solidFill>
                  <a:schemeClr val="bg1"/>
                </a:solidFill>
                <a:latin typeface="EYInterstate Light" panose="02000506000000020004" pitchFamily="2" charset="0"/>
              </a:defRPr>
            </a:lvl1pPr>
            <a:lvl2pPr marL="713232" marR="0" indent="-356616" fontAlgn="auto">
              <a:lnSpc>
                <a:spcPct val="100000"/>
              </a:lnSpc>
              <a:spcBef>
                <a:spcPct val="20000"/>
              </a:spcBef>
              <a:spcAft>
                <a:spcPts val="0"/>
              </a:spcAft>
              <a:buClr>
                <a:srgbClr val="FFE600"/>
              </a:buClr>
              <a:buSzPct val="70000"/>
              <a:buFont typeface="Arial" pitchFamily="34" charset="0"/>
              <a:buChar char="►"/>
              <a:tabLst/>
              <a:defRPr>
                <a:solidFill>
                  <a:schemeClr val="bg1"/>
                </a:solidFill>
                <a:latin typeface="EYInterstate Light" panose="02000506000000020004" pitchFamily="2" charset="0"/>
              </a:defRPr>
            </a:lvl2pPr>
            <a:lvl3pPr marL="1069848" marR="0" indent="-356616" fontAlgn="auto">
              <a:lnSpc>
                <a:spcPct val="100000"/>
              </a:lnSpc>
              <a:spcBef>
                <a:spcPct val="20000"/>
              </a:spcBef>
              <a:spcAft>
                <a:spcPts val="0"/>
              </a:spcAft>
              <a:buClr>
                <a:srgbClr val="FFE600"/>
              </a:buClr>
              <a:buSzPct val="70000"/>
              <a:buFont typeface="Arial" pitchFamily="34" charset="0"/>
              <a:buChar char="►"/>
              <a:tabLst/>
              <a:defRPr sz="1600">
                <a:solidFill>
                  <a:schemeClr val="bg1"/>
                </a:solidFill>
                <a:latin typeface="EYInterstate Light" panose="02000506000000020004" pitchFamily="2" charset="0"/>
              </a:defRPr>
            </a:lvl3pPr>
            <a:lvl4pPr marL="1426464" marR="0" indent="-356616" fontAlgn="auto">
              <a:lnSpc>
                <a:spcPct val="100000"/>
              </a:lnSpc>
              <a:spcBef>
                <a:spcPct val="20000"/>
              </a:spcBef>
              <a:spcAft>
                <a:spcPts val="0"/>
              </a:spcAft>
              <a:buClr>
                <a:srgbClr val="FFE600"/>
              </a:buClr>
              <a:buSzPct val="70000"/>
              <a:buFont typeface="Arial" pitchFamily="34" charset="0"/>
              <a:buChar char="►"/>
              <a:tabLst/>
              <a:defRPr sz="1400">
                <a:solidFill>
                  <a:schemeClr val="bg1"/>
                </a:solidFill>
                <a:latin typeface="EYInterstate Light" panose="02000506000000020004" pitchFamily="2" charset="0"/>
              </a:defRPr>
            </a:lvl4pPr>
            <a:lvl5pPr marL="1783080" marR="0" indent="-356616" fontAlgn="auto">
              <a:lnSpc>
                <a:spcPct val="100000"/>
              </a:lnSpc>
              <a:spcBef>
                <a:spcPct val="20000"/>
              </a:spcBef>
              <a:spcAft>
                <a:spcPts val="0"/>
              </a:spcAft>
              <a:buClr>
                <a:srgbClr val="FFE600"/>
              </a:buClr>
              <a:buSzPct val="70000"/>
              <a:buFont typeface="Arial" pitchFamily="34" charset="0"/>
              <a:buChar char="►"/>
              <a:tabLst/>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eaLnBrk="1" fontAlgn="auto" latinLnBrk="0" hangingPunct="1">
              <a:lnSpc>
                <a:spcPct val="100000"/>
              </a:lnSpc>
              <a:spcBef>
                <a:spcPct val="20000"/>
              </a:spcBef>
              <a:spcAft>
                <a:spcPts val="0"/>
              </a:spcAft>
              <a:buClr>
                <a:srgbClr val="FFE600"/>
              </a:buClr>
              <a:buSzPct val="70000"/>
              <a:buFont typeface="Arial" pitchFamily="34" charset="0"/>
              <a:buNone/>
              <a:tabLst/>
              <a:defRPr/>
            </a:pPr>
            <a:r>
              <a:rPr lang="en-GB" sz="1100" kern="0">
                <a:solidFill>
                  <a:schemeClr val="tx1"/>
                </a:solidFill>
              </a:rPr>
              <a:t>The execution phase involves executing the data extraction, synthesis, and rationalisation processes. This includes deploying and running the developed scripts across all target Linux Server and database instances, integrating and cleaning the extracted data, categorising accounts based on defined criteria, and identifying non-permissible accounts. The phase will consist of 6 sub-phases: </a:t>
            </a:r>
            <a:endParaRPr kumimoji="0" lang="en-GB" sz="1100" b="0" i="0" u="none" strike="noStrike" kern="0" cap="none" spc="0" normalizeH="0" baseline="0" noProof="0">
              <a:ln>
                <a:noFill/>
              </a:ln>
              <a:solidFill>
                <a:schemeClr val="tx1"/>
              </a:solidFill>
              <a:effectLst/>
              <a:uLnTx/>
              <a:uFillTx/>
              <a:latin typeface="EYInterstate Light" panose="02000506000000020004" pitchFamily="2" charset="0"/>
            </a:endParaRPr>
          </a:p>
        </p:txBody>
      </p:sp>
      <p:cxnSp>
        <p:nvCxnSpPr>
          <p:cNvPr id="4112" name="Straight Connector 4111">
            <a:extLst>
              <a:ext uri="{FF2B5EF4-FFF2-40B4-BE49-F238E27FC236}">
                <a16:creationId xmlns:a16="http://schemas.microsoft.com/office/drawing/2014/main" id="{A98D78DB-0BCC-4AF0-82BF-6E295D5BADF3}"/>
              </a:ext>
            </a:extLst>
          </p:cNvPr>
          <p:cNvCxnSpPr>
            <a:cxnSpLocks/>
          </p:cNvCxnSpPr>
          <p:nvPr/>
        </p:nvCxnSpPr>
        <p:spPr>
          <a:xfrm>
            <a:off x="994529" y="6303940"/>
            <a:ext cx="0" cy="461665"/>
          </a:xfrm>
          <a:prstGeom prst="line">
            <a:avLst/>
          </a:prstGeom>
          <a:ln w="76200">
            <a:solidFill>
              <a:schemeClr val="tx1"/>
            </a:solidFill>
          </a:ln>
        </p:spPr>
        <p:style>
          <a:lnRef idx="2">
            <a:schemeClr val="accent1"/>
          </a:lnRef>
          <a:fillRef idx="0">
            <a:schemeClr val="accent1"/>
          </a:fillRef>
          <a:effectRef idx="1">
            <a:schemeClr val="accent1"/>
          </a:effectRef>
          <a:fontRef idx="minor">
            <a:schemeClr val="tx1"/>
          </a:fontRef>
        </p:style>
      </p:cxnSp>
      <p:sp>
        <p:nvSpPr>
          <p:cNvPr id="4113" name="TextBox 4112">
            <a:extLst>
              <a:ext uri="{FF2B5EF4-FFF2-40B4-BE49-F238E27FC236}">
                <a16:creationId xmlns:a16="http://schemas.microsoft.com/office/drawing/2014/main" id="{7C82620A-1656-35B9-29D0-08E460FF1D08}"/>
              </a:ext>
            </a:extLst>
          </p:cNvPr>
          <p:cNvSpPr txBox="1"/>
          <p:nvPr/>
        </p:nvSpPr>
        <p:spPr>
          <a:xfrm>
            <a:off x="1173525" y="6303940"/>
            <a:ext cx="6219940" cy="430887"/>
          </a:xfrm>
          <a:prstGeom prst="rect">
            <a:avLst/>
          </a:prstGeom>
          <a:noFill/>
        </p:spPr>
        <p:txBody>
          <a:bodyPr wrap="square" lIns="0" rIns="0" rtlCol="0" anchor="t">
            <a:spAutoFit/>
          </a:bodyPr>
          <a:lstStyle/>
          <a:p>
            <a:pPr>
              <a:spcAft>
                <a:spcPts val="600"/>
              </a:spcAft>
            </a:pPr>
            <a:r>
              <a:rPr lang="en-GB" sz="1100" i="1" noProof="1">
                <a:latin typeface="EYInterstate Light" panose="02000506000000020004" pitchFamily="2" charset="0"/>
              </a:rPr>
              <a:t>Two months prior to the conclusion of the Execution Phase, we will onboard an Absa engineer to facilitate knowledge transfer and ensure a smooth handover of key processes and methodologies.</a:t>
            </a:r>
          </a:p>
        </p:txBody>
      </p:sp>
      <p:grpSp>
        <p:nvGrpSpPr>
          <p:cNvPr id="4128" name="Group 4127">
            <a:extLst>
              <a:ext uri="{FF2B5EF4-FFF2-40B4-BE49-F238E27FC236}">
                <a16:creationId xmlns:a16="http://schemas.microsoft.com/office/drawing/2014/main" id="{191665DA-CFCE-52AA-0340-9050B04EA989}"/>
              </a:ext>
            </a:extLst>
          </p:cNvPr>
          <p:cNvGrpSpPr/>
          <p:nvPr/>
        </p:nvGrpSpPr>
        <p:grpSpPr>
          <a:xfrm>
            <a:off x="1801036" y="1616683"/>
            <a:ext cx="8589928" cy="4386662"/>
            <a:chOff x="958490" y="1616683"/>
            <a:chExt cx="8589928" cy="4386662"/>
          </a:xfrm>
        </p:grpSpPr>
        <p:sp>
          <p:nvSpPr>
            <p:cNvPr id="4108" name="Rectangle 4107">
              <a:extLst>
                <a:ext uri="{FF2B5EF4-FFF2-40B4-BE49-F238E27FC236}">
                  <a16:creationId xmlns:a16="http://schemas.microsoft.com/office/drawing/2014/main" id="{2B36431E-2988-FC1E-8FC5-4BB82350CE8A}"/>
                </a:ext>
              </a:extLst>
            </p:cNvPr>
            <p:cNvSpPr/>
            <p:nvPr/>
          </p:nvSpPr>
          <p:spPr>
            <a:xfrm rot="18028940">
              <a:off x="5885459" y="3651133"/>
              <a:ext cx="2058037" cy="161546"/>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09" name="Rectangle 4108">
              <a:extLst>
                <a:ext uri="{FF2B5EF4-FFF2-40B4-BE49-F238E27FC236}">
                  <a16:creationId xmlns:a16="http://schemas.microsoft.com/office/drawing/2014/main" id="{9DD661FB-51B9-F41F-FE82-782B89131837}"/>
                </a:ext>
              </a:extLst>
            </p:cNvPr>
            <p:cNvSpPr/>
            <p:nvPr/>
          </p:nvSpPr>
          <p:spPr>
            <a:xfrm rot="3609581" flipH="1">
              <a:off x="6946534" y="3651131"/>
              <a:ext cx="2058037" cy="161546"/>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0" name="Straight Connector 109">
              <a:extLst>
                <a:ext uri="{FF2B5EF4-FFF2-40B4-BE49-F238E27FC236}">
                  <a16:creationId xmlns:a16="http://schemas.microsoft.com/office/drawing/2014/main" id="{1880C502-E4F9-CF2F-76F7-EB0D0AA4DF63}"/>
                </a:ext>
              </a:extLst>
            </p:cNvPr>
            <p:cNvCxnSpPr>
              <a:cxnSpLocks/>
            </p:cNvCxnSpPr>
            <p:nvPr/>
          </p:nvCxnSpPr>
          <p:spPr>
            <a:xfrm>
              <a:off x="6659788" y="3413779"/>
              <a:ext cx="500240" cy="452732"/>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81" name="Rectangle 180">
              <a:extLst>
                <a:ext uri="{FF2B5EF4-FFF2-40B4-BE49-F238E27FC236}">
                  <a16:creationId xmlns:a16="http://schemas.microsoft.com/office/drawing/2014/main" id="{A13C99F7-EE26-C981-EEC0-4D9F5DD45FE2}"/>
                </a:ext>
              </a:extLst>
            </p:cNvPr>
            <p:cNvSpPr/>
            <p:nvPr/>
          </p:nvSpPr>
          <p:spPr>
            <a:xfrm>
              <a:off x="4015518" y="4535524"/>
              <a:ext cx="2058037" cy="161546"/>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9" name="Group 178">
              <a:extLst>
                <a:ext uri="{FF2B5EF4-FFF2-40B4-BE49-F238E27FC236}">
                  <a16:creationId xmlns:a16="http://schemas.microsoft.com/office/drawing/2014/main" id="{88559BDD-B526-16F4-5FBA-18366BDB8F5F}"/>
                </a:ext>
              </a:extLst>
            </p:cNvPr>
            <p:cNvGrpSpPr/>
            <p:nvPr/>
          </p:nvGrpSpPr>
          <p:grpSpPr>
            <a:xfrm flipH="1">
              <a:off x="3141165" y="3413779"/>
              <a:ext cx="3528326" cy="399908"/>
              <a:chOff x="-256693" y="3131038"/>
              <a:chExt cx="2895562" cy="399908"/>
            </a:xfrm>
          </p:grpSpPr>
          <p:cxnSp>
            <p:nvCxnSpPr>
              <p:cNvPr id="175" name="Straight Connector 174">
                <a:extLst>
                  <a:ext uri="{FF2B5EF4-FFF2-40B4-BE49-F238E27FC236}">
                    <a16:creationId xmlns:a16="http://schemas.microsoft.com/office/drawing/2014/main" id="{9820FAC5-E72D-E8CE-220B-31039B6A6168}"/>
                  </a:ext>
                </a:extLst>
              </p:cNvPr>
              <p:cNvCxnSpPr>
                <a:cxnSpLocks/>
              </p:cNvCxnSpPr>
              <p:nvPr/>
            </p:nvCxnSpPr>
            <p:spPr>
              <a:xfrm>
                <a:off x="2203439" y="3131038"/>
                <a:ext cx="435430" cy="399908"/>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C1318482-C074-0217-B23C-18CC7B98A9A9}"/>
                  </a:ext>
                </a:extLst>
              </p:cNvPr>
              <p:cNvCxnSpPr>
                <a:cxnSpLocks/>
              </p:cNvCxnSpPr>
              <p:nvPr/>
            </p:nvCxnSpPr>
            <p:spPr>
              <a:xfrm>
                <a:off x="-256693" y="3133359"/>
                <a:ext cx="247390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3" name="Arrow: Right 92">
              <a:extLst>
                <a:ext uri="{FF2B5EF4-FFF2-40B4-BE49-F238E27FC236}">
                  <a16:creationId xmlns:a16="http://schemas.microsoft.com/office/drawing/2014/main" id="{5D4F8B8B-294B-9D61-6338-6D4C636ECB21}"/>
                </a:ext>
              </a:extLst>
            </p:cNvPr>
            <p:cNvSpPr/>
            <p:nvPr/>
          </p:nvSpPr>
          <p:spPr>
            <a:xfrm>
              <a:off x="4191275" y="4518231"/>
              <a:ext cx="1599891" cy="429431"/>
            </a:xfrm>
            <a:prstGeom prst="rightArrow">
              <a:avLst>
                <a:gd name="adj1" fmla="val 38320"/>
                <a:gd name="adj2" fmla="val 80230"/>
              </a:avLst>
            </a:prstGeom>
            <a:solidFill>
              <a:srgbClr val="AF154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Shape">
              <a:extLst>
                <a:ext uri="{FF2B5EF4-FFF2-40B4-BE49-F238E27FC236}">
                  <a16:creationId xmlns:a16="http://schemas.microsoft.com/office/drawing/2014/main" id="{721B3D21-97E3-6B4E-5961-73D4593365ED}"/>
                </a:ext>
              </a:extLst>
            </p:cNvPr>
            <p:cNvSpPr/>
            <p:nvPr/>
          </p:nvSpPr>
          <p:spPr>
            <a:xfrm>
              <a:off x="1781451" y="2822209"/>
              <a:ext cx="2234068" cy="1993229"/>
            </a:xfrm>
            <a:custGeom>
              <a:avLst/>
              <a:gdLst/>
              <a:ahLst/>
              <a:cxnLst>
                <a:cxn ang="0">
                  <a:pos x="wd2" y="hd2"/>
                </a:cxn>
                <a:cxn ang="5400000">
                  <a:pos x="wd2" y="hd2"/>
                </a:cxn>
                <a:cxn ang="10800000">
                  <a:pos x="wd2" y="hd2"/>
                </a:cxn>
                <a:cxn ang="16200000">
                  <a:pos x="wd2" y="hd2"/>
                </a:cxn>
              </a:cxnLst>
              <a:rect l="0" t="0" r="r" b="b"/>
              <a:pathLst>
                <a:path w="21413" h="21600" extrusionOk="0">
                  <a:moveTo>
                    <a:pt x="19357" y="21600"/>
                  </a:moveTo>
                  <a:lnTo>
                    <a:pt x="2069" y="21600"/>
                  </a:lnTo>
                  <a:cubicBezTo>
                    <a:pt x="1320" y="21600"/>
                    <a:pt x="655" y="21161"/>
                    <a:pt x="280" y="20424"/>
                  </a:cubicBezTo>
                  <a:cubicBezTo>
                    <a:pt x="-94" y="19688"/>
                    <a:pt x="-94" y="18826"/>
                    <a:pt x="280" y="18089"/>
                  </a:cubicBezTo>
                  <a:lnTo>
                    <a:pt x="8918" y="1176"/>
                  </a:lnTo>
                  <a:cubicBezTo>
                    <a:pt x="9292" y="439"/>
                    <a:pt x="9957" y="0"/>
                    <a:pt x="10706" y="0"/>
                  </a:cubicBezTo>
                  <a:cubicBezTo>
                    <a:pt x="11455" y="0"/>
                    <a:pt x="12120" y="439"/>
                    <a:pt x="12494" y="1176"/>
                  </a:cubicBezTo>
                  <a:lnTo>
                    <a:pt x="21132" y="18089"/>
                  </a:lnTo>
                  <a:cubicBezTo>
                    <a:pt x="21506" y="18826"/>
                    <a:pt x="21506" y="19703"/>
                    <a:pt x="21132" y="20424"/>
                  </a:cubicBezTo>
                  <a:cubicBezTo>
                    <a:pt x="20771" y="21161"/>
                    <a:pt x="20106" y="21600"/>
                    <a:pt x="19357" y="21600"/>
                  </a:cubicBezTo>
                  <a:close/>
                  <a:moveTo>
                    <a:pt x="10720" y="1709"/>
                  </a:moveTo>
                  <a:cubicBezTo>
                    <a:pt x="10623" y="1709"/>
                    <a:pt x="10387" y="1740"/>
                    <a:pt x="10235" y="2022"/>
                  </a:cubicBezTo>
                  <a:lnTo>
                    <a:pt x="1597" y="18935"/>
                  </a:lnTo>
                  <a:cubicBezTo>
                    <a:pt x="1459" y="19217"/>
                    <a:pt x="1556" y="19468"/>
                    <a:pt x="1597" y="19562"/>
                  </a:cubicBezTo>
                  <a:cubicBezTo>
                    <a:pt x="1639" y="19656"/>
                    <a:pt x="1791" y="19876"/>
                    <a:pt x="2083" y="19876"/>
                  </a:cubicBezTo>
                  <a:lnTo>
                    <a:pt x="19357" y="19876"/>
                  </a:lnTo>
                  <a:cubicBezTo>
                    <a:pt x="19648" y="19876"/>
                    <a:pt x="19787" y="19656"/>
                    <a:pt x="19842" y="19562"/>
                  </a:cubicBezTo>
                  <a:cubicBezTo>
                    <a:pt x="19884" y="19468"/>
                    <a:pt x="19981" y="19217"/>
                    <a:pt x="19842" y="18935"/>
                  </a:cubicBezTo>
                  <a:lnTo>
                    <a:pt x="11205" y="2022"/>
                  </a:lnTo>
                  <a:cubicBezTo>
                    <a:pt x="11053" y="1740"/>
                    <a:pt x="10817" y="1709"/>
                    <a:pt x="10720" y="1709"/>
                  </a:cubicBezTo>
                  <a:close/>
                </a:path>
              </a:pathLst>
            </a:custGeom>
            <a:solidFill>
              <a:schemeClr val="bg1">
                <a:lumMod val="8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9" name="Shape">
              <a:extLst>
                <a:ext uri="{FF2B5EF4-FFF2-40B4-BE49-F238E27FC236}">
                  <a16:creationId xmlns:a16="http://schemas.microsoft.com/office/drawing/2014/main" id="{39E3F7AD-83D6-5307-9BBB-B6443F925452}"/>
                </a:ext>
              </a:extLst>
            </p:cNvPr>
            <p:cNvSpPr/>
            <p:nvPr/>
          </p:nvSpPr>
          <p:spPr>
            <a:xfrm>
              <a:off x="2424713" y="2383432"/>
              <a:ext cx="1226107" cy="1963214"/>
            </a:xfrm>
            <a:custGeom>
              <a:avLst/>
              <a:gdLst/>
              <a:ahLst/>
              <a:cxnLst>
                <a:cxn ang="0">
                  <a:pos x="wd2" y="hd2"/>
                </a:cxn>
                <a:cxn ang="5400000">
                  <a:pos x="wd2" y="hd2"/>
                </a:cxn>
                <a:cxn ang="10800000">
                  <a:pos x="wd2" y="hd2"/>
                </a:cxn>
                <a:cxn ang="16200000">
                  <a:pos x="wd2" y="hd2"/>
                </a:cxn>
              </a:cxnLst>
              <a:rect l="0" t="0" r="r" b="b"/>
              <a:pathLst>
                <a:path w="21021" h="21352" extrusionOk="0">
                  <a:moveTo>
                    <a:pt x="19111" y="17718"/>
                  </a:moveTo>
                  <a:lnTo>
                    <a:pt x="11374" y="9223"/>
                  </a:lnTo>
                  <a:lnTo>
                    <a:pt x="13705" y="9223"/>
                  </a:lnTo>
                  <a:cubicBezTo>
                    <a:pt x="15516" y="9223"/>
                    <a:pt x="16632" y="7980"/>
                    <a:pt x="15739" y="6989"/>
                  </a:cubicBezTo>
                  <a:lnTo>
                    <a:pt x="10060" y="743"/>
                  </a:lnTo>
                  <a:cubicBezTo>
                    <a:pt x="9167" y="-248"/>
                    <a:pt x="6886" y="-248"/>
                    <a:pt x="5993" y="743"/>
                  </a:cubicBezTo>
                  <a:lnTo>
                    <a:pt x="314" y="6989"/>
                  </a:lnTo>
                  <a:cubicBezTo>
                    <a:pt x="-579" y="7980"/>
                    <a:pt x="537" y="9223"/>
                    <a:pt x="2347" y="9223"/>
                  </a:cubicBezTo>
                  <a:lnTo>
                    <a:pt x="8274" y="9223"/>
                  </a:lnTo>
                  <a:lnTo>
                    <a:pt x="16780" y="18567"/>
                  </a:lnTo>
                  <a:lnTo>
                    <a:pt x="14821" y="19291"/>
                  </a:lnTo>
                  <a:lnTo>
                    <a:pt x="20823" y="21352"/>
                  </a:lnTo>
                  <a:lnTo>
                    <a:pt x="21021" y="17026"/>
                  </a:lnTo>
                  <a:lnTo>
                    <a:pt x="19111" y="17718"/>
                  </a:lnTo>
                  <a:close/>
                </a:path>
              </a:pathLst>
            </a:custGeom>
            <a:solidFill>
              <a:srgbClr val="5A003D"/>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0" name="Shape">
              <a:extLst>
                <a:ext uri="{FF2B5EF4-FFF2-40B4-BE49-F238E27FC236}">
                  <a16:creationId xmlns:a16="http://schemas.microsoft.com/office/drawing/2014/main" id="{6FB05BBC-D17F-D43C-E72D-1C888AAB11BA}"/>
                </a:ext>
              </a:extLst>
            </p:cNvPr>
            <p:cNvSpPr/>
            <p:nvPr/>
          </p:nvSpPr>
          <p:spPr>
            <a:xfrm>
              <a:off x="1296470" y="3383302"/>
              <a:ext cx="1431505" cy="1657648"/>
            </a:xfrm>
            <a:custGeom>
              <a:avLst/>
              <a:gdLst/>
              <a:ahLst/>
              <a:cxnLst>
                <a:cxn ang="0">
                  <a:pos x="wd2" y="hd2"/>
                </a:cxn>
                <a:cxn ang="5400000">
                  <a:pos x="wd2" y="hd2"/>
                </a:cxn>
                <a:cxn ang="10800000">
                  <a:pos x="wd2" y="hd2"/>
                </a:cxn>
                <a:cxn ang="16200000">
                  <a:pos x="wd2" y="hd2"/>
                </a:cxn>
              </a:cxnLst>
              <a:rect l="0" t="0" r="r" b="b"/>
              <a:pathLst>
                <a:path w="21102" h="21600" extrusionOk="0">
                  <a:moveTo>
                    <a:pt x="21102" y="5183"/>
                  </a:moveTo>
                  <a:lnTo>
                    <a:pt x="21059" y="0"/>
                  </a:lnTo>
                  <a:lnTo>
                    <a:pt x="15857" y="2375"/>
                  </a:lnTo>
                  <a:lnTo>
                    <a:pt x="17498" y="3261"/>
                  </a:lnTo>
                  <a:lnTo>
                    <a:pt x="10398" y="14117"/>
                  </a:lnTo>
                  <a:lnTo>
                    <a:pt x="8649" y="11441"/>
                  </a:lnTo>
                  <a:cubicBezTo>
                    <a:pt x="7882" y="10253"/>
                    <a:pt x="5920" y="10253"/>
                    <a:pt x="5153" y="11441"/>
                  </a:cubicBezTo>
                  <a:lnTo>
                    <a:pt x="270" y="18924"/>
                  </a:lnTo>
                  <a:cubicBezTo>
                    <a:pt x="-498" y="20111"/>
                    <a:pt x="462" y="21600"/>
                    <a:pt x="2018" y="21600"/>
                  </a:cubicBezTo>
                  <a:lnTo>
                    <a:pt x="11805" y="21600"/>
                  </a:lnTo>
                  <a:cubicBezTo>
                    <a:pt x="13362" y="21600"/>
                    <a:pt x="14321" y="20111"/>
                    <a:pt x="13554" y="18924"/>
                  </a:cubicBezTo>
                  <a:lnTo>
                    <a:pt x="11763" y="16172"/>
                  </a:lnTo>
                  <a:lnTo>
                    <a:pt x="19503" y="4316"/>
                  </a:lnTo>
                  <a:lnTo>
                    <a:pt x="21102" y="5183"/>
                  </a:lnTo>
                  <a:close/>
                </a:path>
              </a:pathLst>
            </a:custGeom>
            <a:solidFill>
              <a:srgbClr val="890060"/>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3" name="Freeform: Shape 82">
              <a:extLst>
                <a:ext uri="{FF2B5EF4-FFF2-40B4-BE49-F238E27FC236}">
                  <a16:creationId xmlns:a16="http://schemas.microsoft.com/office/drawing/2014/main" id="{5DD2CA73-5B1A-7001-9ECD-CEC948867665}"/>
                </a:ext>
              </a:extLst>
            </p:cNvPr>
            <p:cNvSpPr/>
            <p:nvPr/>
          </p:nvSpPr>
          <p:spPr>
            <a:xfrm>
              <a:off x="2197306" y="4191523"/>
              <a:ext cx="2303147" cy="849427"/>
            </a:xfrm>
            <a:custGeom>
              <a:avLst/>
              <a:gdLst>
                <a:gd name="connsiteX0" fmla="*/ 2891825 w 3630781"/>
                <a:gd name="connsiteY0" fmla="*/ 0 h 1339074"/>
                <a:gd name="connsiteX1" fmla="*/ 3078804 w 3630781"/>
                <a:gd name="connsiteY1" fmla="*/ 107756 h 1339074"/>
                <a:gd name="connsiteX2" fmla="*/ 3600943 w 3630781"/>
                <a:gd name="connsiteY2" fmla="*/ 1013023 h 1339074"/>
                <a:gd name="connsiteX3" fmla="*/ 3413964 w 3630781"/>
                <a:gd name="connsiteY3" fmla="*/ 1339074 h 1339074"/>
                <a:gd name="connsiteX4" fmla="*/ 2367463 w 3630781"/>
                <a:gd name="connsiteY4" fmla="*/ 1339074 h 1339074"/>
                <a:gd name="connsiteX5" fmla="*/ 2180484 w 3630781"/>
                <a:gd name="connsiteY5" fmla="*/ 1015251 h 1339074"/>
                <a:gd name="connsiteX6" fmla="*/ 2341037 w 3630781"/>
                <a:gd name="connsiteY6" fmla="*/ 737388 h 1339074"/>
                <a:gd name="connsiteX7" fmla="*/ 533591 w 3630781"/>
                <a:gd name="connsiteY7" fmla="*/ 737388 h 1339074"/>
                <a:gd name="connsiteX8" fmla="*/ 533591 w 3630781"/>
                <a:gd name="connsiteY8" fmla="*/ 940327 h 1339074"/>
                <a:gd name="connsiteX9" fmla="*/ 0 w 3630781"/>
                <a:gd name="connsiteY9" fmla="*/ 611984 h 1339074"/>
                <a:gd name="connsiteX10" fmla="*/ 533591 w 3630781"/>
                <a:gd name="connsiteY10" fmla="*/ 283641 h 1339074"/>
                <a:gd name="connsiteX11" fmla="*/ 533591 w 3630781"/>
                <a:gd name="connsiteY11" fmla="*/ 486580 h 1339074"/>
                <a:gd name="connsiteX12" fmla="*/ 2485957 w 3630781"/>
                <a:gd name="connsiteY12" fmla="*/ 486580 h 1339074"/>
                <a:gd name="connsiteX13" fmla="*/ 2704846 w 3630781"/>
                <a:gd name="connsiteY13" fmla="*/ 107756 h 1339074"/>
                <a:gd name="connsiteX14" fmla="*/ 2891825 w 3630781"/>
                <a:gd name="connsiteY14" fmla="*/ 0 h 13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30781" h="1339074">
                  <a:moveTo>
                    <a:pt x="2891825" y="0"/>
                  </a:moveTo>
                  <a:cubicBezTo>
                    <a:pt x="2964805" y="0"/>
                    <a:pt x="3037785" y="35919"/>
                    <a:pt x="3078804" y="107756"/>
                  </a:cubicBezTo>
                  <a:lnTo>
                    <a:pt x="3600943" y="1013023"/>
                  </a:lnTo>
                  <a:cubicBezTo>
                    <a:pt x="3685374" y="1158925"/>
                    <a:pt x="3580434" y="1339074"/>
                    <a:pt x="3413964" y="1339074"/>
                  </a:cubicBezTo>
                  <a:lnTo>
                    <a:pt x="2367463" y="1339074"/>
                  </a:lnTo>
                  <a:cubicBezTo>
                    <a:pt x="2200994" y="1339074"/>
                    <a:pt x="2098275" y="1158925"/>
                    <a:pt x="2180484" y="1015251"/>
                  </a:cubicBezTo>
                  <a:lnTo>
                    <a:pt x="2341037" y="737388"/>
                  </a:lnTo>
                  <a:lnTo>
                    <a:pt x="533591" y="737388"/>
                  </a:lnTo>
                  <a:lnTo>
                    <a:pt x="533591" y="940327"/>
                  </a:lnTo>
                  <a:lnTo>
                    <a:pt x="0" y="611984"/>
                  </a:lnTo>
                  <a:lnTo>
                    <a:pt x="533591" y="283641"/>
                  </a:lnTo>
                  <a:lnTo>
                    <a:pt x="533591" y="486580"/>
                  </a:lnTo>
                  <a:lnTo>
                    <a:pt x="2485957" y="486580"/>
                  </a:lnTo>
                  <a:lnTo>
                    <a:pt x="2704846" y="107756"/>
                  </a:lnTo>
                  <a:cubicBezTo>
                    <a:pt x="2745865" y="35919"/>
                    <a:pt x="2818845" y="0"/>
                    <a:pt x="2891825" y="0"/>
                  </a:cubicBezTo>
                  <a:close/>
                </a:path>
              </a:pathLst>
            </a:custGeom>
            <a:solidFill>
              <a:srgbClr val="AF154B"/>
            </a:solidFill>
            <a:ln w="12700">
              <a:miter lim="400000"/>
            </a:ln>
          </p:spPr>
          <p:txBody>
            <a:bodyPr wrap="square" lIns="38100" tIns="38100" rIns="38100" bIns="38100" anchor="ctr">
              <a:noAutofit/>
            </a:bodyPr>
            <a:lstStyle/>
            <a:p>
              <a:pPr>
                <a:defRPr sz="3000">
                  <a:solidFill>
                    <a:srgbClr val="FFFFFF"/>
                  </a:solidFill>
                  <a:effectLst>
                    <a:outerShdw blurRad="38100" dist="12700" dir="5400000" rotWithShape="0">
                      <a:srgbClr val="000000">
                        <a:alpha val="50000"/>
                      </a:srgbClr>
                    </a:outerShdw>
                  </a:effectLst>
                </a:defRPr>
              </a:pPr>
              <a:endParaRPr/>
            </a:p>
          </p:txBody>
        </p:sp>
        <p:grpSp>
          <p:nvGrpSpPr>
            <p:cNvPr id="147" name="Group 146">
              <a:extLst>
                <a:ext uri="{FF2B5EF4-FFF2-40B4-BE49-F238E27FC236}">
                  <a16:creationId xmlns:a16="http://schemas.microsoft.com/office/drawing/2014/main" id="{A4FE0012-4CDC-A825-C235-B505A57FF319}"/>
                </a:ext>
              </a:extLst>
            </p:cNvPr>
            <p:cNvGrpSpPr/>
            <p:nvPr/>
          </p:nvGrpSpPr>
          <p:grpSpPr>
            <a:xfrm>
              <a:off x="2502870" y="3714002"/>
              <a:ext cx="791182" cy="721254"/>
              <a:chOff x="2513254" y="3195379"/>
              <a:chExt cx="791182" cy="721254"/>
            </a:xfrm>
          </p:grpSpPr>
          <p:sp>
            <p:nvSpPr>
              <p:cNvPr id="137" name="Freeform 27">
                <a:extLst>
                  <a:ext uri="{FF2B5EF4-FFF2-40B4-BE49-F238E27FC236}">
                    <a16:creationId xmlns:a16="http://schemas.microsoft.com/office/drawing/2014/main" id="{3E9671AE-99CA-22F9-0C5E-534062524734}"/>
                  </a:ext>
                </a:extLst>
              </p:cNvPr>
              <p:cNvSpPr>
                <a:spLocks/>
              </p:cNvSpPr>
              <p:nvPr/>
            </p:nvSpPr>
            <p:spPr bwMode="auto">
              <a:xfrm>
                <a:off x="2549217" y="3547015"/>
                <a:ext cx="657320" cy="369618"/>
              </a:xfrm>
              <a:custGeom>
                <a:avLst/>
                <a:gdLst>
                  <a:gd name="T0" fmla="*/ 360 w 658"/>
                  <a:gd name="T1" fmla="*/ 370 h 370"/>
                  <a:gd name="T2" fmla="*/ 288 w 658"/>
                  <a:gd name="T3" fmla="*/ 364 h 370"/>
                  <a:gd name="T4" fmla="*/ 220 w 658"/>
                  <a:gd name="T5" fmla="*/ 342 h 370"/>
                  <a:gd name="T6" fmla="*/ 158 w 658"/>
                  <a:gd name="T7" fmla="*/ 308 h 370"/>
                  <a:gd name="T8" fmla="*/ 106 w 658"/>
                  <a:gd name="T9" fmla="*/ 264 h 370"/>
                  <a:gd name="T10" fmla="*/ 60 w 658"/>
                  <a:gd name="T11" fmla="*/ 212 h 370"/>
                  <a:gd name="T12" fmla="*/ 28 w 658"/>
                  <a:gd name="T13" fmla="*/ 150 h 370"/>
                  <a:gd name="T14" fmla="*/ 6 w 658"/>
                  <a:gd name="T15" fmla="*/ 82 h 370"/>
                  <a:gd name="T16" fmla="*/ 0 w 658"/>
                  <a:gd name="T17" fmla="*/ 10 h 370"/>
                  <a:gd name="T18" fmla="*/ 18 w 658"/>
                  <a:gd name="T19" fmla="*/ 0 h 370"/>
                  <a:gd name="T20" fmla="*/ 18 w 658"/>
                  <a:gd name="T21" fmla="*/ 10 h 370"/>
                  <a:gd name="T22" fmla="*/ 24 w 658"/>
                  <a:gd name="T23" fmla="*/ 78 h 370"/>
                  <a:gd name="T24" fmla="*/ 44 w 658"/>
                  <a:gd name="T25" fmla="*/ 142 h 370"/>
                  <a:gd name="T26" fmla="*/ 76 w 658"/>
                  <a:gd name="T27" fmla="*/ 202 h 370"/>
                  <a:gd name="T28" fmla="*/ 118 w 658"/>
                  <a:gd name="T29" fmla="*/ 252 h 370"/>
                  <a:gd name="T30" fmla="*/ 168 w 658"/>
                  <a:gd name="T31" fmla="*/ 294 h 370"/>
                  <a:gd name="T32" fmla="*/ 226 w 658"/>
                  <a:gd name="T33" fmla="*/ 326 h 370"/>
                  <a:gd name="T34" fmla="*/ 292 w 658"/>
                  <a:gd name="T35" fmla="*/ 346 h 370"/>
                  <a:gd name="T36" fmla="*/ 360 w 658"/>
                  <a:gd name="T37" fmla="*/ 352 h 370"/>
                  <a:gd name="T38" fmla="*/ 380 w 658"/>
                  <a:gd name="T39" fmla="*/ 352 h 370"/>
                  <a:gd name="T40" fmla="*/ 422 w 658"/>
                  <a:gd name="T41" fmla="*/ 346 h 370"/>
                  <a:gd name="T42" fmla="*/ 480 w 658"/>
                  <a:gd name="T43" fmla="*/ 330 h 370"/>
                  <a:gd name="T44" fmla="*/ 552 w 658"/>
                  <a:gd name="T45" fmla="*/ 294 h 370"/>
                  <a:gd name="T46" fmla="*/ 598 w 658"/>
                  <a:gd name="T47" fmla="*/ 256 h 370"/>
                  <a:gd name="T48" fmla="*/ 626 w 658"/>
                  <a:gd name="T49" fmla="*/ 226 h 370"/>
                  <a:gd name="T50" fmla="*/ 644 w 658"/>
                  <a:gd name="T51" fmla="*/ 202 h 370"/>
                  <a:gd name="T52" fmla="*/ 654 w 658"/>
                  <a:gd name="T53" fmla="*/ 220 h 370"/>
                  <a:gd name="T54" fmla="*/ 640 w 658"/>
                  <a:gd name="T55" fmla="*/ 238 h 370"/>
                  <a:gd name="T56" fmla="*/ 612 w 658"/>
                  <a:gd name="T57" fmla="*/ 268 h 370"/>
                  <a:gd name="T58" fmla="*/ 578 w 658"/>
                  <a:gd name="T59" fmla="*/ 296 h 370"/>
                  <a:gd name="T60" fmla="*/ 544 w 658"/>
                  <a:gd name="T61" fmla="*/ 320 h 370"/>
                  <a:gd name="T62" fmla="*/ 506 w 658"/>
                  <a:gd name="T63" fmla="*/ 340 h 370"/>
                  <a:gd name="T64" fmla="*/ 466 w 658"/>
                  <a:gd name="T65" fmla="*/ 354 h 370"/>
                  <a:gd name="T66" fmla="*/ 424 w 658"/>
                  <a:gd name="T67" fmla="*/ 364 h 370"/>
                  <a:gd name="T68" fmla="*/ 382 w 658"/>
                  <a:gd name="T69" fmla="*/ 370 h 370"/>
                  <a:gd name="T70" fmla="*/ 360 w 658"/>
                  <a:gd name="T71"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 h="370">
                    <a:moveTo>
                      <a:pt x="360" y="370"/>
                    </a:moveTo>
                    <a:lnTo>
                      <a:pt x="360" y="370"/>
                    </a:lnTo>
                    <a:lnTo>
                      <a:pt x="324" y="368"/>
                    </a:lnTo>
                    <a:lnTo>
                      <a:pt x="288" y="364"/>
                    </a:lnTo>
                    <a:lnTo>
                      <a:pt x="252" y="354"/>
                    </a:lnTo>
                    <a:lnTo>
                      <a:pt x="220" y="342"/>
                    </a:lnTo>
                    <a:lnTo>
                      <a:pt x="188" y="326"/>
                    </a:lnTo>
                    <a:lnTo>
                      <a:pt x="158" y="308"/>
                    </a:lnTo>
                    <a:lnTo>
                      <a:pt x="130" y="288"/>
                    </a:lnTo>
                    <a:lnTo>
                      <a:pt x="106" y="264"/>
                    </a:lnTo>
                    <a:lnTo>
                      <a:pt x="82" y="240"/>
                    </a:lnTo>
                    <a:lnTo>
                      <a:pt x="60" y="212"/>
                    </a:lnTo>
                    <a:lnTo>
                      <a:pt x="42" y="182"/>
                    </a:lnTo>
                    <a:lnTo>
                      <a:pt x="28" y="150"/>
                    </a:lnTo>
                    <a:lnTo>
                      <a:pt x="16" y="116"/>
                    </a:lnTo>
                    <a:lnTo>
                      <a:pt x="6" y="82"/>
                    </a:lnTo>
                    <a:lnTo>
                      <a:pt x="2" y="46"/>
                    </a:lnTo>
                    <a:lnTo>
                      <a:pt x="0" y="10"/>
                    </a:lnTo>
                    <a:lnTo>
                      <a:pt x="0" y="0"/>
                    </a:lnTo>
                    <a:lnTo>
                      <a:pt x="18" y="0"/>
                    </a:lnTo>
                    <a:lnTo>
                      <a:pt x="18" y="10"/>
                    </a:lnTo>
                    <a:lnTo>
                      <a:pt x="18" y="10"/>
                    </a:lnTo>
                    <a:lnTo>
                      <a:pt x="20" y="44"/>
                    </a:lnTo>
                    <a:lnTo>
                      <a:pt x="24" y="78"/>
                    </a:lnTo>
                    <a:lnTo>
                      <a:pt x="32" y="112"/>
                    </a:lnTo>
                    <a:lnTo>
                      <a:pt x="44" y="142"/>
                    </a:lnTo>
                    <a:lnTo>
                      <a:pt x="58" y="172"/>
                    </a:lnTo>
                    <a:lnTo>
                      <a:pt x="76" y="202"/>
                    </a:lnTo>
                    <a:lnTo>
                      <a:pt x="96" y="228"/>
                    </a:lnTo>
                    <a:lnTo>
                      <a:pt x="118" y="252"/>
                    </a:lnTo>
                    <a:lnTo>
                      <a:pt x="142" y="274"/>
                    </a:lnTo>
                    <a:lnTo>
                      <a:pt x="168" y="294"/>
                    </a:lnTo>
                    <a:lnTo>
                      <a:pt x="196" y="312"/>
                    </a:lnTo>
                    <a:lnTo>
                      <a:pt x="226" y="326"/>
                    </a:lnTo>
                    <a:lnTo>
                      <a:pt x="258" y="338"/>
                    </a:lnTo>
                    <a:lnTo>
                      <a:pt x="292" y="346"/>
                    </a:lnTo>
                    <a:lnTo>
                      <a:pt x="326" y="350"/>
                    </a:lnTo>
                    <a:lnTo>
                      <a:pt x="360" y="352"/>
                    </a:lnTo>
                    <a:lnTo>
                      <a:pt x="360" y="352"/>
                    </a:lnTo>
                    <a:lnTo>
                      <a:pt x="380" y="352"/>
                    </a:lnTo>
                    <a:lnTo>
                      <a:pt x="402" y="350"/>
                    </a:lnTo>
                    <a:lnTo>
                      <a:pt x="422" y="346"/>
                    </a:lnTo>
                    <a:lnTo>
                      <a:pt x="442" y="342"/>
                    </a:lnTo>
                    <a:lnTo>
                      <a:pt x="480" y="330"/>
                    </a:lnTo>
                    <a:lnTo>
                      <a:pt x="516" y="314"/>
                    </a:lnTo>
                    <a:lnTo>
                      <a:pt x="552" y="294"/>
                    </a:lnTo>
                    <a:lnTo>
                      <a:pt x="584" y="270"/>
                    </a:lnTo>
                    <a:lnTo>
                      <a:pt x="598" y="256"/>
                    </a:lnTo>
                    <a:lnTo>
                      <a:pt x="612" y="242"/>
                    </a:lnTo>
                    <a:lnTo>
                      <a:pt x="626" y="226"/>
                    </a:lnTo>
                    <a:lnTo>
                      <a:pt x="638" y="210"/>
                    </a:lnTo>
                    <a:lnTo>
                      <a:pt x="644" y="202"/>
                    </a:lnTo>
                    <a:lnTo>
                      <a:pt x="658" y="212"/>
                    </a:lnTo>
                    <a:lnTo>
                      <a:pt x="654" y="220"/>
                    </a:lnTo>
                    <a:lnTo>
                      <a:pt x="654" y="220"/>
                    </a:lnTo>
                    <a:lnTo>
                      <a:pt x="640" y="238"/>
                    </a:lnTo>
                    <a:lnTo>
                      <a:pt x="626" y="254"/>
                    </a:lnTo>
                    <a:lnTo>
                      <a:pt x="612" y="268"/>
                    </a:lnTo>
                    <a:lnTo>
                      <a:pt x="596" y="284"/>
                    </a:lnTo>
                    <a:lnTo>
                      <a:pt x="578" y="296"/>
                    </a:lnTo>
                    <a:lnTo>
                      <a:pt x="562" y="308"/>
                    </a:lnTo>
                    <a:lnTo>
                      <a:pt x="544" y="320"/>
                    </a:lnTo>
                    <a:lnTo>
                      <a:pt x="524" y="330"/>
                    </a:lnTo>
                    <a:lnTo>
                      <a:pt x="506" y="340"/>
                    </a:lnTo>
                    <a:lnTo>
                      <a:pt x="486" y="348"/>
                    </a:lnTo>
                    <a:lnTo>
                      <a:pt x="466" y="354"/>
                    </a:lnTo>
                    <a:lnTo>
                      <a:pt x="446" y="360"/>
                    </a:lnTo>
                    <a:lnTo>
                      <a:pt x="424" y="364"/>
                    </a:lnTo>
                    <a:lnTo>
                      <a:pt x="404" y="368"/>
                    </a:lnTo>
                    <a:lnTo>
                      <a:pt x="382" y="370"/>
                    </a:lnTo>
                    <a:lnTo>
                      <a:pt x="360" y="370"/>
                    </a:lnTo>
                    <a:lnTo>
                      <a:pt x="360" y="3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38" name="Freeform 28">
                <a:extLst>
                  <a:ext uri="{FF2B5EF4-FFF2-40B4-BE49-F238E27FC236}">
                    <a16:creationId xmlns:a16="http://schemas.microsoft.com/office/drawing/2014/main" id="{2E9A87A1-6C78-4E42-F53A-3B29A4E537BD}"/>
                  </a:ext>
                </a:extLst>
              </p:cNvPr>
              <p:cNvSpPr>
                <a:spLocks/>
              </p:cNvSpPr>
              <p:nvPr/>
            </p:nvSpPr>
            <p:spPr bwMode="auto">
              <a:xfrm>
                <a:off x="2611153" y="3195379"/>
                <a:ext cx="657320" cy="369618"/>
              </a:xfrm>
              <a:custGeom>
                <a:avLst/>
                <a:gdLst>
                  <a:gd name="T0" fmla="*/ 640 w 658"/>
                  <a:gd name="T1" fmla="*/ 370 h 370"/>
                  <a:gd name="T2" fmla="*/ 640 w 658"/>
                  <a:gd name="T3" fmla="*/ 362 h 370"/>
                  <a:gd name="T4" fmla="*/ 634 w 658"/>
                  <a:gd name="T5" fmla="*/ 292 h 370"/>
                  <a:gd name="T6" fmla="*/ 614 w 658"/>
                  <a:gd name="T7" fmla="*/ 228 h 370"/>
                  <a:gd name="T8" fmla="*/ 582 w 658"/>
                  <a:gd name="T9" fmla="*/ 170 h 370"/>
                  <a:gd name="T10" fmla="*/ 540 w 658"/>
                  <a:gd name="T11" fmla="*/ 120 h 370"/>
                  <a:gd name="T12" fmla="*/ 490 w 658"/>
                  <a:gd name="T13" fmla="*/ 78 h 370"/>
                  <a:gd name="T14" fmla="*/ 432 w 658"/>
                  <a:gd name="T15" fmla="*/ 46 h 370"/>
                  <a:gd name="T16" fmla="*/ 368 w 658"/>
                  <a:gd name="T17" fmla="*/ 26 h 370"/>
                  <a:gd name="T18" fmla="*/ 298 w 658"/>
                  <a:gd name="T19" fmla="*/ 18 h 370"/>
                  <a:gd name="T20" fmla="*/ 278 w 658"/>
                  <a:gd name="T21" fmla="*/ 20 h 370"/>
                  <a:gd name="T22" fmla="*/ 238 w 658"/>
                  <a:gd name="T23" fmla="*/ 24 h 370"/>
                  <a:gd name="T24" fmla="*/ 178 w 658"/>
                  <a:gd name="T25" fmla="*/ 40 h 370"/>
                  <a:gd name="T26" fmla="*/ 106 w 658"/>
                  <a:gd name="T27" fmla="*/ 78 h 370"/>
                  <a:gd name="T28" fmla="*/ 60 w 658"/>
                  <a:gd name="T29" fmla="*/ 116 h 370"/>
                  <a:gd name="T30" fmla="*/ 32 w 658"/>
                  <a:gd name="T31" fmla="*/ 146 h 370"/>
                  <a:gd name="T32" fmla="*/ 14 w 658"/>
                  <a:gd name="T33" fmla="*/ 170 h 370"/>
                  <a:gd name="T34" fmla="*/ 4 w 658"/>
                  <a:gd name="T35" fmla="*/ 152 h 370"/>
                  <a:gd name="T36" fmla="*/ 18 w 658"/>
                  <a:gd name="T37" fmla="*/ 134 h 370"/>
                  <a:gd name="T38" fmla="*/ 48 w 658"/>
                  <a:gd name="T39" fmla="*/ 102 h 370"/>
                  <a:gd name="T40" fmla="*/ 80 w 658"/>
                  <a:gd name="T41" fmla="*/ 74 h 370"/>
                  <a:gd name="T42" fmla="*/ 114 w 658"/>
                  <a:gd name="T43" fmla="*/ 50 h 370"/>
                  <a:gd name="T44" fmla="*/ 152 w 658"/>
                  <a:gd name="T45" fmla="*/ 32 h 370"/>
                  <a:gd name="T46" fmla="*/ 192 w 658"/>
                  <a:gd name="T47" fmla="*/ 16 h 370"/>
                  <a:gd name="T48" fmla="*/ 234 w 658"/>
                  <a:gd name="T49" fmla="*/ 6 h 370"/>
                  <a:gd name="T50" fmla="*/ 276 w 658"/>
                  <a:gd name="T51" fmla="*/ 2 h 370"/>
                  <a:gd name="T52" fmla="*/ 298 w 658"/>
                  <a:gd name="T53" fmla="*/ 0 h 370"/>
                  <a:gd name="T54" fmla="*/ 370 w 658"/>
                  <a:gd name="T55" fmla="*/ 8 h 370"/>
                  <a:gd name="T56" fmla="*/ 438 w 658"/>
                  <a:gd name="T57" fmla="*/ 30 h 370"/>
                  <a:gd name="T58" fmla="*/ 500 w 658"/>
                  <a:gd name="T59" fmla="*/ 62 h 370"/>
                  <a:gd name="T60" fmla="*/ 554 w 658"/>
                  <a:gd name="T61" fmla="*/ 106 h 370"/>
                  <a:gd name="T62" fmla="*/ 598 w 658"/>
                  <a:gd name="T63" fmla="*/ 160 h 370"/>
                  <a:gd name="T64" fmla="*/ 630 w 658"/>
                  <a:gd name="T65" fmla="*/ 222 h 370"/>
                  <a:gd name="T66" fmla="*/ 652 w 658"/>
                  <a:gd name="T67" fmla="*/ 290 h 370"/>
                  <a:gd name="T68" fmla="*/ 658 w 658"/>
                  <a:gd name="T69" fmla="*/ 36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8" h="370">
                    <a:moveTo>
                      <a:pt x="658" y="370"/>
                    </a:moveTo>
                    <a:lnTo>
                      <a:pt x="640" y="370"/>
                    </a:lnTo>
                    <a:lnTo>
                      <a:pt x="640" y="362"/>
                    </a:lnTo>
                    <a:lnTo>
                      <a:pt x="640" y="362"/>
                    </a:lnTo>
                    <a:lnTo>
                      <a:pt x="640" y="326"/>
                    </a:lnTo>
                    <a:lnTo>
                      <a:pt x="634" y="292"/>
                    </a:lnTo>
                    <a:lnTo>
                      <a:pt x="626" y="260"/>
                    </a:lnTo>
                    <a:lnTo>
                      <a:pt x="614" y="228"/>
                    </a:lnTo>
                    <a:lnTo>
                      <a:pt x="600" y="198"/>
                    </a:lnTo>
                    <a:lnTo>
                      <a:pt x="582" y="170"/>
                    </a:lnTo>
                    <a:lnTo>
                      <a:pt x="562" y="144"/>
                    </a:lnTo>
                    <a:lnTo>
                      <a:pt x="540" y="120"/>
                    </a:lnTo>
                    <a:lnTo>
                      <a:pt x="516" y="98"/>
                    </a:lnTo>
                    <a:lnTo>
                      <a:pt x="490" y="78"/>
                    </a:lnTo>
                    <a:lnTo>
                      <a:pt x="462" y="60"/>
                    </a:lnTo>
                    <a:lnTo>
                      <a:pt x="432" y="46"/>
                    </a:lnTo>
                    <a:lnTo>
                      <a:pt x="400" y="34"/>
                    </a:lnTo>
                    <a:lnTo>
                      <a:pt x="368" y="26"/>
                    </a:lnTo>
                    <a:lnTo>
                      <a:pt x="334" y="20"/>
                    </a:lnTo>
                    <a:lnTo>
                      <a:pt x="298" y="18"/>
                    </a:lnTo>
                    <a:lnTo>
                      <a:pt x="298" y="18"/>
                    </a:lnTo>
                    <a:lnTo>
                      <a:pt x="278" y="20"/>
                    </a:lnTo>
                    <a:lnTo>
                      <a:pt x="258" y="22"/>
                    </a:lnTo>
                    <a:lnTo>
                      <a:pt x="238" y="24"/>
                    </a:lnTo>
                    <a:lnTo>
                      <a:pt x="218" y="28"/>
                    </a:lnTo>
                    <a:lnTo>
                      <a:pt x="178" y="40"/>
                    </a:lnTo>
                    <a:lnTo>
                      <a:pt x="142" y="56"/>
                    </a:lnTo>
                    <a:lnTo>
                      <a:pt x="106" y="78"/>
                    </a:lnTo>
                    <a:lnTo>
                      <a:pt x="74" y="102"/>
                    </a:lnTo>
                    <a:lnTo>
                      <a:pt x="60" y="116"/>
                    </a:lnTo>
                    <a:lnTo>
                      <a:pt x="46" y="130"/>
                    </a:lnTo>
                    <a:lnTo>
                      <a:pt x="32" y="146"/>
                    </a:lnTo>
                    <a:lnTo>
                      <a:pt x="20" y="162"/>
                    </a:lnTo>
                    <a:lnTo>
                      <a:pt x="14" y="170"/>
                    </a:lnTo>
                    <a:lnTo>
                      <a:pt x="0" y="158"/>
                    </a:lnTo>
                    <a:lnTo>
                      <a:pt x="4" y="152"/>
                    </a:lnTo>
                    <a:lnTo>
                      <a:pt x="4" y="152"/>
                    </a:lnTo>
                    <a:lnTo>
                      <a:pt x="18" y="134"/>
                    </a:lnTo>
                    <a:lnTo>
                      <a:pt x="32" y="118"/>
                    </a:lnTo>
                    <a:lnTo>
                      <a:pt x="48" y="102"/>
                    </a:lnTo>
                    <a:lnTo>
                      <a:pt x="64" y="88"/>
                    </a:lnTo>
                    <a:lnTo>
                      <a:pt x="80" y="74"/>
                    </a:lnTo>
                    <a:lnTo>
                      <a:pt x="96" y="62"/>
                    </a:lnTo>
                    <a:lnTo>
                      <a:pt x="114" y="50"/>
                    </a:lnTo>
                    <a:lnTo>
                      <a:pt x="134" y="40"/>
                    </a:lnTo>
                    <a:lnTo>
                      <a:pt x="152" y="32"/>
                    </a:lnTo>
                    <a:lnTo>
                      <a:pt x="172" y="24"/>
                    </a:lnTo>
                    <a:lnTo>
                      <a:pt x="192" y="16"/>
                    </a:lnTo>
                    <a:lnTo>
                      <a:pt x="212" y="12"/>
                    </a:lnTo>
                    <a:lnTo>
                      <a:pt x="234" y="6"/>
                    </a:lnTo>
                    <a:lnTo>
                      <a:pt x="256" y="4"/>
                    </a:lnTo>
                    <a:lnTo>
                      <a:pt x="276" y="2"/>
                    </a:lnTo>
                    <a:lnTo>
                      <a:pt x="298" y="0"/>
                    </a:lnTo>
                    <a:lnTo>
                      <a:pt x="298" y="0"/>
                    </a:lnTo>
                    <a:lnTo>
                      <a:pt x="334" y="2"/>
                    </a:lnTo>
                    <a:lnTo>
                      <a:pt x="370" y="8"/>
                    </a:lnTo>
                    <a:lnTo>
                      <a:pt x="406" y="18"/>
                    </a:lnTo>
                    <a:lnTo>
                      <a:pt x="438" y="30"/>
                    </a:lnTo>
                    <a:lnTo>
                      <a:pt x="470" y="44"/>
                    </a:lnTo>
                    <a:lnTo>
                      <a:pt x="500" y="62"/>
                    </a:lnTo>
                    <a:lnTo>
                      <a:pt x="528" y="84"/>
                    </a:lnTo>
                    <a:lnTo>
                      <a:pt x="554" y="106"/>
                    </a:lnTo>
                    <a:lnTo>
                      <a:pt x="576" y="132"/>
                    </a:lnTo>
                    <a:lnTo>
                      <a:pt x="598" y="160"/>
                    </a:lnTo>
                    <a:lnTo>
                      <a:pt x="616" y="190"/>
                    </a:lnTo>
                    <a:lnTo>
                      <a:pt x="630" y="222"/>
                    </a:lnTo>
                    <a:lnTo>
                      <a:pt x="642" y="254"/>
                    </a:lnTo>
                    <a:lnTo>
                      <a:pt x="652" y="290"/>
                    </a:lnTo>
                    <a:lnTo>
                      <a:pt x="658" y="324"/>
                    </a:lnTo>
                    <a:lnTo>
                      <a:pt x="658" y="362"/>
                    </a:lnTo>
                    <a:lnTo>
                      <a:pt x="658" y="3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39" name="Freeform 29">
                <a:extLst>
                  <a:ext uri="{FF2B5EF4-FFF2-40B4-BE49-F238E27FC236}">
                    <a16:creationId xmlns:a16="http://schemas.microsoft.com/office/drawing/2014/main" id="{AFAE8708-119B-5CE2-D41B-C258812188DA}"/>
                  </a:ext>
                </a:extLst>
              </p:cNvPr>
              <p:cNvSpPr>
                <a:spLocks/>
              </p:cNvSpPr>
              <p:nvPr/>
            </p:nvSpPr>
            <p:spPr bwMode="auto">
              <a:xfrm>
                <a:off x="2651111" y="3547015"/>
                <a:ext cx="489494" cy="267723"/>
              </a:xfrm>
              <a:custGeom>
                <a:avLst/>
                <a:gdLst>
                  <a:gd name="T0" fmla="*/ 258 w 490"/>
                  <a:gd name="T1" fmla="*/ 268 h 268"/>
                  <a:gd name="T2" fmla="*/ 258 w 490"/>
                  <a:gd name="T3" fmla="*/ 268 h 268"/>
                  <a:gd name="T4" fmla="*/ 232 w 490"/>
                  <a:gd name="T5" fmla="*/ 266 h 268"/>
                  <a:gd name="T6" fmla="*/ 206 w 490"/>
                  <a:gd name="T7" fmla="*/ 262 h 268"/>
                  <a:gd name="T8" fmla="*/ 182 w 490"/>
                  <a:gd name="T9" fmla="*/ 256 h 268"/>
                  <a:gd name="T10" fmla="*/ 158 w 490"/>
                  <a:gd name="T11" fmla="*/ 248 h 268"/>
                  <a:gd name="T12" fmla="*/ 136 w 490"/>
                  <a:gd name="T13" fmla="*/ 236 h 268"/>
                  <a:gd name="T14" fmla="*/ 114 w 490"/>
                  <a:gd name="T15" fmla="*/ 224 h 268"/>
                  <a:gd name="T16" fmla="*/ 94 w 490"/>
                  <a:gd name="T17" fmla="*/ 208 h 268"/>
                  <a:gd name="T18" fmla="*/ 76 w 490"/>
                  <a:gd name="T19" fmla="*/ 192 h 268"/>
                  <a:gd name="T20" fmla="*/ 60 w 490"/>
                  <a:gd name="T21" fmla="*/ 174 h 268"/>
                  <a:gd name="T22" fmla="*/ 44 w 490"/>
                  <a:gd name="T23" fmla="*/ 154 h 268"/>
                  <a:gd name="T24" fmla="*/ 32 w 490"/>
                  <a:gd name="T25" fmla="*/ 132 h 268"/>
                  <a:gd name="T26" fmla="*/ 20 w 490"/>
                  <a:gd name="T27" fmla="*/ 110 h 268"/>
                  <a:gd name="T28" fmla="*/ 12 w 490"/>
                  <a:gd name="T29" fmla="*/ 86 h 268"/>
                  <a:gd name="T30" fmla="*/ 6 w 490"/>
                  <a:gd name="T31" fmla="*/ 62 h 268"/>
                  <a:gd name="T32" fmla="*/ 2 w 490"/>
                  <a:gd name="T33" fmla="*/ 36 h 268"/>
                  <a:gd name="T34" fmla="*/ 0 w 490"/>
                  <a:gd name="T35" fmla="*/ 10 h 268"/>
                  <a:gd name="T36" fmla="*/ 0 w 490"/>
                  <a:gd name="T37" fmla="*/ 0 h 268"/>
                  <a:gd name="T38" fmla="*/ 18 w 490"/>
                  <a:gd name="T39" fmla="*/ 0 h 268"/>
                  <a:gd name="T40" fmla="*/ 18 w 490"/>
                  <a:gd name="T41" fmla="*/ 10 h 268"/>
                  <a:gd name="T42" fmla="*/ 18 w 490"/>
                  <a:gd name="T43" fmla="*/ 10 h 268"/>
                  <a:gd name="T44" fmla="*/ 20 w 490"/>
                  <a:gd name="T45" fmla="*/ 34 h 268"/>
                  <a:gd name="T46" fmla="*/ 24 w 490"/>
                  <a:gd name="T47" fmla="*/ 58 h 268"/>
                  <a:gd name="T48" fmla="*/ 30 w 490"/>
                  <a:gd name="T49" fmla="*/ 80 h 268"/>
                  <a:gd name="T50" fmla="*/ 38 w 490"/>
                  <a:gd name="T51" fmla="*/ 102 h 268"/>
                  <a:gd name="T52" fmla="*/ 48 w 490"/>
                  <a:gd name="T53" fmla="*/ 124 h 268"/>
                  <a:gd name="T54" fmla="*/ 60 w 490"/>
                  <a:gd name="T55" fmla="*/ 144 h 268"/>
                  <a:gd name="T56" fmla="*/ 74 w 490"/>
                  <a:gd name="T57" fmla="*/ 162 h 268"/>
                  <a:gd name="T58" fmla="*/ 88 w 490"/>
                  <a:gd name="T59" fmla="*/ 180 h 268"/>
                  <a:gd name="T60" fmla="*/ 106 w 490"/>
                  <a:gd name="T61" fmla="*/ 194 h 268"/>
                  <a:gd name="T62" fmla="*/ 124 w 490"/>
                  <a:gd name="T63" fmla="*/ 208 h 268"/>
                  <a:gd name="T64" fmla="*/ 144 w 490"/>
                  <a:gd name="T65" fmla="*/ 220 h 268"/>
                  <a:gd name="T66" fmla="*/ 164 w 490"/>
                  <a:gd name="T67" fmla="*/ 230 h 268"/>
                  <a:gd name="T68" fmla="*/ 186 w 490"/>
                  <a:gd name="T69" fmla="*/ 238 h 268"/>
                  <a:gd name="T70" fmla="*/ 210 w 490"/>
                  <a:gd name="T71" fmla="*/ 244 h 268"/>
                  <a:gd name="T72" fmla="*/ 234 w 490"/>
                  <a:gd name="T73" fmla="*/ 248 h 268"/>
                  <a:gd name="T74" fmla="*/ 258 w 490"/>
                  <a:gd name="T75" fmla="*/ 250 h 268"/>
                  <a:gd name="T76" fmla="*/ 258 w 490"/>
                  <a:gd name="T77" fmla="*/ 250 h 268"/>
                  <a:gd name="T78" fmla="*/ 290 w 490"/>
                  <a:gd name="T79" fmla="*/ 248 h 268"/>
                  <a:gd name="T80" fmla="*/ 322 w 490"/>
                  <a:gd name="T81" fmla="*/ 240 h 268"/>
                  <a:gd name="T82" fmla="*/ 352 w 490"/>
                  <a:gd name="T83" fmla="*/ 230 h 268"/>
                  <a:gd name="T84" fmla="*/ 380 w 490"/>
                  <a:gd name="T85" fmla="*/ 216 h 268"/>
                  <a:gd name="T86" fmla="*/ 408 w 490"/>
                  <a:gd name="T87" fmla="*/ 198 h 268"/>
                  <a:gd name="T88" fmla="*/ 430 w 490"/>
                  <a:gd name="T89" fmla="*/ 176 h 268"/>
                  <a:gd name="T90" fmla="*/ 452 w 490"/>
                  <a:gd name="T91" fmla="*/ 152 h 268"/>
                  <a:gd name="T92" fmla="*/ 468 w 490"/>
                  <a:gd name="T93" fmla="*/ 124 h 268"/>
                  <a:gd name="T94" fmla="*/ 474 w 490"/>
                  <a:gd name="T95" fmla="*/ 116 h 268"/>
                  <a:gd name="T96" fmla="*/ 490 w 490"/>
                  <a:gd name="T97" fmla="*/ 124 h 268"/>
                  <a:gd name="T98" fmla="*/ 484 w 490"/>
                  <a:gd name="T99" fmla="*/ 132 h 268"/>
                  <a:gd name="T100" fmla="*/ 484 w 490"/>
                  <a:gd name="T101" fmla="*/ 132 h 268"/>
                  <a:gd name="T102" fmla="*/ 476 w 490"/>
                  <a:gd name="T103" fmla="*/ 148 h 268"/>
                  <a:gd name="T104" fmla="*/ 466 w 490"/>
                  <a:gd name="T105" fmla="*/ 162 h 268"/>
                  <a:gd name="T106" fmla="*/ 444 w 490"/>
                  <a:gd name="T107" fmla="*/ 188 h 268"/>
                  <a:gd name="T108" fmla="*/ 418 w 490"/>
                  <a:gd name="T109" fmla="*/ 212 h 268"/>
                  <a:gd name="T110" fmla="*/ 390 w 490"/>
                  <a:gd name="T111" fmla="*/ 232 h 268"/>
                  <a:gd name="T112" fmla="*/ 360 w 490"/>
                  <a:gd name="T113" fmla="*/ 246 h 268"/>
                  <a:gd name="T114" fmla="*/ 328 w 490"/>
                  <a:gd name="T115" fmla="*/ 258 h 268"/>
                  <a:gd name="T116" fmla="*/ 294 w 490"/>
                  <a:gd name="T117" fmla="*/ 266 h 268"/>
                  <a:gd name="T118" fmla="*/ 276 w 490"/>
                  <a:gd name="T119" fmla="*/ 266 h 268"/>
                  <a:gd name="T120" fmla="*/ 258 w 490"/>
                  <a:gd name="T121" fmla="*/ 268 h 268"/>
                  <a:gd name="T122" fmla="*/ 258 w 490"/>
                  <a:gd name="T123"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0" h="268">
                    <a:moveTo>
                      <a:pt x="258" y="268"/>
                    </a:moveTo>
                    <a:lnTo>
                      <a:pt x="258" y="268"/>
                    </a:lnTo>
                    <a:lnTo>
                      <a:pt x="232" y="266"/>
                    </a:lnTo>
                    <a:lnTo>
                      <a:pt x="206" y="262"/>
                    </a:lnTo>
                    <a:lnTo>
                      <a:pt x="182" y="256"/>
                    </a:lnTo>
                    <a:lnTo>
                      <a:pt x="158" y="248"/>
                    </a:lnTo>
                    <a:lnTo>
                      <a:pt x="136" y="236"/>
                    </a:lnTo>
                    <a:lnTo>
                      <a:pt x="114" y="224"/>
                    </a:lnTo>
                    <a:lnTo>
                      <a:pt x="94" y="208"/>
                    </a:lnTo>
                    <a:lnTo>
                      <a:pt x="76" y="192"/>
                    </a:lnTo>
                    <a:lnTo>
                      <a:pt x="60" y="174"/>
                    </a:lnTo>
                    <a:lnTo>
                      <a:pt x="44" y="154"/>
                    </a:lnTo>
                    <a:lnTo>
                      <a:pt x="32" y="132"/>
                    </a:lnTo>
                    <a:lnTo>
                      <a:pt x="20" y="110"/>
                    </a:lnTo>
                    <a:lnTo>
                      <a:pt x="12" y="86"/>
                    </a:lnTo>
                    <a:lnTo>
                      <a:pt x="6" y="62"/>
                    </a:lnTo>
                    <a:lnTo>
                      <a:pt x="2" y="36"/>
                    </a:lnTo>
                    <a:lnTo>
                      <a:pt x="0" y="10"/>
                    </a:lnTo>
                    <a:lnTo>
                      <a:pt x="0" y="0"/>
                    </a:lnTo>
                    <a:lnTo>
                      <a:pt x="18" y="0"/>
                    </a:lnTo>
                    <a:lnTo>
                      <a:pt x="18" y="10"/>
                    </a:lnTo>
                    <a:lnTo>
                      <a:pt x="18" y="10"/>
                    </a:lnTo>
                    <a:lnTo>
                      <a:pt x="20" y="34"/>
                    </a:lnTo>
                    <a:lnTo>
                      <a:pt x="24" y="58"/>
                    </a:lnTo>
                    <a:lnTo>
                      <a:pt x="30" y="80"/>
                    </a:lnTo>
                    <a:lnTo>
                      <a:pt x="38" y="102"/>
                    </a:lnTo>
                    <a:lnTo>
                      <a:pt x="48" y="124"/>
                    </a:lnTo>
                    <a:lnTo>
                      <a:pt x="60" y="144"/>
                    </a:lnTo>
                    <a:lnTo>
                      <a:pt x="74" y="162"/>
                    </a:lnTo>
                    <a:lnTo>
                      <a:pt x="88" y="180"/>
                    </a:lnTo>
                    <a:lnTo>
                      <a:pt x="106" y="194"/>
                    </a:lnTo>
                    <a:lnTo>
                      <a:pt x="124" y="208"/>
                    </a:lnTo>
                    <a:lnTo>
                      <a:pt x="144" y="220"/>
                    </a:lnTo>
                    <a:lnTo>
                      <a:pt x="164" y="230"/>
                    </a:lnTo>
                    <a:lnTo>
                      <a:pt x="186" y="238"/>
                    </a:lnTo>
                    <a:lnTo>
                      <a:pt x="210" y="244"/>
                    </a:lnTo>
                    <a:lnTo>
                      <a:pt x="234" y="248"/>
                    </a:lnTo>
                    <a:lnTo>
                      <a:pt x="258" y="250"/>
                    </a:lnTo>
                    <a:lnTo>
                      <a:pt x="258" y="250"/>
                    </a:lnTo>
                    <a:lnTo>
                      <a:pt x="290" y="248"/>
                    </a:lnTo>
                    <a:lnTo>
                      <a:pt x="322" y="240"/>
                    </a:lnTo>
                    <a:lnTo>
                      <a:pt x="352" y="230"/>
                    </a:lnTo>
                    <a:lnTo>
                      <a:pt x="380" y="216"/>
                    </a:lnTo>
                    <a:lnTo>
                      <a:pt x="408" y="198"/>
                    </a:lnTo>
                    <a:lnTo>
                      <a:pt x="430" y="176"/>
                    </a:lnTo>
                    <a:lnTo>
                      <a:pt x="452" y="152"/>
                    </a:lnTo>
                    <a:lnTo>
                      <a:pt x="468" y="124"/>
                    </a:lnTo>
                    <a:lnTo>
                      <a:pt x="474" y="116"/>
                    </a:lnTo>
                    <a:lnTo>
                      <a:pt x="490" y="124"/>
                    </a:lnTo>
                    <a:lnTo>
                      <a:pt x="484" y="132"/>
                    </a:lnTo>
                    <a:lnTo>
                      <a:pt x="484" y="132"/>
                    </a:lnTo>
                    <a:lnTo>
                      <a:pt x="476" y="148"/>
                    </a:lnTo>
                    <a:lnTo>
                      <a:pt x="466" y="162"/>
                    </a:lnTo>
                    <a:lnTo>
                      <a:pt x="444" y="188"/>
                    </a:lnTo>
                    <a:lnTo>
                      <a:pt x="418" y="212"/>
                    </a:lnTo>
                    <a:lnTo>
                      <a:pt x="390" y="232"/>
                    </a:lnTo>
                    <a:lnTo>
                      <a:pt x="360" y="246"/>
                    </a:lnTo>
                    <a:lnTo>
                      <a:pt x="328" y="258"/>
                    </a:lnTo>
                    <a:lnTo>
                      <a:pt x="294" y="266"/>
                    </a:lnTo>
                    <a:lnTo>
                      <a:pt x="276" y="266"/>
                    </a:lnTo>
                    <a:lnTo>
                      <a:pt x="258" y="268"/>
                    </a:lnTo>
                    <a:lnTo>
                      <a:pt x="258" y="26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40" name="Freeform 30">
                <a:extLst>
                  <a:ext uri="{FF2B5EF4-FFF2-40B4-BE49-F238E27FC236}">
                    <a16:creationId xmlns:a16="http://schemas.microsoft.com/office/drawing/2014/main" id="{4C3C121E-2905-DC0C-987F-78903A19B299}"/>
                  </a:ext>
                </a:extLst>
              </p:cNvPr>
              <p:cNvSpPr>
                <a:spLocks/>
              </p:cNvSpPr>
              <p:nvPr/>
            </p:nvSpPr>
            <p:spPr bwMode="auto">
              <a:xfrm>
                <a:off x="2679083" y="3299272"/>
                <a:ext cx="487496" cy="265725"/>
              </a:xfrm>
              <a:custGeom>
                <a:avLst/>
                <a:gdLst>
                  <a:gd name="T0" fmla="*/ 488 w 488"/>
                  <a:gd name="T1" fmla="*/ 266 h 266"/>
                  <a:gd name="T2" fmla="*/ 470 w 488"/>
                  <a:gd name="T3" fmla="*/ 266 h 266"/>
                  <a:gd name="T4" fmla="*/ 470 w 488"/>
                  <a:gd name="T5" fmla="*/ 258 h 266"/>
                  <a:gd name="T6" fmla="*/ 470 w 488"/>
                  <a:gd name="T7" fmla="*/ 258 h 266"/>
                  <a:gd name="T8" fmla="*/ 468 w 488"/>
                  <a:gd name="T9" fmla="*/ 234 h 266"/>
                  <a:gd name="T10" fmla="*/ 466 w 488"/>
                  <a:gd name="T11" fmla="*/ 210 h 266"/>
                  <a:gd name="T12" fmla="*/ 460 w 488"/>
                  <a:gd name="T13" fmla="*/ 186 h 266"/>
                  <a:gd name="T14" fmla="*/ 452 w 488"/>
                  <a:gd name="T15" fmla="*/ 164 h 266"/>
                  <a:gd name="T16" fmla="*/ 440 w 488"/>
                  <a:gd name="T17" fmla="*/ 144 h 266"/>
                  <a:gd name="T18" fmla="*/ 428 w 488"/>
                  <a:gd name="T19" fmla="*/ 124 h 266"/>
                  <a:gd name="T20" fmla="*/ 416 w 488"/>
                  <a:gd name="T21" fmla="*/ 106 h 266"/>
                  <a:gd name="T22" fmla="*/ 400 w 488"/>
                  <a:gd name="T23" fmla="*/ 88 h 266"/>
                  <a:gd name="T24" fmla="*/ 382 w 488"/>
                  <a:gd name="T25" fmla="*/ 72 h 266"/>
                  <a:gd name="T26" fmla="*/ 364 w 488"/>
                  <a:gd name="T27" fmla="*/ 58 h 266"/>
                  <a:gd name="T28" fmla="*/ 344 w 488"/>
                  <a:gd name="T29" fmla="*/ 46 h 266"/>
                  <a:gd name="T30" fmla="*/ 324 w 488"/>
                  <a:gd name="T31" fmla="*/ 36 h 266"/>
                  <a:gd name="T32" fmla="*/ 302 w 488"/>
                  <a:gd name="T33" fmla="*/ 28 h 266"/>
                  <a:gd name="T34" fmla="*/ 278 w 488"/>
                  <a:gd name="T35" fmla="*/ 22 h 266"/>
                  <a:gd name="T36" fmla="*/ 254 w 488"/>
                  <a:gd name="T37" fmla="*/ 20 h 266"/>
                  <a:gd name="T38" fmla="*/ 230 w 488"/>
                  <a:gd name="T39" fmla="*/ 18 h 266"/>
                  <a:gd name="T40" fmla="*/ 230 w 488"/>
                  <a:gd name="T41" fmla="*/ 18 h 266"/>
                  <a:gd name="T42" fmla="*/ 198 w 488"/>
                  <a:gd name="T43" fmla="*/ 20 h 266"/>
                  <a:gd name="T44" fmla="*/ 166 w 488"/>
                  <a:gd name="T45" fmla="*/ 26 h 266"/>
                  <a:gd name="T46" fmla="*/ 136 w 488"/>
                  <a:gd name="T47" fmla="*/ 38 h 266"/>
                  <a:gd name="T48" fmla="*/ 108 w 488"/>
                  <a:gd name="T49" fmla="*/ 52 h 266"/>
                  <a:gd name="T50" fmla="*/ 82 w 488"/>
                  <a:gd name="T51" fmla="*/ 70 h 266"/>
                  <a:gd name="T52" fmla="*/ 58 w 488"/>
                  <a:gd name="T53" fmla="*/ 92 h 266"/>
                  <a:gd name="T54" fmla="*/ 36 w 488"/>
                  <a:gd name="T55" fmla="*/ 116 h 266"/>
                  <a:gd name="T56" fmla="*/ 20 w 488"/>
                  <a:gd name="T57" fmla="*/ 144 h 266"/>
                  <a:gd name="T58" fmla="*/ 14 w 488"/>
                  <a:gd name="T59" fmla="*/ 152 h 266"/>
                  <a:gd name="T60" fmla="*/ 0 w 488"/>
                  <a:gd name="T61" fmla="*/ 142 h 266"/>
                  <a:gd name="T62" fmla="*/ 4 w 488"/>
                  <a:gd name="T63" fmla="*/ 134 h 266"/>
                  <a:gd name="T64" fmla="*/ 4 w 488"/>
                  <a:gd name="T65" fmla="*/ 134 h 266"/>
                  <a:gd name="T66" fmla="*/ 12 w 488"/>
                  <a:gd name="T67" fmla="*/ 120 h 266"/>
                  <a:gd name="T68" fmla="*/ 22 w 488"/>
                  <a:gd name="T69" fmla="*/ 106 h 266"/>
                  <a:gd name="T70" fmla="*/ 44 w 488"/>
                  <a:gd name="T71" fmla="*/ 78 h 266"/>
                  <a:gd name="T72" fmla="*/ 70 w 488"/>
                  <a:gd name="T73" fmla="*/ 56 h 266"/>
                  <a:gd name="T74" fmla="*/ 98 w 488"/>
                  <a:gd name="T75" fmla="*/ 36 h 266"/>
                  <a:gd name="T76" fmla="*/ 128 w 488"/>
                  <a:gd name="T77" fmla="*/ 20 h 266"/>
                  <a:gd name="T78" fmla="*/ 162 w 488"/>
                  <a:gd name="T79" fmla="*/ 10 h 266"/>
                  <a:gd name="T80" fmla="*/ 196 w 488"/>
                  <a:gd name="T81" fmla="*/ 2 h 266"/>
                  <a:gd name="T82" fmla="*/ 212 w 488"/>
                  <a:gd name="T83" fmla="*/ 0 h 266"/>
                  <a:gd name="T84" fmla="*/ 230 w 488"/>
                  <a:gd name="T85" fmla="*/ 0 h 266"/>
                  <a:gd name="T86" fmla="*/ 230 w 488"/>
                  <a:gd name="T87" fmla="*/ 0 h 266"/>
                  <a:gd name="T88" fmla="*/ 256 w 488"/>
                  <a:gd name="T89" fmla="*/ 2 h 266"/>
                  <a:gd name="T90" fmla="*/ 282 w 488"/>
                  <a:gd name="T91" fmla="*/ 6 h 266"/>
                  <a:gd name="T92" fmla="*/ 306 w 488"/>
                  <a:gd name="T93" fmla="*/ 12 h 266"/>
                  <a:gd name="T94" fmla="*/ 330 w 488"/>
                  <a:gd name="T95" fmla="*/ 20 h 266"/>
                  <a:gd name="T96" fmla="*/ 352 w 488"/>
                  <a:gd name="T97" fmla="*/ 30 h 266"/>
                  <a:gd name="T98" fmla="*/ 374 w 488"/>
                  <a:gd name="T99" fmla="*/ 44 h 266"/>
                  <a:gd name="T100" fmla="*/ 394 w 488"/>
                  <a:gd name="T101" fmla="*/ 58 h 266"/>
                  <a:gd name="T102" fmla="*/ 412 w 488"/>
                  <a:gd name="T103" fmla="*/ 76 h 266"/>
                  <a:gd name="T104" fmla="*/ 428 w 488"/>
                  <a:gd name="T105" fmla="*/ 94 h 266"/>
                  <a:gd name="T106" fmla="*/ 444 w 488"/>
                  <a:gd name="T107" fmla="*/ 114 h 266"/>
                  <a:gd name="T108" fmla="*/ 456 w 488"/>
                  <a:gd name="T109" fmla="*/ 134 h 266"/>
                  <a:gd name="T110" fmla="*/ 468 w 488"/>
                  <a:gd name="T111" fmla="*/ 158 h 266"/>
                  <a:gd name="T112" fmla="*/ 476 w 488"/>
                  <a:gd name="T113" fmla="*/ 182 h 266"/>
                  <a:gd name="T114" fmla="*/ 482 w 488"/>
                  <a:gd name="T115" fmla="*/ 206 h 266"/>
                  <a:gd name="T116" fmla="*/ 486 w 488"/>
                  <a:gd name="T117" fmla="*/ 232 h 266"/>
                  <a:gd name="T118" fmla="*/ 488 w 488"/>
                  <a:gd name="T119" fmla="*/ 258 h 266"/>
                  <a:gd name="T120" fmla="*/ 488 w 488"/>
                  <a:gd name="T121"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8" h="266">
                    <a:moveTo>
                      <a:pt x="488" y="266"/>
                    </a:moveTo>
                    <a:lnTo>
                      <a:pt x="470" y="266"/>
                    </a:lnTo>
                    <a:lnTo>
                      <a:pt x="470" y="258"/>
                    </a:lnTo>
                    <a:lnTo>
                      <a:pt x="470" y="258"/>
                    </a:lnTo>
                    <a:lnTo>
                      <a:pt x="468" y="234"/>
                    </a:lnTo>
                    <a:lnTo>
                      <a:pt x="466" y="210"/>
                    </a:lnTo>
                    <a:lnTo>
                      <a:pt x="460" y="186"/>
                    </a:lnTo>
                    <a:lnTo>
                      <a:pt x="452" y="164"/>
                    </a:lnTo>
                    <a:lnTo>
                      <a:pt x="440" y="144"/>
                    </a:lnTo>
                    <a:lnTo>
                      <a:pt x="428" y="124"/>
                    </a:lnTo>
                    <a:lnTo>
                      <a:pt x="416" y="106"/>
                    </a:lnTo>
                    <a:lnTo>
                      <a:pt x="400" y="88"/>
                    </a:lnTo>
                    <a:lnTo>
                      <a:pt x="382" y="72"/>
                    </a:lnTo>
                    <a:lnTo>
                      <a:pt x="364" y="58"/>
                    </a:lnTo>
                    <a:lnTo>
                      <a:pt x="344" y="46"/>
                    </a:lnTo>
                    <a:lnTo>
                      <a:pt x="324" y="36"/>
                    </a:lnTo>
                    <a:lnTo>
                      <a:pt x="302" y="28"/>
                    </a:lnTo>
                    <a:lnTo>
                      <a:pt x="278" y="22"/>
                    </a:lnTo>
                    <a:lnTo>
                      <a:pt x="254" y="20"/>
                    </a:lnTo>
                    <a:lnTo>
                      <a:pt x="230" y="18"/>
                    </a:lnTo>
                    <a:lnTo>
                      <a:pt x="230" y="18"/>
                    </a:lnTo>
                    <a:lnTo>
                      <a:pt x="198" y="20"/>
                    </a:lnTo>
                    <a:lnTo>
                      <a:pt x="166" y="26"/>
                    </a:lnTo>
                    <a:lnTo>
                      <a:pt x="136" y="38"/>
                    </a:lnTo>
                    <a:lnTo>
                      <a:pt x="108" y="52"/>
                    </a:lnTo>
                    <a:lnTo>
                      <a:pt x="82" y="70"/>
                    </a:lnTo>
                    <a:lnTo>
                      <a:pt x="58" y="92"/>
                    </a:lnTo>
                    <a:lnTo>
                      <a:pt x="36" y="116"/>
                    </a:lnTo>
                    <a:lnTo>
                      <a:pt x="20" y="144"/>
                    </a:lnTo>
                    <a:lnTo>
                      <a:pt x="14" y="152"/>
                    </a:lnTo>
                    <a:lnTo>
                      <a:pt x="0" y="142"/>
                    </a:lnTo>
                    <a:lnTo>
                      <a:pt x="4" y="134"/>
                    </a:lnTo>
                    <a:lnTo>
                      <a:pt x="4" y="134"/>
                    </a:lnTo>
                    <a:lnTo>
                      <a:pt x="12" y="120"/>
                    </a:lnTo>
                    <a:lnTo>
                      <a:pt x="22" y="106"/>
                    </a:lnTo>
                    <a:lnTo>
                      <a:pt x="44" y="78"/>
                    </a:lnTo>
                    <a:lnTo>
                      <a:pt x="70" y="56"/>
                    </a:lnTo>
                    <a:lnTo>
                      <a:pt x="98" y="36"/>
                    </a:lnTo>
                    <a:lnTo>
                      <a:pt x="128" y="20"/>
                    </a:lnTo>
                    <a:lnTo>
                      <a:pt x="162" y="10"/>
                    </a:lnTo>
                    <a:lnTo>
                      <a:pt x="196" y="2"/>
                    </a:lnTo>
                    <a:lnTo>
                      <a:pt x="212" y="0"/>
                    </a:lnTo>
                    <a:lnTo>
                      <a:pt x="230" y="0"/>
                    </a:lnTo>
                    <a:lnTo>
                      <a:pt x="230" y="0"/>
                    </a:lnTo>
                    <a:lnTo>
                      <a:pt x="256" y="2"/>
                    </a:lnTo>
                    <a:lnTo>
                      <a:pt x="282" y="6"/>
                    </a:lnTo>
                    <a:lnTo>
                      <a:pt x="306" y="12"/>
                    </a:lnTo>
                    <a:lnTo>
                      <a:pt x="330" y="20"/>
                    </a:lnTo>
                    <a:lnTo>
                      <a:pt x="352" y="30"/>
                    </a:lnTo>
                    <a:lnTo>
                      <a:pt x="374" y="44"/>
                    </a:lnTo>
                    <a:lnTo>
                      <a:pt x="394" y="58"/>
                    </a:lnTo>
                    <a:lnTo>
                      <a:pt x="412" y="76"/>
                    </a:lnTo>
                    <a:lnTo>
                      <a:pt x="428" y="94"/>
                    </a:lnTo>
                    <a:lnTo>
                      <a:pt x="444" y="114"/>
                    </a:lnTo>
                    <a:lnTo>
                      <a:pt x="456" y="134"/>
                    </a:lnTo>
                    <a:lnTo>
                      <a:pt x="468" y="158"/>
                    </a:lnTo>
                    <a:lnTo>
                      <a:pt x="476" y="182"/>
                    </a:lnTo>
                    <a:lnTo>
                      <a:pt x="482" y="206"/>
                    </a:lnTo>
                    <a:lnTo>
                      <a:pt x="486" y="232"/>
                    </a:lnTo>
                    <a:lnTo>
                      <a:pt x="488" y="258"/>
                    </a:lnTo>
                    <a:lnTo>
                      <a:pt x="488"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41" name="Freeform 31">
                <a:extLst>
                  <a:ext uri="{FF2B5EF4-FFF2-40B4-BE49-F238E27FC236}">
                    <a16:creationId xmlns:a16="http://schemas.microsoft.com/office/drawing/2014/main" id="{261E0F14-DA12-ED1A-EE71-0C6A44756AC4}"/>
                  </a:ext>
                </a:extLst>
              </p:cNvPr>
              <p:cNvSpPr>
                <a:spLocks/>
              </p:cNvSpPr>
              <p:nvPr/>
            </p:nvSpPr>
            <p:spPr bwMode="auto">
              <a:xfrm>
                <a:off x="2513254" y="3415152"/>
                <a:ext cx="189804" cy="149845"/>
              </a:xfrm>
              <a:custGeom>
                <a:avLst/>
                <a:gdLst>
                  <a:gd name="T0" fmla="*/ 180 w 190"/>
                  <a:gd name="T1" fmla="*/ 150 h 150"/>
                  <a:gd name="T2" fmla="*/ 138 w 190"/>
                  <a:gd name="T3" fmla="*/ 150 h 150"/>
                  <a:gd name="T4" fmla="*/ 138 w 190"/>
                  <a:gd name="T5" fmla="*/ 132 h 150"/>
                  <a:gd name="T6" fmla="*/ 164 w 190"/>
                  <a:gd name="T7" fmla="*/ 132 h 150"/>
                  <a:gd name="T8" fmla="*/ 94 w 190"/>
                  <a:gd name="T9" fmla="*/ 26 h 150"/>
                  <a:gd name="T10" fmla="*/ 26 w 190"/>
                  <a:gd name="T11" fmla="*/ 132 h 150"/>
                  <a:gd name="T12" fmla="*/ 54 w 190"/>
                  <a:gd name="T13" fmla="*/ 132 h 150"/>
                  <a:gd name="T14" fmla="*/ 54 w 190"/>
                  <a:gd name="T15" fmla="*/ 150 h 150"/>
                  <a:gd name="T16" fmla="*/ 8 w 190"/>
                  <a:gd name="T17" fmla="*/ 150 h 150"/>
                  <a:gd name="T18" fmla="*/ 8 w 190"/>
                  <a:gd name="T19" fmla="*/ 150 h 150"/>
                  <a:gd name="T20" fmla="*/ 4 w 190"/>
                  <a:gd name="T21" fmla="*/ 150 h 150"/>
                  <a:gd name="T22" fmla="*/ 0 w 190"/>
                  <a:gd name="T23" fmla="*/ 146 h 150"/>
                  <a:gd name="T24" fmla="*/ 0 w 190"/>
                  <a:gd name="T25" fmla="*/ 146 h 150"/>
                  <a:gd name="T26" fmla="*/ 0 w 190"/>
                  <a:gd name="T27" fmla="*/ 142 h 150"/>
                  <a:gd name="T28" fmla="*/ 2 w 190"/>
                  <a:gd name="T29" fmla="*/ 136 h 150"/>
                  <a:gd name="T30" fmla="*/ 88 w 190"/>
                  <a:gd name="T31" fmla="*/ 4 h 150"/>
                  <a:gd name="T32" fmla="*/ 88 w 190"/>
                  <a:gd name="T33" fmla="*/ 4 h 150"/>
                  <a:gd name="T34" fmla="*/ 90 w 190"/>
                  <a:gd name="T35" fmla="*/ 2 h 150"/>
                  <a:gd name="T36" fmla="*/ 94 w 190"/>
                  <a:gd name="T37" fmla="*/ 0 h 150"/>
                  <a:gd name="T38" fmla="*/ 100 w 190"/>
                  <a:gd name="T39" fmla="*/ 2 h 150"/>
                  <a:gd name="T40" fmla="*/ 102 w 190"/>
                  <a:gd name="T41" fmla="*/ 4 h 150"/>
                  <a:gd name="T42" fmla="*/ 188 w 190"/>
                  <a:gd name="T43" fmla="*/ 136 h 150"/>
                  <a:gd name="T44" fmla="*/ 188 w 190"/>
                  <a:gd name="T45" fmla="*/ 136 h 150"/>
                  <a:gd name="T46" fmla="*/ 190 w 190"/>
                  <a:gd name="T47" fmla="*/ 142 h 150"/>
                  <a:gd name="T48" fmla="*/ 188 w 190"/>
                  <a:gd name="T49" fmla="*/ 146 h 150"/>
                  <a:gd name="T50" fmla="*/ 188 w 190"/>
                  <a:gd name="T51" fmla="*/ 146 h 150"/>
                  <a:gd name="T52" fmla="*/ 186 w 190"/>
                  <a:gd name="T53" fmla="*/ 150 h 150"/>
                  <a:gd name="T54" fmla="*/ 180 w 190"/>
                  <a:gd name="T55" fmla="*/ 150 h 150"/>
                  <a:gd name="T56" fmla="*/ 180 w 190"/>
                  <a:gd name="T5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 h="150">
                    <a:moveTo>
                      <a:pt x="180" y="150"/>
                    </a:moveTo>
                    <a:lnTo>
                      <a:pt x="138" y="150"/>
                    </a:lnTo>
                    <a:lnTo>
                      <a:pt x="138" y="132"/>
                    </a:lnTo>
                    <a:lnTo>
                      <a:pt x="164" y="132"/>
                    </a:lnTo>
                    <a:lnTo>
                      <a:pt x="94" y="26"/>
                    </a:lnTo>
                    <a:lnTo>
                      <a:pt x="26" y="132"/>
                    </a:lnTo>
                    <a:lnTo>
                      <a:pt x="54" y="132"/>
                    </a:lnTo>
                    <a:lnTo>
                      <a:pt x="54" y="150"/>
                    </a:lnTo>
                    <a:lnTo>
                      <a:pt x="8" y="150"/>
                    </a:lnTo>
                    <a:lnTo>
                      <a:pt x="8" y="150"/>
                    </a:lnTo>
                    <a:lnTo>
                      <a:pt x="4" y="150"/>
                    </a:lnTo>
                    <a:lnTo>
                      <a:pt x="0" y="146"/>
                    </a:lnTo>
                    <a:lnTo>
                      <a:pt x="0" y="146"/>
                    </a:lnTo>
                    <a:lnTo>
                      <a:pt x="0" y="142"/>
                    </a:lnTo>
                    <a:lnTo>
                      <a:pt x="2" y="136"/>
                    </a:lnTo>
                    <a:lnTo>
                      <a:pt x="88" y="4"/>
                    </a:lnTo>
                    <a:lnTo>
                      <a:pt x="88" y="4"/>
                    </a:lnTo>
                    <a:lnTo>
                      <a:pt x="90" y="2"/>
                    </a:lnTo>
                    <a:lnTo>
                      <a:pt x="94" y="0"/>
                    </a:lnTo>
                    <a:lnTo>
                      <a:pt x="100" y="2"/>
                    </a:lnTo>
                    <a:lnTo>
                      <a:pt x="102" y="4"/>
                    </a:lnTo>
                    <a:lnTo>
                      <a:pt x="188" y="136"/>
                    </a:lnTo>
                    <a:lnTo>
                      <a:pt x="188" y="136"/>
                    </a:lnTo>
                    <a:lnTo>
                      <a:pt x="190" y="142"/>
                    </a:lnTo>
                    <a:lnTo>
                      <a:pt x="188" y="146"/>
                    </a:lnTo>
                    <a:lnTo>
                      <a:pt x="188" y="146"/>
                    </a:lnTo>
                    <a:lnTo>
                      <a:pt x="186" y="150"/>
                    </a:lnTo>
                    <a:lnTo>
                      <a:pt x="180" y="150"/>
                    </a:lnTo>
                    <a:lnTo>
                      <a:pt x="180" y="1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42" name="Freeform 32">
                <a:extLst>
                  <a:ext uri="{FF2B5EF4-FFF2-40B4-BE49-F238E27FC236}">
                    <a16:creationId xmlns:a16="http://schemas.microsoft.com/office/drawing/2014/main" id="{068F8DD6-8283-AAE0-835D-0946123DACE2}"/>
                  </a:ext>
                </a:extLst>
              </p:cNvPr>
              <p:cNvSpPr>
                <a:spLocks/>
              </p:cNvSpPr>
              <p:nvPr/>
            </p:nvSpPr>
            <p:spPr bwMode="auto">
              <a:xfrm>
                <a:off x="3114632" y="3547015"/>
                <a:ext cx="189804" cy="151843"/>
              </a:xfrm>
              <a:custGeom>
                <a:avLst/>
                <a:gdLst>
                  <a:gd name="T0" fmla="*/ 96 w 190"/>
                  <a:gd name="T1" fmla="*/ 152 h 152"/>
                  <a:gd name="T2" fmla="*/ 96 w 190"/>
                  <a:gd name="T3" fmla="*/ 152 h 152"/>
                  <a:gd name="T4" fmla="*/ 90 w 190"/>
                  <a:gd name="T5" fmla="*/ 150 h 152"/>
                  <a:gd name="T6" fmla="*/ 88 w 190"/>
                  <a:gd name="T7" fmla="*/ 148 h 152"/>
                  <a:gd name="T8" fmla="*/ 2 w 190"/>
                  <a:gd name="T9" fmla="*/ 14 h 152"/>
                  <a:gd name="T10" fmla="*/ 2 w 190"/>
                  <a:gd name="T11" fmla="*/ 14 h 152"/>
                  <a:gd name="T12" fmla="*/ 0 w 190"/>
                  <a:gd name="T13" fmla="*/ 10 h 152"/>
                  <a:gd name="T14" fmla="*/ 2 w 190"/>
                  <a:gd name="T15" fmla="*/ 6 h 152"/>
                  <a:gd name="T16" fmla="*/ 2 w 190"/>
                  <a:gd name="T17" fmla="*/ 6 h 152"/>
                  <a:gd name="T18" fmla="*/ 4 w 190"/>
                  <a:gd name="T19" fmla="*/ 2 h 152"/>
                  <a:gd name="T20" fmla="*/ 10 w 190"/>
                  <a:gd name="T21" fmla="*/ 0 h 152"/>
                  <a:gd name="T22" fmla="*/ 52 w 190"/>
                  <a:gd name="T23" fmla="*/ 0 h 152"/>
                  <a:gd name="T24" fmla="*/ 52 w 190"/>
                  <a:gd name="T25" fmla="*/ 18 h 152"/>
                  <a:gd name="T26" fmla="*/ 26 w 190"/>
                  <a:gd name="T27" fmla="*/ 18 h 152"/>
                  <a:gd name="T28" fmla="*/ 96 w 190"/>
                  <a:gd name="T29" fmla="*/ 126 h 152"/>
                  <a:gd name="T30" fmla="*/ 164 w 190"/>
                  <a:gd name="T31" fmla="*/ 18 h 152"/>
                  <a:gd name="T32" fmla="*/ 136 w 190"/>
                  <a:gd name="T33" fmla="*/ 18 h 152"/>
                  <a:gd name="T34" fmla="*/ 136 w 190"/>
                  <a:gd name="T35" fmla="*/ 0 h 152"/>
                  <a:gd name="T36" fmla="*/ 182 w 190"/>
                  <a:gd name="T37" fmla="*/ 0 h 152"/>
                  <a:gd name="T38" fmla="*/ 182 w 190"/>
                  <a:gd name="T39" fmla="*/ 0 h 152"/>
                  <a:gd name="T40" fmla="*/ 186 w 190"/>
                  <a:gd name="T41" fmla="*/ 2 h 152"/>
                  <a:gd name="T42" fmla="*/ 188 w 190"/>
                  <a:gd name="T43" fmla="*/ 6 h 152"/>
                  <a:gd name="T44" fmla="*/ 188 w 190"/>
                  <a:gd name="T45" fmla="*/ 6 h 152"/>
                  <a:gd name="T46" fmla="*/ 190 w 190"/>
                  <a:gd name="T47" fmla="*/ 10 h 152"/>
                  <a:gd name="T48" fmla="*/ 188 w 190"/>
                  <a:gd name="T49" fmla="*/ 14 h 152"/>
                  <a:gd name="T50" fmla="*/ 102 w 190"/>
                  <a:gd name="T51" fmla="*/ 148 h 152"/>
                  <a:gd name="T52" fmla="*/ 102 w 190"/>
                  <a:gd name="T53" fmla="*/ 148 h 152"/>
                  <a:gd name="T54" fmla="*/ 100 w 190"/>
                  <a:gd name="T55" fmla="*/ 150 h 152"/>
                  <a:gd name="T56" fmla="*/ 96 w 190"/>
                  <a:gd name="T57" fmla="*/ 152 h 152"/>
                  <a:gd name="T58" fmla="*/ 96 w 190"/>
                  <a:gd name="T5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0" h="152">
                    <a:moveTo>
                      <a:pt x="96" y="152"/>
                    </a:moveTo>
                    <a:lnTo>
                      <a:pt x="96" y="152"/>
                    </a:lnTo>
                    <a:lnTo>
                      <a:pt x="90" y="150"/>
                    </a:lnTo>
                    <a:lnTo>
                      <a:pt x="88" y="148"/>
                    </a:lnTo>
                    <a:lnTo>
                      <a:pt x="2" y="14"/>
                    </a:lnTo>
                    <a:lnTo>
                      <a:pt x="2" y="14"/>
                    </a:lnTo>
                    <a:lnTo>
                      <a:pt x="0" y="10"/>
                    </a:lnTo>
                    <a:lnTo>
                      <a:pt x="2" y="6"/>
                    </a:lnTo>
                    <a:lnTo>
                      <a:pt x="2" y="6"/>
                    </a:lnTo>
                    <a:lnTo>
                      <a:pt x="4" y="2"/>
                    </a:lnTo>
                    <a:lnTo>
                      <a:pt x="10" y="0"/>
                    </a:lnTo>
                    <a:lnTo>
                      <a:pt x="52" y="0"/>
                    </a:lnTo>
                    <a:lnTo>
                      <a:pt x="52" y="18"/>
                    </a:lnTo>
                    <a:lnTo>
                      <a:pt x="26" y="18"/>
                    </a:lnTo>
                    <a:lnTo>
                      <a:pt x="96" y="126"/>
                    </a:lnTo>
                    <a:lnTo>
                      <a:pt x="164" y="18"/>
                    </a:lnTo>
                    <a:lnTo>
                      <a:pt x="136" y="18"/>
                    </a:lnTo>
                    <a:lnTo>
                      <a:pt x="136" y="0"/>
                    </a:lnTo>
                    <a:lnTo>
                      <a:pt x="182" y="0"/>
                    </a:lnTo>
                    <a:lnTo>
                      <a:pt x="182" y="0"/>
                    </a:lnTo>
                    <a:lnTo>
                      <a:pt x="186" y="2"/>
                    </a:lnTo>
                    <a:lnTo>
                      <a:pt x="188" y="6"/>
                    </a:lnTo>
                    <a:lnTo>
                      <a:pt x="188" y="6"/>
                    </a:lnTo>
                    <a:lnTo>
                      <a:pt x="190" y="10"/>
                    </a:lnTo>
                    <a:lnTo>
                      <a:pt x="188" y="14"/>
                    </a:lnTo>
                    <a:lnTo>
                      <a:pt x="102" y="148"/>
                    </a:lnTo>
                    <a:lnTo>
                      <a:pt x="102" y="148"/>
                    </a:lnTo>
                    <a:lnTo>
                      <a:pt x="100" y="150"/>
                    </a:lnTo>
                    <a:lnTo>
                      <a:pt x="96" y="152"/>
                    </a:lnTo>
                    <a:lnTo>
                      <a:pt x="96" y="1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146" name="Group 145">
                <a:extLst>
                  <a:ext uri="{FF2B5EF4-FFF2-40B4-BE49-F238E27FC236}">
                    <a16:creationId xmlns:a16="http://schemas.microsoft.com/office/drawing/2014/main" id="{82D55D1B-4CA6-0FB8-1765-897300646630}"/>
                  </a:ext>
                </a:extLst>
              </p:cNvPr>
              <p:cNvGrpSpPr/>
              <p:nvPr/>
            </p:nvGrpSpPr>
            <p:grpSpPr>
              <a:xfrm>
                <a:off x="2783612" y="3432560"/>
                <a:ext cx="255736" cy="255735"/>
                <a:chOff x="2783612" y="3432560"/>
                <a:chExt cx="255736" cy="255735"/>
              </a:xfrm>
            </p:grpSpPr>
            <p:sp>
              <p:nvSpPr>
                <p:cNvPr id="145" name="Oval 144">
                  <a:extLst>
                    <a:ext uri="{FF2B5EF4-FFF2-40B4-BE49-F238E27FC236}">
                      <a16:creationId xmlns:a16="http://schemas.microsoft.com/office/drawing/2014/main" id="{115E3646-EBEC-E8F7-CCF3-BCDA3BD7FAD8}"/>
                    </a:ext>
                  </a:extLst>
                </p:cNvPr>
                <p:cNvSpPr/>
                <p:nvPr/>
              </p:nvSpPr>
              <p:spPr>
                <a:xfrm>
                  <a:off x="2792608" y="3441555"/>
                  <a:ext cx="237744" cy="237744"/>
                </a:xfrm>
                <a:prstGeom prst="ellipse">
                  <a:avLst/>
                </a:prstGeom>
                <a:solidFill>
                  <a:srgbClr val="FBE7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Freeform 33">
                  <a:extLst>
                    <a:ext uri="{FF2B5EF4-FFF2-40B4-BE49-F238E27FC236}">
                      <a16:creationId xmlns:a16="http://schemas.microsoft.com/office/drawing/2014/main" id="{7C35A085-F855-AFDE-18B7-096461FEE2D7}"/>
                    </a:ext>
                  </a:extLst>
                </p:cNvPr>
                <p:cNvSpPr>
                  <a:spLocks noEditPoints="1"/>
                </p:cNvSpPr>
                <p:nvPr/>
              </p:nvSpPr>
              <p:spPr bwMode="auto">
                <a:xfrm>
                  <a:off x="2783612" y="3432560"/>
                  <a:ext cx="255736" cy="255735"/>
                </a:xfrm>
                <a:custGeom>
                  <a:avLst/>
                  <a:gdLst>
                    <a:gd name="T0" fmla="*/ 128 w 256"/>
                    <a:gd name="T1" fmla="*/ 256 h 256"/>
                    <a:gd name="T2" fmla="*/ 102 w 256"/>
                    <a:gd name="T3" fmla="*/ 254 h 256"/>
                    <a:gd name="T4" fmla="*/ 78 w 256"/>
                    <a:gd name="T5" fmla="*/ 246 h 256"/>
                    <a:gd name="T6" fmla="*/ 56 w 256"/>
                    <a:gd name="T7" fmla="*/ 234 h 256"/>
                    <a:gd name="T8" fmla="*/ 22 w 256"/>
                    <a:gd name="T9" fmla="*/ 200 h 256"/>
                    <a:gd name="T10" fmla="*/ 10 w 256"/>
                    <a:gd name="T11" fmla="*/ 178 h 256"/>
                    <a:gd name="T12" fmla="*/ 2 w 256"/>
                    <a:gd name="T13" fmla="*/ 154 h 256"/>
                    <a:gd name="T14" fmla="*/ 0 w 256"/>
                    <a:gd name="T15" fmla="*/ 128 h 256"/>
                    <a:gd name="T16" fmla="*/ 0 w 256"/>
                    <a:gd name="T17" fmla="*/ 116 h 256"/>
                    <a:gd name="T18" fmla="*/ 6 w 256"/>
                    <a:gd name="T19" fmla="*/ 90 h 256"/>
                    <a:gd name="T20" fmla="*/ 16 w 256"/>
                    <a:gd name="T21" fmla="*/ 68 h 256"/>
                    <a:gd name="T22" fmla="*/ 38 w 256"/>
                    <a:gd name="T23" fmla="*/ 38 h 256"/>
                    <a:gd name="T24" fmla="*/ 68 w 256"/>
                    <a:gd name="T25" fmla="*/ 16 h 256"/>
                    <a:gd name="T26" fmla="*/ 90 w 256"/>
                    <a:gd name="T27" fmla="*/ 6 h 256"/>
                    <a:gd name="T28" fmla="*/ 116 w 256"/>
                    <a:gd name="T29" fmla="*/ 0 h 256"/>
                    <a:gd name="T30" fmla="*/ 128 w 256"/>
                    <a:gd name="T31" fmla="*/ 0 h 256"/>
                    <a:gd name="T32" fmla="*/ 154 w 256"/>
                    <a:gd name="T33" fmla="*/ 2 h 256"/>
                    <a:gd name="T34" fmla="*/ 178 w 256"/>
                    <a:gd name="T35" fmla="*/ 10 h 256"/>
                    <a:gd name="T36" fmla="*/ 200 w 256"/>
                    <a:gd name="T37" fmla="*/ 22 h 256"/>
                    <a:gd name="T38" fmla="*/ 234 w 256"/>
                    <a:gd name="T39" fmla="*/ 56 h 256"/>
                    <a:gd name="T40" fmla="*/ 246 w 256"/>
                    <a:gd name="T41" fmla="*/ 78 h 256"/>
                    <a:gd name="T42" fmla="*/ 254 w 256"/>
                    <a:gd name="T43" fmla="*/ 102 h 256"/>
                    <a:gd name="T44" fmla="*/ 256 w 256"/>
                    <a:gd name="T45" fmla="*/ 128 h 256"/>
                    <a:gd name="T46" fmla="*/ 256 w 256"/>
                    <a:gd name="T47" fmla="*/ 142 h 256"/>
                    <a:gd name="T48" fmla="*/ 250 w 256"/>
                    <a:gd name="T49" fmla="*/ 166 h 256"/>
                    <a:gd name="T50" fmla="*/ 240 w 256"/>
                    <a:gd name="T51" fmla="*/ 190 h 256"/>
                    <a:gd name="T52" fmla="*/ 218 w 256"/>
                    <a:gd name="T53" fmla="*/ 218 h 256"/>
                    <a:gd name="T54" fmla="*/ 190 w 256"/>
                    <a:gd name="T55" fmla="*/ 242 h 256"/>
                    <a:gd name="T56" fmla="*/ 166 w 256"/>
                    <a:gd name="T57" fmla="*/ 250 h 256"/>
                    <a:gd name="T58" fmla="*/ 142 w 256"/>
                    <a:gd name="T59" fmla="*/ 256 h 256"/>
                    <a:gd name="T60" fmla="*/ 128 w 256"/>
                    <a:gd name="T61" fmla="*/ 256 h 256"/>
                    <a:gd name="T62" fmla="*/ 128 w 256"/>
                    <a:gd name="T63" fmla="*/ 18 h 256"/>
                    <a:gd name="T64" fmla="*/ 86 w 256"/>
                    <a:gd name="T65" fmla="*/ 26 h 256"/>
                    <a:gd name="T66" fmla="*/ 50 w 256"/>
                    <a:gd name="T67" fmla="*/ 50 h 256"/>
                    <a:gd name="T68" fmla="*/ 26 w 256"/>
                    <a:gd name="T69" fmla="*/ 86 h 256"/>
                    <a:gd name="T70" fmla="*/ 18 w 256"/>
                    <a:gd name="T71" fmla="*/ 128 h 256"/>
                    <a:gd name="T72" fmla="*/ 20 w 256"/>
                    <a:gd name="T73" fmla="*/ 150 h 256"/>
                    <a:gd name="T74" fmla="*/ 36 w 256"/>
                    <a:gd name="T75" fmla="*/ 190 h 256"/>
                    <a:gd name="T76" fmla="*/ 66 w 256"/>
                    <a:gd name="T77" fmla="*/ 220 h 256"/>
                    <a:gd name="T78" fmla="*/ 106 w 256"/>
                    <a:gd name="T79" fmla="*/ 236 h 256"/>
                    <a:gd name="T80" fmla="*/ 128 w 256"/>
                    <a:gd name="T81" fmla="*/ 238 h 256"/>
                    <a:gd name="T82" fmla="*/ 172 w 256"/>
                    <a:gd name="T83" fmla="*/ 230 h 256"/>
                    <a:gd name="T84" fmla="*/ 206 w 256"/>
                    <a:gd name="T85" fmla="*/ 206 h 256"/>
                    <a:gd name="T86" fmla="*/ 230 w 256"/>
                    <a:gd name="T87" fmla="*/ 172 h 256"/>
                    <a:gd name="T88" fmla="*/ 238 w 256"/>
                    <a:gd name="T89" fmla="*/ 128 h 256"/>
                    <a:gd name="T90" fmla="*/ 236 w 256"/>
                    <a:gd name="T91" fmla="*/ 106 h 256"/>
                    <a:gd name="T92" fmla="*/ 220 w 256"/>
                    <a:gd name="T93" fmla="*/ 66 h 256"/>
                    <a:gd name="T94" fmla="*/ 190 w 256"/>
                    <a:gd name="T95" fmla="*/ 36 h 256"/>
                    <a:gd name="T96" fmla="*/ 150 w 256"/>
                    <a:gd name="T97" fmla="*/ 20 h 256"/>
                    <a:gd name="T98" fmla="*/ 128 w 256"/>
                    <a:gd name="T99" fmla="*/ 1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56">
                      <a:moveTo>
                        <a:pt x="128" y="256"/>
                      </a:moveTo>
                      <a:lnTo>
                        <a:pt x="128" y="256"/>
                      </a:lnTo>
                      <a:lnTo>
                        <a:pt x="116" y="256"/>
                      </a:lnTo>
                      <a:lnTo>
                        <a:pt x="102" y="254"/>
                      </a:lnTo>
                      <a:lnTo>
                        <a:pt x="90" y="250"/>
                      </a:lnTo>
                      <a:lnTo>
                        <a:pt x="78" y="246"/>
                      </a:lnTo>
                      <a:lnTo>
                        <a:pt x="68" y="242"/>
                      </a:lnTo>
                      <a:lnTo>
                        <a:pt x="56" y="234"/>
                      </a:lnTo>
                      <a:lnTo>
                        <a:pt x="38" y="218"/>
                      </a:lnTo>
                      <a:lnTo>
                        <a:pt x="22" y="200"/>
                      </a:lnTo>
                      <a:lnTo>
                        <a:pt x="16" y="190"/>
                      </a:lnTo>
                      <a:lnTo>
                        <a:pt x="10" y="178"/>
                      </a:lnTo>
                      <a:lnTo>
                        <a:pt x="6" y="166"/>
                      </a:lnTo>
                      <a:lnTo>
                        <a:pt x="2" y="154"/>
                      </a:lnTo>
                      <a:lnTo>
                        <a:pt x="0" y="142"/>
                      </a:lnTo>
                      <a:lnTo>
                        <a:pt x="0" y="128"/>
                      </a:lnTo>
                      <a:lnTo>
                        <a:pt x="0" y="128"/>
                      </a:lnTo>
                      <a:lnTo>
                        <a:pt x="0" y="116"/>
                      </a:lnTo>
                      <a:lnTo>
                        <a:pt x="2" y="102"/>
                      </a:lnTo>
                      <a:lnTo>
                        <a:pt x="6" y="90"/>
                      </a:lnTo>
                      <a:lnTo>
                        <a:pt x="10" y="78"/>
                      </a:lnTo>
                      <a:lnTo>
                        <a:pt x="16" y="68"/>
                      </a:lnTo>
                      <a:lnTo>
                        <a:pt x="22" y="56"/>
                      </a:lnTo>
                      <a:lnTo>
                        <a:pt x="38" y="38"/>
                      </a:lnTo>
                      <a:lnTo>
                        <a:pt x="56" y="22"/>
                      </a:lnTo>
                      <a:lnTo>
                        <a:pt x="68" y="16"/>
                      </a:lnTo>
                      <a:lnTo>
                        <a:pt x="78" y="10"/>
                      </a:lnTo>
                      <a:lnTo>
                        <a:pt x="90" y="6"/>
                      </a:lnTo>
                      <a:lnTo>
                        <a:pt x="102" y="2"/>
                      </a:lnTo>
                      <a:lnTo>
                        <a:pt x="116" y="0"/>
                      </a:lnTo>
                      <a:lnTo>
                        <a:pt x="128" y="0"/>
                      </a:lnTo>
                      <a:lnTo>
                        <a:pt x="128" y="0"/>
                      </a:lnTo>
                      <a:lnTo>
                        <a:pt x="142" y="0"/>
                      </a:lnTo>
                      <a:lnTo>
                        <a:pt x="154" y="2"/>
                      </a:lnTo>
                      <a:lnTo>
                        <a:pt x="166" y="6"/>
                      </a:lnTo>
                      <a:lnTo>
                        <a:pt x="178" y="10"/>
                      </a:lnTo>
                      <a:lnTo>
                        <a:pt x="190" y="16"/>
                      </a:lnTo>
                      <a:lnTo>
                        <a:pt x="200" y="22"/>
                      </a:lnTo>
                      <a:lnTo>
                        <a:pt x="218" y="38"/>
                      </a:lnTo>
                      <a:lnTo>
                        <a:pt x="234" y="56"/>
                      </a:lnTo>
                      <a:lnTo>
                        <a:pt x="240" y="68"/>
                      </a:lnTo>
                      <a:lnTo>
                        <a:pt x="246" y="78"/>
                      </a:lnTo>
                      <a:lnTo>
                        <a:pt x="250" y="90"/>
                      </a:lnTo>
                      <a:lnTo>
                        <a:pt x="254" y="102"/>
                      </a:lnTo>
                      <a:lnTo>
                        <a:pt x="256" y="116"/>
                      </a:lnTo>
                      <a:lnTo>
                        <a:pt x="256" y="128"/>
                      </a:lnTo>
                      <a:lnTo>
                        <a:pt x="256" y="128"/>
                      </a:lnTo>
                      <a:lnTo>
                        <a:pt x="256" y="142"/>
                      </a:lnTo>
                      <a:lnTo>
                        <a:pt x="254" y="154"/>
                      </a:lnTo>
                      <a:lnTo>
                        <a:pt x="250" y="166"/>
                      </a:lnTo>
                      <a:lnTo>
                        <a:pt x="246" y="178"/>
                      </a:lnTo>
                      <a:lnTo>
                        <a:pt x="240" y="190"/>
                      </a:lnTo>
                      <a:lnTo>
                        <a:pt x="234" y="200"/>
                      </a:lnTo>
                      <a:lnTo>
                        <a:pt x="218" y="218"/>
                      </a:lnTo>
                      <a:lnTo>
                        <a:pt x="200" y="234"/>
                      </a:lnTo>
                      <a:lnTo>
                        <a:pt x="190" y="242"/>
                      </a:lnTo>
                      <a:lnTo>
                        <a:pt x="178" y="246"/>
                      </a:lnTo>
                      <a:lnTo>
                        <a:pt x="166" y="250"/>
                      </a:lnTo>
                      <a:lnTo>
                        <a:pt x="154" y="254"/>
                      </a:lnTo>
                      <a:lnTo>
                        <a:pt x="142" y="256"/>
                      </a:lnTo>
                      <a:lnTo>
                        <a:pt x="128" y="256"/>
                      </a:lnTo>
                      <a:lnTo>
                        <a:pt x="128" y="256"/>
                      </a:lnTo>
                      <a:close/>
                      <a:moveTo>
                        <a:pt x="128" y="18"/>
                      </a:moveTo>
                      <a:lnTo>
                        <a:pt x="128" y="18"/>
                      </a:lnTo>
                      <a:lnTo>
                        <a:pt x="106" y="20"/>
                      </a:lnTo>
                      <a:lnTo>
                        <a:pt x="86" y="26"/>
                      </a:lnTo>
                      <a:lnTo>
                        <a:pt x="66" y="36"/>
                      </a:lnTo>
                      <a:lnTo>
                        <a:pt x="50" y="50"/>
                      </a:lnTo>
                      <a:lnTo>
                        <a:pt x="36" y="66"/>
                      </a:lnTo>
                      <a:lnTo>
                        <a:pt x="26" y="86"/>
                      </a:lnTo>
                      <a:lnTo>
                        <a:pt x="20" y="106"/>
                      </a:lnTo>
                      <a:lnTo>
                        <a:pt x="18" y="128"/>
                      </a:lnTo>
                      <a:lnTo>
                        <a:pt x="18" y="128"/>
                      </a:lnTo>
                      <a:lnTo>
                        <a:pt x="20" y="150"/>
                      </a:lnTo>
                      <a:lnTo>
                        <a:pt x="26" y="172"/>
                      </a:lnTo>
                      <a:lnTo>
                        <a:pt x="36" y="190"/>
                      </a:lnTo>
                      <a:lnTo>
                        <a:pt x="50" y="206"/>
                      </a:lnTo>
                      <a:lnTo>
                        <a:pt x="66" y="220"/>
                      </a:lnTo>
                      <a:lnTo>
                        <a:pt x="86" y="230"/>
                      </a:lnTo>
                      <a:lnTo>
                        <a:pt x="106" y="236"/>
                      </a:lnTo>
                      <a:lnTo>
                        <a:pt x="128" y="238"/>
                      </a:lnTo>
                      <a:lnTo>
                        <a:pt x="128" y="238"/>
                      </a:lnTo>
                      <a:lnTo>
                        <a:pt x="150" y="236"/>
                      </a:lnTo>
                      <a:lnTo>
                        <a:pt x="172" y="230"/>
                      </a:lnTo>
                      <a:lnTo>
                        <a:pt x="190" y="220"/>
                      </a:lnTo>
                      <a:lnTo>
                        <a:pt x="206" y="206"/>
                      </a:lnTo>
                      <a:lnTo>
                        <a:pt x="220" y="190"/>
                      </a:lnTo>
                      <a:lnTo>
                        <a:pt x="230" y="172"/>
                      </a:lnTo>
                      <a:lnTo>
                        <a:pt x="236" y="150"/>
                      </a:lnTo>
                      <a:lnTo>
                        <a:pt x="238" y="128"/>
                      </a:lnTo>
                      <a:lnTo>
                        <a:pt x="238" y="128"/>
                      </a:lnTo>
                      <a:lnTo>
                        <a:pt x="236" y="106"/>
                      </a:lnTo>
                      <a:lnTo>
                        <a:pt x="230" y="86"/>
                      </a:lnTo>
                      <a:lnTo>
                        <a:pt x="220" y="66"/>
                      </a:lnTo>
                      <a:lnTo>
                        <a:pt x="206" y="50"/>
                      </a:lnTo>
                      <a:lnTo>
                        <a:pt x="190" y="36"/>
                      </a:lnTo>
                      <a:lnTo>
                        <a:pt x="172" y="26"/>
                      </a:lnTo>
                      <a:lnTo>
                        <a:pt x="150" y="20"/>
                      </a:lnTo>
                      <a:lnTo>
                        <a:pt x="128" y="18"/>
                      </a:lnTo>
                      <a:lnTo>
                        <a:pt x="128" y="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grpSp>
        <p:sp>
          <p:nvSpPr>
            <p:cNvPr id="167" name="TextBox 166">
              <a:extLst>
                <a:ext uri="{FF2B5EF4-FFF2-40B4-BE49-F238E27FC236}">
                  <a16:creationId xmlns:a16="http://schemas.microsoft.com/office/drawing/2014/main" id="{5308C90B-1A1E-F15E-AB76-6673F322177F}"/>
                </a:ext>
              </a:extLst>
            </p:cNvPr>
            <p:cNvSpPr txBox="1"/>
            <p:nvPr/>
          </p:nvSpPr>
          <p:spPr>
            <a:xfrm>
              <a:off x="958490" y="5403181"/>
              <a:ext cx="1760601" cy="600164"/>
            </a:xfrm>
            <a:prstGeom prst="rect">
              <a:avLst/>
            </a:prstGeom>
            <a:noFill/>
          </p:spPr>
          <p:txBody>
            <a:bodyPr wrap="square" lIns="0" rIns="0" rtlCol="0" anchor="t">
              <a:spAutoFit/>
            </a:bodyPr>
            <a:lstStyle/>
            <a:p>
              <a:pPr>
                <a:spcAft>
                  <a:spcPts val="1200"/>
                </a:spcAft>
              </a:pPr>
              <a:r>
                <a:rPr lang="en-GB" sz="1100">
                  <a:latin typeface="EYInterstate Light" panose="02000506000000020004" pitchFamily="2" charset="0"/>
                </a:rPr>
                <a:t>3.1 Deploy and execute scripts across databases and Linux systems.</a:t>
              </a:r>
            </a:p>
          </p:txBody>
        </p:sp>
        <p:sp>
          <p:nvSpPr>
            <p:cNvPr id="168" name="TextBox 167">
              <a:extLst>
                <a:ext uri="{FF2B5EF4-FFF2-40B4-BE49-F238E27FC236}">
                  <a16:creationId xmlns:a16="http://schemas.microsoft.com/office/drawing/2014/main" id="{23646B00-D0FD-B0A8-024D-4E88A88B0C09}"/>
                </a:ext>
              </a:extLst>
            </p:cNvPr>
            <p:cNvSpPr txBox="1"/>
            <p:nvPr/>
          </p:nvSpPr>
          <p:spPr>
            <a:xfrm>
              <a:off x="1952903" y="1962483"/>
              <a:ext cx="2145643" cy="430887"/>
            </a:xfrm>
            <a:prstGeom prst="rect">
              <a:avLst/>
            </a:prstGeom>
            <a:noFill/>
          </p:spPr>
          <p:txBody>
            <a:bodyPr wrap="square" lIns="0" rIns="0" rtlCol="0" anchor="t">
              <a:spAutoFit/>
            </a:bodyPr>
            <a:lstStyle/>
            <a:p>
              <a:pPr algn="ctr">
                <a:spcAft>
                  <a:spcPts val="1200"/>
                </a:spcAft>
              </a:pPr>
              <a:r>
                <a:rPr lang="en-GB" sz="1100">
                  <a:latin typeface="EYInterstate Light" panose="02000506000000020004" pitchFamily="2" charset="0"/>
                </a:rPr>
                <a:t>3.2  Extract and analyse data from the target systems.</a:t>
              </a:r>
              <a:endParaRPr lang="en-GB" sz="1100" noProof="1">
                <a:latin typeface="EYInterstate Light" panose="02000506000000020004" pitchFamily="2" charset="0"/>
              </a:endParaRPr>
            </a:p>
          </p:txBody>
        </p:sp>
        <p:sp>
          <p:nvSpPr>
            <p:cNvPr id="169" name="TextBox 168">
              <a:extLst>
                <a:ext uri="{FF2B5EF4-FFF2-40B4-BE49-F238E27FC236}">
                  <a16:creationId xmlns:a16="http://schemas.microsoft.com/office/drawing/2014/main" id="{488FAA00-1FB1-A346-F27E-F8DF0C480676}"/>
                </a:ext>
              </a:extLst>
            </p:cNvPr>
            <p:cNvSpPr txBox="1"/>
            <p:nvPr/>
          </p:nvSpPr>
          <p:spPr>
            <a:xfrm>
              <a:off x="3317211" y="5403181"/>
              <a:ext cx="1815938" cy="261610"/>
            </a:xfrm>
            <a:prstGeom prst="rect">
              <a:avLst/>
            </a:prstGeom>
            <a:noFill/>
          </p:spPr>
          <p:txBody>
            <a:bodyPr wrap="square" lIns="0" rIns="0" rtlCol="0" anchor="t">
              <a:spAutoFit/>
            </a:bodyPr>
            <a:lstStyle/>
            <a:p>
              <a:pPr>
                <a:spcAft>
                  <a:spcPts val="1200"/>
                </a:spcAft>
              </a:pPr>
              <a:r>
                <a:rPr lang="en-GB" sz="1100">
                  <a:latin typeface="EYInterstate Light" panose="02000506000000020004" pitchFamily="2" charset="0"/>
                </a:rPr>
                <a:t>3.3 Generate reports</a:t>
              </a:r>
            </a:p>
          </p:txBody>
        </p:sp>
        <p:sp>
          <p:nvSpPr>
            <p:cNvPr id="170" name="TextBox 169">
              <a:extLst>
                <a:ext uri="{FF2B5EF4-FFF2-40B4-BE49-F238E27FC236}">
                  <a16:creationId xmlns:a16="http://schemas.microsoft.com/office/drawing/2014/main" id="{8035C6B3-E6B3-BB5C-7AB6-31BB14AE113A}"/>
                </a:ext>
              </a:extLst>
            </p:cNvPr>
            <p:cNvSpPr txBox="1"/>
            <p:nvPr/>
          </p:nvSpPr>
          <p:spPr>
            <a:xfrm>
              <a:off x="5590956" y="5403181"/>
              <a:ext cx="1645920" cy="430887"/>
            </a:xfrm>
            <a:prstGeom prst="rect">
              <a:avLst/>
            </a:prstGeom>
            <a:noFill/>
          </p:spPr>
          <p:txBody>
            <a:bodyPr wrap="square" lIns="0" rIns="0" rtlCol="0" anchor="t">
              <a:spAutoFit/>
            </a:bodyPr>
            <a:lstStyle/>
            <a:p>
              <a:pPr>
                <a:spcAft>
                  <a:spcPts val="1200"/>
                </a:spcAft>
              </a:pPr>
              <a:r>
                <a:rPr lang="en-GB" sz="1100">
                  <a:latin typeface="EYInterstate Light" panose="02000506000000020004" pitchFamily="2" charset="0"/>
                </a:rPr>
                <a:t>3.4 Obtain Absa approval for each batch.</a:t>
              </a:r>
            </a:p>
          </p:txBody>
        </p:sp>
        <p:sp>
          <p:nvSpPr>
            <p:cNvPr id="171" name="TextBox 170">
              <a:extLst>
                <a:ext uri="{FF2B5EF4-FFF2-40B4-BE49-F238E27FC236}">
                  <a16:creationId xmlns:a16="http://schemas.microsoft.com/office/drawing/2014/main" id="{58A69880-53FD-7409-24A8-5014427AF735}"/>
                </a:ext>
              </a:extLst>
            </p:cNvPr>
            <p:cNvSpPr txBox="1"/>
            <p:nvPr/>
          </p:nvSpPr>
          <p:spPr>
            <a:xfrm>
              <a:off x="6878150" y="2057797"/>
              <a:ext cx="2083703" cy="584775"/>
            </a:xfrm>
            <a:prstGeom prst="rect">
              <a:avLst/>
            </a:prstGeom>
            <a:noFill/>
          </p:spPr>
          <p:txBody>
            <a:bodyPr wrap="square" lIns="0" rIns="0" rtlCol="0" anchor="t">
              <a:spAutoFit/>
            </a:bodyPr>
            <a:lstStyle/>
            <a:p>
              <a:pPr>
                <a:spcAft>
                  <a:spcPts val="1200"/>
                </a:spcAft>
              </a:pPr>
              <a:r>
                <a:rPr lang="en-GB" sz="1100">
                  <a:latin typeface="EYInterstate Light" panose="02000506000000020004" pitchFamily="2" charset="0"/>
                </a:rPr>
                <a:t>3.5 Perform the treatment Plan</a:t>
              </a:r>
            </a:p>
            <a:p>
              <a:pPr>
                <a:spcAft>
                  <a:spcPts val="1200"/>
                </a:spcAft>
              </a:pPr>
              <a:endParaRPr lang="en-GB" sz="1100" noProof="1">
                <a:latin typeface="EYInterstate Light" panose="02000506000000020004" pitchFamily="2" charset="0"/>
              </a:endParaRPr>
            </a:p>
          </p:txBody>
        </p:sp>
        <p:sp>
          <p:nvSpPr>
            <p:cNvPr id="172" name="TextBox 171">
              <a:extLst>
                <a:ext uri="{FF2B5EF4-FFF2-40B4-BE49-F238E27FC236}">
                  <a16:creationId xmlns:a16="http://schemas.microsoft.com/office/drawing/2014/main" id="{8F4E2A53-40C4-D129-E453-188769604C09}"/>
                </a:ext>
              </a:extLst>
            </p:cNvPr>
            <p:cNvSpPr txBox="1"/>
            <p:nvPr/>
          </p:nvSpPr>
          <p:spPr>
            <a:xfrm>
              <a:off x="7902498" y="5403181"/>
              <a:ext cx="1645920" cy="430887"/>
            </a:xfrm>
            <a:prstGeom prst="rect">
              <a:avLst/>
            </a:prstGeom>
            <a:noFill/>
          </p:spPr>
          <p:txBody>
            <a:bodyPr wrap="square" lIns="0" rIns="0" rtlCol="0" anchor="t">
              <a:spAutoFit/>
            </a:bodyPr>
            <a:lstStyle/>
            <a:p>
              <a:pPr>
                <a:spcAft>
                  <a:spcPts val="1200"/>
                </a:spcAft>
              </a:pPr>
              <a:r>
                <a:rPr lang="en-GB" sz="1100">
                  <a:latin typeface="EYInterstate Light" panose="02000506000000020004" pitchFamily="2" charset="0"/>
                </a:rPr>
                <a:t>3.6 Obtain sign-off from Absa.</a:t>
              </a:r>
              <a:endParaRPr lang="en-GB" sz="1100" noProof="1">
                <a:latin typeface="EYInterstate Light" panose="02000506000000020004" pitchFamily="2" charset="0"/>
              </a:endParaRPr>
            </a:p>
          </p:txBody>
        </p:sp>
        <p:sp>
          <p:nvSpPr>
            <p:cNvPr id="180" name="TextBox 179">
              <a:extLst>
                <a:ext uri="{FF2B5EF4-FFF2-40B4-BE49-F238E27FC236}">
                  <a16:creationId xmlns:a16="http://schemas.microsoft.com/office/drawing/2014/main" id="{D36FE748-F206-D14A-3AB1-8B172476C6E1}"/>
                </a:ext>
              </a:extLst>
            </p:cNvPr>
            <p:cNvSpPr txBox="1"/>
            <p:nvPr/>
          </p:nvSpPr>
          <p:spPr>
            <a:xfrm>
              <a:off x="4098547" y="2979437"/>
              <a:ext cx="2361354" cy="430887"/>
            </a:xfrm>
            <a:prstGeom prst="rect">
              <a:avLst/>
            </a:prstGeom>
            <a:noFill/>
          </p:spPr>
          <p:txBody>
            <a:bodyPr wrap="square" lIns="0" rIns="0" rtlCol="0" anchor="ctr">
              <a:spAutoFit/>
            </a:bodyPr>
            <a:lstStyle/>
            <a:p>
              <a:pPr>
                <a:spcAft>
                  <a:spcPts val="1200"/>
                </a:spcAft>
              </a:pPr>
              <a:r>
                <a:rPr lang="en-GB" sz="1100">
                  <a:latin typeface="EYInterstate Light" panose="02000506000000020004" pitchFamily="2" charset="0"/>
                </a:rPr>
                <a:t>Active reporting and tracking including BAU reporting.</a:t>
              </a:r>
            </a:p>
          </p:txBody>
        </p:sp>
        <p:grpSp>
          <p:nvGrpSpPr>
            <p:cNvPr id="192" name="Group 191">
              <a:extLst>
                <a:ext uri="{FF2B5EF4-FFF2-40B4-BE49-F238E27FC236}">
                  <a16:creationId xmlns:a16="http://schemas.microsoft.com/office/drawing/2014/main" id="{9718F6FC-AC9D-5B6B-F1C7-1B211E157AF9}"/>
                </a:ext>
              </a:extLst>
            </p:cNvPr>
            <p:cNvGrpSpPr/>
            <p:nvPr/>
          </p:nvGrpSpPr>
          <p:grpSpPr>
            <a:xfrm>
              <a:off x="1518279" y="4538401"/>
              <a:ext cx="488792" cy="436233"/>
              <a:chOff x="938213" y="3157538"/>
              <a:chExt cx="1181100" cy="1054100"/>
            </a:xfrm>
            <a:solidFill>
              <a:schemeClr val="bg1"/>
            </a:solidFill>
          </p:grpSpPr>
          <p:sp>
            <p:nvSpPr>
              <p:cNvPr id="193" name="Freeform 36">
                <a:extLst>
                  <a:ext uri="{FF2B5EF4-FFF2-40B4-BE49-F238E27FC236}">
                    <a16:creationId xmlns:a16="http://schemas.microsoft.com/office/drawing/2014/main" id="{C714F050-CD38-630E-7209-AE7ED7DBFA03}"/>
                  </a:ext>
                </a:extLst>
              </p:cNvPr>
              <p:cNvSpPr>
                <a:spLocks noEditPoints="1"/>
              </p:cNvSpPr>
              <p:nvPr/>
            </p:nvSpPr>
            <p:spPr bwMode="auto">
              <a:xfrm>
                <a:off x="1274763" y="3506788"/>
                <a:ext cx="508000" cy="504825"/>
              </a:xfrm>
              <a:custGeom>
                <a:avLst/>
                <a:gdLst>
                  <a:gd name="T0" fmla="*/ 128 w 320"/>
                  <a:gd name="T1" fmla="*/ 318 h 318"/>
                  <a:gd name="T2" fmla="*/ 128 w 320"/>
                  <a:gd name="T3" fmla="*/ 282 h 318"/>
                  <a:gd name="T4" fmla="*/ 94 w 320"/>
                  <a:gd name="T5" fmla="*/ 268 h 318"/>
                  <a:gd name="T6" fmla="*/ 26 w 320"/>
                  <a:gd name="T7" fmla="*/ 250 h 318"/>
                  <a:gd name="T8" fmla="*/ 50 w 320"/>
                  <a:gd name="T9" fmla="*/ 224 h 318"/>
                  <a:gd name="T10" fmla="*/ 36 w 320"/>
                  <a:gd name="T11" fmla="*/ 190 h 318"/>
                  <a:gd name="T12" fmla="*/ 0 w 320"/>
                  <a:gd name="T13" fmla="*/ 128 h 318"/>
                  <a:gd name="T14" fmla="*/ 36 w 320"/>
                  <a:gd name="T15" fmla="*/ 128 h 318"/>
                  <a:gd name="T16" fmla="*/ 50 w 320"/>
                  <a:gd name="T17" fmla="*/ 94 h 318"/>
                  <a:gd name="T18" fmla="*/ 70 w 320"/>
                  <a:gd name="T19" fmla="*/ 24 h 318"/>
                  <a:gd name="T20" fmla="*/ 94 w 320"/>
                  <a:gd name="T21" fmla="*/ 50 h 318"/>
                  <a:gd name="T22" fmla="*/ 128 w 320"/>
                  <a:gd name="T23" fmla="*/ 36 h 318"/>
                  <a:gd name="T24" fmla="*/ 192 w 320"/>
                  <a:gd name="T25" fmla="*/ 0 h 318"/>
                  <a:gd name="T26" fmla="*/ 192 w 320"/>
                  <a:gd name="T27" fmla="*/ 36 h 318"/>
                  <a:gd name="T28" fmla="*/ 224 w 320"/>
                  <a:gd name="T29" fmla="*/ 50 h 318"/>
                  <a:gd name="T30" fmla="*/ 294 w 320"/>
                  <a:gd name="T31" fmla="*/ 68 h 318"/>
                  <a:gd name="T32" fmla="*/ 268 w 320"/>
                  <a:gd name="T33" fmla="*/ 94 h 318"/>
                  <a:gd name="T34" fmla="*/ 282 w 320"/>
                  <a:gd name="T35" fmla="*/ 128 h 318"/>
                  <a:gd name="T36" fmla="*/ 320 w 320"/>
                  <a:gd name="T37" fmla="*/ 190 h 318"/>
                  <a:gd name="T38" fmla="*/ 282 w 320"/>
                  <a:gd name="T39" fmla="*/ 190 h 318"/>
                  <a:gd name="T40" fmla="*/ 268 w 320"/>
                  <a:gd name="T41" fmla="*/ 224 h 318"/>
                  <a:gd name="T42" fmla="*/ 250 w 320"/>
                  <a:gd name="T43" fmla="*/ 294 h 318"/>
                  <a:gd name="T44" fmla="*/ 224 w 320"/>
                  <a:gd name="T45" fmla="*/ 268 h 318"/>
                  <a:gd name="T46" fmla="*/ 192 w 320"/>
                  <a:gd name="T47" fmla="*/ 282 h 318"/>
                  <a:gd name="T48" fmla="*/ 146 w 320"/>
                  <a:gd name="T49" fmla="*/ 300 h 318"/>
                  <a:gd name="T50" fmla="*/ 174 w 320"/>
                  <a:gd name="T51" fmla="*/ 268 h 318"/>
                  <a:gd name="T52" fmla="*/ 180 w 320"/>
                  <a:gd name="T53" fmla="*/ 266 h 318"/>
                  <a:gd name="T54" fmla="*/ 220 w 320"/>
                  <a:gd name="T55" fmla="*/ 250 h 318"/>
                  <a:gd name="T56" fmla="*/ 250 w 320"/>
                  <a:gd name="T57" fmla="*/ 268 h 318"/>
                  <a:gd name="T58" fmla="*/ 246 w 320"/>
                  <a:gd name="T59" fmla="*/ 226 h 318"/>
                  <a:gd name="T60" fmla="*/ 250 w 320"/>
                  <a:gd name="T61" fmla="*/ 220 h 318"/>
                  <a:gd name="T62" fmla="*/ 266 w 320"/>
                  <a:gd name="T63" fmla="*/ 180 h 318"/>
                  <a:gd name="T64" fmla="*/ 302 w 320"/>
                  <a:gd name="T65" fmla="*/ 172 h 318"/>
                  <a:gd name="T66" fmla="*/ 268 w 320"/>
                  <a:gd name="T67" fmla="*/ 146 h 318"/>
                  <a:gd name="T68" fmla="*/ 266 w 320"/>
                  <a:gd name="T69" fmla="*/ 138 h 318"/>
                  <a:gd name="T70" fmla="*/ 250 w 320"/>
                  <a:gd name="T71" fmla="*/ 98 h 318"/>
                  <a:gd name="T72" fmla="*/ 270 w 320"/>
                  <a:gd name="T73" fmla="*/ 68 h 318"/>
                  <a:gd name="T74" fmla="*/ 228 w 320"/>
                  <a:gd name="T75" fmla="*/ 74 h 318"/>
                  <a:gd name="T76" fmla="*/ 220 w 320"/>
                  <a:gd name="T77" fmla="*/ 68 h 318"/>
                  <a:gd name="T78" fmla="*/ 180 w 320"/>
                  <a:gd name="T79" fmla="*/ 52 h 318"/>
                  <a:gd name="T80" fmla="*/ 174 w 320"/>
                  <a:gd name="T81" fmla="*/ 18 h 318"/>
                  <a:gd name="T82" fmla="*/ 146 w 320"/>
                  <a:gd name="T83" fmla="*/ 50 h 318"/>
                  <a:gd name="T84" fmla="*/ 140 w 320"/>
                  <a:gd name="T85" fmla="*/ 52 h 318"/>
                  <a:gd name="T86" fmla="*/ 98 w 320"/>
                  <a:gd name="T87" fmla="*/ 68 h 318"/>
                  <a:gd name="T88" fmla="*/ 70 w 320"/>
                  <a:gd name="T89" fmla="*/ 50 h 318"/>
                  <a:gd name="T90" fmla="*/ 74 w 320"/>
                  <a:gd name="T91" fmla="*/ 92 h 318"/>
                  <a:gd name="T92" fmla="*/ 70 w 320"/>
                  <a:gd name="T93" fmla="*/ 98 h 318"/>
                  <a:gd name="T94" fmla="*/ 52 w 320"/>
                  <a:gd name="T95" fmla="*/ 138 h 318"/>
                  <a:gd name="T96" fmla="*/ 18 w 320"/>
                  <a:gd name="T97" fmla="*/ 146 h 318"/>
                  <a:gd name="T98" fmla="*/ 52 w 320"/>
                  <a:gd name="T99" fmla="*/ 172 h 318"/>
                  <a:gd name="T100" fmla="*/ 52 w 320"/>
                  <a:gd name="T101" fmla="*/ 180 h 318"/>
                  <a:gd name="T102" fmla="*/ 70 w 320"/>
                  <a:gd name="T103" fmla="*/ 220 h 318"/>
                  <a:gd name="T104" fmla="*/ 50 w 320"/>
                  <a:gd name="T105" fmla="*/ 250 h 318"/>
                  <a:gd name="T106" fmla="*/ 92 w 320"/>
                  <a:gd name="T107" fmla="*/ 246 h 318"/>
                  <a:gd name="T108" fmla="*/ 98 w 320"/>
                  <a:gd name="T109" fmla="*/ 250 h 318"/>
                  <a:gd name="T110" fmla="*/ 140 w 320"/>
                  <a:gd name="T111" fmla="*/ 266 h 318"/>
                  <a:gd name="T112" fmla="*/ 146 w 320"/>
                  <a:gd name="T113" fmla="*/ 30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18">
                    <a:moveTo>
                      <a:pt x="192" y="318"/>
                    </a:moveTo>
                    <a:lnTo>
                      <a:pt x="128" y="318"/>
                    </a:lnTo>
                    <a:lnTo>
                      <a:pt x="128" y="282"/>
                    </a:lnTo>
                    <a:lnTo>
                      <a:pt x="128" y="282"/>
                    </a:lnTo>
                    <a:lnTo>
                      <a:pt x="112" y="276"/>
                    </a:lnTo>
                    <a:lnTo>
                      <a:pt x="94" y="268"/>
                    </a:lnTo>
                    <a:lnTo>
                      <a:pt x="70" y="294"/>
                    </a:lnTo>
                    <a:lnTo>
                      <a:pt x="26" y="250"/>
                    </a:lnTo>
                    <a:lnTo>
                      <a:pt x="50" y="224"/>
                    </a:lnTo>
                    <a:lnTo>
                      <a:pt x="50" y="224"/>
                    </a:lnTo>
                    <a:lnTo>
                      <a:pt x="42" y="208"/>
                    </a:lnTo>
                    <a:lnTo>
                      <a:pt x="36" y="190"/>
                    </a:lnTo>
                    <a:lnTo>
                      <a:pt x="0" y="190"/>
                    </a:lnTo>
                    <a:lnTo>
                      <a:pt x="0" y="128"/>
                    </a:lnTo>
                    <a:lnTo>
                      <a:pt x="36" y="128"/>
                    </a:lnTo>
                    <a:lnTo>
                      <a:pt x="36" y="128"/>
                    </a:lnTo>
                    <a:lnTo>
                      <a:pt x="42" y="110"/>
                    </a:lnTo>
                    <a:lnTo>
                      <a:pt x="50" y="94"/>
                    </a:lnTo>
                    <a:lnTo>
                      <a:pt x="26" y="68"/>
                    </a:lnTo>
                    <a:lnTo>
                      <a:pt x="70" y="24"/>
                    </a:lnTo>
                    <a:lnTo>
                      <a:pt x="94" y="50"/>
                    </a:lnTo>
                    <a:lnTo>
                      <a:pt x="94" y="50"/>
                    </a:lnTo>
                    <a:lnTo>
                      <a:pt x="112" y="42"/>
                    </a:lnTo>
                    <a:lnTo>
                      <a:pt x="128" y="36"/>
                    </a:lnTo>
                    <a:lnTo>
                      <a:pt x="128" y="0"/>
                    </a:lnTo>
                    <a:lnTo>
                      <a:pt x="192" y="0"/>
                    </a:lnTo>
                    <a:lnTo>
                      <a:pt x="192" y="36"/>
                    </a:lnTo>
                    <a:lnTo>
                      <a:pt x="192" y="36"/>
                    </a:lnTo>
                    <a:lnTo>
                      <a:pt x="208" y="42"/>
                    </a:lnTo>
                    <a:lnTo>
                      <a:pt x="224" y="50"/>
                    </a:lnTo>
                    <a:lnTo>
                      <a:pt x="250" y="24"/>
                    </a:lnTo>
                    <a:lnTo>
                      <a:pt x="294" y="68"/>
                    </a:lnTo>
                    <a:lnTo>
                      <a:pt x="268" y="94"/>
                    </a:lnTo>
                    <a:lnTo>
                      <a:pt x="268" y="94"/>
                    </a:lnTo>
                    <a:lnTo>
                      <a:pt x="278" y="110"/>
                    </a:lnTo>
                    <a:lnTo>
                      <a:pt x="282" y="128"/>
                    </a:lnTo>
                    <a:lnTo>
                      <a:pt x="320" y="128"/>
                    </a:lnTo>
                    <a:lnTo>
                      <a:pt x="320" y="190"/>
                    </a:lnTo>
                    <a:lnTo>
                      <a:pt x="282" y="190"/>
                    </a:lnTo>
                    <a:lnTo>
                      <a:pt x="282" y="190"/>
                    </a:lnTo>
                    <a:lnTo>
                      <a:pt x="278" y="208"/>
                    </a:lnTo>
                    <a:lnTo>
                      <a:pt x="268" y="224"/>
                    </a:lnTo>
                    <a:lnTo>
                      <a:pt x="294" y="250"/>
                    </a:lnTo>
                    <a:lnTo>
                      <a:pt x="250" y="294"/>
                    </a:lnTo>
                    <a:lnTo>
                      <a:pt x="224" y="268"/>
                    </a:lnTo>
                    <a:lnTo>
                      <a:pt x="224" y="268"/>
                    </a:lnTo>
                    <a:lnTo>
                      <a:pt x="208" y="276"/>
                    </a:lnTo>
                    <a:lnTo>
                      <a:pt x="192" y="282"/>
                    </a:lnTo>
                    <a:lnTo>
                      <a:pt x="192" y="318"/>
                    </a:lnTo>
                    <a:close/>
                    <a:moveTo>
                      <a:pt x="146" y="300"/>
                    </a:moveTo>
                    <a:lnTo>
                      <a:pt x="174" y="300"/>
                    </a:lnTo>
                    <a:lnTo>
                      <a:pt x="174" y="268"/>
                    </a:lnTo>
                    <a:lnTo>
                      <a:pt x="180" y="266"/>
                    </a:lnTo>
                    <a:lnTo>
                      <a:pt x="180" y="266"/>
                    </a:lnTo>
                    <a:lnTo>
                      <a:pt x="202" y="260"/>
                    </a:lnTo>
                    <a:lnTo>
                      <a:pt x="220" y="250"/>
                    </a:lnTo>
                    <a:lnTo>
                      <a:pt x="228" y="246"/>
                    </a:lnTo>
                    <a:lnTo>
                      <a:pt x="250" y="268"/>
                    </a:lnTo>
                    <a:lnTo>
                      <a:pt x="270" y="250"/>
                    </a:lnTo>
                    <a:lnTo>
                      <a:pt x="246" y="226"/>
                    </a:lnTo>
                    <a:lnTo>
                      <a:pt x="250" y="220"/>
                    </a:lnTo>
                    <a:lnTo>
                      <a:pt x="250" y="220"/>
                    </a:lnTo>
                    <a:lnTo>
                      <a:pt x="260" y="200"/>
                    </a:lnTo>
                    <a:lnTo>
                      <a:pt x="266" y="180"/>
                    </a:lnTo>
                    <a:lnTo>
                      <a:pt x="268" y="172"/>
                    </a:lnTo>
                    <a:lnTo>
                      <a:pt x="302" y="172"/>
                    </a:lnTo>
                    <a:lnTo>
                      <a:pt x="302" y="146"/>
                    </a:lnTo>
                    <a:lnTo>
                      <a:pt x="268" y="146"/>
                    </a:lnTo>
                    <a:lnTo>
                      <a:pt x="266" y="138"/>
                    </a:lnTo>
                    <a:lnTo>
                      <a:pt x="266" y="138"/>
                    </a:lnTo>
                    <a:lnTo>
                      <a:pt x="260" y="118"/>
                    </a:lnTo>
                    <a:lnTo>
                      <a:pt x="250" y="98"/>
                    </a:lnTo>
                    <a:lnTo>
                      <a:pt x="246" y="92"/>
                    </a:lnTo>
                    <a:lnTo>
                      <a:pt x="270" y="68"/>
                    </a:lnTo>
                    <a:lnTo>
                      <a:pt x="250" y="50"/>
                    </a:lnTo>
                    <a:lnTo>
                      <a:pt x="228" y="74"/>
                    </a:lnTo>
                    <a:lnTo>
                      <a:pt x="220" y="68"/>
                    </a:lnTo>
                    <a:lnTo>
                      <a:pt x="220" y="68"/>
                    </a:lnTo>
                    <a:lnTo>
                      <a:pt x="202" y="58"/>
                    </a:lnTo>
                    <a:lnTo>
                      <a:pt x="180" y="52"/>
                    </a:lnTo>
                    <a:lnTo>
                      <a:pt x="174" y="50"/>
                    </a:lnTo>
                    <a:lnTo>
                      <a:pt x="174" y="18"/>
                    </a:lnTo>
                    <a:lnTo>
                      <a:pt x="146" y="18"/>
                    </a:lnTo>
                    <a:lnTo>
                      <a:pt x="146" y="50"/>
                    </a:lnTo>
                    <a:lnTo>
                      <a:pt x="140" y="52"/>
                    </a:lnTo>
                    <a:lnTo>
                      <a:pt x="140" y="52"/>
                    </a:lnTo>
                    <a:lnTo>
                      <a:pt x="118" y="58"/>
                    </a:lnTo>
                    <a:lnTo>
                      <a:pt x="98" y="68"/>
                    </a:lnTo>
                    <a:lnTo>
                      <a:pt x="92" y="74"/>
                    </a:lnTo>
                    <a:lnTo>
                      <a:pt x="70" y="50"/>
                    </a:lnTo>
                    <a:lnTo>
                      <a:pt x="50" y="68"/>
                    </a:lnTo>
                    <a:lnTo>
                      <a:pt x="74" y="92"/>
                    </a:lnTo>
                    <a:lnTo>
                      <a:pt x="70" y="98"/>
                    </a:lnTo>
                    <a:lnTo>
                      <a:pt x="70" y="98"/>
                    </a:lnTo>
                    <a:lnTo>
                      <a:pt x="60" y="118"/>
                    </a:lnTo>
                    <a:lnTo>
                      <a:pt x="52" y="138"/>
                    </a:lnTo>
                    <a:lnTo>
                      <a:pt x="52" y="146"/>
                    </a:lnTo>
                    <a:lnTo>
                      <a:pt x="18" y="146"/>
                    </a:lnTo>
                    <a:lnTo>
                      <a:pt x="18" y="172"/>
                    </a:lnTo>
                    <a:lnTo>
                      <a:pt x="52" y="172"/>
                    </a:lnTo>
                    <a:lnTo>
                      <a:pt x="52" y="180"/>
                    </a:lnTo>
                    <a:lnTo>
                      <a:pt x="52" y="180"/>
                    </a:lnTo>
                    <a:lnTo>
                      <a:pt x="60" y="200"/>
                    </a:lnTo>
                    <a:lnTo>
                      <a:pt x="70" y="220"/>
                    </a:lnTo>
                    <a:lnTo>
                      <a:pt x="74" y="226"/>
                    </a:lnTo>
                    <a:lnTo>
                      <a:pt x="50" y="250"/>
                    </a:lnTo>
                    <a:lnTo>
                      <a:pt x="70" y="268"/>
                    </a:lnTo>
                    <a:lnTo>
                      <a:pt x="92" y="246"/>
                    </a:lnTo>
                    <a:lnTo>
                      <a:pt x="98" y="250"/>
                    </a:lnTo>
                    <a:lnTo>
                      <a:pt x="98" y="250"/>
                    </a:lnTo>
                    <a:lnTo>
                      <a:pt x="118" y="260"/>
                    </a:lnTo>
                    <a:lnTo>
                      <a:pt x="140" y="266"/>
                    </a:lnTo>
                    <a:lnTo>
                      <a:pt x="146" y="268"/>
                    </a:lnTo>
                    <a:lnTo>
                      <a:pt x="146" y="30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4" name="Freeform 37">
                <a:extLst>
                  <a:ext uri="{FF2B5EF4-FFF2-40B4-BE49-F238E27FC236}">
                    <a16:creationId xmlns:a16="http://schemas.microsoft.com/office/drawing/2014/main" id="{57773F2E-7B64-5388-B81C-C1341F8BCD98}"/>
                  </a:ext>
                </a:extLst>
              </p:cNvPr>
              <p:cNvSpPr>
                <a:spLocks noEditPoints="1"/>
              </p:cNvSpPr>
              <p:nvPr/>
            </p:nvSpPr>
            <p:spPr bwMode="auto">
              <a:xfrm>
                <a:off x="1392238" y="3624263"/>
                <a:ext cx="273050" cy="269875"/>
              </a:xfrm>
              <a:custGeom>
                <a:avLst/>
                <a:gdLst>
                  <a:gd name="T0" fmla="*/ 86 w 172"/>
                  <a:gd name="T1" fmla="*/ 170 h 170"/>
                  <a:gd name="T2" fmla="*/ 52 w 172"/>
                  <a:gd name="T3" fmla="*/ 164 h 170"/>
                  <a:gd name="T4" fmla="*/ 26 w 172"/>
                  <a:gd name="T5" fmla="*/ 146 h 170"/>
                  <a:gd name="T6" fmla="*/ 8 w 172"/>
                  <a:gd name="T7" fmla="*/ 118 h 170"/>
                  <a:gd name="T8" fmla="*/ 0 w 172"/>
                  <a:gd name="T9" fmla="*/ 86 h 170"/>
                  <a:gd name="T10" fmla="*/ 2 w 172"/>
                  <a:gd name="T11" fmla="*/ 68 h 170"/>
                  <a:gd name="T12" fmla="*/ 16 w 172"/>
                  <a:gd name="T13" fmla="*/ 38 h 170"/>
                  <a:gd name="T14" fmla="*/ 38 w 172"/>
                  <a:gd name="T15" fmla="*/ 14 h 170"/>
                  <a:gd name="T16" fmla="*/ 68 w 172"/>
                  <a:gd name="T17" fmla="*/ 2 h 170"/>
                  <a:gd name="T18" fmla="*/ 86 w 172"/>
                  <a:gd name="T19" fmla="*/ 0 h 170"/>
                  <a:gd name="T20" fmla="*/ 120 w 172"/>
                  <a:gd name="T21" fmla="*/ 6 h 170"/>
                  <a:gd name="T22" fmla="*/ 146 w 172"/>
                  <a:gd name="T23" fmla="*/ 24 h 170"/>
                  <a:gd name="T24" fmla="*/ 164 w 172"/>
                  <a:gd name="T25" fmla="*/ 52 h 170"/>
                  <a:gd name="T26" fmla="*/ 172 w 172"/>
                  <a:gd name="T27" fmla="*/ 86 h 170"/>
                  <a:gd name="T28" fmla="*/ 170 w 172"/>
                  <a:gd name="T29" fmla="*/ 102 h 170"/>
                  <a:gd name="T30" fmla="*/ 156 w 172"/>
                  <a:gd name="T31" fmla="*/ 132 h 170"/>
                  <a:gd name="T32" fmla="*/ 134 w 172"/>
                  <a:gd name="T33" fmla="*/ 156 h 170"/>
                  <a:gd name="T34" fmla="*/ 104 w 172"/>
                  <a:gd name="T35" fmla="*/ 168 h 170"/>
                  <a:gd name="T36" fmla="*/ 86 w 172"/>
                  <a:gd name="T37" fmla="*/ 170 h 170"/>
                  <a:gd name="T38" fmla="*/ 86 w 172"/>
                  <a:gd name="T39" fmla="*/ 18 h 170"/>
                  <a:gd name="T40" fmla="*/ 60 w 172"/>
                  <a:gd name="T41" fmla="*/ 22 h 170"/>
                  <a:gd name="T42" fmla="*/ 38 w 172"/>
                  <a:gd name="T43" fmla="*/ 38 h 170"/>
                  <a:gd name="T44" fmla="*/ 24 w 172"/>
                  <a:gd name="T45" fmla="*/ 58 h 170"/>
                  <a:gd name="T46" fmla="*/ 18 w 172"/>
                  <a:gd name="T47" fmla="*/ 86 h 170"/>
                  <a:gd name="T48" fmla="*/ 20 w 172"/>
                  <a:gd name="T49" fmla="*/ 98 h 170"/>
                  <a:gd name="T50" fmla="*/ 30 w 172"/>
                  <a:gd name="T51" fmla="*/ 122 h 170"/>
                  <a:gd name="T52" fmla="*/ 48 w 172"/>
                  <a:gd name="T53" fmla="*/ 142 h 170"/>
                  <a:gd name="T54" fmla="*/ 72 w 172"/>
                  <a:gd name="T55" fmla="*/ 152 h 170"/>
                  <a:gd name="T56" fmla="*/ 86 w 172"/>
                  <a:gd name="T57" fmla="*/ 152 h 170"/>
                  <a:gd name="T58" fmla="*/ 112 w 172"/>
                  <a:gd name="T59" fmla="*/ 148 h 170"/>
                  <a:gd name="T60" fmla="*/ 134 w 172"/>
                  <a:gd name="T61" fmla="*/ 132 h 170"/>
                  <a:gd name="T62" fmla="*/ 148 w 172"/>
                  <a:gd name="T63" fmla="*/ 112 h 170"/>
                  <a:gd name="T64" fmla="*/ 154 w 172"/>
                  <a:gd name="T65" fmla="*/ 86 h 170"/>
                  <a:gd name="T66" fmla="*/ 152 w 172"/>
                  <a:gd name="T67" fmla="*/ 72 h 170"/>
                  <a:gd name="T68" fmla="*/ 142 w 172"/>
                  <a:gd name="T69" fmla="*/ 48 h 170"/>
                  <a:gd name="T70" fmla="*/ 124 w 172"/>
                  <a:gd name="T71" fmla="*/ 30 h 170"/>
                  <a:gd name="T72" fmla="*/ 100 w 172"/>
                  <a:gd name="T73" fmla="*/ 20 h 170"/>
                  <a:gd name="T74" fmla="*/ 86 w 172"/>
                  <a:gd name="T75" fmla="*/ 1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0">
                    <a:moveTo>
                      <a:pt x="86" y="170"/>
                    </a:moveTo>
                    <a:lnTo>
                      <a:pt x="86" y="170"/>
                    </a:lnTo>
                    <a:lnTo>
                      <a:pt x="68" y="168"/>
                    </a:lnTo>
                    <a:lnTo>
                      <a:pt x="52" y="164"/>
                    </a:lnTo>
                    <a:lnTo>
                      <a:pt x="38" y="156"/>
                    </a:lnTo>
                    <a:lnTo>
                      <a:pt x="26" y="146"/>
                    </a:lnTo>
                    <a:lnTo>
                      <a:pt x="16" y="132"/>
                    </a:lnTo>
                    <a:lnTo>
                      <a:pt x="8" y="118"/>
                    </a:lnTo>
                    <a:lnTo>
                      <a:pt x="2" y="102"/>
                    </a:lnTo>
                    <a:lnTo>
                      <a:pt x="0" y="86"/>
                    </a:lnTo>
                    <a:lnTo>
                      <a:pt x="0" y="86"/>
                    </a:lnTo>
                    <a:lnTo>
                      <a:pt x="2" y="68"/>
                    </a:lnTo>
                    <a:lnTo>
                      <a:pt x="8" y="52"/>
                    </a:lnTo>
                    <a:lnTo>
                      <a:pt x="16" y="38"/>
                    </a:lnTo>
                    <a:lnTo>
                      <a:pt x="26" y="24"/>
                    </a:lnTo>
                    <a:lnTo>
                      <a:pt x="38" y="14"/>
                    </a:lnTo>
                    <a:lnTo>
                      <a:pt x="52" y="6"/>
                    </a:lnTo>
                    <a:lnTo>
                      <a:pt x="68" y="2"/>
                    </a:lnTo>
                    <a:lnTo>
                      <a:pt x="86" y="0"/>
                    </a:lnTo>
                    <a:lnTo>
                      <a:pt x="86" y="0"/>
                    </a:lnTo>
                    <a:lnTo>
                      <a:pt x="104" y="2"/>
                    </a:lnTo>
                    <a:lnTo>
                      <a:pt x="120" y="6"/>
                    </a:lnTo>
                    <a:lnTo>
                      <a:pt x="134" y="14"/>
                    </a:lnTo>
                    <a:lnTo>
                      <a:pt x="146" y="24"/>
                    </a:lnTo>
                    <a:lnTo>
                      <a:pt x="156" y="38"/>
                    </a:lnTo>
                    <a:lnTo>
                      <a:pt x="164" y="52"/>
                    </a:lnTo>
                    <a:lnTo>
                      <a:pt x="170" y="68"/>
                    </a:lnTo>
                    <a:lnTo>
                      <a:pt x="172" y="86"/>
                    </a:lnTo>
                    <a:lnTo>
                      <a:pt x="172" y="86"/>
                    </a:lnTo>
                    <a:lnTo>
                      <a:pt x="170" y="102"/>
                    </a:lnTo>
                    <a:lnTo>
                      <a:pt x="164" y="118"/>
                    </a:lnTo>
                    <a:lnTo>
                      <a:pt x="156" y="132"/>
                    </a:lnTo>
                    <a:lnTo>
                      <a:pt x="146" y="146"/>
                    </a:lnTo>
                    <a:lnTo>
                      <a:pt x="134" y="156"/>
                    </a:lnTo>
                    <a:lnTo>
                      <a:pt x="120" y="164"/>
                    </a:lnTo>
                    <a:lnTo>
                      <a:pt x="104" y="168"/>
                    </a:lnTo>
                    <a:lnTo>
                      <a:pt x="86" y="170"/>
                    </a:lnTo>
                    <a:lnTo>
                      <a:pt x="86" y="170"/>
                    </a:lnTo>
                    <a:close/>
                    <a:moveTo>
                      <a:pt x="86" y="18"/>
                    </a:moveTo>
                    <a:lnTo>
                      <a:pt x="86" y="18"/>
                    </a:lnTo>
                    <a:lnTo>
                      <a:pt x="72" y="20"/>
                    </a:lnTo>
                    <a:lnTo>
                      <a:pt x="60" y="22"/>
                    </a:lnTo>
                    <a:lnTo>
                      <a:pt x="48" y="30"/>
                    </a:lnTo>
                    <a:lnTo>
                      <a:pt x="38" y="38"/>
                    </a:lnTo>
                    <a:lnTo>
                      <a:pt x="30" y="48"/>
                    </a:lnTo>
                    <a:lnTo>
                      <a:pt x="24" y="58"/>
                    </a:lnTo>
                    <a:lnTo>
                      <a:pt x="20" y="72"/>
                    </a:lnTo>
                    <a:lnTo>
                      <a:pt x="18" y="86"/>
                    </a:lnTo>
                    <a:lnTo>
                      <a:pt x="18" y="86"/>
                    </a:lnTo>
                    <a:lnTo>
                      <a:pt x="20" y="98"/>
                    </a:lnTo>
                    <a:lnTo>
                      <a:pt x="24" y="112"/>
                    </a:lnTo>
                    <a:lnTo>
                      <a:pt x="30" y="122"/>
                    </a:lnTo>
                    <a:lnTo>
                      <a:pt x="38" y="132"/>
                    </a:lnTo>
                    <a:lnTo>
                      <a:pt x="48" y="142"/>
                    </a:lnTo>
                    <a:lnTo>
                      <a:pt x="60" y="148"/>
                    </a:lnTo>
                    <a:lnTo>
                      <a:pt x="72" y="152"/>
                    </a:lnTo>
                    <a:lnTo>
                      <a:pt x="86" y="152"/>
                    </a:lnTo>
                    <a:lnTo>
                      <a:pt x="86" y="152"/>
                    </a:lnTo>
                    <a:lnTo>
                      <a:pt x="100" y="152"/>
                    </a:lnTo>
                    <a:lnTo>
                      <a:pt x="112" y="148"/>
                    </a:lnTo>
                    <a:lnTo>
                      <a:pt x="124" y="142"/>
                    </a:lnTo>
                    <a:lnTo>
                      <a:pt x="134" y="132"/>
                    </a:lnTo>
                    <a:lnTo>
                      <a:pt x="142" y="122"/>
                    </a:lnTo>
                    <a:lnTo>
                      <a:pt x="148" y="112"/>
                    </a:lnTo>
                    <a:lnTo>
                      <a:pt x="152" y="98"/>
                    </a:lnTo>
                    <a:lnTo>
                      <a:pt x="154" y="86"/>
                    </a:lnTo>
                    <a:lnTo>
                      <a:pt x="154" y="86"/>
                    </a:lnTo>
                    <a:lnTo>
                      <a:pt x="152" y="72"/>
                    </a:lnTo>
                    <a:lnTo>
                      <a:pt x="148" y="58"/>
                    </a:lnTo>
                    <a:lnTo>
                      <a:pt x="142" y="48"/>
                    </a:lnTo>
                    <a:lnTo>
                      <a:pt x="134" y="38"/>
                    </a:lnTo>
                    <a:lnTo>
                      <a:pt x="124" y="30"/>
                    </a:lnTo>
                    <a:lnTo>
                      <a:pt x="112" y="22"/>
                    </a:lnTo>
                    <a:lnTo>
                      <a:pt x="100" y="20"/>
                    </a:lnTo>
                    <a:lnTo>
                      <a:pt x="86" y="18"/>
                    </a:lnTo>
                    <a:lnTo>
                      <a:pt x="86"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5" name="Freeform 38">
                <a:extLst>
                  <a:ext uri="{FF2B5EF4-FFF2-40B4-BE49-F238E27FC236}">
                    <a16:creationId xmlns:a16="http://schemas.microsoft.com/office/drawing/2014/main" id="{F5D02E91-B36C-62CA-69A0-C569526C9996}"/>
                  </a:ext>
                </a:extLst>
              </p:cNvPr>
              <p:cNvSpPr>
                <a:spLocks noEditPoints="1"/>
              </p:cNvSpPr>
              <p:nvPr/>
            </p:nvSpPr>
            <p:spPr bwMode="auto">
              <a:xfrm>
                <a:off x="938213" y="3157538"/>
                <a:ext cx="1181100" cy="180975"/>
              </a:xfrm>
              <a:custGeom>
                <a:avLst/>
                <a:gdLst>
                  <a:gd name="T0" fmla="*/ 744 w 744"/>
                  <a:gd name="T1" fmla="*/ 114 h 114"/>
                  <a:gd name="T2" fmla="*/ 0 w 744"/>
                  <a:gd name="T3" fmla="*/ 114 h 114"/>
                  <a:gd name="T4" fmla="*/ 0 w 744"/>
                  <a:gd name="T5" fmla="*/ 0 h 114"/>
                  <a:gd name="T6" fmla="*/ 744 w 744"/>
                  <a:gd name="T7" fmla="*/ 0 h 114"/>
                  <a:gd name="T8" fmla="*/ 744 w 744"/>
                  <a:gd name="T9" fmla="*/ 114 h 114"/>
                  <a:gd name="T10" fmla="*/ 18 w 744"/>
                  <a:gd name="T11" fmla="*/ 96 h 114"/>
                  <a:gd name="T12" fmla="*/ 726 w 744"/>
                  <a:gd name="T13" fmla="*/ 96 h 114"/>
                  <a:gd name="T14" fmla="*/ 726 w 744"/>
                  <a:gd name="T15" fmla="*/ 18 h 114"/>
                  <a:gd name="T16" fmla="*/ 18 w 744"/>
                  <a:gd name="T17" fmla="*/ 18 h 114"/>
                  <a:gd name="T18" fmla="*/ 18 w 744"/>
                  <a:gd name="T19"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114">
                    <a:moveTo>
                      <a:pt x="744" y="114"/>
                    </a:moveTo>
                    <a:lnTo>
                      <a:pt x="0" y="114"/>
                    </a:lnTo>
                    <a:lnTo>
                      <a:pt x="0" y="0"/>
                    </a:lnTo>
                    <a:lnTo>
                      <a:pt x="744" y="0"/>
                    </a:lnTo>
                    <a:lnTo>
                      <a:pt x="744" y="114"/>
                    </a:lnTo>
                    <a:close/>
                    <a:moveTo>
                      <a:pt x="18" y="96"/>
                    </a:moveTo>
                    <a:lnTo>
                      <a:pt x="726" y="96"/>
                    </a:lnTo>
                    <a:lnTo>
                      <a:pt x="726" y="18"/>
                    </a:lnTo>
                    <a:lnTo>
                      <a:pt x="18" y="18"/>
                    </a:lnTo>
                    <a:lnTo>
                      <a:pt x="18" y="9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6" name="Rectangle 39">
                <a:extLst>
                  <a:ext uri="{FF2B5EF4-FFF2-40B4-BE49-F238E27FC236}">
                    <a16:creationId xmlns:a16="http://schemas.microsoft.com/office/drawing/2014/main" id="{05CB517D-DDA3-60CB-25C8-39DB0ABE1710}"/>
                  </a:ext>
                </a:extLst>
              </p:cNvPr>
              <p:cNvSpPr>
                <a:spLocks noChangeArrowheads="1"/>
              </p:cNvSpPr>
              <p:nvPr/>
            </p:nvSpPr>
            <p:spPr bwMode="auto">
              <a:xfrm>
                <a:off x="1998663" y="3233738"/>
                <a:ext cx="381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7" name="Rectangle 40">
                <a:extLst>
                  <a:ext uri="{FF2B5EF4-FFF2-40B4-BE49-F238E27FC236}">
                    <a16:creationId xmlns:a16="http://schemas.microsoft.com/office/drawing/2014/main" id="{46787B38-C171-F792-F0B5-7492A80F407C}"/>
                  </a:ext>
                </a:extLst>
              </p:cNvPr>
              <p:cNvSpPr>
                <a:spLocks noChangeArrowheads="1"/>
              </p:cNvSpPr>
              <p:nvPr/>
            </p:nvSpPr>
            <p:spPr bwMode="auto">
              <a:xfrm>
                <a:off x="1925638" y="3233738"/>
                <a:ext cx="381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8" name="Rectangle 41">
                <a:extLst>
                  <a:ext uri="{FF2B5EF4-FFF2-40B4-BE49-F238E27FC236}">
                    <a16:creationId xmlns:a16="http://schemas.microsoft.com/office/drawing/2014/main" id="{532AE9DA-8A05-D1FA-42F5-D70F9FD5F25D}"/>
                  </a:ext>
                </a:extLst>
              </p:cNvPr>
              <p:cNvSpPr>
                <a:spLocks noChangeArrowheads="1"/>
              </p:cNvSpPr>
              <p:nvPr/>
            </p:nvSpPr>
            <p:spPr bwMode="auto">
              <a:xfrm>
                <a:off x="1852613" y="3233738"/>
                <a:ext cx="381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99" name="Freeform 42">
                <a:extLst>
                  <a:ext uri="{FF2B5EF4-FFF2-40B4-BE49-F238E27FC236}">
                    <a16:creationId xmlns:a16="http://schemas.microsoft.com/office/drawing/2014/main" id="{47B18D37-AD30-0EE7-E0AD-C2788762556D}"/>
                  </a:ext>
                </a:extLst>
              </p:cNvPr>
              <p:cNvSpPr>
                <a:spLocks noEditPoints="1"/>
              </p:cNvSpPr>
              <p:nvPr/>
            </p:nvSpPr>
            <p:spPr bwMode="auto">
              <a:xfrm>
                <a:off x="1020763" y="3382963"/>
                <a:ext cx="1016000" cy="752475"/>
              </a:xfrm>
              <a:custGeom>
                <a:avLst/>
                <a:gdLst>
                  <a:gd name="T0" fmla="*/ 640 w 640"/>
                  <a:gd name="T1" fmla="*/ 474 h 474"/>
                  <a:gd name="T2" fmla="*/ 0 w 640"/>
                  <a:gd name="T3" fmla="*/ 474 h 474"/>
                  <a:gd name="T4" fmla="*/ 0 w 640"/>
                  <a:gd name="T5" fmla="*/ 0 h 474"/>
                  <a:gd name="T6" fmla="*/ 640 w 640"/>
                  <a:gd name="T7" fmla="*/ 0 h 474"/>
                  <a:gd name="T8" fmla="*/ 640 w 640"/>
                  <a:gd name="T9" fmla="*/ 474 h 474"/>
                  <a:gd name="T10" fmla="*/ 18 w 640"/>
                  <a:gd name="T11" fmla="*/ 456 h 474"/>
                  <a:gd name="T12" fmla="*/ 622 w 640"/>
                  <a:gd name="T13" fmla="*/ 456 h 474"/>
                  <a:gd name="T14" fmla="*/ 622 w 640"/>
                  <a:gd name="T15" fmla="*/ 18 h 474"/>
                  <a:gd name="T16" fmla="*/ 18 w 640"/>
                  <a:gd name="T17" fmla="*/ 18 h 474"/>
                  <a:gd name="T18" fmla="*/ 18 w 640"/>
                  <a:gd name="T19" fmla="*/ 456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74">
                    <a:moveTo>
                      <a:pt x="640" y="474"/>
                    </a:moveTo>
                    <a:lnTo>
                      <a:pt x="0" y="474"/>
                    </a:lnTo>
                    <a:lnTo>
                      <a:pt x="0" y="0"/>
                    </a:lnTo>
                    <a:lnTo>
                      <a:pt x="640" y="0"/>
                    </a:lnTo>
                    <a:lnTo>
                      <a:pt x="640" y="474"/>
                    </a:lnTo>
                    <a:close/>
                    <a:moveTo>
                      <a:pt x="18" y="456"/>
                    </a:moveTo>
                    <a:lnTo>
                      <a:pt x="622" y="456"/>
                    </a:lnTo>
                    <a:lnTo>
                      <a:pt x="622" y="18"/>
                    </a:lnTo>
                    <a:lnTo>
                      <a:pt x="18" y="18"/>
                    </a:lnTo>
                    <a:lnTo>
                      <a:pt x="18" y="4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00" name="Rectangle 43">
                <a:extLst>
                  <a:ext uri="{FF2B5EF4-FFF2-40B4-BE49-F238E27FC236}">
                    <a16:creationId xmlns:a16="http://schemas.microsoft.com/office/drawing/2014/main" id="{9F89B65B-1A8F-730C-4F73-88C6CE63CA23}"/>
                  </a:ext>
                </a:extLst>
              </p:cNvPr>
              <p:cNvSpPr>
                <a:spLocks noChangeArrowheads="1"/>
              </p:cNvSpPr>
              <p:nvPr/>
            </p:nvSpPr>
            <p:spPr bwMode="auto">
              <a:xfrm>
                <a:off x="1020763" y="3233738"/>
                <a:ext cx="7270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01" name="Freeform 44">
                <a:extLst>
                  <a:ext uri="{FF2B5EF4-FFF2-40B4-BE49-F238E27FC236}">
                    <a16:creationId xmlns:a16="http://schemas.microsoft.com/office/drawing/2014/main" id="{5593A4C1-2DAA-55DC-C57B-BA95BAF492C4}"/>
                  </a:ext>
                </a:extLst>
              </p:cNvPr>
              <p:cNvSpPr>
                <a:spLocks noEditPoints="1"/>
              </p:cNvSpPr>
              <p:nvPr/>
            </p:nvSpPr>
            <p:spPr bwMode="auto">
              <a:xfrm>
                <a:off x="938213" y="3309938"/>
                <a:ext cx="1181100" cy="901700"/>
              </a:xfrm>
              <a:custGeom>
                <a:avLst/>
                <a:gdLst>
                  <a:gd name="T0" fmla="*/ 744 w 744"/>
                  <a:gd name="T1" fmla="*/ 568 h 568"/>
                  <a:gd name="T2" fmla="*/ 0 w 744"/>
                  <a:gd name="T3" fmla="*/ 568 h 568"/>
                  <a:gd name="T4" fmla="*/ 0 w 744"/>
                  <a:gd name="T5" fmla="*/ 0 h 568"/>
                  <a:gd name="T6" fmla="*/ 744 w 744"/>
                  <a:gd name="T7" fmla="*/ 0 h 568"/>
                  <a:gd name="T8" fmla="*/ 744 w 744"/>
                  <a:gd name="T9" fmla="*/ 568 h 568"/>
                  <a:gd name="T10" fmla="*/ 18 w 744"/>
                  <a:gd name="T11" fmla="*/ 550 h 568"/>
                  <a:gd name="T12" fmla="*/ 726 w 744"/>
                  <a:gd name="T13" fmla="*/ 550 h 568"/>
                  <a:gd name="T14" fmla="*/ 726 w 744"/>
                  <a:gd name="T15" fmla="*/ 18 h 568"/>
                  <a:gd name="T16" fmla="*/ 18 w 744"/>
                  <a:gd name="T17" fmla="*/ 18 h 568"/>
                  <a:gd name="T18" fmla="*/ 18 w 744"/>
                  <a:gd name="T19" fmla="*/ 55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68">
                    <a:moveTo>
                      <a:pt x="744" y="568"/>
                    </a:moveTo>
                    <a:lnTo>
                      <a:pt x="0" y="568"/>
                    </a:lnTo>
                    <a:lnTo>
                      <a:pt x="0" y="0"/>
                    </a:lnTo>
                    <a:lnTo>
                      <a:pt x="744" y="0"/>
                    </a:lnTo>
                    <a:lnTo>
                      <a:pt x="744" y="568"/>
                    </a:lnTo>
                    <a:close/>
                    <a:moveTo>
                      <a:pt x="18" y="550"/>
                    </a:moveTo>
                    <a:lnTo>
                      <a:pt x="726" y="550"/>
                    </a:lnTo>
                    <a:lnTo>
                      <a:pt x="726" y="18"/>
                    </a:lnTo>
                    <a:lnTo>
                      <a:pt x="18" y="18"/>
                    </a:lnTo>
                    <a:lnTo>
                      <a:pt x="18" y="55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grpSp>
        <p:grpSp>
          <p:nvGrpSpPr>
            <p:cNvPr id="213" name="Group 108">
              <a:extLst>
                <a:ext uri="{FF2B5EF4-FFF2-40B4-BE49-F238E27FC236}">
                  <a16:creationId xmlns:a16="http://schemas.microsoft.com/office/drawing/2014/main" id="{CCD6E137-7348-8328-221E-00C8BC8DA1F5}"/>
                </a:ext>
              </a:extLst>
            </p:cNvPr>
            <p:cNvGrpSpPr>
              <a:grpSpLocks noChangeAspect="1"/>
            </p:cNvGrpSpPr>
            <p:nvPr/>
          </p:nvGrpSpPr>
          <p:grpSpPr bwMode="auto">
            <a:xfrm>
              <a:off x="2666749" y="2686669"/>
              <a:ext cx="463472" cy="430628"/>
              <a:chOff x="3164" y="3022"/>
              <a:chExt cx="762" cy="708"/>
            </a:xfrm>
            <a:solidFill>
              <a:schemeClr val="bg1"/>
            </a:solidFill>
          </p:grpSpPr>
          <p:sp>
            <p:nvSpPr>
              <p:cNvPr id="214" name="Freeform 109">
                <a:extLst>
                  <a:ext uri="{FF2B5EF4-FFF2-40B4-BE49-F238E27FC236}">
                    <a16:creationId xmlns:a16="http://schemas.microsoft.com/office/drawing/2014/main" id="{E90719A0-FA05-C55D-C153-FA8A847763C5}"/>
                  </a:ext>
                </a:extLst>
              </p:cNvPr>
              <p:cNvSpPr>
                <a:spLocks noEditPoints="1"/>
              </p:cNvSpPr>
              <p:nvPr/>
            </p:nvSpPr>
            <p:spPr bwMode="auto">
              <a:xfrm>
                <a:off x="3164" y="3022"/>
                <a:ext cx="762" cy="506"/>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10">
                <a:extLst>
                  <a:ext uri="{FF2B5EF4-FFF2-40B4-BE49-F238E27FC236}">
                    <a16:creationId xmlns:a16="http://schemas.microsoft.com/office/drawing/2014/main" id="{AA7DDD2E-FB2A-9CC1-AE26-80365E57584B}"/>
                  </a:ext>
                </a:extLst>
              </p:cNvPr>
              <p:cNvSpPr>
                <a:spLocks noEditPoints="1"/>
              </p:cNvSpPr>
              <p:nvPr/>
            </p:nvSpPr>
            <p:spPr bwMode="auto">
              <a:xfrm>
                <a:off x="3164" y="3510"/>
                <a:ext cx="762" cy="116"/>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111">
                <a:extLst>
                  <a:ext uri="{FF2B5EF4-FFF2-40B4-BE49-F238E27FC236}">
                    <a16:creationId xmlns:a16="http://schemas.microsoft.com/office/drawing/2014/main" id="{51921614-978F-7B3F-00F9-F7BD81C4904F}"/>
                  </a:ext>
                </a:extLst>
              </p:cNvPr>
              <p:cNvSpPr>
                <a:spLocks noChangeArrowheads="1"/>
              </p:cNvSpPr>
              <p:nvPr/>
            </p:nvSpPr>
            <p:spPr bwMode="auto">
              <a:xfrm>
                <a:off x="3500" y="3554"/>
                <a:ext cx="9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12">
                <a:extLst>
                  <a:ext uri="{FF2B5EF4-FFF2-40B4-BE49-F238E27FC236}">
                    <a16:creationId xmlns:a16="http://schemas.microsoft.com/office/drawing/2014/main" id="{9C0F74FF-72DF-3EA6-0DF9-C8CDD455B750}"/>
                  </a:ext>
                </a:extLst>
              </p:cNvPr>
              <p:cNvSpPr>
                <a:spLocks noEditPoints="1"/>
              </p:cNvSpPr>
              <p:nvPr/>
            </p:nvSpPr>
            <p:spPr bwMode="auto">
              <a:xfrm>
                <a:off x="3434" y="3608"/>
                <a:ext cx="222" cy="122"/>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13">
                <a:extLst>
                  <a:ext uri="{FF2B5EF4-FFF2-40B4-BE49-F238E27FC236}">
                    <a16:creationId xmlns:a16="http://schemas.microsoft.com/office/drawing/2014/main" id="{B2E6C697-D6C6-BD58-D0D7-41286482209F}"/>
                  </a:ext>
                </a:extLst>
              </p:cNvPr>
              <p:cNvSpPr>
                <a:spLocks noChangeArrowheads="1"/>
              </p:cNvSpPr>
              <p:nvPr/>
            </p:nvSpPr>
            <p:spPr bwMode="auto">
              <a:xfrm>
                <a:off x="3352" y="37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14">
                <a:extLst>
                  <a:ext uri="{FF2B5EF4-FFF2-40B4-BE49-F238E27FC236}">
                    <a16:creationId xmlns:a16="http://schemas.microsoft.com/office/drawing/2014/main" id="{6F104DBB-60D8-1EB8-9B3F-8C1D4650DA14}"/>
                  </a:ext>
                </a:extLst>
              </p:cNvPr>
              <p:cNvSpPr>
                <a:spLocks noEditPoints="1"/>
              </p:cNvSpPr>
              <p:nvPr/>
            </p:nvSpPr>
            <p:spPr bwMode="auto">
              <a:xfrm>
                <a:off x="3224"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15">
                <a:extLst>
                  <a:ext uri="{FF2B5EF4-FFF2-40B4-BE49-F238E27FC236}">
                    <a16:creationId xmlns:a16="http://schemas.microsoft.com/office/drawing/2014/main" id="{6155A1F7-8D23-0DDE-C665-84BE0CE5CE45}"/>
                  </a:ext>
                </a:extLst>
              </p:cNvPr>
              <p:cNvSpPr>
                <a:spLocks noEditPoints="1"/>
              </p:cNvSpPr>
              <p:nvPr/>
            </p:nvSpPr>
            <p:spPr bwMode="auto">
              <a:xfrm>
                <a:off x="3430"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116">
                <a:extLst>
                  <a:ext uri="{FF2B5EF4-FFF2-40B4-BE49-F238E27FC236}">
                    <a16:creationId xmlns:a16="http://schemas.microsoft.com/office/drawing/2014/main" id="{B5802E05-C1A0-3EAA-F65A-CDC528851158}"/>
                  </a:ext>
                </a:extLst>
              </p:cNvPr>
              <p:cNvSpPr>
                <a:spLocks noChangeArrowheads="1"/>
              </p:cNvSpPr>
              <p:nvPr/>
            </p:nvSpPr>
            <p:spPr bwMode="auto">
              <a:xfrm>
                <a:off x="3636" y="3088"/>
                <a:ext cx="2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117">
                <a:extLst>
                  <a:ext uri="{FF2B5EF4-FFF2-40B4-BE49-F238E27FC236}">
                    <a16:creationId xmlns:a16="http://schemas.microsoft.com/office/drawing/2014/main" id="{0011E11C-907E-21AC-A56E-1834380145E6}"/>
                  </a:ext>
                </a:extLst>
              </p:cNvPr>
              <p:cNvSpPr>
                <a:spLocks noChangeArrowheads="1"/>
              </p:cNvSpPr>
              <p:nvPr/>
            </p:nvSpPr>
            <p:spPr bwMode="auto">
              <a:xfrm>
                <a:off x="3236" y="3440"/>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118">
                <a:extLst>
                  <a:ext uri="{FF2B5EF4-FFF2-40B4-BE49-F238E27FC236}">
                    <a16:creationId xmlns:a16="http://schemas.microsoft.com/office/drawing/2014/main" id="{43904844-4483-5193-1FD8-20D4BE777C36}"/>
                  </a:ext>
                </a:extLst>
              </p:cNvPr>
              <p:cNvSpPr>
                <a:spLocks noChangeArrowheads="1"/>
              </p:cNvSpPr>
              <p:nvPr/>
            </p:nvSpPr>
            <p:spPr bwMode="auto">
              <a:xfrm>
                <a:off x="3284" y="3422"/>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119">
                <a:extLst>
                  <a:ext uri="{FF2B5EF4-FFF2-40B4-BE49-F238E27FC236}">
                    <a16:creationId xmlns:a16="http://schemas.microsoft.com/office/drawing/2014/main" id="{440FBBEE-82BA-E718-DA86-F01010127CAE}"/>
                  </a:ext>
                </a:extLst>
              </p:cNvPr>
              <p:cNvSpPr>
                <a:spLocks noChangeArrowheads="1"/>
              </p:cNvSpPr>
              <p:nvPr/>
            </p:nvSpPr>
            <p:spPr bwMode="auto">
              <a:xfrm>
                <a:off x="3330" y="3374"/>
                <a:ext cx="18"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120">
                <a:extLst>
                  <a:ext uri="{FF2B5EF4-FFF2-40B4-BE49-F238E27FC236}">
                    <a16:creationId xmlns:a16="http://schemas.microsoft.com/office/drawing/2014/main" id="{0A040590-0A22-339F-81F5-C91DABE613D7}"/>
                  </a:ext>
                </a:extLst>
              </p:cNvPr>
              <p:cNvSpPr>
                <a:spLocks noChangeArrowheads="1"/>
              </p:cNvSpPr>
              <p:nvPr/>
            </p:nvSpPr>
            <p:spPr bwMode="auto">
              <a:xfrm>
                <a:off x="337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Rectangle 121">
                <a:extLst>
                  <a:ext uri="{FF2B5EF4-FFF2-40B4-BE49-F238E27FC236}">
                    <a16:creationId xmlns:a16="http://schemas.microsoft.com/office/drawing/2014/main" id="{BE7EA770-20E8-CB28-3552-620A0DEAEB60}"/>
                  </a:ext>
                </a:extLst>
              </p:cNvPr>
              <p:cNvSpPr>
                <a:spLocks noChangeArrowheads="1"/>
              </p:cNvSpPr>
              <p:nvPr/>
            </p:nvSpPr>
            <p:spPr bwMode="auto">
              <a:xfrm>
                <a:off x="3422"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122">
                <a:extLst>
                  <a:ext uri="{FF2B5EF4-FFF2-40B4-BE49-F238E27FC236}">
                    <a16:creationId xmlns:a16="http://schemas.microsoft.com/office/drawing/2014/main" id="{A430992E-E275-2E60-8CD6-C70B73DA6145}"/>
                  </a:ext>
                </a:extLst>
              </p:cNvPr>
              <p:cNvSpPr>
                <a:spLocks noChangeArrowheads="1"/>
              </p:cNvSpPr>
              <p:nvPr/>
            </p:nvSpPr>
            <p:spPr bwMode="auto">
              <a:xfrm>
                <a:off x="3468"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Rectangle 123">
                <a:extLst>
                  <a:ext uri="{FF2B5EF4-FFF2-40B4-BE49-F238E27FC236}">
                    <a16:creationId xmlns:a16="http://schemas.microsoft.com/office/drawing/2014/main" id="{2527746B-B897-B925-A8B2-29C0B52F3A82}"/>
                  </a:ext>
                </a:extLst>
              </p:cNvPr>
              <p:cNvSpPr>
                <a:spLocks noChangeArrowheads="1"/>
              </p:cNvSpPr>
              <p:nvPr/>
            </p:nvSpPr>
            <p:spPr bwMode="auto">
              <a:xfrm>
                <a:off x="3514" y="3332"/>
                <a:ext cx="18"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Rectangle 124">
                <a:extLst>
                  <a:ext uri="{FF2B5EF4-FFF2-40B4-BE49-F238E27FC236}">
                    <a16:creationId xmlns:a16="http://schemas.microsoft.com/office/drawing/2014/main" id="{CF52CCCB-7CA3-B168-3A1B-D744A141C7B1}"/>
                  </a:ext>
                </a:extLst>
              </p:cNvPr>
              <p:cNvSpPr>
                <a:spLocks noChangeArrowheads="1"/>
              </p:cNvSpPr>
              <p:nvPr/>
            </p:nvSpPr>
            <p:spPr bwMode="auto">
              <a:xfrm>
                <a:off x="3560" y="3370"/>
                <a:ext cx="18"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125">
                <a:extLst>
                  <a:ext uri="{FF2B5EF4-FFF2-40B4-BE49-F238E27FC236}">
                    <a16:creationId xmlns:a16="http://schemas.microsoft.com/office/drawing/2014/main" id="{47D88D68-32A5-2B1C-38B6-2D2B325FFB25}"/>
                  </a:ext>
                </a:extLst>
              </p:cNvPr>
              <p:cNvSpPr>
                <a:spLocks noChangeArrowheads="1"/>
              </p:cNvSpPr>
              <p:nvPr/>
            </p:nvSpPr>
            <p:spPr bwMode="auto">
              <a:xfrm>
                <a:off x="3606"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126">
                <a:extLst>
                  <a:ext uri="{FF2B5EF4-FFF2-40B4-BE49-F238E27FC236}">
                    <a16:creationId xmlns:a16="http://schemas.microsoft.com/office/drawing/2014/main" id="{235DB1B5-D762-065B-CE04-BA3E683F0079}"/>
                  </a:ext>
                </a:extLst>
              </p:cNvPr>
              <p:cNvSpPr>
                <a:spLocks noChangeArrowheads="1"/>
              </p:cNvSpPr>
              <p:nvPr/>
            </p:nvSpPr>
            <p:spPr bwMode="auto">
              <a:xfrm>
                <a:off x="3652"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127">
                <a:extLst>
                  <a:ext uri="{FF2B5EF4-FFF2-40B4-BE49-F238E27FC236}">
                    <a16:creationId xmlns:a16="http://schemas.microsoft.com/office/drawing/2014/main" id="{2F5B5E63-5AD3-80DA-1E70-A252B9851074}"/>
                  </a:ext>
                </a:extLst>
              </p:cNvPr>
              <p:cNvSpPr>
                <a:spLocks noChangeArrowheads="1"/>
              </p:cNvSpPr>
              <p:nvPr/>
            </p:nvSpPr>
            <p:spPr bwMode="auto">
              <a:xfrm>
                <a:off x="3698" y="3380"/>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128">
                <a:extLst>
                  <a:ext uri="{FF2B5EF4-FFF2-40B4-BE49-F238E27FC236}">
                    <a16:creationId xmlns:a16="http://schemas.microsoft.com/office/drawing/2014/main" id="{7D4CBC53-69A0-ADE4-4773-1F55DF4A6F0B}"/>
                  </a:ext>
                </a:extLst>
              </p:cNvPr>
              <p:cNvSpPr>
                <a:spLocks noChangeArrowheads="1"/>
              </p:cNvSpPr>
              <p:nvPr/>
            </p:nvSpPr>
            <p:spPr bwMode="auto">
              <a:xfrm>
                <a:off x="3744" y="3274"/>
                <a:ext cx="18" cy="1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129">
                <a:extLst>
                  <a:ext uri="{FF2B5EF4-FFF2-40B4-BE49-F238E27FC236}">
                    <a16:creationId xmlns:a16="http://schemas.microsoft.com/office/drawing/2014/main" id="{A4BD9460-71A7-F07B-7736-DEA57DFFAD33}"/>
                  </a:ext>
                </a:extLst>
              </p:cNvPr>
              <p:cNvSpPr>
                <a:spLocks noChangeArrowheads="1"/>
              </p:cNvSpPr>
              <p:nvPr/>
            </p:nvSpPr>
            <p:spPr bwMode="auto">
              <a:xfrm>
                <a:off x="3790"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130">
                <a:extLst>
                  <a:ext uri="{FF2B5EF4-FFF2-40B4-BE49-F238E27FC236}">
                    <a16:creationId xmlns:a16="http://schemas.microsoft.com/office/drawing/2014/main" id="{3EA8642C-3398-5426-43CF-0D4506B15742}"/>
                  </a:ext>
                </a:extLst>
              </p:cNvPr>
              <p:cNvSpPr>
                <a:spLocks noChangeArrowheads="1"/>
              </p:cNvSpPr>
              <p:nvPr/>
            </p:nvSpPr>
            <p:spPr bwMode="auto">
              <a:xfrm>
                <a:off x="383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31">
                <a:extLst>
                  <a:ext uri="{FF2B5EF4-FFF2-40B4-BE49-F238E27FC236}">
                    <a16:creationId xmlns:a16="http://schemas.microsoft.com/office/drawing/2014/main" id="{5DAC9752-5F74-3BE6-95C1-7FE58759F22E}"/>
                  </a:ext>
                </a:extLst>
              </p:cNvPr>
              <p:cNvSpPr>
                <a:spLocks/>
              </p:cNvSpPr>
              <p:nvPr/>
            </p:nvSpPr>
            <p:spPr bwMode="auto">
              <a:xfrm>
                <a:off x="3224" y="3222"/>
                <a:ext cx="630" cy="192"/>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7" name="Group 185">
              <a:extLst>
                <a:ext uri="{FF2B5EF4-FFF2-40B4-BE49-F238E27FC236}">
                  <a16:creationId xmlns:a16="http://schemas.microsoft.com/office/drawing/2014/main" id="{450E3985-7E2A-A79A-D20A-F76123148CD3}"/>
                </a:ext>
              </a:extLst>
            </p:cNvPr>
            <p:cNvGrpSpPr>
              <a:grpSpLocks noChangeAspect="1"/>
            </p:cNvGrpSpPr>
            <p:nvPr/>
          </p:nvGrpSpPr>
          <p:grpSpPr bwMode="auto">
            <a:xfrm>
              <a:off x="3842652" y="4517109"/>
              <a:ext cx="457490" cy="405206"/>
              <a:chOff x="609" y="3064"/>
              <a:chExt cx="700" cy="620"/>
            </a:xfrm>
            <a:solidFill>
              <a:schemeClr val="bg1"/>
            </a:solidFill>
          </p:grpSpPr>
          <p:sp>
            <p:nvSpPr>
              <p:cNvPr id="238" name="Freeform 186">
                <a:extLst>
                  <a:ext uri="{FF2B5EF4-FFF2-40B4-BE49-F238E27FC236}">
                    <a16:creationId xmlns:a16="http://schemas.microsoft.com/office/drawing/2014/main" id="{C4125E14-D483-7E84-B458-B3903C2B5CD8}"/>
                  </a:ext>
                </a:extLst>
              </p:cNvPr>
              <p:cNvSpPr>
                <a:spLocks/>
              </p:cNvSpPr>
              <p:nvPr/>
            </p:nvSpPr>
            <p:spPr bwMode="auto">
              <a:xfrm>
                <a:off x="609" y="3064"/>
                <a:ext cx="394" cy="500"/>
              </a:xfrm>
              <a:custGeom>
                <a:avLst/>
                <a:gdLst>
                  <a:gd name="T0" fmla="*/ 394 w 394"/>
                  <a:gd name="T1" fmla="*/ 500 h 500"/>
                  <a:gd name="T2" fmla="*/ 300 w 394"/>
                  <a:gd name="T3" fmla="*/ 500 h 500"/>
                  <a:gd name="T4" fmla="*/ 300 w 394"/>
                  <a:gd name="T5" fmla="*/ 482 h 500"/>
                  <a:gd name="T6" fmla="*/ 376 w 394"/>
                  <a:gd name="T7" fmla="*/ 482 h 500"/>
                  <a:gd name="T8" fmla="*/ 376 w 394"/>
                  <a:gd name="T9" fmla="*/ 102 h 500"/>
                  <a:gd name="T10" fmla="*/ 290 w 394"/>
                  <a:gd name="T11" fmla="*/ 18 h 500"/>
                  <a:gd name="T12" fmla="*/ 18 w 394"/>
                  <a:gd name="T13" fmla="*/ 18 h 500"/>
                  <a:gd name="T14" fmla="*/ 18 w 394"/>
                  <a:gd name="T15" fmla="*/ 482 h 500"/>
                  <a:gd name="T16" fmla="*/ 190 w 394"/>
                  <a:gd name="T17" fmla="*/ 482 h 500"/>
                  <a:gd name="T18" fmla="*/ 190 w 394"/>
                  <a:gd name="T19" fmla="*/ 500 h 500"/>
                  <a:gd name="T20" fmla="*/ 0 w 394"/>
                  <a:gd name="T21" fmla="*/ 500 h 500"/>
                  <a:gd name="T22" fmla="*/ 0 w 394"/>
                  <a:gd name="T23" fmla="*/ 0 h 500"/>
                  <a:gd name="T24" fmla="*/ 296 w 394"/>
                  <a:gd name="T25" fmla="*/ 0 h 500"/>
                  <a:gd name="T26" fmla="*/ 394 w 394"/>
                  <a:gd name="T27" fmla="*/ 94 h 500"/>
                  <a:gd name="T28" fmla="*/ 394 w 394"/>
                  <a:gd name="T29"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4" h="500">
                    <a:moveTo>
                      <a:pt x="394" y="500"/>
                    </a:moveTo>
                    <a:lnTo>
                      <a:pt x="300" y="500"/>
                    </a:lnTo>
                    <a:lnTo>
                      <a:pt x="300" y="482"/>
                    </a:lnTo>
                    <a:lnTo>
                      <a:pt x="376" y="482"/>
                    </a:lnTo>
                    <a:lnTo>
                      <a:pt x="376" y="102"/>
                    </a:lnTo>
                    <a:lnTo>
                      <a:pt x="290" y="18"/>
                    </a:lnTo>
                    <a:lnTo>
                      <a:pt x="18" y="18"/>
                    </a:lnTo>
                    <a:lnTo>
                      <a:pt x="18" y="482"/>
                    </a:lnTo>
                    <a:lnTo>
                      <a:pt x="190" y="482"/>
                    </a:lnTo>
                    <a:lnTo>
                      <a:pt x="190" y="500"/>
                    </a:lnTo>
                    <a:lnTo>
                      <a:pt x="0" y="500"/>
                    </a:lnTo>
                    <a:lnTo>
                      <a:pt x="0" y="0"/>
                    </a:lnTo>
                    <a:lnTo>
                      <a:pt x="296" y="0"/>
                    </a:lnTo>
                    <a:lnTo>
                      <a:pt x="394" y="94"/>
                    </a:lnTo>
                    <a:lnTo>
                      <a:pt x="394"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87">
                <a:extLst>
                  <a:ext uri="{FF2B5EF4-FFF2-40B4-BE49-F238E27FC236}">
                    <a16:creationId xmlns:a16="http://schemas.microsoft.com/office/drawing/2014/main" id="{7A47FA05-05C9-2D09-EF92-3C972093B91F}"/>
                  </a:ext>
                </a:extLst>
              </p:cNvPr>
              <p:cNvSpPr>
                <a:spLocks/>
              </p:cNvSpPr>
              <p:nvPr/>
            </p:nvSpPr>
            <p:spPr bwMode="auto">
              <a:xfrm>
                <a:off x="865" y="3506"/>
                <a:ext cx="66" cy="98"/>
              </a:xfrm>
              <a:custGeom>
                <a:avLst/>
                <a:gdLst>
                  <a:gd name="T0" fmla="*/ 54 w 66"/>
                  <a:gd name="T1" fmla="*/ 98 h 98"/>
                  <a:gd name="T2" fmla="*/ 0 w 66"/>
                  <a:gd name="T3" fmla="*/ 48 h 98"/>
                  <a:gd name="T4" fmla="*/ 54 w 66"/>
                  <a:gd name="T5" fmla="*/ 0 h 98"/>
                  <a:gd name="T6" fmla="*/ 66 w 66"/>
                  <a:gd name="T7" fmla="*/ 14 h 98"/>
                  <a:gd name="T8" fmla="*/ 28 w 66"/>
                  <a:gd name="T9" fmla="*/ 48 h 98"/>
                  <a:gd name="T10" fmla="*/ 66 w 66"/>
                  <a:gd name="T11" fmla="*/ 84 h 98"/>
                  <a:gd name="T12" fmla="*/ 54 w 66"/>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66" h="98">
                    <a:moveTo>
                      <a:pt x="54" y="98"/>
                    </a:moveTo>
                    <a:lnTo>
                      <a:pt x="0" y="48"/>
                    </a:lnTo>
                    <a:lnTo>
                      <a:pt x="54" y="0"/>
                    </a:lnTo>
                    <a:lnTo>
                      <a:pt x="66" y="14"/>
                    </a:lnTo>
                    <a:lnTo>
                      <a:pt x="28" y="48"/>
                    </a:lnTo>
                    <a:lnTo>
                      <a:pt x="66" y="84"/>
                    </a:lnTo>
                    <a:lnTo>
                      <a:pt x="54"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188">
                <a:extLst>
                  <a:ext uri="{FF2B5EF4-FFF2-40B4-BE49-F238E27FC236}">
                    <a16:creationId xmlns:a16="http://schemas.microsoft.com/office/drawing/2014/main" id="{4603D128-51DE-A829-479D-4F600CA454A9}"/>
                  </a:ext>
                </a:extLst>
              </p:cNvPr>
              <p:cNvSpPr>
                <a:spLocks noChangeArrowheads="1"/>
              </p:cNvSpPr>
              <p:nvPr/>
            </p:nvSpPr>
            <p:spPr bwMode="auto">
              <a:xfrm>
                <a:off x="895" y="3666"/>
                <a:ext cx="24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89">
                <a:extLst>
                  <a:ext uri="{FF2B5EF4-FFF2-40B4-BE49-F238E27FC236}">
                    <a16:creationId xmlns:a16="http://schemas.microsoft.com/office/drawing/2014/main" id="{9E58E9C1-8DCF-063A-8FE5-C0370C222BF9}"/>
                  </a:ext>
                </a:extLst>
              </p:cNvPr>
              <p:cNvSpPr>
                <a:spLocks/>
              </p:cNvSpPr>
              <p:nvPr/>
            </p:nvSpPr>
            <p:spPr bwMode="auto">
              <a:xfrm>
                <a:off x="1125" y="3646"/>
                <a:ext cx="94" cy="38"/>
              </a:xfrm>
              <a:custGeom>
                <a:avLst/>
                <a:gdLst>
                  <a:gd name="T0" fmla="*/ 94 w 94"/>
                  <a:gd name="T1" fmla="*/ 38 h 38"/>
                  <a:gd name="T2" fmla="*/ 0 w 94"/>
                  <a:gd name="T3" fmla="*/ 38 h 38"/>
                  <a:gd name="T4" fmla="*/ 0 w 94"/>
                  <a:gd name="T5" fmla="*/ 20 h 38"/>
                  <a:gd name="T6" fmla="*/ 76 w 94"/>
                  <a:gd name="T7" fmla="*/ 20 h 38"/>
                  <a:gd name="T8" fmla="*/ 76 w 94"/>
                  <a:gd name="T9" fmla="*/ 0 h 38"/>
                  <a:gd name="T10" fmla="*/ 94 w 94"/>
                  <a:gd name="T11" fmla="*/ 0 h 38"/>
                  <a:gd name="T12" fmla="*/ 94 w 9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94" h="38">
                    <a:moveTo>
                      <a:pt x="94" y="38"/>
                    </a:moveTo>
                    <a:lnTo>
                      <a:pt x="0" y="38"/>
                    </a:lnTo>
                    <a:lnTo>
                      <a:pt x="0" y="20"/>
                    </a:lnTo>
                    <a:lnTo>
                      <a:pt x="76" y="20"/>
                    </a:lnTo>
                    <a:lnTo>
                      <a:pt x="76" y="0"/>
                    </a:lnTo>
                    <a:lnTo>
                      <a:pt x="94" y="0"/>
                    </a:lnTo>
                    <a:lnTo>
                      <a:pt x="9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90">
                <a:extLst>
                  <a:ext uri="{FF2B5EF4-FFF2-40B4-BE49-F238E27FC236}">
                    <a16:creationId xmlns:a16="http://schemas.microsoft.com/office/drawing/2014/main" id="{10CFB8DD-FD35-6893-F0C7-E262193D1DFD}"/>
                  </a:ext>
                </a:extLst>
              </p:cNvPr>
              <p:cNvSpPr>
                <a:spLocks/>
              </p:cNvSpPr>
              <p:nvPr/>
            </p:nvSpPr>
            <p:spPr bwMode="auto">
              <a:xfrm>
                <a:off x="1001" y="3186"/>
                <a:ext cx="218" cy="300"/>
              </a:xfrm>
              <a:custGeom>
                <a:avLst/>
                <a:gdLst>
                  <a:gd name="T0" fmla="*/ 218 w 218"/>
                  <a:gd name="T1" fmla="*/ 300 h 300"/>
                  <a:gd name="T2" fmla="*/ 200 w 218"/>
                  <a:gd name="T3" fmla="*/ 300 h 300"/>
                  <a:gd name="T4" fmla="*/ 200 w 218"/>
                  <a:gd name="T5" fmla="*/ 102 h 300"/>
                  <a:gd name="T6" fmla="*/ 114 w 218"/>
                  <a:gd name="T7" fmla="*/ 18 h 300"/>
                  <a:gd name="T8" fmla="*/ 0 w 218"/>
                  <a:gd name="T9" fmla="*/ 18 h 300"/>
                  <a:gd name="T10" fmla="*/ 0 w 218"/>
                  <a:gd name="T11" fmla="*/ 0 h 300"/>
                  <a:gd name="T12" fmla="*/ 120 w 218"/>
                  <a:gd name="T13" fmla="*/ 0 h 300"/>
                  <a:gd name="T14" fmla="*/ 218 w 218"/>
                  <a:gd name="T15" fmla="*/ 94 h 300"/>
                  <a:gd name="T16" fmla="*/ 218 w 218"/>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00">
                    <a:moveTo>
                      <a:pt x="218" y="300"/>
                    </a:moveTo>
                    <a:lnTo>
                      <a:pt x="200" y="300"/>
                    </a:lnTo>
                    <a:lnTo>
                      <a:pt x="200" y="102"/>
                    </a:lnTo>
                    <a:lnTo>
                      <a:pt x="114" y="18"/>
                    </a:lnTo>
                    <a:lnTo>
                      <a:pt x="0" y="18"/>
                    </a:lnTo>
                    <a:lnTo>
                      <a:pt x="0" y="0"/>
                    </a:lnTo>
                    <a:lnTo>
                      <a:pt x="120" y="0"/>
                    </a:lnTo>
                    <a:lnTo>
                      <a:pt x="218" y="94"/>
                    </a:lnTo>
                    <a:lnTo>
                      <a:pt x="218"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91">
                <a:extLst>
                  <a:ext uri="{FF2B5EF4-FFF2-40B4-BE49-F238E27FC236}">
                    <a16:creationId xmlns:a16="http://schemas.microsoft.com/office/drawing/2014/main" id="{9FD87BE9-025D-867E-435C-7C887BDD2AB2}"/>
                  </a:ext>
                </a:extLst>
              </p:cNvPr>
              <p:cNvSpPr>
                <a:spLocks/>
              </p:cNvSpPr>
              <p:nvPr/>
            </p:nvSpPr>
            <p:spPr bwMode="auto">
              <a:xfrm>
                <a:off x="813" y="3210"/>
                <a:ext cx="100" cy="474"/>
              </a:xfrm>
              <a:custGeom>
                <a:avLst/>
                <a:gdLst>
                  <a:gd name="T0" fmla="*/ 100 w 100"/>
                  <a:gd name="T1" fmla="*/ 474 h 474"/>
                  <a:gd name="T2" fmla="*/ 0 w 100"/>
                  <a:gd name="T3" fmla="*/ 474 h 474"/>
                  <a:gd name="T4" fmla="*/ 0 w 100"/>
                  <a:gd name="T5" fmla="*/ 0 h 474"/>
                  <a:gd name="T6" fmla="*/ 82 w 100"/>
                  <a:gd name="T7" fmla="*/ 0 h 474"/>
                  <a:gd name="T8" fmla="*/ 82 w 100"/>
                  <a:gd name="T9" fmla="*/ 18 h 474"/>
                  <a:gd name="T10" fmla="*/ 18 w 100"/>
                  <a:gd name="T11" fmla="*/ 18 h 474"/>
                  <a:gd name="T12" fmla="*/ 18 w 100"/>
                  <a:gd name="T13" fmla="*/ 456 h 474"/>
                  <a:gd name="T14" fmla="*/ 100 w 100"/>
                  <a:gd name="T15" fmla="*/ 456 h 474"/>
                  <a:gd name="T16" fmla="*/ 100 w 100"/>
                  <a:gd name="T17"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74">
                    <a:moveTo>
                      <a:pt x="100" y="474"/>
                    </a:moveTo>
                    <a:lnTo>
                      <a:pt x="0" y="474"/>
                    </a:lnTo>
                    <a:lnTo>
                      <a:pt x="0" y="0"/>
                    </a:lnTo>
                    <a:lnTo>
                      <a:pt x="82" y="0"/>
                    </a:lnTo>
                    <a:lnTo>
                      <a:pt x="82" y="18"/>
                    </a:lnTo>
                    <a:lnTo>
                      <a:pt x="18" y="18"/>
                    </a:lnTo>
                    <a:lnTo>
                      <a:pt x="18" y="456"/>
                    </a:lnTo>
                    <a:lnTo>
                      <a:pt x="100" y="456"/>
                    </a:lnTo>
                    <a:lnTo>
                      <a:pt x="10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92">
                <a:extLst>
                  <a:ext uri="{FF2B5EF4-FFF2-40B4-BE49-F238E27FC236}">
                    <a16:creationId xmlns:a16="http://schemas.microsoft.com/office/drawing/2014/main" id="{502FF012-C32F-4531-8AA6-DE53938B24A9}"/>
                  </a:ext>
                </a:extLst>
              </p:cNvPr>
              <p:cNvSpPr>
                <a:spLocks/>
              </p:cNvSpPr>
              <p:nvPr/>
            </p:nvSpPr>
            <p:spPr bwMode="auto">
              <a:xfrm>
                <a:off x="875" y="3172"/>
                <a:ext cx="60" cy="94"/>
              </a:xfrm>
              <a:custGeom>
                <a:avLst/>
                <a:gdLst>
                  <a:gd name="T0" fmla="*/ 12 w 60"/>
                  <a:gd name="T1" fmla="*/ 94 h 94"/>
                  <a:gd name="T2" fmla="*/ 0 w 60"/>
                  <a:gd name="T3" fmla="*/ 80 h 94"/>
                  <a:gd name="T4" fmla="*/ 34 w 60"/>
                  <a:gd name="T5" fmla="*/ 46 h 94"/>
                  <a:gd name="T6" fmla="*/ 0 w 60"/>
                  <a:gd name="T7" fmla="*/ 12 h 94"/>
                  <a:gd name="T8" fmla="*/ 12 w 60"/>
                  <a:gd name="T9" fmla="*/ 0 h 94"/>
                  <a:gd name="T10" fmla="*/ 60 w 60"/>
                  <a:gd name="T11" fmla="*/ 46 h 94"/>
                  <a:gd name="T12" fmla="*/ 12 w 60"/>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60" h="94">
                    <a:moveTo>
                      <a:pt x="12" y="94"/>
                    </a:moveTo>
                    <a:lnTo>
                      <a:pt x="0" y="80"/>
                    </a:lnTo>
                    <a:lnTo>
                      <a:pt x="34" y="46"/>
                    </a:lnTo>
                    <a:lnTo>
                      <a:pt x="0" y="12"/>
                    </a:lnTo>
                    <a:lnTo>
                      <a:pt x="12" y="0"/>
                    </a:lnTo>
                    <a:lnTo>
                      <a:pt x="60" y="46"/>
                    </a:lnTo>
                    <a:lnTo>
                      <a:pt x="1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193">
                <a:extLst>
                  <a:ext uri="{FF2B5EF4-FFF2-40B4-BE49-F238E27FC236}">
                    <a16:creationId xmlns:a16="http://schemas.microsoft.com/office/drawing/2014/main" id="{32733EB8-5EA2-ACF7-5397-214A8ADC3F4F}"/>
                  </a:ext>
                </a:extLst>
              </p:cNvPr>
              <p:cNvSpPr>
                <a:spLocks noChangeArrowheads="1"/>
              </p:cNvSpPr>
              <p:nvPr/>
            </p:nvSpPr>
            <p:spPr bwMode="auto">
              <a:xfrm>
                <a:off x="665" y="3248"/>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194">
                <a:extLst>
                  <a:ext uri="{FF2B5EF4-FFF2-40B4-BE49-F238E27FC236}">
                    <a16:creationId xmlns:a16="http://schemas.microsoft.com/office/drawing/2014/main" id="{F29C3A57-B400-1D1B-C99D-481A7EFE9AA5}"/>
                  </a:ext>
                </a:extLst>
              </p:cNvPr>
              <p:cNvSpPr>
                <a:spLocks noChangeArrowheads="1"/>
              </p:cNvSpPr>
              <p:nvPr/>
            </p:nvSpPr>
            <p:spPr bwMode="auto">
              <a:xfrm>
                <a:off x="665" y="3286"/>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95">
                <a:extLst>
                  <a:ext uri="{FF2B5EF4-FFF2-40B4-BE49-F238E27FC236}">
                    <a16:creationId xmlns:a16="http://schemas.microsoft.com/office/drawing/2014/main" id="{33B27BAC-A96B-D444-34EA-E25CADFC4922}"/>
                  </a:ext>
                </a:extLst>
              </p:cNvPr>
              <p:cNvSpPr>
                <a:spLocks noChangeArrowheads="1"/>
              </p:cNvSpPr>
              <p:nvPr/>
            </p:nvSpPr>
            <p:spPr bwMode="auto">
              <a:xfrm>
                <a:off x="665" y="3344"/>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196">
                <a:extLst>
                  <a:ext uri="{FF2B5EF4-FFF2-40B4-BE49-F238E27FC236}">
                    <a16:creationId xmlns:a16="http://schemas.microsoft.com/office/drawing/2014/main" id="{0FC90EF0-FCE1-0EBA-2693-5BB4A95CA4C4}"/>
                  </a:ext>
                </a:extLst>
              </p:cNvPr>
              <p:cNvSpPr>
                <a:spLocks noChangeArrowheads="1"/>
              </p:cNvSpPr>
              <p:nvPr/>
            </p:nvSpPr>
            <p:spPr bwMode="auto">
              <a:xfrm>
                <a:off x="665" y="3382"/>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197">
                <a:extLst>
                  <a:ext uri="{FF2B5EF4-FFF2-40B4-BE49-F238E27FC236}">
                    <a16:creationId xmlns:a16="http://schemas.microsoft.com/office/drawing/2014/main" id="{CD807E34-2A6D-EFE4-3B2E-7D60B915F0CB}"/>
                  </a:ext>
                </a:extLst>
              </p:cNvPr>
              <p:cNvSpPr>
                <a:spLocks noChangeArrowheads="1"/>
              </p:cNvSpPr>
              <p:nvPr/>
            </p:nvSpPr>
            <p:spPr bwMode="auto">
              <a:xfrm>
                <a:off x="1047" y="3376"/>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98">
                <a:extLst>
                  <a:ext uri="{FF2B5EF4-FFF2-40B4-BE49-F238E27FC236}">
                    <a16:creationId xmlns:a16="http://schemas.microsoft.com/office/drawing/2014/main" id="{FEEA63E0-09EE-8FB8-BD41-F9DCE0A24C9C}"/>
                  </a:ext>
                </a:extLst>
              </p:cNvPr>
              <p:cNvSpPr>
                <a:spLocks noChangeArrowheads="1"/>
              </p:cNvSpPr>
              <p:nvPr/>
            </p:nvSpPr>
            <p:spPr bwMode="auto">
              <a:xfrm>
                <a:off x="1047" y="3414"/>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99">
                <a:extLst>
                  <a:ext uri="{FF2B5EF4-FFF2-40B4-BE49-F238E27FC236}">
                    <a16:creationId xmlns:a16="http://schemas.microsoft.com/office/drawing/2014/main" id="{D10BCCEF-37F8-E89F-D156-4724508D08FA}"/>
                  </a:ext>
                </a:extLst>
              </p:cNvPr>
              <p:cNvSpPr>
                <a:spLocks/>
              </p:cNvSpPr>
              <p:nvPr/>
            </p:nvSpPr>
            <p:spPr bwMode="auto">
              <a:xfrm>
                <a:off x="1177" y="3516"/>
                <a:ext cx="132" cy="128"/>
              </a:xfrm>
              <a:custGeom>
                <a:avLst/>
                <a:gdLst>
                  <a:gd name="T0" fmla="*/ 40 w 132"/>
                  <a:gd name="T1" fmla="*/ 128 h 128"/>
                  <a:gd name="T2" fmla="*/ 0 w 132"/>
                  <a:gd name="T3" fmla="*/ 88 h 128"/>
                  <a:gd name="T4" fmla="*/ 78 w 132"/>
                  <a:gd name="T5" fmla="*/ 88 h 128"/>
                  <a:gd name="T6" fmla="*/ 78 w 132"/>
                  <a:gd name="T7" fmla="*/ 88 h 128"/>
                  <a:gd name="T8" fmla="*/ 84 w 132"/>
                  <a:gd name="T9" fmla="*/ 88 h 128"/>
                  <a:gd name="T10" fmla="*/ 92 w 132"/>
                  <a:gd name="T11" fmla="*/ 86 h 128"/>
                  <a:gd name="T12" fmla="*/ 98 w 132"/>
                  <a:gd name="T13" fmla="*/ 82 h 128"/>
                  <a:gd name="T14" fmla="*/ 102 w 132"/>
                  <a:gd name="T15" fmla="*/ 78 h 128"/>
                  <a:gd name="T16" fmla="*/ 108 w 132"/>
                  <a:gd name="T17" fmla="*/ 72 h 128"/>
                  <a:gd name="T18" fmla="*/ 110 w 132"/>
                  <a:gd name="T19" fmla="*/ 66 h 128"/>
                  <a:gd name="T20" fmla="*/ 112 w 132"/>
                  <a:gd name="T21" fmla="*/ 60 h 128"/>
                  <a:gd name="T22" fmla="*/ 114 w 132"/>
                  <a:gd name="T23" fmla="*/ 54 h 128"/>
                  <a:gd name="T24" fmla="*/ 114 w 132"/>
                  <a:gd name="T25" fmla="*/ 54 h 128"/>
                  <a:gd name="T26" fmla="*/ 112 w 132"/>
                  <a:gd name="T27" fmla="*/ 46 h 128"/>
                  <a:gd name="T28" fmla="*/ 110 w 132"/>
                  <a:gd name="T29" fmla="*/ 40 h 128"/>
                  <a:gd name="T30" fmla="*/ 108 w 132"/>
                  <a:gd name="T31" fmla="*/ 34 h 128"/>
                  <a:gd name="T32" fmla="*/ 102 w 132"/>
                  <a:gd name="T33" fmla="*/ 28 h 128"/>
                  <a:gd name="T34" fmla="*/ 98 w 132"/>
                  <a:gd name="T35" fmla="*/ 24 h 128"/>
                  <a:gd name="T36" fmla="*/ 92 w 132"/>
                  <a:gd name="T37" fmla="*/ 20 h 128"/>
                  <a:gd name="T38" fmla="*/ 84 w 132"/>
                  <a:gd name="T39" fmla="*/ 18 h 128"/>
                  <a:gd name="T40" fmla="*/ 78 w 132"/>
                  <a:gd name="T41" fmla="*/ 18 h 128"/>
                  <a:gd name="T42" fmla="*/ 68 w 132"/>
                  <a:gd name="T43" fmla="*/ 18 h 128"/>
                  <a:gd name="T44" fmla="*/ 68 w 132"/>
                  <a:gd name="T45" fmla="*/ 0 h 128"/>
                  <a:gd name="T46" fmla="*/ 78 w 132"/>
                  <a:gd name="T47" fmla="*/ 0 h 128"/>
                  <a:gd name="T48" fmla="*/ 78 w 132"/>
                  <a:gd name="T49" fmla="*/ 0 h 128"/>
                  <a:gd name="T50" fmla="*/ 88 w 132"/>
                  <a:gd name="T51" fmla="*/ 0 h 128"/>
                  <a:gd name="T52" fmla="*/ 98 w 132"/>
                  <a:gd name="T53" fmla="*/ 4 h 128"/>
                  <a:gd name="T54" fmla="*/ 108 w 132"/>
                  <a:gd name="T55" fmla="*/ 8 h 128"/>
                  <a:gd name="T56" fmla="*/ 116 w 132"/>
                  <a:gd name="T57" fmla="*/ 16 h 128"/>
                  <a:gd name="T58" fmla="*/ 122 w 132"/>
                  <a:gd name="T59" fmla="*/ 24 h 128"/>
                  <a:gd name="T60" fmla="*/ 126 w 132"/>
                  <a:gd name="T61" fmla="*/ 32 h 128"/>
                  <a:gd name="T62" fmla="*/ 130 w 132"/>
                  <a:gd name="T63" fmla="*/ 42 h 128"/>
                  <a:gd name="T64" fmla="*/ 132 w 132"/>
                  <a:gd name="T65" fmla="*/ 54 h 128"/>
                  <a:gd name="T66" fmla="*/ 132 w 132"/>
                  <a:gd name="T67" fmla="*/ 54 h 128"/>
                  <a:gd name="T68" fmla="*/ 130 w 132"/>
                  <a:gd name="T69" fmla="*/ 64 h 128"/>
                  <a:gd name="T70" fmla="*/ 126 w 132"/>
                  <a:gd name="T71" fmla="*/ 74 h 128"/>
                  <a:gd name="T72" fmla="*/ 122 w 132"/>
                  <a:gd name="T73" fmla="*/ 84 h 128"/>
                  <a:gd name="T74" fmla="*/ 116 w 132"/>
                  <a:gd name="T75" fmla="*/ 90 h 128"/>
                  <a:gd name="T76" fmla="*/ 108 w 132"/>
                  <a:gd name="T77" fmla="*/ 98 h 128"/>
                  <a:gd name="T78" fmla="*/ 98 w 132"/>
                  <a:gd name="T79" fmla="*/ 102 h 128"/>
                  <a:gd name="T80" fmla="*/ 88 w 132"/>
                  <a:gd name="T81" fmla="*/ 106 h 128"/>
                  <a:gd name="T82" fmla="*/ 78 w 132"/>
                  <a:gd name="T83" fmla="*/ 106 h 128"/>
                  <a:gd name="T84" fmla="*/ 44 w 132"/>
                  <a:gd name="T85" fmla="*/ 106 h 128"/>
                  <a:gd name="T86" fmla="*/ 52 w 132"/>
                  <a:gd name="T87" fmla="*/ 116 h 128"/>
                  <a:gd name="T88" fmla="*/ 40 w 132"/>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8">
                    <a:moveTo>
                      <a:pt x="40" y="128"/>
                    </a:moveTo>
                    <a:lnTo>
                      <a:pt x="0" y="88"/>
                    </a:lnTo>
                    <a:lnTo>
                      <a:pt x="78" y="88"/>
                    </a:lnTo>
                    <a:lnTo>
                      <a:pt x="78" y="88"/>
                    </a:lnTo>
                    <a:lnTo>
                      <a:pt x="84" y="88"/>
                    </a:lnTo>
                    <a:lnTo>
                      <a:pt x="92" y="86"/>
                    </a:lnTo>
                    <a:lnTo>
                      <a:pt x="98" y="82"/>
                    </a:lnTo>
                    <a:lnTo>
                      <a:pt x="102" y="78"/>
                    </a:lnTo>
                    <a:lnTo>
                      <a:pt x="108" y="72"/>
                    </a:lnTo>
                    <a:lnTo>
                      <a:pt x="110" y="66"/>
                    </a:lnTo>
                    <a:lnTo>
                      <a:pt x="112" y="60"/>
                    </a:lnTo>
                    <a:lnTo>
                      <a:pt x="114" y="54"/>
                    </a:lnTo>
                    <a:lnTo>
                      <a:pt x="114" y="54"/>
                    </a:lnTo>
                    <a:lnTo>
                      <a:pt x="112" y="46"/>
                    </a:lnTo>
                    <a:lnTo>
                      <a:pt x="110" y="40"/>
                    </a:lnTo>
                    <a:lnTo>
                      <a:pt x="108" y="34"/>
                    </a:lnTo>
                    <a:lnTo>
                      <a:pt x="102" y="28"/>
                    </a:lnTo>
                    <a:lnTo>
                      <a:pt x="98" y="24"/>
                    </a:lnTo>
                    <a:lnTo>
                      <a:pt x="92" y="20"/>
                    </a:lnTo>
                    <a:lnTo>
                      <a:pt x="84" y="18"/>
                    </a:lnTo>
                    <a:lnTo>
                      <a:pt x="78" y="18"/>
                    </a:lnTo>
                    <a:lnTo>
                      <a:pt x="68" y="18"/>
                    </a:lnTo>
                    <a:lnTo>
                      <a:pt x="68" y="0"/>
                    </a:lnTo>
                    <a:lnTo>
                      <a:pt x="78" y="0"/>
                    </a:lnTo>
                    <a:lnTo>
                      <a:pt x="78" y="0"/>
                    </a:lnTo>
                    <a:lnTo>
                      <a:pt x="88" y="0"/>
                    </a:lnTo>
                    <a:lnTo>
                      <a:pt x="98" y="4"/>
                    </a:lnTo>
                    <a:lnTo>
                      <a:pt x="108" y="8"/>
                    </a:lnTo>
                    <a:lnTo>
                      <a:pt x="116" y="16"/>
                    </a:lnTo>
                    <a:lnTo>
                      <a:pt x="122" y="24"/>
                    </a:lnTo>
                    <a:lnTo>
                      <a:pt x="126" y="32"/>
                    </a:lnTo>
                    <a:lnTo>
                      <a:pt x="130" y="42"/>
                    </a:lnTo>
                    <a:lnTo>
                      <a:pt x="132" y="54"/>
                    </a:lnTo>
                    <a:lnTo>
                      <a:pt x="132" y="54"/>
                    </a:lnTo>
                    <a:lnTo>
                      <a:pt x="130" y="64"/>
                    </a:lnTo>
                    <a:lnTo>
                      <a:pt x="126" y="74"/>
                    </a:lnTo>
                    <a:lnTo>
                      <a:pt x="122" y="84"/>
                    </a:lnTo>
                    <a:lnTo>
                      <a:pt x="116" y="90"/>
                    </a:lnTo>
                    <a:lnTo>
                      <a:pt x="108" y="98"/>
                    </a:lnTo>
                    <a:lnTo>
                      <a:pt x="98" y="102"/>
                    </a:lnTo>
                    <a:lnTo>
                      <a:pt x="88" y="106"/>
                    </a:lnTo>
                    <a:lnTo>
                      <a:pt x="78" y="106"/>
                    </a:lnTo>
                    <a:lnTo>
                      <a:pt x="44" y="106"/>
                    </a:lnTo>
                    <a:lnTo>
                      <a:pt x="52" y="116"/>
                    </a:lnTo>
                    <a:lnTo>
                      <a:pt x="4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0">
                <a:extLst>
                  <a:ext uri="{FF2B5EF4-FFF2-40B4-BE49-F238E27FC236}">
                    <a16:creationId xmlns:a16="http://schemas.microsoft.com/office/drawing/2014/main" id="{C47A59F0-B91A-D61E-09F2-00DA53884022}"/>
                  </a:ext>
                </a:extLst>
              </p:cNvPr>
              <p:cNvSpPr>
                <a:spLocks/>
              </p:cNvSpPr>
              <p:nvPr/>
            </p:nvSpPr>
            <p:spPr bwMode="auto">
              <a:xfrm>
                <a:off x="1109" y="3494"/>
                <a:ext cx="116" cy="128"/>
              </a:xfrm>
              <a:custGeom>
                <a:avLst/>
                <a:gdLst>
                  <a:gd name="T0" fmla="*/ 62 w 116"/>
                  <a:gd name="T1" fmla="*/ 128 h 128"/>
                  <a:gd name="T2" fmla="*/ 54 w 116"/>
                  <a:gd name="T3" fmla="*/ 128 h 128"/>
                  <a:gd name="T4" fmla="*/ 54 w 116"/>
                  <a:gd name="T5" fmla="*/ 128 h 128"/>
                  <a:gd name="T6" fmla="*/ 42 w 116"/>
                  <a:gd name="T7" fmla="*/ 128 h 128"/>
                  <a:gd name="T8" fmla="*/ 32 w 116"/>
                  <a:gd name="T9" fmla="*/ 124 h 128"/>
                  <a:gd name="T10" fmla="*/ 24 w 116"/>
                  <a:gd name="T11" fmla="*/ 120 h 128"/>
                  <a:gd name="T12" fmla="*/ 16 w 116"/>
                  <a:gd name="T13" fmla="*/ 112 h 128"/>
                  <a:gd name="T14" fmla="*/ 8 w 116"/>
                  <a:gd name="T15" fmla="*/ 106 h 128"/>
                  <a:gd name="T16" fmla="*/ 4 w 116"/>
                  <a:gd name="T17" fmla="*/ 96 h 128"/>
                  <a:gd name="T18" fmla="*/ 0 w 116"/>
                  <a:gd name="T19" fmla="*/ 86 h 128"/>
                  <a:gd name="T20" fmla="*/ 0 w 116"/>
                  <a:gd name="T21" fmla="*/ 76 h 128"/>
                  <a:gd name="T22" fmla="*/ 0 w 116"/>
                  <a:gd name="T23" fmla="*/ 76 h 128"/>
                  <a:gd name="T24" fmla="*/ 0 w 116"/>
                  <a:gd name="T25" fmla="*/ 64 h 128"/>
                  <a:gd name="T26" fmla="*/ 4 w 116"/>
                  <a:gd name="T27" fmla="*/ 54 h 128"/>
                  <a:gd name="T28" fmla="*/ 8 w 116"/>
                  <a:gd name="T29" fmla="*/ 46 h 128"/>
                  <a:gd name="T30" fmla="*/ 16 w 116"/>
                  <a:gd name="T31" fmla="*/ 38 h 128"/>
                  <a:gd name="T32" fmla="*/ 24 w 116"/>
                  <a:gd name="T33" fmla="*/ 30 h 128"/>
                  <a:gd name="T34" fmla="*/ 32 w 116"/>
                  <a:gd name="T35" fmla="*/ 26 h 128"/>
                  <a:gd name="T36" fmla="*/ 42 w 116"/>
                  <a:gd name="T37" fmla="*/ 22 h 128"/>
                  <a:gd name="T38" fmla="*/ 54 w 116"/>
                  <a:gd name="T39" fmla="*/ 22 h 128"/>
                  <a:gd name="T40" fmla="*/ 74 w 116"/>
                  <a:gd name="T41" fmla="*/ 22 h 128"/>
                  <a:gd name="T42" fmla="*/ 64 w 116"/>
                  <a:gd name="T43" fmla="*/ 14 h 128"/>
                  <a:gd name="T44" fmla="*/ 78 w 116"/>
                  <a:gd name="T45" fmla="*/ 0 h 128"/>
                  <a:gd name="T46" fmla="*/ 116 w 116"/>
                  <a:gd name="T47" fmla="*/ 40 h 128"/>
                  <a:gd name="T48" fmla="*/ 54 w 116"/>
                  <a:gd name="T49" fmla="*/ 40 h 128"/>
                  <a:gd name="T50" fmla="*/ 54 w 116"/>
                  <a:gd name="T51" fmla="*/ 40 h 128"/>
                  <a:gd name="T52" fmla="*/ 46 w 116"/>
                  <a:gd name="T53" fmla="*/ 40 h 128"/>
                  <a:gd name="T54" fmla="*/ 40 w 116"/>
                  <a:gd name="T55" fmla="*/ 42 h 128"/>
                  <a:gd name="T56" fmla="*/ 34 w 116"/>
                  <a:gd name="T57" fmla="*/ 46 h 128"/>
                  <a:gd name="T58" fmla="*/ 28 w 116"/>
                  <a:gd name="T59" fmla="*/ 50 h 128"/>
                  <a:gd name="T60" fmla="*/ 24 w 116"/>
                  <a:gd name="T61" fmla="*/ 56 h 128"/>
                  <a:gd name="T62" fmla="*/ 20 w 116"/>
                  <a:gd name="T63" fmla="*/ 62 h 128"/>
                  <a:gd name="T64" fmla="*/ 18 w 116"/>
                  <a:gd name="T65" fmla="*/ 68 h 128"/>
                  <a:gd name="T66" fmla="*/ 18 w 116"/>
                  <a:gd name="T67" fmla="*/ 76 h 128"/>
                  <a:gd name="T68" fmla="*/ 18 w 116"/>
                  <a:gd name="T69" fmla="*/ 76 h 128"/>
                  <a:gd name="T70" fmla="*/ 18 w 116"/>
                  <a:gd name="T71" fmla="*/ 82 h 128"/>
                  <a:gd name="T72" fmla="*/ 20 w 116"/>
                  <a:gd name="T73" fmla="*/ 88 h 128"/>
                  <a:gd name="T74" fmla="*/ 24 w 116"/>
                  <a:gd name="T75" fmla="*/ 94 h 128"/>
                  <a:gd name="T76" fmla="*/ 28 w 116"/>
                  <a:gd name="T77" fmla="*/ 100 h 128"/>
                  <a:gd name="T78" fmla="*/ 34 w 116"/>
                  <a:gd name="T79" fmla="*/ 104 h 128"/>
                  <a:gd name="T80" fmla="*/ 40 w 116"/>
                  <a:gd name="T81" fmla="*/ 108 h 128"/>
                  <a:gd name="T82" fmla="*/ 46 w 116"/>
                  <a:gd name="T83" fmla="*/ 110 h 128"/>
                  <a:gd name="T84" fmla="*/ 54 w 116"/>
                  <a:gd name="T85" fmla="*/ 110 h 128"/>
                  <a:gd name="T86" fmla="*/ 62 w 116"/>
                  <a:gd name="T87" fmla="*/ 110 h 128"/>
                  <a:gd name="T88" fmla="*/ 62 w 116"/>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8">
                    <a:moveTo>
                      <a:pt x="62" y="128"/>
                    </a:moveTo>
                    <a:lnTo>
                      <a:pt x="54" y="128"/>
                    </a:lnTo>
                    <a:lnTo>
                      <a:pt x="54" y="128"/>
                    </a:lnTo>
                    <a:lnTo>
                      <a:pt x="42" y="128"/>
                    </a:lnTo>
                    <a:lnTo>
                      <a:pt x="32" y="124"/>
                    </a:lnTo>
                    <a:lnTo>
                      <a:pt x="24" y="120"/>
                    </a:lnTo>
                    <a:lnTo>
                      <a:pt x="16" y="112"/>
                    </a:lnTo>
                    <a:lnTo>
                      <a:pt x="8" y="106"/>
                    </a:lnTo>
                    <a:lnTo>
                      <a:pt x="4" y="96"/>
                    </a:lnTo>
                    <a:lnTo>
                      <a:pt x="0" y="86"/>
                    </a:lnTo>
                    <a:lnTo>
                      <a:pt x="0" y="76"/>
                    </a:lnTo>
                    <a:lnTo>
                      <a:pt x="0" y="76"/>
                    </a:lnTo>
                    <a:lnTo>
                      <a:pt x="0" y="64"/>
                    </a:lnTo>
                    <a:lnTo>
                      <a:pt x="4" y="54"/>
                    </a:lnTo>
                    <a:lnTo>
                      <a:pt x="8" y="46"/>
                    </a:lnTo>
                    <a:lnTo>
                      <a:pt x="16" y="38"/>
                    </a:lnTo>
                    <a:lnTo>
                      <a:pt x="24" y="30"/>
                    </a:lnTo>
                    <a:lnTo>
                      <a:pt x="32" y="26"/>
                    </a:lnTo>
                    <a:lnTo>
                      <a:pt x="42" y="22"/>
                    </a:lnTo>
                    <a:lnTo>
                      <a:pt x="54" y="22"/>
                    </a:lnTo>
                    <a:lnTo>
                      <a:pt x="74" y="22"/>
                    </a:lnTo>
                    <a:lnTo>
                      <a:pt x="64" y="14"/>
                    </a:lnTo>
                    <a:lnTo>
                      <a:pt x="78" y="0"/>
                    </a:lnTo>
                    <a:lnTo>
                      <a:pt x="116" y="40"/>
                    </a:lnTo>
                    <a:lnTo>
                      <a:pt x="54" y="40"/>
                    </a:lnTo>
                    <a:lnTo>
                      <a:pt x="54" y="40"/>
                    </a:lnTo>
                    <a:lnTo>
                      <a:pt x="46" y="40"/>
                    </a:lnTo>
                    <a:lnTo>
                      <a:pt x="40" y="42"/>
                    </a:lnTo>
                    <a:lnTo>
                      <a:pt x="34" y="46"/>
                    </a:lnTo>
                    <a:lnTo>
                      <a:pt x="28" y="50"/>
                    </a:lnTo>
                    <a:lnTo>
                      <a:pt x="24" y="56"/>
                    </a:lnTo>
                    <a:lnTo>
                      <a:pt x="20" y="62"/>
                    </a:lnTo>
                    <a:lnTo>
                      <a:pt x="18" y="68"/>
                    </a:lnTo>
                    <a:lnTo>
                      <a:pt x="18" y="76"/>
                    </a:lnTo>
                    <a:lnTo>
                      <a:pt x="18" y="76"/>
                    </a:lnTo>
                    <a:lnTo>
                      <a:pt x="18" y="82"/>
                    </a:lnTo>
                    <a:lnTo>
                      <a:pt x="20" y="88"/>
                    </a:lnTo>
                    <a:lnTo>
                      <a:pt x="24" y="94"/>
                    </a:lnTo>
                    <a:lnTo>
                      <a:pt x="28" y="100"/>
                    </a:lnTo>
                    <a:lnTo>
                      <a:pt x="34" y="104"/>
                    </a:lnTo>
                    <a:lnTo>
                      <a:pt x="40" y="108"/>
                    </a:lnTo>
                    <a:lnTo>
                      <a:pt x="46" y="110"/>
                    </a:lnTo>
                    <a:lnTo>
                      <a:pt x="54" y="110"/>
                    </a:lnTo>
                    <a:lnTo>
                      <a:pt x="62" y="110"/>
                    </a:lnTo>
                    <a:lnTo>
                      <a:pt x="6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Line 201">
                <a:extLst>
                  <a:ext uri="{FF2B5EF4-FFF2-40B4-BE49-F238E27FC236}">
                    <a16:creationId xmlns:a16="http://schemas.microsoft.com/office/drawing/2014/main" id="{6C2210C7-D043-6C46-053E-B524CC31ED8A}"/>
                  </a:ext>
                </a:extLst>
              </p:cNvPr>
              <p:cNvSpPr>
                <a:spLocks noChangeShapeType="1"/>
              </p:cNvSpPr>
              <p:nvPr/>
            </p:nvSpPr>
            <p:spPr bwMode="auto">
              <a:xfrm>
                <a:off x="991" y="31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Line 202">
                <a:extLst>
                  <a:ext uri="{FF2B5EF4-FFF2-40B4-BE49-F238E27FC236}">
                    <a16:creationId xmlns:a16="http://schemas.microsoft.com/office/drawing/2014/main" id="{E28E7F31-6195-720D-5CC9-439DDEA287A8}"/>
                  </a:ext>
                </a:extLst>
              </p:cNvPr>
              <p:cNvSpPr>
                <a:spLocks noChangeShapeType="1"/>
              </p:cNvSpPr>
              <p:nvPr/>
            </p:nvSpPr>
            <p:spPr bwMode="auto">
              <a:xfrm>
                <a:off x="991" y="3162"/>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Line 203">
                <a:extLst>
                  <a:ext uri="{FF2B5EF4-FFF2-40B4-BE49-F238E27FC236}">
                    <a16:creationId xmlns:a16="http://schemas.microsoft.com/office/drawing/2014/main" id="{B96D4E96-93C9-4EF5-6998-88E84F6A90A4}"/>
                  </a:ext>
                </a:extLst>
              </p:cNvPr>
              <p:cNvSpPr>
                <a:spLocks noChangeShapeType="1"/>
              </p:cNvSpPr>
              <p:nvPr/>
            </p:nvSpPr>
            <p:spPr bwMode="auto">
              <a:xfrm>
                <a:off x="899" y="307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Line 204">
                <a:extLst>
                  <a:ext uri="{FF2B5EF4-FFF2-40B4-BE49-F238E27FC236}">
                    <a16:creationId xmlns:a16="http://schemas.microsoft.com/office/drawing/2014/main" id="{FD9480A7-3E12-7237-148D-B23D8B303D38}"/>
                  </a:ext>
                </a:extLst>
              </p:cNvPr>
              <p:cNvSpPr>
                <a:spLocks noChangeShapeType="1"/>
              </p:cNvSpPr>
              <p:nvPr/>
            </p:nvSpPr>
            <p:spPr bwMode="auto">
              <a:xfrm>
                <a:off x="899" y="3074"/>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341" name="Picture 2">
              <a:extLst>
                <a:ext uri="{FF2B5EF4-FFF2-40B4-BE49-F238E27FC236}">
                  <a16:creationId xmlns:a16="http://schemas.microsoft.com/office/drawing/2014/main" id="{E072CFBC-3FC9-588B-E486-5A86253484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0818" y="5089567"/>
              <a:ext cx="347226" cy="347226"/>
            </a:xfrm>
            <a:prstGeom prst="rect">
              <a:avLst/>
            </a:prstGeom>
            <a:noFill/>
            <a:extLst>
              <a:ext uri="{909E8E84-426E-40DD-AFC4-6F175D3DCCD1}">
                <a14:hiddenFill xmlns:a14="http://schemas.microsoft.com/office/drawing/2010/main">
                  <a:solidFill>
                    <a:srgbClr val="FFFFFF"/>
                  </a:solidFill>
                </a14:hiddenFill>
              </a:ext>
            </a:extLst>
          </p:spPr>
        </p:pic>
        <p:grpSp>
          <p:nvGrpSpPr>
            <p:cNvPr id="345" name="Group 344">
              <a:extLst>
                <a:ext uri="{FF2B5EF4-FFF2-40B4-BE49-F238E27FC236}">
                  <a16:creationId xmlns:a16="http://schemas.microsoft.com/office/drawing/2014/main" id="{081B0C25-B47C-3121-DD1F-35DA98A19B1E}"/>
                </a:ext>
              </a:extLst>
            </p:cNvPr>
            <p:cNvGrpSpPr/>
            <p:nvPr/>
          </p:nvGrpSpPr>
          <p:grpSpPr>
            <a:xfrm>
              <a:off x="1616580" y="5053578"/>
              <a:ext cx="345978" cy="355219"/>
              <a:chOff x="8699617" y="2692744"/>
              <a:chExt cx="345978" cy="355219"/>
            </a:xfrm>
          </p:grpSpPr>
          <p:sp>
            <p:nvSpPr>
              <p:cNvPr id="342" name="Freeform 5">
                <a:extLst>
                  <a:ext uri="{FF2B5EF4-FFF2-40B4-BE49-F238E27FC236}">
                    <a16:creationId xmlns:a16="http://schemas.microsoft.com/office/drawing/2014/main" id="{82FAAD11-4E97-298D-771E-F2EE62AC86F4}"/>
                  </a:ext>
                </a:extLst>
              </p:cNvPr>
              <p:cNvSpPr>
                <a:spLocks/>
              </p:cNvSpPr>
              <p:nvPr/>
            </p:nvSpPr>
            <p:spPr bwMode="auto">
              <a:xfrm>
                <a:off x="8699617"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43" name="Freeform 6">
                <a:extLst>
                  <a:ext uri="{FF2B5EF4-FFF2-40B4-BE49-F238E27FC236}">
                    <a16:creationId xmlns:a16="http://schemas.microsoft.com/office/drawing/2014/main" id="{8182EBC2-5C24-0F43-954A-37320E7E148D}"/>
                  </a:ext>
                </a:extLst>
              </p:cNvPr>
              <p:cNvSpPr>
                <a:spLocks/>
              </p:cNvSpPr>
              <p:nvPr/>
            </p:nvSpPr>
            <p:spPr bwMode="auto">
              <a:xfrm>
                <a:off x="8701428"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44" name="Freeform 7">
                <a:extLst>
                  <a:ext uri="{FF2B5EF4-FFF2-40B4-BE49-F238E27FC236}">
                    <a16:creationId xmlns:a16="http://schemas.microsoft.com/office/drawing/2014/main" id="{D9F5C4F6-07E2-D1F3-AB89-1D46DFB29F80}"/>
                  </a:ext>
                </a:extLst>
              </p:cNvPr>
              <p:cNvSpPr>
                <a:spLocks/>
              </p:cNvSpPr>
              <p:nvPr/>
            </p:nvSpPr>
            <p:spPr bwMode="auto">
              <a:xfrm>
                <a:off x="8819170"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grpSp>
          <p:nvGrpSpPr>
            <p:cNvPr id="347" name="Group 346">
              <a:extLst>
                <a:ext uri="{FF2B5EF4-FFF2-40B4-BE49-F238E27FC236}">
                  <a16:creationId xmlns:a16="http://schemas.microsoft.com/office/drawing/2014/main" id="{466543AD-A716-25FD-4515-E128E87C5DA3}"/>
                </a:ext>
              </a:extLst>
            </p:cNvPr>
            <p:cNvGrpSpPr/>
            <p:nvPr/>
          </p:nvGrpSpPr>
          <p:grpSpPr>
            <a:xfrm>
              <a:off x="2251724" y="1616683"/>
              <a:ext cx="345978" cy="355219"/>
              <a:chOff x="8699617" y="2692744"/>
              <a:chExt cx="345978" cy="355219"/>
            </a:xfrm>
          </p:grpSpPr>
          <p:sp>
            <p:nvSpPr>
              <p:cNvPr id="348" name="Freeform 5">
                <a:extLst>
                  <a:ext uri="{FF2B5EF4-FFF2-40B4-BE49-F238E27FC236}">
                    <a16:creationId xmlns:a16="http://schemas.microsoft.com/office/drawing/2014/main" id="{FAC287EA-356D-08F9-3F90-178EB323B975}"/>
                  </a:ext>
                </a:extLst>
              </p:cNvPr>
              <p:cNvSpPr>
                <a:spLocks/>
              </p:cNvSpPr>
              <p:nvPr/>
            </p:nvSpPr>
            <p:spPr bwMode="auto">
              <a:xfrm>
                <a:off x="8699617"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49" name="Freeform 6">
                <a:extLst>
                  <a:ext uri="{FF2B5EF4-FFF2-40B4-BE49-F238E27FC236}">
                    <a16:creationId xmlns:a16="http://schemas.microsoft.com/office/drawing/2014/main" id="{9CB13410-94B6-E558-BA82-DC0A240C42B9}"/>
                  </a:ext>
                </a:extLst>
              </p:cNvPr>
              <p:cNvSpPr>
                <a:spLocks/>
              </p:cNvSpPr>
              <p:nvPr/>
            </p:nvSpPr>
            <p:spPr bwMode="auto">
              <a:xfrm>
                <a:off x="8701428"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50" name="Freeform 7">
                <a:extLst>
                  <a:ext uri="{FF2B5EF4-FFF2-40B4-BE49-F238E27FC236}">
                    <a16:creationId xmlns:a16="http://schemas.microsoft.com/office/drawing/2014/main" id="{E44332B9-2420-78AD-2A6E-A170FD08F12E}"/>
                  </a:ext>
                </a:extLst>
              </p:cNvPr>
              <p:cNvSpPr>
                <a:spLocks/>
              </p:cNvSpPr>
              <p:nvPr/>
            </p:nvSpPr>
            <p:spPr bwMode="auto">
              <a:xfrm>
                <a:off x="8819170"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grpSp>
          <p:nvGrpSpPr>
            <p:cNvPr id="351" name="Group 350">
              <a:extLst>
                <a:ext uri="{FF2B5EF4-FFF2-40B4-BE49-F238E27FC236}">
                  <a16:creationId xmlns:a16="http://schemas.microsoft.com/office/drawing/2014/main" id="{B9BECB5D-E1CF-3A09-232F-4FB5AA663B72}"/>
                </a:ext>
              </a:extLst>
            </p:cNvPr>
            <p:cNvGrpSpPr/>
            <p:nvPr/>
          </p:nvGrpSpPr>
          <p:grpSpPr>
            <a:xfrm>
              <a:off x="4107922" y="2621662"/>
              <a:ext cx="345978" cy="355219"/>
              <a:chOff x="8950700" y="2692744"/>
              <a:chExt cx="345978" cy="355219"/>
            </a:xfrm>
          </p:grpSpPr>
          <p:sp>
            <p:nvSpPr>
              <p:cNvPr id="352" name="Freeform 5">
                <a:extLst>
                  <a:ext uri="{FF2B5EF4-FFF2-40B4-BE49-F238E27FC236}">
                    <a16:creationId xmlns:a16="http://schemas.microsoft.com/office/drawing/2014/main" id="{95F0FFCC-6B4B-FC44-D961-563040F69F2B}"/>
                  </a:ext>
                </a:extLst>
              </p:cNvPr>
              <p:cNvSpPr>
                <a:spLocks/>
              </p:cNvSpPr>
              <p:nvPr/>
            </p:nvSpPr>
            <p:spPr bwMode="auto">
              <a:xfrm>
                <a:off x="8950700"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53" name="Freeform 6">
                <a:extLst>
                  <a:ext uri="{FF2B5EF4-FFF2-40B4-BE49-F238E27FC236}">
                    <a16:creationId xmlns:a16="http://schemas.microsoft.com/office/drawing/2014/main" id="{57E434BE-96ED-E7A4-2FEE-65A730283DB4}"/>
                  </a:ext>
                </a:extLst>
              </p:cNvPr>
              <p:cNvSpPr>
                <a:spLocks/>
              </p:cNvSpPr>
              <p:nvPr/>
            </p:nvSpPr>
            <p:spPr bwMode="auto">
              <a:xfrm>
                <a:off x="8952511"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54" name="Freeform 7">
                <a:extLst>
                  <a:ext uri="{FF2B5EF4-FFF2-40B4-BE49-F238E27FC236}">
                    <a16:creationId xmlns:a16="http://schemas.microsoft.com/office/drawing/2014/main" id="{F0559D6D-4528-61AF-F7DE-31F3699AE978}"/>
                  </a:ext>
                </a:extLst>
              </p:cNvPr>
              <p:cNvSpPr>
                <a:spLocks/>
              </p:cNvSpPr>
              <p:nvPr/>
            </p:nvSpPr>
            <p:spPr bwMode="auto">
              <a:xfrm>
                <a:off x="9070253"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grpSp>
          <p:nvGrpSpPr>
            <p:cNvPr id="379" name="Group 378">
              <a:extLst>
                <a:ext uri="{FF2B5EF4-FFF2-40B4-BE49-F238E27FC236}">
                  <a16:creationId xmlns:a16="http://schemas.microsoft.com/office/drawing/2014/main" id="{AAE5C310-E634-AEC0-9326-35B6CE55CD1F}"/>
                </a:ext>
              </a:extLst>
            </p:cNvPr>
            <p:cNvGrpSpPr/>
            <p:nvPr/>
          </p:nvGrpSpPr>
          <p:grpSpPr>
            <a:xfrm>
              <a:off x="3625420" y="5053578"/>
              <a:ext cx="345978" cy="355219"/>
              <a:chOff x="8699617" y="2692744"/>
              <a:chExt cx="345978" cy="355219"/>
            </a:xfrm>
          </p:grpSpPr>
          <p:sp>
            <p:nvSpPr>
              <p:cNvPr id="380" name="Freeform 5">
                <a:extLst>
                  <a:ext uri="{FF2B5EF4-FFF2-40B4-BE49-F238E27FC236}">
                    <a16:creationId xmlns:a16="http://schemas.microsoft.com/office/drawing/2014/main" id="{E03D7270-3190-D78A-39FF-0FC193364D36}"/>
                  </a:ext>
                </a:extLst>
              </p:cNvPr>
              <p:cNvSpPr>
                <a:spLocks/>
              </p:cNvSpPr>
              <p:nvPr/>
            </p:nvSpPr>
            <p:spPr bwMode="auto">
              <a:xfrm>
                <a:off x="8699617"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81" name="Freeform 6">
                <a:extLst>
                  <a:ext uri="{FF2B5EF4-FFF2-40B4-BE49-F238E27FC236}">
                    <a16:creationId xmlns:a16="http://schemas.microsoft.com/office/drawing/2014/main" id="{101F62F9-1D0F-AEFB-5464-E566C96BBF36}"/>
                  </a:ext>
                </a:extLst>
              </p:cNvPr>
              <p:cNvSpPr>
                <a:spLocks/>
              </p:cNvSpPr>
              <p:nvPr/>
            </p:nvSpPr>
            <p:spPr bwMode="auto">
              <a:xfrm>
                <a:off x="8701428"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382" name="Freeform 7">
                <a:extLst>
                  <a:ext uri="{FF2B5EF4-FFF2-40B4-BE49-F238E27FC236}">
                    <a16:creationId xmlns:a16="http://schemas.microsoft.com/office/drawing/2014/main" id="{C18514B2-1A42-27E4-1279-C615D438ADAE}"/>
                  </a:ext>
                </a:extLst>
              </p:cNvPr>
              <p:cNvSpPr>
                <a:spLocks/>
              </p:cNvSpPr>
              <p:nvPr/>
            </p:nvSpPr>
            <p:spPr bwMode="auto">
              <a:xfrm>
                <a:off x="8819170"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pic>
          <p:nvPicPr>
            <p:cNvPr id="383" name="Picture 2">
              <a:extLst>
                <a:ext uri="{FF2B5EF4-FFF2-40B4-BE49-F238E27FC236}">
                  <a16:creationId xmlns:a16="http://schemas.microsoft.com/office/drawing/2014/main" id="{02C82ACF-FBDB-1283-42E1-2873E90B90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1166" y="5089567"/>
              <a:ext cx="347226" cy="347226"/>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46AF9CEE-44BA-0590-E719-AD4C1BF45B5A}"/>
                </a:ext>
              </a:extLst>
            </p:cNvPr>
            <p:cNvGrpSpPr/>
            <p:nvPr/>
          </p:nvGrpSpPr>
          <p:grpSpPr>
            <a:xfrm>
              <a:off x="6853802" y="1619296"/>
              <a:ext cx="741740" cy="383215"/>
              <a:chOff x="6872939" y="1619296"/>
              <a:chExt cx="741740" cy="383215"/>
            </a:xfrm>
          </p:grpSpPr>
          <p:pic>
            <p:nvPicPr>
              <p:cNvPr id="4096" name="Picture 2">
                <a:extLst>
                  <a:ext uri="{FF2B5EF4-FFF2-40B4-BE49-F238E27FC236}">
                    <a16:creationId xmlns:a16="http://schemas.microsoft.com/office/drawing/2014/main" id="{FE832804-D4A0-C042-B10D-13344DEE06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2939" y="1655285"/>
                <a:ext cx="347226" cy="347226"/>
              </a:xfrm>
              <a:prstGeom prst="rect">
                <a:avLst/>
              </a:prstGeom>
              <a:noFill/>
              <a:extLst>
                <a:ext uri="{909E8E84-426E-40DD-AFC4-6F175D3DCCD1}">
                  <a14:hiddenFill xmlns:a14="http://schemas.microsoft.com/office/drawing/2010/main">
                    <a:solidFill>
                      <a:srgbClr val="FFFFFF"/>
                    </a:solidFill>
                  </a14:hiddenFill>
                </a:ext>
              </a:extLst>
            </p:spPr>
          </p:pic>
          <p:grpSp>
            <p:nvGrpSpPr>
              <p:cNvPr id="4097" name="Group 4096">
                <a:extLst>
                  <a:ext uri="{FF2B5EF4-FFF2-40B4-BE49-F238E27FC236}">
                    <a16:creationId xmlns:a16="http://schemas.microsoft.com/office/drawing/2014/main" id="{1D46A3DC-693C-BF29-DDEF-43671F58050F}"/>
                  </a:ext>
                </a:extLst>
              </p:cNvPr>
              <p:cNvGrpSpPr/>
              <p:nvPr/>
            </p:nvGrpSpPr>
            <p:grpSpPr>
              <a:xfrm>
                <a:off x="7268701" y="1619296"/>
                <a:ext cx="345978" cy="355219"/>
                <a:chOff x="8699617" y="2692744"/>
                <a:chExt cx="345978" cy="355219"/>
              </a:xfrm>
            </p:grpSpPr>
            <p:sp>
              <p:nvSpPr>
                <p:cNvPr id="4099" name="Freeform 5">
                  <a:extLst>
                    <a:ext uri="{FF2B5EF4-FFF2-40B4-BE49-F238E27FC236}">
                      <a16:creationId xmlns:a16="http://schemas.microsoft.com/office/drawing/2014/main" id="{074B78C8-BC1C-6707-FC32-61B121DC37B0}"/>
                    </a:ext>
                  </a:extLst>
                </p:cNvPr>
                <p:cNvSpPr>
                  <a:spLocks/>
                </p:cNvSpPr>
                <p:nvPr/>
              </p:nvSpPr>
              <p:spPr bwMode="auto">
                <a:xfrm>
                  <a:off x="8699617"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4100" name="Freeform 6">
                  <a:extLst>
                    <a:ext uri="{FF2B5EF4-FFF2-40B4-BE49-F238E27FC236}">
                      <a16:creationId xmlns:a16="http://schemas.microsoft.com/office/drawing/2014/main" id="{88329F0D-5AE4-79C3-9304-5D858E1ECCB7}"/>
                    </a:ext>
                  </a:extLst>
                </p:cNvPr>
                <p:cNvSpPr>
                  <a:spLocks/>
                </p:cNvSpPr>
                <p:nvPr/>
              </p:nvSpPr>
              <p:spPr bwMode="auto">
                <a:xfrm>
                  <a:off x="8701428"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4101" name="Freeform 7">
                  <a:extLst>
                    <a:ext uri="{FF2B5EF4-FFF2-40B4-BE49-F238E27FC236}">
                      <a16:creationId xmlns:a16="http://schemas.microsoft.com/office/drawing/2014/main" id="{BAAD54DE-B3FC-BD39-C7A3-4235C6004803}"/>
                    </a:ext>
                  </a:extLst>
                </p:cNvPr>
                <p:cNvSpPr>
                  <a:spLocks/>
                </p:cNvSpPr>
                <p:nvPr/>
              </p:nvSpPr>
              <p:spPr bwMode="auto">
                <a:xfrm>
                  <a:off x="8819170"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grpSp>
        <p:pic>
          <p:nvPicPr>
            <p:cNvPr id="4102" name="Picture 2">
              <a:extLst>
                <a:ext uri="{FF2B5EF4-FFF2-40B4-BE49-F238E27FC236}">
                  <a16:creationId xmlns:a16="http://schemas.microsoft.com/office/drawing/2014/main" id="{F633FA38-408B-B683-A00E-FEA9D84918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74820" y="5089567"/>
              <a:ext cx="347226" cy="347226"/>
            </a:xfrm>
            <a:prstGeom prst="rect">
              <a:avLst/>
            </a:prstGeom>
            <a:noFill/>
            <a:extLst>
              <a:ext uri="{909E8E84-426E-40DD-AFC4-6F175D3DCCD1}">
                <a14:hiddenFill xmlns:a14="http://schemas.microsoft.com/office/drawing/2010/main">
                  <a:solidFill>
                    <a:srgbClr val="FFFFFF"/>
                  </a:solidFill>
                </a14:hiddenFill>
              </a:ext>
            </a:extLst>
          </p:spPr>
        </p:pic>
        <p:grpSp>
          <p:nvGrpSpPr>
            <p:cNvPr id="4103" name="Group 4102">
              <a:extLst>
                <a:ext uri="{FF2B5EF4-FFF2-40B4-BE49-F238E27FC236}">
                  <a16:creationId xmlns:a16="http://schemas.microsoft.com/office/drawing/2014/main" id="{53C0702F-1B83-4A4F-4A86-2949A4E89F7D}"/>
                </a:ext>
              </a:extLst>
            </p:cNvPr>
            <p:cNvGrpSpPr/>
            <p:nvPr/>
          </p:nvGrpSpPr>
          <p:grpSpPr>
            <a:xfrm>
              <a:off x="8470582" y="5053578"/>
              <a:ext cx="345978" cy="355219"/>
              <a:chOff x="8699617" y="2692744"/>
              <a:chExt cx="345978" cy="355219"/>
            </a:xfrm>
          </p:grpSpPr>
          <p:sp>
            <p:nvSpPr>
              <p:cNvPr id="4104" name="Freeform 5">
                <a:extLst>
                  <a:ext uri="{FF2B5EF4-FFF2-40B4-BE49-F238E27FC236}">
                    <a16:creationId xmlns:a16="http://schemas.microsoft.com/office/drawing/2014/main" id="{A59B8FE0-6A17-D0DF-A42D-AD36F647A2A6}"/>
                  </a:ext>
                </a:extLst>
              </p:cNvPr>
              <p:cNvSpPr>
                <a:spLocks/>
              </p:cNvSpPr>
              <p:nvPr/>
            </p:nvSpPr>
            <p:spPr bwMode="auto">
              <a:xfrm>
                <a:off x="8699617" y="2692744"/>
                <a:ext cx="345978" cy="126864"/>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4105" name="Freeform 6">
                <a:extLst>
                  <a:ext uri="{FF2B5EF4-FFF2-40B4-BE49-F238E27FC236}">
                    <a16:creationId xmlns:a16="http://schemas.microsoft.com/office/drawing/2014/main" id="{6DD14570-C063-37CC-F796-F83CAB2DC3AC}"/>
                  </a:ext>
                </a:extLst>
              </p:cNvPr>
              <p:cNvSpPr>
                <a:spLocks/>
              </p:cNvSpPr>
              <p:nvPr/>
            </p:nvSpPr>
            <p:spPr bwMode="auto">
              <a:xfrm>
                <a:off x="8701428" y="2872166"/>
                <a:ext cx="141289" cy="1757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4106" name="Freeform 7">
                <a:extLst>
                  <a:ext uri="{FF2B5EF4-FFF2-40B4-BE49-F238E27FC236}">
                    <a16:creationId xmlns:a16="http://schemas.microsoft.com/office/drawing/2014/main" id="{347BB890-2EB3-06BF-A292-CEBAC0B840F5}"/>
                  </a:ext>
                </a:extLst>
              </p:cNvPr>
              <p:cNvSpPr>
                <a:spLocks/>
              </p:cNvSpPr>
              <p:nvPr/>
            </p:nvSpPr>
            <p:spPr bwMode="auto">
              <a:xfrm>
                <a:off x="8819170" y="2872166"/>
                <a:ext cx="173895" cy="1757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sp>
          <p:nvSpPr>
            <p:cNvPr id="9" name="Shape">
              <a:extLst>
                <a:ext uri="{FF2B5EF4-FFF2-40B4-BE49-F238E27FC236}">
                  <a16:creationId xmlns:a16="http://schemas.microsoft.com/office/drawing/2014/main" id="{845AD325-8ACA-7CBE-6E3F-5C0FC4B284E7}"/>
                </a:ext>
              </a:extLst>
            </p:cNvPr>
            <p:cNvSpPr/>
            <p:nvPr/>
          </p:nvSpPr>
          <p:spPr>
            <a:xfrm>
              <a:off x="6968395" y="2381160"/>
              <a:ext cx="1226107" cy="1963214"/>
            </a:xfrm>
            <a:custGeom>
              <a:avLst/>
              <a:gdLst/>
              <a:ahLst/>
              <a:cxnLst>
                <a:cxn ang="0">
                  <a:pos x="wd2" y="hd2"/>
                </a:cxn>
                <a:cxn ang="5400000">
                  <a:pos x="wd2" y="hd2"/>
                </a:cxn>
                <a:cxn ang="10800000">
                  <a:pos x="wd2" y="hd2"/>
                </a:cxn>
                <a:cxn ang="16200000">
                  <a:pos x="wd2" y="hd2"/>
                </a:cxn>
              </a:cxnLst>
              <a:rect l="0" t="0" r="r" b="b"/>
              <a:pathLst>
                <a:path w="21021" h="21352" extrusionOk="0">
                  <a:moveTo>
                    <a:pt x="19111" y="17718"/>
                  </a:moveTo>
                  <a:lnTo>
                    <a:pt x="11374" y="9223"/>
                  </a:lnTo>
                  <a:lnTo>
                    <a:pt x="13705" y="9223"/>
                  </a:lnTo>
                  <a:cubicBezTo>
                    <a:pt x="15516" y="9223"/>
                    <a:pt x="16632" y="7980"/>
                    <a:pt x="15739" y="6989"/>
                  </a:cubicBezTo>
                  <a:lnTo>
                    <a:pt x="10060" y="743"/>
                  </a:lnTo>
                  <a:cubicBezTo>
                    <a:pt x="9167" y="-248"/>
                    <a:pt x="6886" y="-248"/>
                    <a:pt x="5993" y="743"/>
                  </a:cubicBezTo>
                  <a:lnTo>
                    <a:pt x="314" y="6989"/>
                  </a:lnTo>
                  <a:cubicBezTo>
                    <a:pt x="-579" y="7980"/>
                    <a:pt x="537" y="9223"/>
                    <a:pt x="2347" y="9223"/>
                  </a:cubicBezTo>
                  <a:lnTo>
                    <a:pt x="8274" y="9223"/>
                  </a:lnTo>
                  <a:lnTo>
                    <a:pt x="16780" y="18567"/>
                  </a:lnTo>
                  <a:lnTo>
                    <a:pt x="14821" y="19291"/>
                  </a:lnTo>
                  <a:lnTo>
                    <a:pt x="20823" y="21352"/>
                  </a:lnTo>
                  <a:lnTo>
                    <a:pt x="21021" y="17026"/>
                  </a:lnTo>
                  <a:lnTo>
                    <a:pt x="19111" y="17718"/>
                  </a:lnTo>
                  <a:close/>
                </a:path>
              </a:pathLst>
            </a:custGeom>
            <a:solidFill>
              <a:schemeClr val="tx1">
                <a:lumMod val="75000"/>
                <a:lumOff val="25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64240C2E-B6E5-2A12-AEEB-DCF90B8A2EA8}"/>
                </a:ext>
              </a:extLst>
            </p:cNvPr>
            <p:cNvSpPr/>
            <p:nvPr/>
          </p:nvSpPr>
          <p:spPr>
            <a:xfrm>
              <a:off x="5840152" y="3381030"/>
              <a:ext cx="1431505" cy="1657648"/>
            </a:xfrm>
            <a:custGeom>
              <a:avLst/>
              <a:gdLst/>
              <a:ahLst/>
              <a:cxnLst>
                <a:cxn ang="0">
                  <a:pos x="wd2" y="hd2"/>
                </a:cxn>
                <a:cxn ang="5400000">
                  <a:pos x="wd2" y="hd2"/>
                </a:cxn>
                <a:cxn ang="10800000">
                  <a:pos x="wd2" y="hd2"/>
                </a:cxn>
                <a:cxn ang="16200000">
                  <a:pos x="wd2" y="hd2"/>
                </a:cxn>
              </a:cxnLst>
              <a:rect l="0" t="0" r="r" b="b"/>
              <a:pathLst>
                <a:path w="21102" h="21600" extrusionOk="0">
                  <a:moveTo>
                    <a:pt x="21102" y="5183"/>
                  </a:moveTo>
                  <a:lnTo>
                    <a:pt x="21059" y="0"/>
                  </a:lnTo>
                  <a:lnTo>
                    <a:pt x="15857" y="2375"/>
                  </a:lnTo>
                  <a:lnTo>
                    <a:pt x="17498" y="3261"/>
                  </a:lnTo>
                  <a:lnTo>
                    <a:pt x="10398" y="14117"/>
                  </a:lnTo>
                  <a:lnTo>
                    <a:pt x="8649" y="11441"/>
                  </a:lnTo>
                  <a:cubicBezTo>
                    <a:pt x="7882" y="10253"/>
                    <a:pt x="5920" y="10253"/>
                    <a:pt x="5153" y="11441"/>
                  </a:cubicBezTo>
                  <a:lnTo>
                    <a:pt x="270" y="18924"/>
                  </a:lnTo>
                  <a:cubicBezTo>
                    <a:pt x="-498" y="20111"/>
                    <a:pt x="462" y="21600"/>
                    <a:pt x="2018" y="21600"/>
                  </a:cubicBezTo>
                  <a:lnTo>
                    <a:pt x="11805" y="21600"/>
                  </a:lnTo>
                  <a:cubicBezTo>
                    <a:pt x="13362" y="21600"/>
                    <a:pt x="14321" y="20111"/>
                    <a:pt x="13554" y="18924"/>
                  </a:cubicBezTo>
                  <a:lnTo>
                    <a:pt x="11763" y="16172"/>
                  </a:lnTo>
                  <a:lnTo>
                    <a:pt x="19503" y="4316"/>
                  </a:lnTo>
                  <a:lnTo>
                    <a:pt x="21102" y="5183"/>
                  </a:lnTo>
                  <a:close/>
                </a:path>
              </a:pathLst>
            </a:custGeom>
            <a:solidFill>
              <a:schemeClr val="tx1">
                <a:lumMod val="50000"/>
                <a:lumOff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nvGrpSpPr>
            <p:cNvPr id="12" name="Group 11">
              <a:extLst>
                <a:ext uri="{FF2B5EF4-FFF2-40B4-BE49-F238E27FC236}">
                  <a16:creationId xmlns:a16="http://schemas.microsoft.com/office/drawing/2014/main" id="{2B8BDF25-9F45-E84B-10DF-F407EF8FAF4D}"/>
                </a:ext>
              </a:extLst>
            </p:cNvPr>
            <p:cNvGrpSpPr/>
            <p:nvPr/>
          </p:nvGrpSpPr>
          <p:grpSpPr>
            <a:xfrm>
              <a:off x="7046552" y="3711730"/>
              <a:ext cx="791182" cy="721254"/>
              <a:chOff x="2513254" y="3195379"/>
              <a:chExt cx="791182" cy="721254"/>
            </a:xfrm>
          </p:grpSpPr>
          <p:sp>
            <p:nvSpPr>
              <p:cNvPr id="13" name="Freeform 27">
                <a:extLst>
                  <a:ext uri="{FF2B5EF4-FFF2-40B4-BE49-F238E27FC236}">
                    <a16:creationId xmlns:a16="http://schemas.microsoft.com/office/drawing/2014/main" id="{1728B823-877C-98D7-9354-98D4C356A39F}"/>
                  </a:ext>
                </a:extLst>
              </p:cNvPr>
              <p:cNvSpPr>
                <a:spLocks/>
              </p:cNvSpPr>
              <p:nvPr/>
            </p:nvSpPr>
            <p:spPr bwMode="auto">
              <a:xfrm>
                <a:off x="2549217" y="3547015"/>
                <a:ext cx="657320" cy="369618"/>
              </a:xfrm>
              <a:custGeom>
                <a:avLst/>
                <a:gdLst>
                  <a:gd name="T0" fmla="*/ 360 w 658"/>
                  <a:gd name="T1" fmla="*/ 370 h 370"/>
                  <a:gd name="T2" fmla="*/ 288 w 658"/>
                  <a:gd name="T3" fmla="*/ 364 h 370"/>
                  <a:gd name="T4" fmla="*/ 220 w 658"/>
                  <a:gd name="T5" fmla="*/ 342 h 370"/>
                  <a:gd name="T6" fmla="*/ 158 w 658"/>
                  <a:gd name="T7" fmla="*/ 308 h 370"/>
                  <a:gd name="T8" fmla="*/ 106 w 658"/>
                  <a:gd name="T9" fmla="*/ 264 h 370"/>
                  <a:gd name="T10" fmla="*/ 60 w 658"/>
                  <a:gd name="T11" fmla="*/ 212 h 370"/>
                  <a:gd name="T12" fmla="*/ 28 w 658"/>
                  <a:gd name="T13" fmla="*/ 150 h 370"/>
                  <a:gd name="T14" fmla="*/ 6 w 658"/>
                  <a:gd name="T15" fmla="*/ 82 h 370"/>
                  <a:gd name="T16" fmla="*/ 0 w 658"/>
                  <a:gd name="T17" fmla="*/ 10 h 370"/>
                  <a:gd name="T18" fmla="*/ 18 w 658"/>
                  <a:gd name="T19" fmla="*/ 0 h 370"/>
                  <a:gd name="T20" fmla="*/ 18 w 658"/>
                  <a:gd name="T21" fmla="*/ 10 h 370"/>
                  <a:gd name="T22" fmla="*/ 24 w 658"/>
                  <a:gd name="T23" fmla="*/ 78 h 370"/>
                  <a:gd name="T24" fmla="*/ 44 w 658"/>
                  <a:gd name="T25" fmla="*/ 142 h 370"/>
                  <a:gd name="T26" fmla="*/ 76 w 658"/>
                  <a:gd name="T27" fmla="*/ 202 h 370"/>
                  <a:gd name="T28" fmla="*/ 118 w 658"/>
                  <a:gd name="T29" fmla="*/ 252 h 370"/>
                  <a:gd name="T30" fmla="*/ 168 w 658"/>
                  <a:gd name="T31" fmla="*/ 294 h 370"/>
                  <a:gd name="T32" fmla="*/ 226 w 658"/>
                  <a:gd name="T33" fmla="*/ 326 h 370"/>
                  <a:gd name="T34" fmla="*/ 292 w 658"/>
                  <a:gd name="T35" fmla="*/ 346 h 370"/>
                  <a:gd name="T36" fmla="*/ 360 w 658"/>
                  <a:gd name="T37" fmla="*/ 352 h 370"/>
                  <a:gd name="T38" fmla="*/ 380 w 658"/>
                  <a:gd name="T39" fmla="*/ 352 h 370"/>
                  <a:gd name="T40" fmla="*/ 422 w 658"/>
                  <a:gd name="T41" fmla="*/ 346 h 370"/>
                  <a:gd name="T42" fmla="*/ 480 w 658"/>
                  <a:gd name="T43" fmla="*/ 330 h 370"/>
                  <a:gd name="T44" fmla="*/ 552 w 658"/>
                  <a:gd name="T45" fmla="*/ 294 h 370"/>
                  <a:gd name="T46" fmla="*/ 598 w 658"/>
                  <a:gd name="T47" fmla="*/ 256 h 370"/>
                  <a:gd name="T48" fmla="*/ 626 w 658"/>
                  <a:gd name="T49" fmla="*/ 226 h 370"/>
                  <a:gd name="T50" fmla="*/ 644 w 658"/>
                  <a:gd name="T51" fmla="*/ 202 h 370"/>
                  <a:gd name="T52" fmla="*/ 654 w 658"/>
                  <a:gd name="T53" fmla="*/ 220 h 370"/>
                  <a:gd name="T54" fmla="*/ 640 w 658"/>
                  <a:gd name="T55" fmla="*/ 238 h 370"/>
                  <a:gd name="T56" fmla="*/ 612 w 658"/>
                  <a:gd name="T57" fmla="*/ 268 h 370"/>
                  <a:gd name="T58" fmla="*/ 578 w 658"/>
                  <a:gd name="T59" fmla="*/ 296 h 370"/>
                  <a:gd name="T60" fmla="*/ 544 w 658"/>
                  <a:gd name="T61" fmla="*/ 320 h 370"/>
                  <a:gd name="T62" fmla="*/ 506 w 658"/>
                  <a:gd name="T63" fmla="*/ 340 h 370"/>
                  <a:gd name="T64" fmla="*/ 466 w 658"/>
                  <a:gd name="T65" fmla="*/ 354 h 370"/>
                  <a:gd name="T66" fmla="*/ 424 w 658"/>
                  <a:gd name="T67" fmla="*/ 364 h 370"/>
                  <a:gd name="T68" fmla="*/ 382 w 658"/>
                  <a:gd name="T69" fmla="*/ 370 h 370"/>
                  <a:gd name="T70" fmla="*/ 360 w 658"/>
                  <a:gd name="T71"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 h="370">
                    <a:moveTo>
                      <a:pt x="360" y="370"/>
                    </a:moveTo>
                    <a:lnTo>
                      <a:pt x="360" y="370"/>
                    </a:lnTo>
                    <a:lnTo>
                      <a:pt x="324" y="368"/>
                    </a:lnTo>
                    <a:lnTo>
                      <a:pt x="288" y="364"/>
                    </a:lnTo>
                    <a:lnTo>
                      <a:pt x="252" y="354"/>
                    </a:lnTo>
                    <a:lnTo>
                      <a:pt x="220" y="342"/>
                    </a:lnTo>
                    <a:lnTo>
                      <a:pt x="188" y="326"/>
                    </a:lnTo>
                    <a:lnTo>
                      <a:pt x="158" y="308"/>
                    </a:lnTo>
                    <a:lnTo>
                      <a:pt x="130" y="288"/>
                    </a:lnTo>
                    <a:lnTo>
                      <a:pt x="106" y="264"/>
                    </a:lnTo>
                    <a:lnTo>
                      <a:pt x="82" y="240"/>
                    </a:lnTo>
                    <a:lnTo>
                      <a:pt x="60" y="212"/>
                    </a:lnTo>
                    <a:lnTo>
                      <a:pt x="42" y="182"/>
                    </a:lnTo>
                    <a:lnTo>
                      <a:pt x="28" y="150"/>
                    </a:lnTo>
                    <a:lnTo>
                      <a:pt x="16" y="116"/>
                    </a:lnTo>
                    <a:lnTo>
                      <a:pt x="6" y="82"/>
                    </a:lnTo>
                    <a:lnTo>
                      <a:pt x="2" y="46"/>
                    </a:lnTo>
                    <a:lnTo>
                      <a:pt x="0" y="10"/>
                    </a:lnTo>
                    <a:lnTo>
                      <a:pt x="0" y="0"/>
                    </a:lnTo>
                    <a:lnTo>
                      <a:pt x="18" y="0"/>
                    </a:lnTo>
                    <a:lnTo>
                      <a:pt x="18" y="10"/>
                    </a:lnTo>
                    <a:lnTo>
                      <a:pt x="18" y="10"/>
                    </a:lnTo>
                    <a:lnTo>
                      <a:pt x="20" y="44"/>
                    </a:lnTo>
                    <a:lnTo>
                      <a:pt x="24" y="78"/>
                    </a:lnTo>
                    <a:lnTo>
                      <a:pt x="32" y="112"/>
                    </a:lnTo>
                    <a:lnTo>
                      <a:pt x="44" y="142"/>
                    </a:lnTo>
                    <a:lnTo>
                      <a:pt x="58" y="172"/>
                    </a:lnTo>
                    <a:lnTo>
                      <a:pt x="76" y="202"/>
                    </a:lnTo>
                    <a:lnTo>
                      <a:pt x="96" y="228"/>
                    </a:lnTo>
                    <a:lnTo>
                      <a:pt x="118" y="252"/>
                    </a:lnTo>
                    <a:lnTo>
                      <a:pt x="142" y="274"/>
                    </a:lnTo>
                    <a:lnTo>
                      <a:pt x="168" y="294"/>
                    </a:lnTo>
                    <a:lnTo>
                      <a:pt x="196" y="312"/>
                    </a:lnTo>
                    <a:lnTo>
                      <a:pt x="226" y="326"/>
                    </a:lnTo>
                    <a:lnTo>
                      <a:pt x="258" y="338"/>
                    </a:lnTo>
                    <a:lnTo>
                      <a:pt x="292" y="346"/>
                    </a:lnTo>
                    <a:lnTo>
                      <a:pt x="326" y="350"/>
                    </a:lnTo>
                    <a:lnTo>
                      <a:pt x="360" y="352"/>
                    </a:lnTo>
                    <a:lnTo>
                      <a:pt x="360" y="352"/>
                    </a:lnTo>
                    <a:lnTo>
                      <a:pt x="380" y="352"/>
                    </a:lnTo>
                    <a:lnTo>
                      <a:pt x="402" y="350"/>
                    </a:lnTo>
                    <a:lnTo>
                      <a:pt x="422" y="346"/>
                    </a:lnTo>
                    <a:lnTo>
                      <a:pt x="442" y="342"/>
                    </a:lnTo>
                    <a:lnTo>
                      <a:pt x="480" y="330"/>
                    </a:lnTo>
                    <a:lnTo>
                      <a:pt x="516" y="314"/>
                    </a:lnTo>
                    <a:lnTo>
                      <a:pt x="552" y="294"/>
                    </a:lnTo>
                    <a:lnTo>
                      <a:pt x="584" y="270"/>
                    </a:lnTo>
                    <a:lnTo>
                      <a:pt x="598" y="256"/>
                    </a:lnTo>
                    <a:lnTo>
                      <a:pt x="612" y="242"/>
                    </a:lnTo>
                    <a:lnTo>
                      <a:pt x="626" y="226"/>
                    </a:lnTo>
                    <a:lnTo>
                      <a:pt x="638" y="210"/>
                    </a:lnTo>
                    <a:lnTo>
                      <a:pt x="644" y="202"/>
                    </a:lnTo>
                    <a:lnTo>
                      <a:pt x="658" y="212"/>
                    </a:lnTo>
                    <a:lnTo>
                      <a:pt x="654" y="220"/>
                    </a:lnTo>
                    <a:lnTo>
                      <a:pt x="654" y="220"/>
                    </a:lnTo>
                    <a:lnTo>
                      <a:pt x="640" y="238"/>
                    </a:lnTo>
                    <a:lnTo>
                      <a:pt x="626" y="254"/>
                    </a:lnTo>
                    <a:lnTo>
                      <a:pt x="612" y="268"/>
                    </a:lnTo>
                    <a:lnTo>
                      <a:pt x="596" y="284"/>
                    </a:lnTo>
                    <a:lnTo>
                      <a:pt x="578" y="296"/>
                    </a:lnTo>
                    <a:lnTo>
                      <a:pt x="562" y="308"/>
                    </a:lnTo>
                    <a:lnTo>
                      <a:pt x="544" y="320"/>
                    </a:lnTo>
                    <a:lnTo>
                      <a:pt x="524" y="330"/>
                    </a:lnTo>
                    <a:lnTo>
                      <a:pt x="506" y="340"/>
                    </a:lnTo>
                    <a:lnTo>
                      <a:pt x="486" y="348"/>
                    </a:lnTo>
                    <a:lnTo>
                      <a:pt x="466" y="354"/>
                    </a:lnTo>
                    <a:lnTo>
                      <a:pt x="446" y="360"/>
                    </a:lnTo>
                    <a:lnTo>
                      <a:pt x="424" y="364"/>
                    </a:lnTo>
                    <a:lnTo>
                      <a:pt x="404" y="368"/>
                    </a:lnTo>
                    <a:lnTo>
                      <a:pt x="382" y="370"/>
                    </a:lnTo>
                    <a:lnTo>
                      <a:pt x="360" y="370"/>
                    </a:lnTo>
                    <a:lnTo>
                      <a:pt x="360" y="3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Freeform 28">
                <a:extLst>
                  <a:ext uri="{FF2B5EF4-FFF2-40B4-BE49-F238E27FC236}">
                    <a16:creationId xmlns:a16="http://schemas.microsoft.com/office/drawing/2014/main" id="{8DFC6E9A-1D73-81C6-1F6E-0DFA65391FC8}"/>
                  </a:ext>
                </a:extLst>
              </p:cNvPr>
              <p:cNvSpPr>
                <a:spLocks/>
              </p:cNvSpPr>
              <p:nvPr/>
            </p:nvSpPr>
            <p:spPr bwMode="auto">
              <a:xfrm>
                <a:off x="2611153" y="3195379"/>
                <a:ext cx="657320" cy="369618"/>
              </a:xfrm>
              <a:custGeom>
                <a:avLst/>
                <a:gdLst>
                  <a:gd name="T0" fmla="*/ 640 w 658"/>
                  <a:gd name="T1" fmla="*/ 370 h 370"/>
                  <a:gd name="T2" fmla="*/ 640 w 658"/>
                  <a:gd name="T3" fmla="*/ 362 h 370"/>
                  <a:gd name="T4" fmla="*/ 634 w 658"/>
                  <a:gd name="T5" fmla="*/ 292 h 370"/>
                  <a:gd name="T6" fmla="*/ 614 w 658"/>
                  <a:gd name="T7" fmla="*/ 228 h 370"/>
                  <a:gd name="T8" fmla="*/ 582 w 658"/>
                  <a:gd name="T9" fmla="*/ 170 h 370"/>
                  <a:gd name="T10" fmla="*/ 540 w 658"/>
                  <a:gd name="T11" fmla="*/ 120 h 370"/>
                  <a:gd name="T12" fmla="*/ 490 w 658"/>
                  <a:gd name="T13" fmla="*/ 78 h 370"/>
                  <a:gd name="T14" fmla="*/ 432 w 658"/>
                  <a:gd name="T15" fmla="*/ 46 h 370"/>
                  <a:gd name="T16" fmla="*/ 368 w 658"/>
                  <a:gd name="T17" fmla="*/ 26 h 370"/>
                  <a:gd name="T18" fmla="*/ 298 w 658"/>
                  <a:gd name="T19" fmla="*/ 18 h 370"/>
                  <a:gd name="T20" fmla="*/ 278 w 658"/>
                  <a:gd name="T21" fmla="*/ 20 h 370"/>
                  <a:gd name="T22" fmla="*/ 238 w 658"/>
                  <a:gd name="T23" fmla="*/ 24 h 370"/>
                  <a:gd name="T24" fmla="*/ 178 w 658"/>
                  <a:gd name="T25" fmla="*/ 40 h 370"/>
                  <a:gd name="T26" fmla="*/ 106 w 658"/>
                  <a:gd name="T27" fmla="*/ 78 h 370"/>
                  <a:gd name="T28" fmla="*/ 60 w 658"/>
                  <a:gd name="T29" fmla="*/ 116 h 370"/>
                  <a:gd name="T30" fmla="*/ 32 w 658"/>
                  <a:gd name="T31" fmla="*/ 146 h 370"/>
                  <a:gd name="T32" fmla="*/ 14 w 658"/>
                  <a:gd name="T33" fmla="*/ 170 h 370"/>
                  <a:gd name="T34" fmla="*/ 4 w 658"/>
                  <a:gd name="T35" fmla="*/ 152 h 370"/>
                  <a:gd name="T36" fmla="*/ 18 w 658"/>
                  <a:gd name="T37" fmla="*/ 134 h 370"/>
                  <a:gd name="T38" fmla="*/ 48 w 658"/>
                  <a:gd name="T39" fmla="*/ 102 h 370"/>
                  <a:gd name="T40" fmla="*/ 80 w 658"/>
                  <a:gd name="T41" fmla="*/ 74 h 370"/>
                  <a:gd name="T42" fmla="*/ 114 w 658"/>
                  <a:gd name="T43" fmla="*/ 50 h 370"/>
                  <a:gd name="T44" fmla="*/ 152 w 658"/>
                  <a:gd name="T45" fmla="*/ 32 h 370"/>
                  <a:gd name="T46" fmla="*/ 192 w 658"/>
                  <a:gd name="T47" fmla="*/ 16 h 370"/>
                  <a:gd name="T48" fmla="*/ 234 w 658"/>
                  <a:gd name="T49" fmla="*/ 6 h 370"/>
                  <a:gd name="T50" fmla="*/ 276 w 658"/>
                  <a:gd name="T51" fmla="*/ 2 h 370"/>
                  <a:gd name="T52" fmla="*/ 298 w 658"/>
                  <a:gd name="T53" fmla="*/ 0 h 370"/>
                  <a:gd name="T54" fmla="*/ 370 w 658"/>
                  <a:gd name="T55" fmla="*/ 8 h 370"/>
                  <a:gd name="T56" fmla="*/ 438 w 658"/>
                  <a:gd name="T57" fmla="*/ 30 h 370"/>
                  <a:gd name="T58" fmla="*/ 500 w 658"/>
                  <a:gd name="T59" fmla="*/ 62 h 370"/>
                  <a:gd name="T60" fmla="*/ 554 w 658"/>
                  <a:gd name="T61" fmla="*/ 106 h 370"/>
                  <a:gd name="T62" fmla="*/ 598 w 658"/>
                  <a:gd name="T63" fmla="*/ 160 h 370"/>
                  <a:gd name="T64" fmla="*/ 630 w 658"/>
                  <a:gd name="T65" fmla="*/ 222 h 370"/>
                  <a:gd name="T66" fmla="*/ 652 w 658"/>
                  <a:gd name="T67" fmla="*/ 290 h 370"/>
                  <a:gd name="T68" fmla="*/ 658 w 658"/>
                  <a:gd name="T69" fmla="*/ 36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8" h="370">
                    <a:moveTo>
                      <a:pt x="658" y="370"/>
                    </a:moveTo>
                    <a:lnTo>
                      <a:pt x="640" y="370"/>
                    </a:lnTo>
                    <a:lnTo>
                      <a:pt x="640" y="362"/>
                    </a:lnTo>
                    <a:lnTo>
                      <a:pt x="640" y="362"/>
                    </a:lnTo>
                    <a:lnTo>
                      <a:pt x="640" y="326"/>
                    </a:lnTo>
                    <a:lnTo>
                      <a:pt x="634" y="292"/>
                    </a:lnTo>
                    <a:lnTo>
                      <a:pt x="626" y="260"/>
                    </a:lnTo>
                    <a:lnTo>
                      <a:pt x="614" y="228"/>
                    </a:lnTo>
                    <a:lnTo>
                      <a:pt x="600" y="198"/>
                    </a:lnTo>
                    <a:lnTo>
                      <a:pt x="582" y="170"/>
                    </a:lnTo>
                    <a:lnTo>
                      <a:pt x="562" y="144"/>
                    </a:lnTo>
                    <a:lnTo>
                      <a:pt x="540" y="120"/>
                    </a:lnTo>
                    <a:lnTo>
                      <a:pt x="516" y="98"/>
                    </a:lnTo>
                    <a:lnTo>
                      <a:pt x="490" y="78"/>
                    </a:lnTo>
                    <a:lnTo>
                      <a:pt x="462" y="60"/>
                    </a:lnTo>
                    <a:lnTo>
                      <a:pt x="432" y="46"/>
                    </a:lnTo>
                    <a:lnTo>
                      <a:pt x="400" y="34"/>
                    </a:lnTo>
                    <a:lnTo>
                      <a:pt x="368" y="26"/>
                    </a:lnTo>
                    <a:lnTo>
                      <a:pt x="334" y="20"/>
                    </a:lnTo>
                    <a:lnTo>
                      <a:pt x="298" y="18"/>
                    </a:lnTo>
                    <a:lnTo>
                      <a:pt x="298" y="18"/>
                    </a:lnTo>
                    <a:lnTo>
                      <a:pt x="278" y="20"/>
                    </a:lnTo>
                    <a:lnTo>
                      <a:pt x="258" y="22"/>
                    </a:lnTo>
                    <a:lnTo>
                      <a:pt x="238" y="24"/>
                    </a:lnTo>
                    <a:lnTo>
                      <a:pt x="218" y="28"/>
                    </a:lnTo>
                    <a:lnTo>
                      <a:pt x="178" y="40"/>
                    </a:lnTo>
                    <a:lnTo>
                      <a:pt x="142" y="56"/>
                    </a:lnTo>
                    <a:lnTo>
                      <a:pt x="106" y="78"/>
                    </a:lnTo>
                    <a:lnTo>
                      <a:pt x="74" y="102"/>
                    </a:lnTo>
                    <a:lnTo>
                      <a:pt x="60" y="116"/>
                    </a:lnTo>
                    <a:lnTo>
                      <a:pt x="46" y="130"/>
                    </a:lnTo>
                    <a:lnTo>
                      <a:pt x="32" y="146"/>
                    </a:lnTo>
                    <a:lnTo>
                      <a:pt x="20" y="162"/>
                    </a:lnTo>
                    <a:lnTo>
                      <a:pt x="14" y="170"/>
                    </a:lnTo>
                    <a:lnTo>
                      <a:pt x="0" y="158"/>
                    </a:lnTo>
                    <a:lnTo>
                      <a:pt x="4" y="152"/>
                    </a:lnTo>
                    <a:lnTo>
                      <a:pt x="4" y="152"/>
                    </a:lnTo>
                    <a:lnTo>
                      <a:pt x="18" y="134"/>
                    </a:lnTo>
                    <a:lnTo>
                      <a:pt x="32" y="118"/>
                    </a:lnTo>
                    <a:lnTo>
                      <a:pt x="48" y="102"/>
                    </a:lnTo>
                    <a:lnTo>
                      <a:pt x="64" y="88"/>
                    </a:lnTo>
                    <a:lnTo>
                      <a:pt x="80" y="74"/>
                    </a:lnTo>
                    <a:lnTo>
                      <a:pt x="96" y="62"/>
                    </a:lnTo>
                    <a:lnTo>
                      <a:pt x="114" y="50"/>
                    </a:lnTo>
                    <a:lnTo>
                      <a:pt x="134" y="40"/>
                    </a:lnTo>
                    <a:lnTo>
                      <a:pt x="152" y="32"/>
                    </a:lnTo>
                    <a:lnTo>
                      <a:pt x="172" y="24"/>
                    </a:lnTo>
                    <a:lnTo>
                      <a:pt x="192" y="16"/>
                    </a:lnTo>
                    <a:lnTo>
                      <a:pt x="212" y="12"/>
                    </a:lnTo>
                    <a:lnTo>
                      <a:pt x="234" y="6"/>
                    </a:lnTo>
                    <a:lnTo>
                      <a:pt x="256" y="4"/>
                    </a:lnTo>
                    <a:lnTo>
                      <a:pt x="276" y="2"/>
                    </a:lnTo>
                    <a:lnTo>
                      <a:pt x="298" y="0"/>
                    </a:lnTo>
                    <a:lnTo>
                      <a:pt x="298" y="0"/>
                    </a:lnTo>
                    <a:lnTo>
                      <a:pt x="334" y="2"/>
                    </a:lnTo>
                    <a:lnTo>
                      <a:pt x="370" y="8"/>
                    </a:lnTo>
                    <a:lnTo>
                      <a:pt x="406" y="18"/>
                    </a:lnTo>
                    <a:lnTo>
                      <a:pt x="438" y="30"/>
                    </a:lnTo>
                    <a:lnTo>
                      <a:pt x="470" y="44"/>
                    </a:lnTo>
                    <a:lnTo>
                      <a:pt x="500" y="62"/>
                    </a:lnTo>
                    <a:lnTo>
                      <a:pt x="528" y="84"/>
                    </a:lnTo>
                    <a:lnTo>
                      <a:pt x="554" y="106"/>
                    </a:lnTo>
                    <a:lnTo>
                      <a:pt x="576" y="132"/>
                    </a:lnTo>
                    <a:lnTo>
                      <a:pt x="598" y="160"/>
                    </a:lnTo>
                    <a:lnTo>
                      <a:pt x="616" y="190"/>
                    </a:lnTo>
                    <a:lnTo>
                      <a:pt x="630" y="222"/>
                    </a:lnTo>
                    <a:lnTo>
                      <a:pt x="642" y="254"/>
                    </a:lnTo>
                    <a:lnTo>
                      <a:pt x="652" y="290"/>
                    </a:lnTo>
                    <a:lnTo>
                      <a:pt x="658" y="324"/>
                    </a:lnTo>
                    <a:lnTo>
                      <a:pt x="658" y="362"/>
                    </a:lnTo>
                    <a:lnTo>
                      <a:pt x="658" y="3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5" name="Freeform 29">
                <a:extLst>
                  <a:ext uri="{FF2B5EF4-FFF2-40B4-BE49-F238E27FC236}">
                    <a16:creationId xmlns:a16="http://schemas.microsoft.com/office/drawing/2014/main" id="{D25A52BE-052E-A92D-347D-BD9DE78AF19F}"/>
                  </a:ext>
                </a:extLst>
              </p:cNvPr>
              <p:cNvSpPr>
                <a:spLocks/>
              </p:cNvSpPr>
              <p:nvPr/>
            </p:nvSpPr>
            <p:spPr bwMode="auto">
              <a:xfrm>
                <a:off x="2651111" y="3547015"/>
                <a:ext cx="489494" cy="267723"/>
              </a:xfrm>
              <a:custGeom>
                <a:avLst/>
                <a:gdLst>
                  <a:gd name="T0" fmla="*/ 258 w 490"/>
                  <a:gd name="T1" fmla="*/ 268 h 268"/>
                  <a:gd name="T2" fmla="*/ 258 w 490"/>
                  <a:gd name="T3" fmla="*/ 268 h 268"/>
                  <a:gd name="T4" fmla="*/ 232 w 490"/>
                  <a:gd name="T5" fmla="*/ 266 h 268"/>
                  <a:gd name="T6" fmla="*/ 206 w 490"/>
                  <a:gd name="T7" fmla="*/ 262 h 268"/>
                  <a:gd name="T8" fmla="*/ 182 w 490"/>
                  <a:gd name="T9" fmla="*/ 256 h 268"/>
                  <a:gd name="T10" fmla="*/ 158 w 490"/>
                  <a:gd name="T11" fmla="*/ 248 h 268"/>
                  <a:gd name="T12" fmla="*/ 136 w 490"/>
                  <a:gd name="T13" fmla="*/ 236 h 268"/>
                  <a:gd name="T14" fmla="*/ 114 w 490"/>
                  <a:gd name="T15" fmla="*/ 224 h 268"/>
                  <a:gd name="T16" fmla="*/ 94 w 490"/>
                  <a:gd name="T17" fmla="*/ 208 h 268"/>
                  <a:gd name="T18" fmla="*/ 76 w 490"/>
                  <a:gd name="T19" fmla="*/ 192 h 268"/>
                  <a:gd name="T20" fmla="*/ 60 w 490"/>
                  <a:gd name="T21" fmla="*/ 174 h 268"/>
                  <a:gd name="T22" fmla="*/ 44 w 490"/>
                  <a:gd name="T23" fmla="*/ 154 h 268"/>
                  <a:gd name="T24" fmla="*/ 32 w 490"/>
                  <a:gd name="T25" fmla="*/ 132 h 268"/>
                  <a:gd name="T26" fmla="*/ 20 w 490"/>
                  <a:gd name="T27" fmla="*/ 110 h 268"/>
                  <a:gd name="T28" fmla="*/ 12 w 490"/>
                  <a:gd name="T29" fmla="*/ 86 h 268"/>
                  <a:gd name="T30" fmla="*/ 6 w 490"/>
                  <a:gd name="T31" fmla="*/ 62 h 268"/>
                  <a:gd name="T32" fmla="*/ 2 w 490"/>
                  <a:gd name="T33" fmla="*/ 36 h 268"/>
                  <a:gd name="T34" fmla="*/ 0 w 490"/>
                  <a:gd name="T35" fmla="*/ 10 h 268"/>
                  <a:gd name="T36" fmla="*/ 0 w 490"/>
                  <a:gd name="T37" fmla="*/ 0 h 268"/>
                  <a:gd name="T38" fmla="*/ 18 w 490"/>
                  <a:gd name="T39" fmla="*/ 0 h 268"/>
                  <a:gd name="T40" fmla="*/ 18 w 490"/>
                  <a:gd name="T41" fmla="*/ 10 h 268"/>
                  <a:gd name="T42" fmla="*/ 18 w 490"/>
                  <a:gd name="T43" fmla="*/ 10 h 268"/>
                  <a:gd name="T44" fmla="*/ 20 w 490"/>
                  <a:gd name="T45" fmla="*/ 34 h 268"/>
                  <a:gd name="T46" fmla="*/ 24 w 490"/>
                  <a:gd name="T47" fmla="*/ 58 h 268"/>
                  <a:gd name="T48" fmla="*/ 30 w 490"/>
                  <a:gd name="T49" fmla="*/ 80 h 268"/>
                  <a:gd name="T50" fmla="*/ 38 w 490"/>
                  <a:gd name="T51" fmla="*/ 102 h 268"/>
                  <a:gd name="T52" fmla="*/ 48 w 490"/>
                  <a:gd name="T53" fmla="*/ 124 h 268"/>
                  <a:gd name="T54" fmla="*/ 60 w 490"/>
                  <a:gd name="T55" fmla="*/ 144 h 268"/>
                  <a:gd name="T56" fmla="*/ 74 w 490"/>
                  <a:gd name="T57" fmla="*/ 162 h 268"/>
                  <a:gd name="T58" fmla="*/ 88 w 490"/>
                  <a:gd name="T59" fmla="*/ 180 h 268"/>
                  <a:gd name="T60" fmla="*/ 106 w 490"/>
                  <a:gd name="T61" fmla="*/ 194 h 268"/>
                  <a:gd name="T62" fmla="*/ 124 w 490"/>
                  <a:gd name="T63" fmla="*/ 208 h 268"/>
                  <a:gd name="T64" fmla="*/ 144 w 490"/>
                  <a:gd name="T65" fmla="*/ 220 h 268"/>
                  <a:gd name="T66" fmla="*/ 164 w 490"/>
                  <a:gd name="T67" fmla="*/ 230 h 268"/>
                  <a:gd name="T68" fmla="*/ 186 w 490"/>
                  <a:gd name="T69" fmla="*/ 238 h 268"/>
                  <a:gd name="T70" fmla="*/ 210 w 490"/>
                  <a:gd name="T71" fmla="*/ 244 h 268"/>
                  <a:gd name="T72" fmla="*/ 234 w 490"/>
                  <a:gd name="T73" fmla="*/ 248 h 268"/>
                  <a:gd name="T74" fmla="*/ 258 w 490"/>
                  <a:gd name="T75" fmla="*/ 250 h 268"/>
                  <a:gd name="T76" fmla="*/ 258 w 490"/>
                  <a:gd name="T77" fmla="*/ 250 h 268"/>
                  <a:gd name="T78" fmla="*/ 290 w 490"/>
                  <a:gd name="T79" fmla="*/ 248 h 268"/>
                  <a:gd name="T80" fmla="*/ 322 w 490"/>
                  <a:gd name="T81" fmla="*/ 240 h 268"/>
                  <a:gd name="T82" fmla="*/ 352 w 490"/>
                  <a:gd name="T83" fmla="*/ 230 h 268"/>
                  <a:gd name="T84" fmla="*/ 380 w 490"/>
                  <a:gd name="T85" fmla="*/ 216 h 268"/>
                  <a:gd name="T86" fmla="*/ 408 w 490"/>
                  <a:gd name="T87" fmla="*/ 198 h 268"/>
                  <a:gd name="T88" fmla="*/ 430 w 490"/>
                  <a:gd name="T89" fmla="*/ 176 h 268"/>
                  <a:gd name="T90" fmla="*/ 452 w 490"/>
                  <a:gd name="T91" fmla="*/ 152 h 268"/>
                  <a:gd name="T92" fmla="*/ 468 w 490"/>
                  <a:gd name="T93" fmla="*/ 124 h 268"/>
                  <a:gd name="T94" fmla="*/ 474 w 490"/>
                  <a:gd name="T95" fmla="*/ 116 h 268"/>
                  <a:gd name="T96" fmla="*/ 490 w 490"/>
                  <a:gd name="T97" fmla="*/ 124 h 268"/>
                  <a:gd name="T98" fmla="*/ 484 w 490"/>
                  <a:gd name="T99" fmla="*/ 132 h 268"/>
                  <a:gd name="T100" fmla="*/ 484 w 490"/>
                  <a:gd name="T101" fmla="*/ 132 h 268"/>
                  <a:gd name="T102" fmla="*/ 476 w 490"/>
                  <a:gd name="T103" fmla="*/ 148 h 268"/>
                  <a:gd name="T104" fmla="*/ 466 w 490"/>
                  <a:gd name="T105" fmla="*/ 162 h 268"/>
                  <a:gd name="T106" fmla="*/ 444 w 490"/>
                  <a:gd name="T107" fmla="*/ 188 h 268"/>
                  <a:gd name="T108" fmla="*/ 418 w 490"/>
                  <a:gd name="T109" fmla="*/ 212 h 268"/>
                  <a:gd name="T110" fmla="*/ 390 w 490"/>
                  <a:gd name="T111" fmla="*/ 232 h 268"/>
                  <a:gd name="T112" fmla="*/ 360 w 490"/>
                  <a:gd name="T113" fmla="*/ 246 h 268"/>
                  <a:gd name="T114" fmla="*/ 328 w 490"/>
                  <a:gd name="T115" fmla="*/ 258 h 268"/>
                  <a:gd name="T116" fmla="*/ 294 w 490"/>
                  <a:gd name="T117" fmla="*/ 266 h 268"/>
                  <a:gd name="T118" fmla="*/ 276 w 490"/>
                  <a:gd name="T119" fmla="*/ 266 h 268"/>
                  <a:gd name="T120" fmla="*/ 258 w 490"/>
                  <a:gd name="T121" fmla="*/ 268 h 268"/>
                  <a:gd name="T122" fmla="*/ 258 w 490"/>
                  <a:gd name="T123"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0" h="268">
                    <a:moveTo>
                      <a:pt x="258" y="268"/>
                    </a:moveTo>
                    <a:lnTo>
                      <a:pt x="258" y="268"/>
                    </a:lnTo>
                    <a:lnTo>
                      <a:pt x="232" y="266"/>
                    </a:lnTo>
                    <a:lnTo>
                      <a:pt x="206" y="262"/>
                    </a:lnTo>
                    <a:lnTo>
                      <a:pt x="182" y="256"/>
                    </a:lnTo>
                    <a:lnTo>
                      <a:pt x="158" y="248"/>
                    </a:lnTo>
                    <a:lnTo>
                      <a:pt x="136" y="236"/>
                    </a:lnTo>
                    <a:lnTo>
                      <a:pt x="114" y="224"/>
                    </a:lnTo>
                    <a:lnTo>
                      <a:pt x="94" y="208"/>
                    </a:lnTo>
                    <a:lnTo>
                      <a:pt x="76" y="192"/>
                    </a:lnTo>
                    <a:lnTo>
                      <a:pt x="60" y="174"/>
                    </a:lnTo>
                    <a:lnTo>
                      <a:pt x="44" y="154"/>
                    </a:lnTo>
                    <a:lnTo>
                      <a:pt x="32" y="132"/>
                    </a:lnTo>
                    <a:lnTo>
                      <a:pt x="20" y="110"/>
                    </a:lnTo>
                    <a:lnTo>
                      <a:pt x="12" y="86"/>
                    </a:lnTo>
                    <a:lnTo>
                      <a:pt x="6" y="62"/>
                    </a:lnTo>
                    <a:lnTo>
                      <a:pt x="2" y="36"/>
                    </a:lnTo>
                    <a:lnTo>
                      <a:pt x="0" y="10"/>
                    </a:lnTo>
                    <a:lnTo>
                      <a:pt x="0" y="0"/>
                    </a:lnTo>
                    <a:lnTo>
                      <a:pt x="18" y="0"/>
                    </a:lnTo>
                    <a:lnTo>
                      <a:pt x="18" y="10"/>
                    </a:lnTo>
                    <a:lnTo>
                      <a:pt x="18" y="10"/>
                    </a:lnTo>
                    <a:lnTo>
                      <a:pt x="20" y="34"/>
                    </a:lnTo>
                    <a:lnTo>
                      <a:pt x="24" y="58"/>
                    </a:lnTo>
                    <a:lnTo>
                      <a:pt x="30" y="80"/>
                    </a:lnTo>
                    <a:lnTo>
                      <a:pt x="38" y="102"/>
                    </a:lnTo>
                    <a:lnTo>
                      <a:pt x="48" y="124"/>
                    </a:lnTo>
                    <a:lnTo>
                      <a:pt x="60" y="144"/>
                    </a:lnTo>
                    <a:lnTo>
                      <a:pt x="74" y="162"/>
                    </a:lnTo>
                    <a:lnTo>
                      <a:pt x="88" y="180"/>
                    </a:lnTo>
                    <a:lnTo>
                      <a:pt x="106" y="194"/>
                    </a:lnTo>
                    <a:lnTo>
                      <a:pt x="124" y="208"/>
                    </a:lnTo>
                    <a:lnTo>
                      <a:pt x="144" y="220"/>
                    </a:lnTo>
                    <a:lnTo>
                      <a:pt x="164" y="230"/>
                    </a:lnTo>
                    <a:lnTo>
                      <a:pt x="186" y="238"/>
                    </a:lnTo>
                    <a:lnTo>
                      <a:pt x="210" y="244"/>
                    </a:lnTo>
                    <a:lnTo>
                      <a:pt x="234" y="248"/>
                    </a:lnTo>
                    <a:lnTo>
                      <a:pt x="258" y="250"/>
                    </a:lnTo>
                    <a:lnTo>
                      <a:pt x="258" y="250"/>
                    </a:lnTo>
                    <a:lnTo>
                      <a:pt x="290" y="248"/>
                    </a:lnTo>
                    <a:lnTo>
                      <a:pt x="322" y="240"/>
                    </a:lnTo>
                    <a:lnTo>
                      <a:pt x="352" y="230"/>
                    </a:lnTo>
                    <a:lnTo>
                      <a:pt x="380" y="216"/>
                    </a:lnTo>
                    <a:lnTo>
                      <a:pt x="408" y="198"/>
                    </a:lnTo>
                    <a:lnTo>
                      <a:pt x="430" y="176"/>
                    </a:lnTo>
                    <a:lnTo>
                      <a:pt x="452" y="152"/>
                    </a:lnTo>
                    <a:lnTo>
                      <a:pt x="468" y="124"/>
                    </a:lnTo>
                    <a:lnTo>
                      <a:pt x="474" y="116"/>
                    </a:lnTo>
                    <a:lnTo>
                      <a:pt x="490" y="124"/>
                    </a:lnTo>
                    <a:lnTo>
                      <a:pt x="484" y="132"/>
                    </a:lnTo>
                    <a:lnTo>
                      <a:pt x="484" y="132"/>
                    </a:lnTo>
                    <a:lnTo>
                      <a:pt x="476" y="148"/>
                    </a:lnTo>
                    <a:lnTo>
                      <a:pt x="466" y="162"/>
                    </a:lnTo>
                    <a:lnTo>
                      <a:pt x="444" y="188"/>
                    </a:lnTo>
                    <a:lnTo>
                      <a:pt x="418" y="212"/>
                    </a:lnTo>
                    <a:lnTo>
                      <a:pt x="390" y="232"/>
                    </a:lnTo>
                    <a:lnTo>
                      <a:pt x="360" y="246"/>
                    </a:lnTo>
                    <a:lnTo>
                      <a:pt x="328" y="258"/>
                    </a:lnTo>
                    <a:lnTo>
                      <a:pt x="294" y="266"/>
                    </a:lnTo>
                    <a:lnTo>
                      <a:pt x="276" y="266"/>
                    </a:lnTo>
                    <a:lnTo>
                      <a:pt x="258" y="268"/>
                    </a:lnTo>
                    <a:lnTo>
                      <a:pt x="258" y="26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6" name="Freeform 30">
                <a:extLst>
                  <a:ext uri="{FF2B5EF4-FFF2-40B4-BE49-F238E27FC236}">
                    <a16:creationId xmlns:a16="http://schemas.microsoft.com/office/drawing/2014/main" id="{635E2391-9325-FEC8-683E-9494A9F6B0C4}"/>
                  </a:ext>
                </a:extLst>
              </p:cNvPr>
              <p:cNvSpPr>
                <a:spLocks/>
              </p:cNvSpPr>
              <p:nvPr/>
            </p:nvSpPr>
            <p:spPr bwMode="auto">
              <a:xfrm>
                <a:off x="2679083" y="3299272"/>
                <a:ext cx="487496" cy="265725"/>
              </a:xfrm>
              <a:custGeom>
                <a:avLst/>
                <a:gdLst>
                  <a:gd name="T0" fmla="*/ 488 w 488"/>
                  <a:gd name="T1" fmla="*/ 266 h 266"/>
                  <a:gd name="T2" fmla="*/ 470 w 488"/>
                  <a:gd name="T3" fmla="*/ 266 h 266"/>
                  <a:gd name="T4" fmla="*/ 470 w 488"/>
                  <a:gd name="T5" fmla="*/ 258 h 266"/>
                  <a:gd name="T6" fmla="*/ 470 w 488"/>
                  <a:gd name="T7" fmla="*/ 258 h 266"/>
                  <a:gd name="T8" fmla="*/ 468 w 488"/>
                  <a:gd name="T9" fmla="*/ 234 h 266"/>
                  <a:gd name="T10" fmla="*/ 466 w 488"/>
                  <a:gd name="T11" fmla="*/ 210 h 266"/>
                  <a:gd name="T12" fmla="*/ 460 w 488"/>
                  <a:gd name="T13" fmla="*/ 186 h 266"/>
                  <a:gd name="T14" fmla="*/ 452 w 488"/>
                  <a:gd name="T15" fmla="*/ 164 h 266"/>
                  <a:gd name="T16" fmla="*/ 440 w 488"/>
                  <a:gd name="T17" fmla="*/ 144 h 266"/>
                  <a:gd name="T18" fmla="*/ 428 w 488"/>
                  <a:gd name="T19" fmla="*/ 124 h 266"/>
                  <a:gd name="T20" fmla="*/ 416 w 488"/>
                  <a:gd name="T21" fmla="*/ 106 h 266"/>
                  <a:gd name="T22" fmla="*/ 400 w 488"/>
                  <a:gd name="T23" fmla="*/ 88 h 266"/>
                  <a:gd name="T24" fmla="*/ 382 w 488"/>
                  <a:gd name="T25" fmla="*/ 72 h 266"/>
                  <a:gd name="T26" fmla="*/ 364 w 488"/>
                  <a:gd name="T27" fmla="*/ 58 h 266"/>
                  <a:gd name="T28" fmla="*/ 344 w 488"/>
                  <a:gd name="T29" fmla="*/ 46 h 266"/>
                  <a:gd name="T30" fmla="*/ 324 w 488"/>
                  <a:gd name="T31" fmla="*/ 36 h 266"/>
                  <a:gd name="T32" fmla="*/ 302 w 488"/>
                  <a:gd name="T33" fmla="*/ 28 h 266"/>
                  <a:gd name="T34" fmla="*/ 278 w 488"/>
                  <a:gd name="T35" fmla="*/ 22 h 266"/>
                  <a:gd name="T36" fmla="*/ 254 w 488"/>
                  <a:gd name="T37" fmla="*/ 20 h 266"/>
                  <a:gd name="T38" fmla="*/ 230 w 488"/>
                  <a:gd name="T39" fmla="*/ 18 h 266"/>
                  <a:gd name="T40" fmla="*/ 230 w 488"/>
                  <a:gd name="T41" fmla="*/ 18 h 266"/>
                  <a:gd name="T42" fmla="*/ 198 w 488"/>
                  <a:gd name="T43" fmla="*/ 20 h 266"/>
                  <a:gd name="T44" fmla="*/ 166 w 488"/>
                  <a:gd name="T45" fmla="*/ 26 h 266"/>
                  <a:gd name="T46" fmla="*/ 136 w 488"/>
                  <a:gd name="T47" fmla="*/ 38 h 266"/>
                  <a:gd name="T48" fmla="*/ 108 w 488"/>
                  <a:gd name="T49" fmla="*/ 52 h 266"/>
                  <a:gd name="T50" fmla="*/ 82 w 488"/>
                  <a:gd name="T51" fmla="*/ 70 h 266"/>
                  <a:gd name="T52" fmla="*/ 58 w 488"/>
                  <a:gd name="T53" fmla="*/ 92 h 266"/>
                  <a:gd name="T54" fmla="*/ 36 w 488"/>
                  <a:gd name="T55" fmla="*/ 116 h 266"/>
                  <a:gd name="T56" fmla="*/ 20 w 488"/>
                  <a:gd name="T57" fmla="*/ 144 h 266"/>
                  <a:gd name="T58" fmla="*/ 14 w 488"/>
                  <a:gd name="T59" fmla="*/ 152 h 266"/>
                  <a:gd name="T60" fmla="*/ 0 w 488"/>
                  <a:gd name="T61" fmla="*/ 142 h 266"/>
                  <a:gd name="T62" fmla="*/ 4 w 488"/>
                  <a:gd name="T63" fmla="*/ 134 h 266"/>
                  <a:gd name="T64" fmla="*/ 4 w 488"/>
                  <a:gd name="T65" fmla="*/ 134 h 266"/>
                  <a:gd name="T66" fmla="*/ 12 w 488"/>
                  <a:gd name="T67" fmla="*/ 120 h 266"/>
                  <a:gd name="T68" fmla="*/ 22 w 488"/>
                  <a:gd name="T69" fmla="*/ 106 h 266"/>
                  <a:gd name="T70" fmla="*/ 44 w 488"/>
                  <a:gd name="T71" fmla="*/ 78 h 266"/>
                  <a:gd name="T72" fmla="*/ 70 w 488"/>
                  <a:gd name="T73" fmla="*/ 56 h 266"/>
                  <a:gd name="T74" fmla="*/ 98 w 488"/>
                  <a:gd name="T75" fmla="*/ 36 h 266"/>
                  <a:gd name="T76" fmla="*/ 128 w 488"/>
                  <a:gd name="T77" fmla="*/ 20 h 266"/>
                  <a:gd name="T78" fmla="*/ 162 w 488"/>
                  <a:gd name="T79" fmla="*/ 10 h 266"/>
                  <a:gd name="T80" fmla="*/ 196 w 488"/>
                  <a:gd name="T81" fmla="*/ 2 h 266"/>
                  <a:gd name="T82" fmla="*/ 212 w 488"/>
                  <a:gd name="T83" fmla="*/ 0 h 266"/>
                  <a:gd name="T84" fmla="*/ 230 w 488"/>
                  <a:gd name="T85" fmla="*/ 0 h 266"/>
                  <a:gd name="T86" fmla="*/ 230 w 488"/>
                  <a:gd name="T87" fmla="*/ 0 h 266"/>
                  <a:gd name="T88" fmla="*/ 256 w 488"/>
                  <a:gd name="T89" fmla="*/ 2 h 266"/>
                  <a:gd name="T90" fmla="*/ 282 w 488"/>
                  <a:gd name="T91" fmla="*/ 6 h 266"/>
                  <a:gd name="T92" fmla="*/ 306 w 488"/>
                  <a:gd name="T93" fmla="*/ 12 h 266"/>
                  <a:gd name="T94" fmla="*/ 330 w 488"/>
                  <a:gd name="T95" fmla="*/ 20 h 266"/>
                  <a:gd name="T96" fmla="*/ 352 w 488"/>
                  <a:gd name="T97" fmla="*/ 30 h 266"/>
                  <a:gd name="T98" fmla="*/ 374 w 488"/>
                  <a:gd name="T99" fmla="*/ 44 h 266"/>
                  <a:gd name="T100" fmla="*/ 394 w 488"/>
                  <a:gd name="T101" fmla="*/ 58 h 266"/>
                  <a:gd name="T102" fmla="*/ 412 w 488"/>
                  <a:gd name="T103" fmla="*/ 76 h 266"/>
                  <a:gd name="T104" fmla="*/ 428 w 488"/>
                  <a:gd name="T105" fmla="*/ 94 h 266"/>
                  <a:gd name="T106" fmla="*/ 444 w 488"/>
                  <a:gd name="T107" fmla="*/ 114 h 266"/>
                  <a:gd name="T108" fmla="*/ 456 w 488"/>
                  <a:gd name="T109" fmla="*/ 134 h 266"/>
                  <a:gd name="T110" fmla="*/ 468 w 488"/>
                  <a:gd name="T111" fmla="*/ 158 h 266"/>
                  <a:gd name="T112" fmla="*/ 476 w 488"/>
                  <a:gd name="T113" fmla="*/ 182 h 266"/>
                  <a:gd name="T114" fmla="*/ 482 w 488"/>
                  <a:gd name="T115" fmla="*/ 206 h 266"/>
                  <a:gd name="T116" fmla="*/ 486 w 488"/>
                  <a:gd name="T117" fmla="*/ 232 h 266"/>
                  <a:gd name="T118" fmla="*/ 488 w 488"/>
                  <a:gd name="T119" fmla="*/ 258 h 266"/>
                  <a:gd name="T120" fmla="*/ 488 w 488"/>
                  <a:gd name="T121"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8" h="266">
                    <a:moveTo>
                      <a:pt x="488" y="266"/>
                    </a:moveTo>
                    <a:lnTo>
                      <a:pt x="470" y="266"/>
                    </a:lnTo>
                    <a:lnTo>
                      <a:pt x="470" y="258"/>
                    </a:lnTo>
                    <a:lnTo>
                      <a:pt x="470" y="258"/>
                    </a:lnTo>
                    <a:lnTo>
                      <a:pt x="468" y="234"/>
                    </a:lnTo>
                    <a:lnTo>
                      <a:pt x="466" y="210"/>
                    </a:lnTo>
                    <a:lnTo>
                      <a:pt x="460" y="186"/>
                    </a:lnTo>
                    <a:lnTo>
                      <a:pt x="452" y="164"/>
                    </a:lnTo>
                    <a:lnTo>
                      <a:pt x="440" y="144"/>
                    </a:lnTo>
                    <a:lnTo>
                      <a:pt x="428" y="124"/>
                    </a:lnTo>
                    <a:lnTo>
                      <a:pt x="416" y="106"/>
                    </a:lnTo>
                    <a:lnTo>
                      <a:pt x="400" y="88"/>
                    </a:lnTo>
                    <a:lnTo>
                      <a:pt x="382" y="72"/>
                    </a:lnTo>
                    <a:lnTo>
                      <a:pt x="364" y="58"/>
                    </a:lnTo>
                    <a:lnTo>
                      <a:pt x="344" y="46"/>
                    </a:lnTo>
                    <a:lnTo>
                      <a:pt x="324" y="36"/>
                    </a:lnTo>
                    <a:lnTo>
                      <a:pt x="302" y="28"/>
                    </a:lnTo>
                    <a:lnTo>
                      <a:pt x="278" y="22"/>
                    </a:lnTo>
                    <a:lnTo>
                      <a:pt x="254" y="20"/>
                    </a:lnTo>
                    <a:lnTo>
                      <a:pt x="230" y="18"/>
                    </a:lnTo>
                    <a:lnTo>
                      <a:pt x="230" y="18"/>
                    </a:lnTo>
                    <a:lnTo>
                      <a:pt x="198" y="20"/>
                    </a:lnTo>
                    <a:lnTo>
                      <a:pt x="166" y="26"/>
                    </a:lnTo>
                    <a:lnTo>
                      <a:pt x="136" y="38"/>
                    </a:lnTo>
                    <a:lnTo>
                      <a:pt x="108" y="52"/>
                    </a:lnTo>
                    <a:lnTo>
                      <a:pt x="82" y="70"/>
                    </a:lnTo>
                    <a:lnTo>
                      <a:pt x="58" y="92"/>
                    </a:lnTo>
                    <a:lnTo>
                      <a:pt x="36" y="116"/>
                    </a:lnTo>
                    <a:lnTo>
                      <a:pt x="20" y="144"/>
                    </a:lnTo>
                    <a:lnTo>
                      <a:pt x="14" y="152"/>
                    </a:lnTo>
                    <a:lnTo>
                      <a:pt x="0" y="142"/>
                    </a:lnTo>
                    <a:lnTo>
                      <a:pt x="4" y="134"/>
                    </a:lnTo>
                    <a:lnTo>
                      <a:pt x="4" y="134"/>
                    </a:lnTo>
                    <a:lnTo>
                      <a:pt x="12" y="120"/>
                    </a:lnTo>
                    <a:lnTo>
                      <a:pt x="22" y="106"/>
                    </a:lnTo>
                    <a:lnTo>
                      <a:pt x="44" y="78"/>
                    </a:lnTo>
                    <a:lnTo>
                      <a:pt x="70" y="56"/>
                    </a:lnTo>
                    <a:lnTo>
                      <a:pt x="98" y="36"/>
                    </a:lnTo>
                    <a:lnTo>
                      <a:pt x="128" y="20"/>
                    </a:lnTo>
                    <a:lnTo>
                      <a:pt x="162" y="10"/>
                    </a:lnTo>
                    <a:lnTo>
                      <a:pt x="196" y="2"/>
                    </a:lnTo>
                    <a:lnTo>
                      <a:pt x="212" y="0"/>
                    </a:lnTo>
                    <a:lnTo>
                      <a:pt x="230" y="0"/>
                    </a:lnTo>
                    <a:lnTo>
                      <a:pt x="230" y="0"/>
                    </a:lnTo>
                    <a:lnTo>
                      <a:pt x="256" y="2"/>
                    </a:lnTo>
                    <a:lnTo>
                      <a:pt x="282" y="6"/>
                    </a:lnTo>
                    <a:lnTo>
                      <a:pt x="306" y="12"/>
                    </a:lnTo>
                    <a:lnTo>
                      <a:pt x="330" y="20"/>
                    </a:lnTo>
                    <a:lnTo>
                      <a:pt x="352" y="30"/>
                    </a:lnTo>
                    <a:lnTo>
                      <a:pt x="374" y="44"/>
                    </a:lnTo>
                    <a:lnTo>
                      <a:pt x="394" y="58"/>
                    </a:lnTo>
                    <a:lnTo>
                      <a:pt x="412" y="76"/>
                    </a:lnTo>
                    <a:lnTo>
                      <a:pt x="428" y="94"/>
                    </a:lnTo>
                    <a:lnTo>
                      <a:pt x="444" y="114"/>
                    </a:lnTo>
                    <a:lnTo>
                      <a:pt x="456" y="134"/>
                    </a:lnTo>
                    <a:lnTo>
                      <a:pt x="468" y="158"/>
                    </a:lnTo>
                    <a:lnTo>
                      <a:pt x="476" y="182"/>
                    </a:lnTo>
                    <a:lnTo>
                      <a:pt x="482" y="206"/>
                    </a:lnTo>
                    <a:lnTo>
                      <a:pt x="486" y="232"/>
                    </a:lnTo>
                    <a:lnTo>
                      <a:pt x="488" y="258"/>
                    </a:lnTo>
                    <a:lnTo>
                      <a:pt x="488"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7" name="Freeform 31">
                <a:extLst>
                  <a:ext uri="{FF2B5EF4-FFF2-40B4-BE49-F238E27FC236}">
                    <a16:creationId xmlns:a16="http://schemas.microsoft.com/office/drawing/2014/main" id="{B2463E3D-133C-729D-BDBB-E51A75826442}"/>
                  </a:ext>
                </a:extLst>
              </p:cNvPr>
              <p:cNvSpPr>
                <a:spLocks/>
              </p:cNvSpPr>
              <p:nvPr/>
            </p:nvSpPr>
            <p:spPr bwMode="auto">
              <a:xfrm>
                <a:off x="2513254" y="3415152"/>
                <a:ext cx="189804" cy="149845"/>
              </a:xfrm>
              <a:custGeom>
                <a:avLst/>
                <a:gdLst>
                  <a:gd name="T0" fmla="*/ 180 w 190"/>
                  <a:gd name="T1" fmla="*/ 150 h 150"/>
                  <a:gd name="T2" fmla="*/ 138 w 190"/>
                  <a:gd name="T3" fmla="*/ 150 h 150"/>
                  <a:gd name="T4" fmla="*/ 138 w 190"/>
                  <a:gd name="T5" fmla="*/ 132 h 150"/>
                  <a:gd name="T6" fmla="*/ 164 w 190"/>
                  <a:gd name="T7" fmla="*/ 132 h 150"/>
                  <a:gd name="T8" fmla="*/ 94 w 190"/>
                  <a:gd name="T9" fmla="*/ 26 h 150"/>
                  <a:gd name="T10" fmla="*/ 26 w 190"/>
                  <a:gd name="T11" fmla="*/ 132 h 150"/>
                  <a:gd name="T12" fmla="*/ 54 w 190"/>
                  <a:gd name="T13" fmla="*/ 132 h 150"/>
                  <a:gd name="T14" fmla="*/ 54 w 190"/>
                  <a:gd name="T15" fmla="*/ 150 h 150"/>
                  <a:gd name="T16" fmla="*/ 8 w 190"/>
                  <a:gd name="T17" fmla="*/ 150 h 150"/>
                  <a:gd name="T18" fmla="*/ 8 w 190"/>
                  <a:gd name="T19" fmla="*/ 150 h 150"/>
                  <a:gd name="T20" fmla="*/ 4 w 190"/>
                  <a:gd name="T21" fmla="*/ 150 h 150"/>
                  <a:gd name="T22" fmla="*/ 0 w 190"/>
                  <a:gd name="T23" fmla="*/ 146 h 150"/>
                  <a:gd name="T24" fmla="*/ 0 w 190"/>
                  <a:gd name="T25" fmla="*/ 146 h 150"/>
                  <a:gd name="T26" fmla="*/ 0 w 190"/>
                  <a:gd name="T27" fmla="*/ 142 h 150"/>
                  <a:gd name="T28" fmla="*/ 2 w 190"/>
                  <a:gd name="T29" fmla="*/ 136 h 150"/>
                  <a:gd name="T30" fmla="*/ 88 w 190"/>
                  <a:gd name="T31" fmla="*/ 4 h 150"/>
                  <a:gd name="T32" fmla="*/ 88 w 190"/>
                  <a:gd name="T33" fmla="*/ 4 h 150"/>
                  <a:gd name="T34" fmla="*/ 90 w 190"/>
                  <a:gd name="T35" fmla="*/ 2 h 150"/>
                  <a:gd name="T36" fmla="*/ 94 w 190"/>
                  <a:gd name="T37" fmla="*/ 0 h 150"/>
                  <a:gd name="T38" fmla="*/ 100 w 190"/>
                  <a:gd name="T39" fmla="*/ 2 h 150"/>
                  <a:gd name="T40" fmla="*/ 102 w 190"/>
                  <a:gd name="T41" fmla="*/ 4 h 150"/>
                  <a:gd name="T42" fmla="*/ 188 w 190"/>
                  <a:gd name="T43" fmla="*/ 136 h 150"/>
                  <a:gd name="T44" fmla="*/ 188 w 190"/>
                  <a:gd name="T45" fmla="*/ 136 h 150"/>
                  <a:gd name="T46" fmla="*/ 190 w 190"/>
                  <a:gd name="T47" fmla="*/ 142 h 150"/>
                  <a:gd name="T48" fmla="*/ 188 w 190"/>
                  <a:gd name="T49" fmla="*/ 146 h 150"/>
                  <a:gd name="T50" fmla="*/ 188 w 190"/>
                  <a:gd name="T51" fmla="*/ 146 h 150"/>
                  <a:gd name="T52" fmla="*/ 186 w 190"/>
                  <a:gd name="T53" fmla="*/ 150 h 150"/>
                  <a:gd name="T54" fmla="*/ 180 w 190"/>
                  <a:gd name="T55" fmla="*/ 150 h 150"/>
                  <a:gd name="T56" fmla="*/ 180 w 190"/>
                  <a:gd name="T5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 h="150">
                    <a:moveTo>
                      <a:pt x="180" y="150"/>
                    </a:moveTo>
                    <a:lnTo>
                      <a:pt x="138" y="150"/>
                    </a:lnTo>
                    <a:lnTo>
                      <a:pt x="138" y="132"/>
                    </a:lnTo>
                    <a:lnTo>
                      <a:pt x="164" y="132"/>
                    </a:lnTo>
                    <a:lnTo>
                      <a:pt x="94" y="26"/>
                    </a:lnTo>
                    <a:lnTo>
                      <a:pt x="26" y="132"/>
                    </a:lnTo>
                    <a:lnTo>
                      <a:pt x="54" y="132"/>
                    </a:lnTo>
                    <a:lnTo>
                      <a:pt x="54" y="150"/>
                    </a:lnTo>
                    <a:lnTo>
                      <a:pt x="8" y="150"/>
                    </a:lnTo>
                    <a:lnTo>
                      <a:pt x="8" y="150"/>
                    </a:lnTo>
                    <a:lnTo>
                      <a:pt x="4" y="150"/>
                    </a:lnTo>
                    <a:lnTo>
                      <a:pt x="0" y="146"/>
                    </a:lnTo>
                    <a:lnTo>
                      <a:pt x="0" y="146"/>
                    </a:lnTo>
                    <a:lnTo>
                      <a:pt x="0" y="142"/>
                    </a:lnTo>
                    <a:lnTo>
                      <a:pt x="2" y="136"/>
                    </a:lnTo>
                    <a:lnTo>
                      <a:pt x="88" y="4"/>
                    </a:lnTo>
                    <a:lnTo>
                      <a:pt x="88" y="4"/>
                    </a:lnTo>
                    <a:lnTo>
                      <a:pt x="90" y="2"/>
                    </a:lnTo>
                    <a:lnTo>
                      <a:pt x="94" y="0"/>
                    </a:lnTo>
                    <a:lnTo>
                      <a:pt x="100" y="2"/>
                    </a:lnTo>
                    <a:lnTo>
                      <a:pt x="102" y="4"/>
                    </a:lnTo>
                    <a:lnTo>
                      <a:pt x="188" y="136"/>
                    </a:lnTo>
                    <a:lnTo>
                      <a:pt x="188" y="136"/>
                    </a:lnTo>
                    <a:lnTo>
                      <a:pt x="190" y="142"/>
                    </a:lnTo>
                    <a:lnTo>
                      <a:pt x="188" y="146"/>
                    </a:lnTo>
                    <a:lnTo>
                      <a:pt x="188" y="146"/>
                    </a:lnTo>
                    <a:lnTo>
                      <a:pt x="186" y="150"/>
                    </a:lnTo>
                    <a:lnTo>
                      <a:pt x="180" y="150"/>
                    </a:lnTo>
                    <a:lnTo>
                      <a:pt x="180" y="1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8" name="Freeform 32">
                <a:extLst>
                  <a:ext uri="{FF2B5EF4-FFF2-40B4-BE49-F238E27FC236}">
                    <a16:creationId xmlns:a16="http://schemas.microsoft.com/office/drawing/2014/main" id="{F34685D5-2E1D-2539-BF18-8D5FA2B7EF43}"/>
                  </a:ext>
                </a:extLst>
              </p:cNvPr>
              <p:cNvSpPr>
                <a:spLocks/>
              </p:cNvSpPr>
              <p:nvPr/>
            </p:nvSpPr>
            <p:spPr bwMode="auto">
              <a:xfrm>
                <a:off x="3114632" y="3547015"/>
                <a:ext cx="189804" cy="151843"/>
              </a:xfrm>
              <a:custGeom>
                <a:avLst/>
                <a:gdLst>
                  <a:gd name="T0" fmla="*/ 96 w 190"/>
                  <a:gd name="T1" fmla="*/ 152 h 152"/>
                  <a:gd name="T2" fmla="*/ 96 w 190"/>
                  <a:gd name="T3" fmla="*/ 152 h 152"/>
                  <a:gd name="T4" fmla="*/ 90 w 190"/>
                  <a:gd name="T5" fmla="*/ 150 h 152"/>
                  <a:gd name="T6" fmla="*/ 88 w 190"/>
                  <a:gd name="T7" fmla="*/ 148 h 152"/>
                  <a:gd name="T8" fmla="*/ 2 w 190"/>
                  <a:gd name="T9" fmla="*/ 14 h 152"/>
                  <a:gd name="T10" fmla="*/ 2 w 190"/>
                  <a:gd name="T11" fmla="*/ 14 h 152"/>
                  <a:gd name="T12" fmla="*/ 0 w 190"/>
                  <a:gd name="T13" fmla="*/ 10 h 152"/>
                  <a:gd name="T14" fmla="*/ 2 w 190"/>
                  <a:gd name="T15" fmla="*/ 6 h 152"/>
                  <a:gd name="T16" fmla="*/ 2 w 190"/>
                  <a:gd name="T17" fmla="*/ 6 h 152"/>
                  <a:gd name="T18" fmla="*/ 4 w 190"/>
                  <a:gd name="T19" fmla="*/ 2 h 152"/>
                  <a:gd name="T20" fmla="*/ 10 w 190"/>
                  <a:gd name="T21" fmla="*/ 0 h 152"/>
                  <a:gd name="T22" fmla="*/ 52 w 190"/>
                  <a:gd name="T23" fmla="*/ 0 h 152"/>
                  <a:gd name="T24" fmla="*/ 52 w 190"/>
                  <a:gd name="T25" fmla="*/ 18 h 152"/>
                  <a:gd name="T26" fmla="*/ 26 w 190"/>
                  <a:gd name="T27" fmla="*/ 18 h 152"/>
                  <a:gd name="T28" fmla="*/ 96 w 190"/>
                  <a:gd name="T29" fmla="*/ 126 h 152"/>
                  <a:gd name="T30" fmla="*/ 164 w 190"/>
                  <a:gd name="T31" fmla="*/ 18 h 152"/>
                  <a:gd name="T32" fmla="*/ 136 w 190"/>
                  <a:gd name="T33" fmla="*/ 18 h 152"/>
                  <a:gd name="T34" fmla="*/ 136 w 190"/>
                  <a:gd name="T35" fmla="*/ 0 h 152"/>
                  <a:gd name="T36" fmla="*/ 182 w 190"/>
                  <a:gd name="T37" fmla="*/ 0 h 152"/>
                  <a:gd name="T38" fmla="*/ 182 w 190"/>
                  <a:gd name="T39" fmla="*/ 0 h 152"/>
                  <a:gd name="T40" fmla="*/ 186 w 190"/>
                  <a:gd name="T41" fmla="*/ 2 h 152"/>
                  <a:gd name="T42" fmla="*/ 188 w 190"/>
                  <a:gd name="T43" fmla="*/ 6 h 152"/>
                  <a:gd name="T44" fmla="*/ 188 w 190"/>
                  <a:gd name="T45" fmla="*/ 6 h 152"/>
                  <a:gd name="T46" fmla="*/ 190 w 190"/>
                  <a:gd name="T47" fmla="*/ 10 h 152"/>
                  <a:gd name="T48" fmla="*/ 188 w 190"/>
                  <a:gd name="T49" fmla="*/ 14 h 152"/>
                  <a:gd name="T50" fmla="*/ 102 w 190"/>
                  <a:gd name="T51" fmla="*/ 148 h 152"/>
                  <a:gd name="T52" fmla="*/ 102 w 190"/>
                  <a:gd name="T53" fmla="*/ 148 h 152"/>
                  <a:gd name="T54" fmla="*/ 100 w 190"/>
                  <a:gd name="T55" fmla="*/ 150 h 152"/>
                  <a:gd name="T56" fmla="*/ 96 w 190"/>
                  <a:gd name="T57" fmla="*/ 152 h 152"/>
                  <a:gd name="T58" fmla="*/ 96 w 190"/>
                  <a:gd name="T5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0" h="152">
                    <a:moveTo>
                      <a:pt x="96" y="152"/>
                    </a:moveTo>
                    <a:lnTo>
                      <a:pt x="96" y="152"/>
                    </a:lnTo>
                    <a:lnTo>
                      <a:pt x="90" y="150"/>
                    </a:lnTo>
                    <a:lnTo>
                      <a:pt x="88" y="148"/>
                    </a:lnTo>
                    <a:lnTo>
                      <a:pt x="2" y="14"/>
                    </a:lnTo>
                    <a:lnTo>
                      <a:pt x="2" y="14"/>
                    </a:lnTo>
                    <a:lnTo>
                      <a:pt x="0" y="10"/>
                    </a:lnTo>
                    <a:lnTo>
                      <a:pt x="2" y="6"/>
                    </a:lnTo>
                    <a:lnTo>
                      <a:pt x="2" y="6"/>
                    </a:lnTo>
                    <a:lnTo>
                      <a:pt x="4" y="2"/>
                    </a:lnTo>
                    <a:lnTo>
                      <a:pt x="10" y="0"/>
                    </a:lnTo>
                    <a:lnTo>
                      <a:pt x="52" y="0"/>
                    </a:lnTo>
                    <a:lnTo>
                      <a:pt x="52" y="18"/>
                    </a:lnTo>
                    <a:lnTo>
                      <a:pt x="26" y="18"/>
                    </a:lnTo>
                    <a:lnTo>
                      <a:pt x="96" y="126"/>
                    </a:lnTo>
                    <a:lnTo>
                      <a:pt x="164" y="18"/>
                    </a:lnTo>
                    <a:lnTo>
                      <a:pt x="136" y="18"/>
                    </a:lnTo>
                    <a:lnTo>
                      <a:pt x="136" y="0"/>
                    </a:lnTo>
                    <a:lnTo>
                      <a:pt x="182" y="0"/>
                    </a:lnTo>
                    <a:lnTo>
                      <a:pt x="182" y="0"/>
                    </a:lnTo>
                    <a:lnTo>
                      <a:pt x="186" y="2"/>
                    </a:lnTo>
                    <a:lnTo>
                      <a:pt x="188" y="6"/>
                    </a:lnTo>
                    <a:lnTo>
                      <a:pt x="188" y="6"/>
                    </a:lnTo>
                    <a:lnTo>
                      <a:pt x="190" y="10"/>
                    </a:lnTo>
                    <a:lnTo>
                      <a:pt x="188" y="14"/>
                    </a:lnTo>
                    <a:lnTo>
                      <a:pt x="102" y="148"/>
                    </a:lnTo>
                    <a:lnTo>
                      <a:pt x="102" y="148"/>
                    </a:lnTo>
                    <a:lnTo>
                      <a:pt x="100" y="150"/>
                    </a:lnTo>
                    <a:lnTo>
                      <a:pt x="96" y="152"/>
                    </a:lnTo>
                    <a:lnTo>
                      <a:pt x="96" y="1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19" name="Group 18">
                <a:extLst>
                  <a:ext uri="{FF2B5EF4-FFF2-40B4-BE49-F238E27FC236}">
                    <a16:creationId xmlns:a16="http://schemas.microsoft.com/office/drawing/2014/main" id="{5B3F8488-7358-8230-3C18-ECC19CCD62C6}"/>
                  </a:ext>
                </a:extLst>
              </p:cNvPr>
              <p:cNvGrpSpPr/>
              <p:nvPr/>
            </p:nvGrpSpPr>
            <p:grpSpPr>
              <a:xfrm>
                <a:off x="2783612" y="3432560"/>
                <a:ext cx="255736" cy="255735"/>
                <a:chOff x="2783612" y="3432560"/>
                <a:chExt cx="255736" cy="255735"/>
              </a:xfrm>
            </p:grpSpPr>
            <p:sp>
              <p:nvSpPr>
                <p:cNvPr id="20" name="Oval 19">
                  <a:extLst>
                    <a:ext uri="{FF2B5EF4-FFF2-40B4-BE49-F238E27FC236}">
                      <a16:creationId xmlns:a16="http://schemas.microsoft.com/office/drawing/2014/main" id="{5BFF3249-99EC-8729-DD1A-DCA4AF55A6E6}"/>
                    </a:ext>
                  </a:extLst>
                </p:cNvPr>
                <p:cNvSpPr/>
                <p:nvPr/>
              </p:nvSpPr>
              <p:spPr>
                <a:xfrm>
                  <a:off x="2792608" y="3441555"/>
                  <a:ext cx="237744" cy="237744"/>
                </a:xfrm>
                <a:prstGeom prst="ellipse">
                  <a:avLst/>
                </a:prstGeom>
                <a:solidFill>
                  <a:srgbClr val="FBE7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33">
                  <a:extLst>
                    <a:ext uri="{FF2B5EF4-FFF2-40B4-BE49-F238E27FC236}">
                      <a16:creationId xmlns:a16="http://schemas.microsoft.com/office/drawing/2014/main" id="{444D92F0-E15A-1387-8D39-D1C01BC26F04}"/>
                    </a:ext>
                  </a:extLst>
                </p:cNvPr>
                <p:cNvSpPr>
                  <a:spLocks noEditPoints="1"/>
                </p:cNvSpPr>
                <p:nvPr/>
              </p:nvSpPr>
              <p:spPr bwMode="auto">
                <a:xfrm>
                  <a:off x="2783612" y="3432560"/>
                  <a:ext cx="255736" cy="255735"/>
                </a:xfrm>
                <a:custGeom>
                  <a:avLst/>
                  <a:gdLst>
                    <a:gd name="T0" fmla="*/ 128 w 256"/>
                    <a:gd name="T1" fmla="*/ 256 h 256"/>
                    <a:gd name="T2" fmla="*/ 102 w 256"/>
                    <a:gd name="T3" fmla="*/ 254 h 256"/>
                    <a:gd name="T4" fmla="*/ 78 w 256"/>
                    <a:gd name="T5" fmla="*/ 246 h 256"/>
                    <a:gd name="T6" fmla="*/ 56 w 256"/>
                    <a:gd name="T7" fmla="*/ 234 h 256"/>
                    <a:gd name="T8" fmla="*/ 22 w 256"/>
                    <a:gd name="T9" fmla="*/ 200 h 256"/>
                    <a:gd name="T10" fmla="*/ 10 w 256"/>
                    <a:gd name="T11" fmla="*/ 178 h 256"/>
                    <a:gd name="T12" fmla="*/ 2 w 256"/>
                    <a:gd name="T13" fmla="*/ 154 h 256"/>
                    <a:gd name="T14" fmla="*/ 0 w 256"/>
                    <a:gd name="T15" fmla="*/ 128 h 256"/>
                    <a:gd name="T16" fmla="*/ 0 w 256"/>
                    <a:gd name="T17" fmla="*/ 116 h 256"/>
                    <a:gd name="T18" fmla="*/ 6 w 256"/>
                    <a:gd name="T19" fmla="*/ 90 h 256"/>
                    <a:gd name="T20" fmla="*/ 16 w 256"/>
                    <a:gd name="T21" fmla="*/ 68 h 256"/>
                    <a:gd name="T22" fmla="*/ 38 w 256"/>
                    <a:gd name="T23" fmla="*/ 38 h 256"/>
                    <a:gd name="T24" fmla="*/ 68 w 256"/>
                    <a:gd name="T25" fmla="*/ 16 h 256"/>
                    <a:gd name="T26" fmla="*/ 90 w 256"/>
                    <a:gd name="T27" fmla="*/ 6 h 256"/>
                    <a:gd name="T28" fmla="*/ 116 w 256"/>
                    <a:gd name="T29" fmla="*/ 0 h 256"/>
                    <a:gd name="T30" fmla="*/ 128 w 256"/>
                    <a:gd name="T31" fmla="*/ 0 h 256"/>
                    <a:gd name="T32" fmla="*/ 154 w 256"/>
                    <a:gd name="T33" fmla="*/ 2 h 256"/>
                    <a:gd name="T34" fmla="*/ 178 w 256"/>
                    <a:gd name="T35" fmla="*/ 10 h 256"/>
                    <a:gd name="T36" fmla="*/ 200 w 256"/>
                    <a:gd name="T37" fmla="*/ 22 h 256"/>
                    <a:gd name="T38" fmla="*/ 234 w 256"/>
                    <a:gd name="T39" fmla="*/ 56 h 256"/>
                    <a:gd name="T40" fmla="*/ 246 w 256"/>
                    <a:gd name="T41" fmla="*/ 78 h 256"/>
                    <a:gd name="T42" fmla="*/ 254 w 256"/>
                    <a:gd name="T43" fmla="*/ 102 h 256"/>
                    <a:gd name="T44" fmla="*/ 256 w 256"/>
                    <a:gd name="T45" fmla="*/ 128 h 256"/>
                    <a:gd name="T46" fmla="*/ 256 w 256"/>
                    <a:gd name="T47" fmla="*/ 142 h 256"/>
                    <a:gd name="T48" fmla="*/ 250 w 256"/>
                    <a:gd name="T49" fmla="*/ 166 h 256"/>
                    <a:gd name="T50" fmla="*/ 240 w 256"/>
                    <a:gd name="T51" fmla="*/ 190 h 256"/>
                    <a:gd name="T52" fmla="*/ 218 w 256"/>
                    <a:gd name="T53" fmla="*/ 218 h 256"/>
                    <a:gd name="T54" fmla="*/ 190 w 256"/>
                    <a:gd name="T55" fmla="*/ 242 h 256"/>
                    <a:gd name="T56" fmla="*/ 166 w 256"/>
                    <a:gd name="T57" fmla="*/ 250 h 256"/>
                    <a:gd name="T58" fmla="*/ 142 w 256"/>
                    <a:gd name="T59" fmla="*/ 256 h 256"/>
                    <a:gd name="T60" fmla="*/ 128 w 256"/>
                    <a:gd name="T61" fmla="*/ 256 h 256"/>
                    <a:gd name="T62" fmla="*/ 128 w 256"/>
                    <a:gd name="T63" fmla="*/ 18 h 256"/>
                    <a:gd name="T64" fmla="*/ 86 w 256"/>
                    <a:gd name="T65" fmla="*/ 26 h 256"/>
                    <a:gd name="T66" fmla="*/ 50 w 256"/>
                    <a:gd name="T67" fmla="*/ 50 h 256"/>
                    <a:gd name="T68" fmla="*/ 26 w 256"/>
                    <a:gd name="T69" fmla="*/ 86 h 256"/>
                    <a:gd name="T70" fmla="*/ 18 w 256"/>
                    <a:gd name="T71" fmla="*/ 128 h 256"/>
                    <a:gd name="T72" fmla="*/ 20 w 256"/>
                    <a:gd name="T73" fmla="*/ 150 h 256"/>
                    <a:gd name="T74" fmla="*/ 36 w 256"/>
                    <a:gd name="T75" fmla="*/ 190 h 256"/>
                    <a:gd name="T76" fmla="*/ 66 w 256"/>
                    <a:gd name="T77" fmla="*/ 220 h 256"/>
                    <a:gd name="T78" fmla="*/ 106 w 256"/>
                    <a:gd name="T79" fmla="*/ 236 h 256"/>
                    <a:gd name="T80" fmla="*/ 128 w 256"/>
                    <a:gd name="T81" fmla="*/ 238 h 256"/>
                    <a:gd name="T82" fmla="*/ 172 w 256"/>
                    <a:gd name="T83" fmla="*/ 230 h 256"/>
                    <a:gd name="T84" fmla="*/ 206 w 256"/>
                    <a:gd name="T85" fmla="*/ 206 h 256"/>
                    <a:gd name="T86" fmla="*/ 230 w 256"/>
                    <a:gd name="T87" fmla="*/ 172 h 256"/>
                    <a:gd name="T88" fmla="*/ 238 w 256"/>
                    <a:gd name="T89" fmla="*/ 128 h 256"/>
                    <a:gd name="T90" fmla="*/ 236 w 256"/>
                    <a:gd name="T91" fmla="*/ 106 h 256"/>
                    <a:gd name="T92" fmla="*/ 220 w 256"/>
                    <a:gd name="T93" fmla="*/ 66 h 256"/>
                    <a:gd name="T94" fmla="*/ 190 w 256"/>
                    <a:gd name="T95" fmla="*/ 36 h 256"/>
                    <a:gd name="T96" fmla="*/ 150 w 256"/>
                    <a:gd name="T97" fmla="*/ 20 h 256"/>
                    <a:gd name="T98" fmla="*/ 128 w 256"/>
                    <a:gd name="T99" fmla="*/ 1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56">
                      <a:moveTo>
                        <a:pt x="128" y="256"/>
                      </a:moveTo>
                      <a:lnTo>
                        <a:pt x="128" y="256"/>
                      </a:lnTo>
                      <a:lnTo>
                        <a:pt x="116" y="256"/>
                      </a:lnTo>
                      <a:lnTo>
                        <a:pt x="102" y="254"/>
                      </a:lnTo>
                      <a:lnTo>
                        <a:pt x="90" y="250"/>
                      </a:lnTo>
                      <a:lnTo>
                        <a:pt x="78" y="246"/>
                      </a:lnTo>
                      <a:lnTo>
                        <a:pt x="68" y="242"/>
                      </a:lnTo>
                      <a:lnTo>
                        <a:pt x="56" y="234"/>
                      </a:lnTo>
                      <a:lnTo>
                        <a:pt x="38" y="218"/>
                      </a:lnTo>
                      <a:lnTo>
                        <a:pt x="22" y="200"/>
                      </a:lnTo>
                      <a:lnTo>
                        <a:pt x="16" y="190"/>
                      </a:lnTo>
                      <a:lnTo>
                        <a:pt x="10" y="178"/>
                      </a:lnTo>
                      <a:lnTo>
                        <a:pt x="6" y="166"/>
                      </a:lnTo>
                      <a:lnTo>
                        <a:pt x="2" y="154"/>
                      </a:lnTo>
                      <a:lnTo>
                        <a:pt x="0" y="142"/>
                      </a:lnTo>
                      <a:lnTo>
                        <a:pt x="0" y="128"/>
                      </a:lnTo>
                      <a:lnTo>
                        <a:pt x="0" y="128"/>
                      </a:lnTo>
                      <a:lnTo>
                        <a:pt x="0" y="116"/>
                      </a:lnTo>
                      <a:lnTo>
                        <a:pt x="2" y="102"/>
                      </a:lnTo>
                      <a:lnTo>
                        <a:pt x="6" y="90"/>
                      </a:lnTo>
                      <a:lnTo>
                        <a:pt x="10" y="78"/>
                      </a:lnTo>
                      <a:lnTo>
                        <a:pt x="16" y="68"/>
                      </a:lnTo>
                      <a:lnTo>
                        <a:pt x="22" y="56"/>
                      </a:lnTo>
                      <a:lnTo>
                        <a:pt x="38" y="38"/>
                      </a:lnTo>
                      <a:lnTo>
                        <a:pt x="56" y="22"/>
                      </a:lnTo>
                      <a:lnTo>
                        <a:pt x="68" y="16"/>
                      </a:lnTo>
                      <a:lnTo>
                        <a:pt x="78" y="10"/>
                      </a:lnTo>
                      <a:lnTo>
                        <a:pt x="90" y="6"/>
                      </a:lnTo>
                      <a:lnTo>
                        <a:pt x="102" y="2"/>
                      </a:lnTo>
                      <a:lnTo>
                        <a:pt x="116" y="0"/>
                      </a:lnTo>
                      <a:lnTo>
                        <a:pt x="128" y="0"/>
                      </a:lnTo>
                      <a:lnTo>
                        <a:pt x="128" y="0"/>
                      </a:lnTo>
                      <a:lnTo>
                        <a:pt x="142" y="0"/>
                      </a:lnTo>
                      <a:lnTo>
                        <a:pt x="154" y="2"/>
                      </a:lnTo>
                      <a:lnTo>
                        <a:pt x="166" y="6"/>
                      </a:lnTo>
                      <a:lnTo>
                        <a:pt x="178" y="10"/>
                      </a:lnTo>
                      <a:lnTo>
                        <a:pt x="190" y="16"/>
                      </a:lnTo>
                      <a:lnTo>
                        <a:pt x="200" y="22"/>
                      </a:lnTo>
                      <a:lnTo>
                        <a:pt x="218" y="38"/>
                      </a:lnTo>
                      <a:lnTo>
                        <a:pt x="234" y="56"/>
                      </a:lnTo>
                      <a:lnTo>
                        <a:pt x="240" y="68"/>
                      </a:lnTo>
                      <a:lnTo>
                        <a:pt x="246" y="78"/>
                      </a:lnTo>
                      <a:lnTo>
                        <a:pt x="250" y="90"/>
                      </a:lnTo>
                      <a:lnTo>
                        <a:pt x="254" y="102"/>
                      </a:lnTo>
                      <a:lnTo>
                        <a:pt x="256" y="116"/>
                      </a:lnTo>
                      <a:lnTo>
                        <a:pt x="256" y="128"/>
                      </a:lnTo>
                      <a:lnTo>
                        <a:pt x="256" y="128"/>
                      </a:lnTo>
                      <a:lnTo>
                        <a:pt x="256" y="142"/>
                      </a:lnTo>
                      <a:lnTo>
                        <a:pt x="254" y="154"/>
                      </a:lnTo>
                      <a:lnTo>
                        <a:pt x="250" y="166"/>
                      </a:lnTo>
                      <a:lnTo>
                        <a:pt x="246" y="178"/>
                      </a:lnTo>
                      <a:lnTo>
                        <a:pt x="240" y="190"/>
                      </a:lnTo>
                      <a:lnTo>
                        <a:pt x="234" y="200"/>
                      </a:lnTo>
                      <a:lnTo>
                        <a:pt x="218" y="218"/>
                      </a:lnTo>
                      <a:lnTo>
                        <a:pt x="200" y="234"/>
                      </a:lnTo>
                      <a:lnTo>
                        <a:pt x="190" y="242"/>
                      </a:lnTo>
                      <a:lnTo>
                        <a:pt x="178" y="246"/>
                      </a:lnTo>
                      <a:lnTo>
                        <a:pt x="166" y="250"/>
                      </a:lnTo>
                      <a:lnTo>
                        <a:pt x="154" y="254"/>
                      </a:lnTo>
                      <a:lnTo>
                        <a:pt x="142" y="256"/>
                      </a:lnTo>
                      <a:lnTo>
                        <a:pt x="128" y="256"/>
                      </a:lnTo>
                      <a:lnTo>
                        <a:pt x="128" y="256"/>
                      </a:lnTo>
                      <a:close/>
                      <a:moveTo>
                        <a:pt x="128" y="18"/>
                      </a:moveTo>
                      <a:lnTo>
                        <a:pt x="128" y="18"/>
                      </a:lnTo>
                      <a:lnTo>
                        <a:pt x="106" y="20"/>
                      </a:lnTo>
                      <a:lnTo>
                        <a:pt x="86" y="26"/>
                      </a:lnTo>
                      <a:lnTo>
                        <a:pt x="66" y="36"/>
                      </a:lnTo>
                      <a:lnTo>
                        <a:pt x="50" y="50"/>
                      </a:lnTo>
                      <a:lnTo>
                        <a:pt x="36" y="66"/>
                      </a:lnTo>
                      <a:lnTo>
                        <a:pt x="26" y="86"/>
                      </a:lnTo>
                      <a:lnTo>
                        <a:pt x="20" y="106"/>
                      </a:lnTo>
                      <a:lnTo>
                        <a:pt x="18" y="128"/>
                      </a:lnTo>
                      <a:lnTo>
                        <a:pt x="18" y="128"/>
                      </a:lnTo>
                      <a:lnTo>
                        <a:pt x="20" y="150"/>
                      </a:lnTo>
                      <a:lnTo>
                        <a:pt x="26" y="172"/>
                      </a:lnTo>
                      <a:lnTo>
                        <a:pt x="36" y="190"/>
                      </a:lnTo>
                      <a:lnTo>
                        <a:pt x="50" y="206"/>
                      </a:lnTo>
                      <a:lnTo>
                        <a:pt x="66" y="220"/>
                      </a:lnTo>
                      <a:lnTo>
                        <a:pt x="86" y="230"/>
                      </a:lnTo>
                      <a:lnTo>
                        <a:pt x="106" y="236"/>
                      </a:lnTo>
                      <a:lnTo>
                        <a:pt x="128" y="238"/>
                      </a:lnTo>
                      <a:lnTo>
                        <a:pt x="128" y="238"/>
                      </a:lnTo>
                      <a:lnTo>
                        <a:pt x="150" y="236"/>
                      </a:lnTo>
                      <a:lnTo>
                        <a:pt x="172" y="230"/>
                      </a:lnTo>
                      <a:lnTo>
                        <a:pt x="190" y="220"/>
                      </a:lnTo>
                      <a:lnTo>
                        <a:pt x="206" y="206"/>
                      </a:lnTo>
                      <a:lnTo>
                        <a:pt x="220" y="190"/>
                      </a:lnTo>
                      <a:lnTo>
                        <a:pt x="230" y="172"/>
                      </a:lnTo>
                      <a:lnTo>
                        <a:pt x="236" y="150"/>
                      </a:lnTo>
                      <a:lnTo>
                        <a:pt x="238" y="128"/>
                      </a:lnTo>
                      <a:lnTo>
                        <a:pt x="238" y="128"/>
                      </a:lnTo>
                      <a:lnTo>
                        <a:pt x="236" y="106"/>
                      </a:lnTo>
                      <a:lnTo>
                        <a:pt x="230" y="86"/>
                      </a:lnTo>
                      <a:lnTo>
                        <a:pt x="220" y="66"/>
                      </a:lnTo>
                      <a:lnTo>
                        <a:pt x="206" y="50"/>
                      </a:lnTo>
                      <a:lnTo>
                        <a:pt x="190" y="36"/>
                      </a:lnTo>
                      <a:lnTo>
                        <a:pt x="172" y="26"/>
                      </a:lnTo>
                      <a:lnTo>
                        <a:pt x="150" y="20"/>
                      </a:lnTo>
                      <a:lnTo>
                        <a:pt x="128" y="18"/>
                      </a:lnTo>
                      <a:lnTo>
                        <a:pt x="128" y="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grpSp>
        <p:grpSp>
          <p:nvGrpSpPr>
            <p:cNvPr id="84" name="Group 53">
              <a:extLst>
                <a:ext uri="{FF2B5EF4-FFF2-40B4-BE49-F238E27FC236}">
                  <a16:creationId xmlns:a16="http://schemas.microsoft.com/office/drawing/2014/main" id="{4891A02B-7501-EF0B-832C-472E306C65FC}"/>
                </a:ext>
              </a:extLst>
            </p:cNvPr>
            <p:cNvGrpSpPr>
              <a:grpSpLocks noChangeAspect="1"/>
            </p:cNvGrpSpPr>
            <p:nvPr/>
          </p:nvGrpSpPr>
          <p:grpSpPr bwMode="auto">
            <a:xfrm>
              <a:off x="7251055" y="2620503"/>
              <a:ext cx="382224" cy="514070"/>
              <a:chOff x="621" y="1904"/>
              <a:chExt cx="574" cy="772"/>
            </a:xfrm>
            <a:solidFill>
              <a:schemeClr val="bg1"/>
            </a:solidFill>
          </p:grpSpPr>
          <p:sp>
            <p:nvSpPr>
              <p:cNvPr id="85" name="Freeform 54">
                <a:extLst>
                  <a:ext uri="{FF2B5EF4-FFF2-40B4-BE49-F238E27FC236}">
                    <a16:creationId xmlns:a16="http://schemas.microsoft.com/office/drawing/2014/main" id="{0643ABAF-2657-EFB8-BC74-1A5365BCA20A}"/>
                  </a:ext>
                </a:extLst>
              </p:cNvPr>
              <p:cNvSpPr>
                <a:spLocks noEditPoints="1"/>
              </p:cNvSpPr>
              <p:nvPr/>
            </p:nvSpPr>
            <p:spPr bwMode="auto">
              <a:xfrm>
                <a:off x="621" y="1904"/>
                <a:ext cx="574" cy="772"/>
              </a:xfrm>
              <a:custGeom>
                <a:avLst/>
                <a:gdLst>
                  <a:gd name="T0" fmla="*/ 574 w 574"/>
                  <a:gd name="T1" fmla="*/ 772 h 772"/>
                  <a:gd name="T2" fmla="*/ 0 w 574"/>
                  <a:gd name="T3" fmla="*/ 772 h 772"/>
                  <a:gd name="T4" fmla="*/ 0 w 574"/>
                  <a:gd name="T5" fmla="*/ 48 h 772"/>
                  <a:gd name="T6" fmla="*/ 230 w 574"/>
                  <a:gd name="T7" fmla="*/ 48 h 772"/>
                  <a:gd name="T8" fmla="*/ 230 w 574"/>
                  <a:gd name="T9" fmla="*/ 48 h 772"/>
                  <a:gd name="T10" fmla="*/ 232 w 574"/>
                  <a:gd name="T11" fmla="*/ 38 h 772"/>
                  <a:gd name="T12" fmla="*/ 236 w 574"/>
                  <a:gd name="T13" fmla="*/ 28 h 772"/>
                  <a:gd name="T14" fmla="*/ 242 w 574"/>
                  <a:gd name="T15" fmla="*/ 20 h 772"/>
                  <a:gd name="T16" fmla="*/ 250 w 574"/>
                  <a:gd name="T17" fmla="*/ 12 h 772"/>
                  <a:gd name="T18" fmla="*/ 258 w 574"/>
                  <a:gd name="T19" fmla="*/ 8 h 772"/>
                  <a:gd name="T20" fmla="*/ 266 w 574"/>
                  <a:gd name="T21" fmla="*/ 2 h 772"/>
                  <a:gd name="T22" fmla="*/ 276 w 574"/>
                  <a:gd name="T23" fmla="*/ 0 h 772"/>
                  <a:gd name="T24" fmla="*/ 286 w 574"/>
                  <a:gd name="T25" fmla="*/ 0 h 772"/>
                  <a:gd name="T26" fmla="*/ 286 w 574"/>
                  <a:gd name="T27" fmla="*/ 0 h 772"/>
                  <a:gd name="T28" fmla="*/ 296 w 574"/>
                  <a:gd name="T29" fmla="*/ 0 h 772"/>
                  <a:gd name="T30" fmla="*/ 306 w 574"/>
                  <a:gd name="T31" fmla="*/ 2 h 772"/>
                  <a:gd name="T32" fmla="*/ 316 w 574"/>
                  <a:gd name="T33" fmla="*/ 8 h 772"/>
                  <a:gd name="T34" fmla="*/ 324 w 574"/>
                  <a:gd name="T35" fmla="*/ 12 h 772"/>
                  <a:gd name="T36" fmla="*/ 330 w 574"/>
                  <a:gd name="T37" fmla="*/ 20 h 772"/>
                  <a:gd name="T38" fmla="*/ 336 w 574"/>
                  <a:gd name="T39" fmla="*/ 28 h 772"/>
                  <a:gd name="T40" fmla="*/ 340 w 574"/>
                  <a:gd name="T41" fmla="*/ 38 h 772"/>
                  <a:gd name="T42" fmla="*/ 342 w 574"/>
                  <a:gd name="T43" fmla="*/ 48 h 772"/>
                  <a:gd name="T44" fmla="*/ 574 w 574"/>
                  <a:gd name="T45" fmla="*/ 48 h 772"/>
                  <a:gd name="T46" fmla="*/ 574 w 574"/>
                  <a:gd name="T47" fmla="*/ 772 h 772"/>
                  <a:gd name="T48" fmla="*/ 18 w 574"/>
                  <a:gd name="T49" fmla="*/ 754 h 772"/>
                  <a:gd name="T50" fmla="*/ 556 w 574"/>
                  <a:gd name="T51" fmla="*/ 754 h 772"/>
                  <a:gd name="T52" fmla="*/ 556 w 574"/>
                  <a:gd name="T53" fmla="*/ 66 h 772"/>
                  <a:gd name="T54" fmla="*/ 326 w 574"/>
                  <a:gd name="T55" fmla="*/ 66 h 772"/>
                  <a:gd name="T56" fmla="*/ 326 w 574"/>
                  <a:gd name="T57" fmla="*/ 56 h 772"/>
                  <a:gd name="T58" fmla="*/ 326 w 574"/>
                  <a:gd name="T59" fmla="*/ 56 h 772"/>
                  <a:gd name="T60" fmla="*/ 324 w 574"/>
                  <a:gd name="T61" fmla="*/ 48 h 772"/>
                  <a:gd name="T62" fmla="*/ 322 w 574"/>
                  <a:gd name="T63" fmla="*/ 40 h 772"/>
                  <a:gd name="T64" fmla="*/ 318 w 574"/>
                  <a:gd name="T65" fmla="*/ 34 h 772"/>
                  <a:gd name="T66" fmla="*/ 314 w 574"/>
                  <a:gd name="T67" fmla="*/ 28 h 772"/>
                  <a:gd name="T68" fmla="*/ 308 w 574"/>
                  <a:gd name="T69" fmla="*/ 24 h 772"/>
                  <a:gd name="T70" fmla="*/ 302 w 574"/>
                  <a:gd name="T71" fmla="*/ 20 h 772"/>
                  <a:gd name="T72" fmla="*/ 294 w 574"/>
                  <a:gd name="T73" fmla="*/ 18 h 772"/>
                  <a:gd name="T74" fmla="*/ 286 w 574"/>
                  <a:gd name="T75" fmla="*/ 18 h 772"/>
                  <a:gd name="T76" fmla="*/ 286 w 574"/>
                  <a:gd name="T77" fmla="*/ 18 h 772"/>
                  <a:gd name="T78" fmla="*/ 278 w 574"/>
                  <a:gd name="T79" fmla="*/ 18 h 772"/>
                  <a:gd name="T80" fmla="*/ 272 w 574"/>
                  <a:gd name="T81" fmla="*/ 20 h 772"/>
                  <a:gd name="T82" fmla="*/ 264 w 574"/>
                  <a:gd name="T83" fmla="*/ 24 h 772"/>
                  <a:gd name="T84" fmla="*/ 258 w 574"/>
                  <a:gd name="T85" fmla="*/ 28 h 772"/>
                  <a:gd name="T86" fmla="*/ 254 w 574"/>
                  <a:gd name="T87" fmla="*/ 34 h 772"/>
                  <a:gd name="T88" fmla="*/ 250 w 574"/>
                  <a:gd name="T89" fmla="*/ 40 h 772"/>
                  <a:gd name="T90" fmla="*/ 248 w 574"/>
                  <a:gd name="T91" fmla="*/ 48 h 772"/>
                  <a:gd name="T92" fmla="*/ 248 w 574"/>
                  <a:gd name="T93" fmla="*/ 56 h 772"/>
                  <a:gd name="T94" fmla="*/ 248 w 574"/>
                  <a:gd name="T95" fmla="*/ 66 h 772"/>
                  <a:gd name="T96" fmla="*/ 18 w 574"/>
                  <a:gd name="T97" fmla="*/ 66 h 772"/>
                  <a:gd name="T98" fmla="*/ 18 w 574"/>
                  <a:gd name="T99" fmla="*/ 754 h 772"/>
                  <a:gd name="T100" fmla="*/ 344 w 574"/>
                  <a:gd name="T101" fmla="*/ 56 h 772"/>
                  <a:gd name="T102" fmla="*/ 344 w 574"/>
                  <a:gd name="T103" fmla="*/ 56 h 772"/>
                  <a:gd name="T104" fmla="*/ 344 w 574"/>
                  <a:gd name="T105" fmla="*/ 56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772">
                    <a:moveTo>
                      <a:pt x="574" y="772"/>
                    </a:moveTo>
                    <a:lnTo>
                      <a:pt x="0" y="772"/>
                    </a:lnTo>
                    <a:lnTo>
                      <a:pt x="0" y="48"/>
                    </a:lnTo>
                    <a:lnTo>
                      <a:pt x="230" y="48"/>
                    </a:lnTo>
                    <a:lnTo>
                      <a:pt x="230" y="48"/>
                    </a:lnTo>
                    <a:lnTo>
                      <a:pt x="232" y="38"/>
                    </a:lnTo>
                    <a:lnTo>
                      <a:pt x="236" y="28"/>
                    </a:lnTo>
                    <a:lnTo>
                      <a:pt x="242" y="20"/>
                    </a:lnTo>
                    <a:lnTo>
                      <a:pt x="250" y="12"/>
                    </a:lnTo>
                    <a:lnTo>
                      <a:pt x="258" y="8"/>
                    </a:lnTo>
                    <a:lnTo>
                      <a:pt x="266" y="2"/>
                    </a:lnTo>
                    <a:lnTo>
                      <a:pt x="276" y="0"/>
                    </a:lnTo>
                    <a:lnTo>
                      <a:pt x="286" y="0"/>
                    </a:lnTo>
                    <a:lnTo>
                      <a:pt x="286" y="0"/>
                    </a:lnTo>
                    <a:lnTo>
                      <a:pt x="296" y="0"/>
                    </a:lnTo>
                    <a:lnTo>
                      <a:pt x="306" y="2"/>
                    </a:lnTo>
                    <a:lnTo>
                      <a:pt x="316" y="8"/>
                    </a:lnTo>
                    <a:lnTo>
                      <a:pt x="324" y="12"/>
                    </a:lnTo>
                    <a:lnTo>
                      <a:pt x="330" y="20"/>
                    </a:lnTo>
                    <a:lnTo>
                      <a:pt x="336" y="28"/>
                    </a:lnTo>
                    <a:lnTo>
                      <a:pt x="340" y="38"/>
                    </a:lnTo>
                    <a:lnTo>
                      <a:pt x="342" y="48"/>
                    </a:lnTo>
                    <a:lnTo>
                      <a:pt x="574" y="48"/>
                    </a:lnTo>
                    <a:lnTo>
                      <a:pt x="574" y="772"/>
                    </a:lnTo>
                    <a:close/>
                    <a:moveTo>
                      <a:pt x="18" y="754"/>
                    </a:moveTo>
                    <a:lnTo>
                      <a:pt x="556" y="754"/>
                    </a:lnTo>
                    <a:lnTo>
                      <a:pt x="556" y="66"/>
                    </a:lnTo>
                    <a:lnTo>
                      <a:pt x="326" y="66"/>
                    </a:lnTo>
                    <a:lnTo>
                      <a:pt x="326" y="56"/>
                    </a:lnTo>
                    <a:lnTo>
                      <a:pt x="326" y="56"/>
                    </a:lnTo>
                    <a:lnTo>
                      <a:pt x="324" y="48"/>
                    </a:lnTo>
                    <a:lnTo>
                      <a:pt x="322" y="40"/>
                    </a:lnTo>
                    <a:lnTo>
                      <a:pt x="318" y="34"/>
                    </a:lnTo>
                    <a:lnTo>
                      <a:pt x="314" y="28"/>
                    </a:lnTo>
                    <a:lnTo>
                      <a:pt x="308" y="24"/>
                    </a:lnTo>
                    <a:lnTo>
                      <a:pt x="302" y="20"/>
                    </a:lnTo>
                    <a:lnTo>
                      <a:pt x="294" y="18"/>
                    </a:lnTo>
                    <a:lnTo>
                      <a:pt x="286" y="18"/>
                    </a:lnTo>
                    <a:lnTo>
                      <a:pt x="286" y="18"/>
                    </a:lnTo>
                    <a:lnTo>
                      <a:pt x="278" y="18"/>
                    </a:lnTo>
                    <a:lnTo>
                      <a:pt x="272" y="20"/>
                    </a:lnTo>
                    <a:lnTo>
                      <a:pt x="264" y="24"/>
                    </a:lnTo>
                    <a:lnTo>
                      <a:pt x="258" y="28"/>
                    </a:lnTo>
                    <a:lnTo>
                      <a:pt x="254" y="34"/>
                    </a:lnTo>
                    <a:lnTo>
                      <a:pt x="250" y="40"/>
                    </a:lnTo>
                    <a:lnTo>
                      <a:pt x="248" y="48"/>
                    </a:lnTo>
                    <a:lnTo>
                      <a:pt x="248" y="56"/>
                    </a:lnTo>
                    <a:lnTo>
                      <a:pt x="248" y="66"/>
                    </a:lnTo>
                    <a:lnTo>
                      <a:pt x="18" y="66"/>
                    </a:lnTo>
                    <a:lnTo>
                      <a:pt x="18" y="754"/>
                    </a:lnTo>
                    <a:close/>
                    <a:moveTo>
                      <a:pt x="344" y="56"/>
                    </a:moveTo>
                    <a:lnTo>
                      <a:pt x="344" y="56"/>
                    </a:lnTo>
                    <a:lnTo>
                      <a:pt x="34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55">
                <a:extLst>
                  <a:ext uri="{FF2B5EF4-FFF2-40B4-BE49-F238E27FC236}">
                    <a16:creationId xmlns:a16="http://schemas.microsoft.com/office/drawing/2014/main" id="{83ADD7B3-5FDD-F3FC-A208-6CA227984CD1}"/>
                  </a:ext>
                </a:extLst>
              </p:cNvPr>
              <p:cNvSpPr>
                <a:spLocks/>
              </p:cNvSpPr>
              <p:nvPr/>
            </p:nvSpPr>
            <p:spPr bwMode="auto">
              <a:xfrm>
                <a:off x="673" y="2002"/>
                <a:ext cx="470" cy="622"/>
              </a:xfrm>
              <a:custGeom>
                <a:avLst/>
                <a:gdLst>
                  <a:gd name="T0" fmla="*/ 470 w 470"/>
                  <a:gd name="T1" fmla="*/ 622 h 622"/>
                  <a:gd name="T2" fmla="*/ 0 w 470"/>
                  <a:gd name="T3" fmla="*/ 622 h 622"/>
                  <a:gd name="T4" fmla="*/ 0 w 470"/>
                  <a:gd name="T5" fmla="*/ 0 h 622"/>
                  <a:gd name="T6" fmla="*/ 104 w 470"/>
                  <a:gd name="T7" fmla="*/ 0 h 622"/>
                  <a:gd name="T8" fmla="*/ 104 w 470"/>
                  <a:gd name="T9" fmla="*/ 18 h 622"/>
                  <a:gd name="T10" fmla="*/ 18 w 470"/>
                  <a:gd name="T11" fmla="*/ 18 h 622"/>
                  <a:gd name="T12" fmla="*/ 18 w 470"/>
                  <a:gd name="T13" fmla="*/ 604 h 622"/>
                  <a:gd name="T14" fmla="*/ 452 w 470"/>
                  <a:gd name="T15" fmla="*/ 604 h 622"/>
                  <a:gd name="T16" fmla="*/ 452 w 470"/>
                  <a:gd name="T17" fmla="*/ 18 h 622"/>
                  <a:gd name="T18" fmla="*/ 366 w 470"/>
                  <a:gd name="T19" fmla="*/ 18 h 622"/>
                  <a:gd name="T20" fmla="*/ 366 w 470"/>
                  <a:gd name="T21" fmla="*/ 0 h 622"/>
                  <a:gd name="T22" fmla="*/ 470 w 470"/>
                  <a:gd name="T23" fmla="*/ 0 h 622"/>
                  <a:gd name="T24" fmla="*/ 470 w 470"/>
                  <a:gd name="T25" fmla="*/ 62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0" h="622">
                    <a:moveTo>
                      <a:pt x="470" y="622"/>
                    </a:moveTo>
                    <a:lnTo>
                      <a:pt x="0" y="622"/>
                    </a:lnTo>
                    <a:lnTo>
                      <a:pt x="0" y="0"/>
                    </a:lnTo>
                    <a:lnTo>
                      <a:pt x="104" y="0"/>
                    </a:lnTo>
                    <a:lnTo>
                      <a:pt x="104" y="18"/>
                    </a:lnTo>
                    <a:lnTo>
                      <a:pt x="18" y="18"/>
                    </a:lnTo>
                    <a:lnTo>
                      <a:pt x="18" y="604"/>
                    </a:lnTo>
                    <a:lnTo>
                      <a:pt x="452" y="604"/>
                    </a:lnTo>
                    <a:lnTo>
                      <a:pt x="452" y="18"/>
                    </a:lnTo>
                    <a:lnTo>
                      <a:pt x="366" y="18"/>
                    </a:lnTo>
                    <a:lnTo>
                      <a:pt x="366" y="0"/>
                    </a:lnTo>
                    <a:lnTo>
                      <a:pt x="470" y="0"/>
                    </a:lnTo>
                    <a:lnTo>
                      <a:pt x="470" y="6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56">
                <a:extLst>
                  <a:ext uri="{FF2B5EF4-FFF2-40B4-BE49-F238E27FC236}">
                    <a16:creationId xmlns:a16="http://schemas.microsoft.com/office/drawing/2014/main" id="{C0EB1582-7D7A-403D-03BA-4540BD04799D}"/>
                  </a:ext>
                </a:extLst>
              </p:cNvPr>
              <p:cNvSpPr>
                <a:spLocks/>
              </p:cNvSpPr>
              <p:nvPr/>
            </p:nvSpPr>
            <p:spPr bwMode="auto">
              <a:xfrm>
                <a:off x="789" y="1952"/>
                <a:ext cx="236" cy="128"/>
              </a:xfrm>
              <a:custGeom>
                <a:avLst/>
                <a:gdLst>
                  <a:gd name="T0" fmla="*/ 236 w 236"/>
                  <a:gd name="T1" fmla="*/ 128 h 128"/>
                  <a:gd name="T2" fmla="*/ 0 w 236"/>
                  <a:gd name="T3" fmla="*/ 128 h 128"/>
                  <a:gd name="T4" fmla="*/ 0 w 236"/>
                  <a:gd name="T5" fmla="*/ 0 h 128"/>
                  <a:gd name="T6" fmla="*/ 18 w 236"/>
                  <a:gd name="T7" fmla="*/ 0 h 128"/>
                  <a:gd name="T8" fmla="*/ 18 w 236"/>
                  <a:gd name="T9" fmla="*/ 110 h 128"/>
                  <a:gd name="T10" fmla="*/ 218 w 236"/>
                  <a:gd name="T11" fmla="*/ 110 h 128"/>
                  <a:gd name="T12" fmla="*/ 218 w 236"/>
                  <a:gd name="T13" fmla="*/ 0 h 128"/>
                  <a:gd name="T14" fmla="*/ 236 w 236"/>
                  <a:gd name="T15" fmla="*/ 0 h 128"/>
                  <a:gd name="T16" fmla="*/ 236 w 23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128">
                    <a:moveTo>
                      <a:pt x="236" y="128"/>
                    </a:moveTo>
                    <a:lnTo>
                      <a:pt x="0" y="128"/>
                    </a:lnTo>
                    <a:lnTo>
                      <a:pt x="0" y="0"/>
                    </a:lnTo>
                    <a:lnTo>
                      <a:pt x="18" y="0"/>
                    </a:lnTo>
                    <a:lnTo>
                      <a:pt x="18" y="110"/>
                    </a:lnTo>
                    <a:lnTo>
                      <a:pt x="218" y="110"/>
                    </a:lnTo>
                    <a:lnTo>
                      <a:pt x="218" y="0"/>
                    </a:lnTo>
                    <a:lnTo>
                      <a:pt x="236" y="0"/>
                    </a:lnTo>
                    <a:lnTo>
                      <a:pt x="236"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57">
                <a:extLst>
                  <a:ext uri="{FF2B5EF4-FFF2-40B4-BE49-F238E27FC236}">
                    <a16:creationId xmlns:a16="http://schemas.microsoft.com/office/drawing/2014/main" id="{8FB1692A-45B1-7361-FA51-1F1F0D24F8D1}"/>
                  </a:ext>
                </a:extLst>
              </p:cNvPr>
              <p:cNvSpPr>
                <a:spLocks noChangeArrowheads="1"/>
              </p:cNvSpPr>
              <p:nvPr/>
            </p:nvSpPr>
            <p:spPr bwMode="auto">
              <a:xfrm>
                <a:off x="845" y="2006"/>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58">
                <a:extLst>
                  <a:ext uri="{FF2B5EF4-FFF2-40B4-BE49-F238E27FC236}">
                    <a16:creationId xmlns:a16="http://schemas.microsoft.com/office/drawing/2014/main" id="{54EDFBD9-6CA9-C26F-8B57-BB3BFC6005E5}"/>
                  </a:ext>
                </a:extLst>
              </p:cNvPr>
              <p:cNvSpPr>
                <a:spLocks noEditPoints="1"/>
              </p:cNvSpPr>
              <p:nvPr/>
            </p:nvSpPr>
            <p:spPr bwMode="auto">
              <a:xfrm>
                <a:off x="741" y="2176"/>
                <a:ext cx="334" cy="334"/>
              </a:xfrm>
              <a:custGeom>
                <a:avLst/>
                <a:gdLst>
                  <a:gd name="T0" fmla="*/ 150 w 334"/>
                  <a:gd name="T1" fmla="*/ 334 h 334"/>
                  <a:gd name="T2" fmla="*/ 102 w 334"/>
                  <a:gd name="T3" fmla="*/ 322 h 334"/>
                  <a:gd name="T4" fmla="*/ 60 w 334"/>
                  <a:gd name="T5" fmla="*/ 296 h 334"/>
                  <a:gd name="T6" fmla="*/ 28 w 334"/>
                  <a:gd name="T7" fmla="*/ 260 h 334"/>
                  <a:gd name="T8" fmla="*/ 6 w 334"/>
                  <a:gd name="T9" fmla="*/ 216 h 334"/>
                  <a:gd name="T10" fmla="*/ 0 w 334"/>
                  <a:gd name="T11" fmla="*/ 166 h 334"/>
                  <a:gd name="T12" fmla="*/ 2 w 334"/>
                  <a:gd name="T13" fmla="*/ 134 h 334"/>
                  <a:gd name="T14" fmla="*/ 20 w 334"/>
                  <a:gd name="T15" fmla="*/ 88 h 334"/>
                  <a:gd name="T16" fmla="*/ 48 w 334"/>
                  <a:gd name="T17" fmla="*/ 48 h 334"/>
                  <a:gd name="T18" fmla="*/ 86 w 334"/>
                  <a:gd name="T19" fmla="*/ 20 h 334"/>
                  <a:gd name="T20" fmla="*/ 132 w 334"/>
                  <a:gd name="T21" fmla="*/ 2 h 334"/>
                  <a:gd name="T22" fmla="*/ 166 w 334"/>
                  <a:gd name="T23" fmla="*/ 0 h 334"/>
                  <a:gd name="T24" fmla="*/ 216 w 334"/>
                  <a:gd name="T25" fmla="*/ 8 h 334"/>
                  <a:gd name="T26" fmla="*/ 260 w 334"/>
                  <a:gd name="T27" fmla="*/ 28 h 334"/>
                  <a:gd name="T28" fmla="*/ 296 w 334"/>
                  <a:gd name="T29" fmla="*/ 60 h 334"/>
                  <a:gd name="T30" fmla="*/ 320 w 334"/>
                  <a:gd name="T31" fmla="*/ 102 h 334"/>
                  <a:gd name="T32" fmla="*/ 332 w 334"/>
                  <a:gd name="T33" fmla="*/ 150 h 334"/>
                  <a:gd name="T34" fmla="*/ 332 w 334"/>
                  <a:gd name="T35" fmla="*/ 184 h 334"/>
                  <a:gd name="T36" fmla="*/ 320 w 334"/>
                  <a:gd name="T37" fmla="*/ 232 h 334"/>
                  <a:gd name="T38" fmla="*/ 296 w 334"/>
                  <a:gd name="T39" fmla="*/ 274 h 334"/>
                  <a:gd name="T40" fmla="*/ 260 w 334"/>
                  <a:gd name="T41" fmla="*/ 306 h 334"/>
                  <a:gd name="T42" fmla="*/ 216 w 334"/>
                  <a:gd name="T43" fmla="*/ 326 h 334"/>
                  <a:gd name="T44" fmla="*/ 166 w 334"/>
                  <a:gd name="T45" fmla="*/ 334 h 334"/>
                  <a:gd name="T46" fmla="*/ 166 w 334"/>
                  <a:gd name="T47" fmla="*/ 18 h 334"/>
                  <a:gd name="T48" fmla="*/ 122 w 334"/>
                  <a:gd name="T49" fmla="*/ 24 h 334"/>
                  <a:gd name="T50" fmla="*/ 82 w 334"/>
                  <a:gd name="T51" fmla="*/ 44 h 334"/>
                  <a:gd name="T52" fmla="*/ 52 w 334"/>
                  <a:gd name="T53" fmla="*/ 72 h 334"/>
                  <a:gd name="T54" fmla="*/ 28 w 334"/>
                  <a:gd name="T55" fmla="*/ 108 h 334"/>
                  <a:gd name="T56" fmla="*/ 18 w 334"/>
                  <a:gd name="T57" fmla="*/ 152 h 334"/>
                  <a:gd name="T58" fmla="*/ 18 w 334"/>
                  <a:gd name="T59" fmla="*/ 182 h 334"/>
                  <a:gd name="T60" fmla="*/ 28 w 334"/>
                  <a:gd name="T61" fmla="*/ 224 h 334"/>
                  <a:gd name="T62" fmla="*/ 52 w 334"/>
                  <a:gd name="T63" fmla="*/ 262 h 334"/>
                  <a:gd name="T64" fmla="*/ 82 w 334"/>
                  <a:gd name="T65" fmla="*/ 290 h 334"/>
                  <a:gd name="T66" fmla="*/ 122 w 334"/>
                  <a:gd name="T67" fmla="*/ 310 h 334"/>
                  <a:gd name="T68" fmla="*/ 166 w 334"/>
                  <a:gd name="T69" fmla="*/ 316 h 334"/>
                  <a:gd name="T70" fmla="*/ 196 w 334"/>
                  <a:gd name="T71" fmla="*/ 314 h 334"/>
                  <a:gd name="T72" fmla="*/ 238 w 334"/>
                  <a:gd name="T73" fmla="*/ 298 h 334"/>
                  <a:gd name="T74" fmla="*/ 272 w 334"/>
                  <a:gd name="T75" fmla="*/ 272 h 334"/>
                  <a:gd name="T76" fmla="*/ 298 w 334"/>
                  <a:gd name="T77" fmla="*/ 238 h 334"/>
                  <a:gd name="T78" fmla="*/ 312 w 334"/>
                  <a:gd name="T79" fmla="*/ 196 h 334"/>
                  <a:gd name="T80" fmla="*/ 316 w 334"/>
                  <a:gd name="T81" fmla="*/ 166 h 334"/>
                  <a:gd name="T82" fmla="*/ 310 w 334"/>
                  <a:gd name="T83" fmla="*/ 122 h 334"/>
                  <a:gd name="T84" fmla="*/ 290 w 334"/>
                  <a:gd name="T85" fmla="*/ 84 h 334"/>
                  <a:gd name="T86" fmla="*/ 262 w 334"/>
                  <a:gd name="T87" fmla="*/ 52 h 334"/>
                  <a:gd name="T88" fmla="*/ 224 w 334"/>
                  <a:gd name="T89" fmla="*/ 30 h 334"/>
                  <a:gd name="T90" fmla="*/ 182 w 334"/>
                  <a:gd name="T91" fmla="*/ 1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334">
                    <a:moveTo>
                      <a:pt x="166" y="334"/>
                    </a:moveTo>
                    <a:lnTo>
                      <a:pt x="166" y="334"/>
                    </a:lnTo>
                    <a:lnTo>
                      <a:pt x="150" y="334"/>
                    </a:lnTo>
                    <a:lnTo>
                      <a:pt x="132" y="330"/>
                    </a:lnTo>
                    <a:lnTo>
                      <a:pt x="116" y="326"/>
                    </a:lnTo>
                    <a:lnTo>
                      <a:pt x="102" y="322"/>
                    </a:lnTo>
                    <a:lnTo>
                      <a:pt x="86" y="314"/>
                    </a:lnTo>
                    <a:lnTo>
                      <a:pt x="72" y="306"/>
                    </a:lnTo>
                    <a:lnTo>
                      <a:pt x="60" y="296"/>
                    </a:lnTo>
                    <a:lnTo>
                      <a:pt x="48" y="286"/>
                    </a:lnTo>
                    <a:lnTo>
                      <a:pt x="38" y="274"/>
                    </a:lnTo>
                    <a:lnTo>
                      <a:pt x="28" y="260"/>
                    </a:lnTo>
                    <a:lnTo>
                      <a:pt x="20" y="246"/>
                    </a:lnTo>
                    <a:lnTo>
                      <a:pt x="12" y="232"/>
                    </a:lnTo>
                    <a:lnTo>
                      <a:pt x="6" y="216"/>
                    </a:lnTo>
                    <a:lnTo>
                      <a:pt x="2" y="200"/>
                    </a:lnTo>
                    <a:lnTo>
                      <a:pt x="0" y="184"/>
                    </a:lnTo>
                    <a:lnTo>
                      <a:pt x="0" y="166"/>
                    </a:lnTo>
                    <a:lnTo>
                      <a:pt x="0" y="166"/>
                    </a:lnTo>
                    <a:lnTo>
                      <a:pt x="0" y="150"/>
                    </a:lnTo>
                    <a:lnTo>
                      <a:pt x="2" y="134"/>
                    </a:lnTo>
                    <a:lnTo>
                      <a:pt x="6" y="118"/>
                    </a:lnTo>
                    <a:lnTo>
                      <a:pt x="12" y="102"/>
                    </a:lnTo>
                    <a:lnTo>
                      <a:pt x="20" y="88"/>
                    </a:lnTo>
                    <a:lnTo>
                      <a:pt x="28" y="74"/>
                    </a:lnTo>
                    <a:lnTo>
                      <a:pt x="38" y="60"/>
                    </a:lnTo>
                    <a:lnTo>
                      <a:pt x="48" y="48"/>
                    </a:lnTo>
                    <a:lnTo>
                      <a:pt x="60" y="38"/>
                    </a:lnTo>
                    <a:lnTo>
                      <a:pt x="72" y="28"/>
                    </a:lnTo>
                    <a:lnTo>
                      <a:pt x="86" y="20"/>
                    </a:lnTo>
                    <a:lnTo>
                      <a:pt x="102" y="12"/>
                    </a:lnTo>
                    <a:lnTo>
                      <a:pt x="116" y="8"/>
                    </a:lnTo>
                    <a:lnTo>
                      <a:pt x="132" y="2"/>
                    </a:lnTo>
                    <a:lnTo>
                      <a:pt x="150" y="0"/>
                    </a:lnTo>
                    <a:lnTo>
                      <a:pt x="166" y="0"/>
                    </a:lnTo>
                    <a:lnTo>
                      <a:pt x="166" y="0"/>
                    </a:lnTo>
                    <a:lnTo>
                      <a:pt x="184" y="0"/>
                    </a:lnTo>
                    <a:lnTo>
                      <a:pt x="200" y="2"/>
                    </a:lnTo>
                    <a:lnTo>
                      <a:pt x="216" y="8"/>
                    </a:lnTo>
                    <a:lnTo>
                      <a:pt x="232" y="12"/>
                    </a:lnTo>
                    <a:lnTo>
                      <a:pt x="246" y="20"/>
                    </a:lnTo>
                    <a:lnTo>
                      <a:pt x="260" y="28"/>
                    </a:lnTo>
                    <a:lnTo>
                      <a:pt x="272" y="38"/>
                    </a:lnTo>
                    <a:lnTo>
                      <a:pt x="284" y="48"/>
                    </a:lnTo>
                    <a:lnTo>
                      <a:pt x="296" y="60"/>
                    </a:lnTo>
                    <a:lnTo>
                      <a:pt x="306" y="74"/>
                    </a:lnTo>
                    <a:lnTo>
                      <a:pt x="314" y="88"/>
                    </a:lnTo>
                    <a:lnTo>
                      <a:pt x="320" y="102"/>
                    </a:lnTo>
                    <a:lnTo>
                      <a:pt x="326" y="118"/>
                    </a:lnTo>
                    <a:lnTo>
                      <a:pt x="330" y="134"/>
                    </a:lnTo>
                    <a:lnTo>
                      <a:pt x="332" y="150"/>
                    </a:lnTo>
                    <a:lnTo>
                      <a:pt x="334" y="166"/>
                    </a:lnTo>
                    <a:lnTo>
                      <a:pt x="334" y="166"/>
                    </a:lnTo>
                    <a:lnTo>
                      <a:pt x="332" y="184"/>
                    </a:lnTo>
                    <a:lnTo>
                      <a:pt x="330" y="200"/>
                    </a:lnTo>
                    <a:lnTo>
                      <a:pt x="326" y="216"/>
                    </a:lnTo>
                    <a:lnTo>
                      <a:pt x="320" y="232"/>
                    </a:lnTo>
                    <a:lnTo>
                      <a:pt x="314" y="246"/>
                    </a:lnTo>
                    <a:lnTo>
                      <a:pt x="306" y="260"/>
                    </a:lnTo>
                    <a:lnTo>
                      <a:pt x="296" y="274"/>
                    </a:lnTo>
                    <a:lnTo>
                      <a:pt x="284" y="286"/>
                    </a:lnTo>
                    <a:lnTo>
                      <a:pt x="272" y="296"/>
                    </a:lnTo>
                    <a:lnTo>
                      <a:pt x="260" y="306"/>
                    </a:lnTo>
                    <a:lnTo>
                      <a:pt x="246" y="314"/>
                    </a:lnTo>
                    <a:lnTo>
                      <a:pt x="232" y="322"/>
                    </a:lnTo>
                    <a:lnTo>
                      <a:pt x="216" y="326"/>
                    </a:lnTo>
                    <a:lnTo>
                      <a:pt x="200" y="330"/>
                    </a:lnTo>
                    <a:lnTo>
                      <a:pt x="184" y="334"/>
                    </a:lnTo>
                    <a:lnTo>
                      <a:pt x="166" y="334"/>
                    </a:lnTo>
                    <a:lnTo>
                      <a:pt x="166" y="334"/>
                    </a:lnTo>
                    <a:close/>
                    <a:moveTo>
                      <a:pt x="166" y="18"/>
                    </a:moveTo>
                    <a:lnTo>
                      <a:pt x="166" y="18"/>
                    </a:lnTo>
                    <a:lnTo>
                      <a:pt x="152" y="18"/>
                    </a:lnTo>
                    <a:lnTo>
                      <a:pt x="136" y="20"/>
                    </a:lnTo>
                    <a:lnTo>
                      <a:pt x="122" y="24"/>
                    </a:lnTo>
                    <a:lnTo>
                      <a:pt x="108" y="30"/>
                    </a:lnTo>
                    <a:lnTo>
                      <a:pt x="96" y="36"/>
                    </a:lnTo>
                    <a:lnTo>
                      <a:pt x="82" y="44"/>
                    </a:lnTo>
                    <a:lnTo>
                      <a:pt x="72" y="52"/>
                    </a:lnTo>
                    <a:lnTo>
                      <a:pt x="60" y="62"/>
                    </a:lnTo>
                    <a:lnTo>
                      <a:pt x="52" y="72"/>
                    </a:lnTo>
                    <a:lnTo>
                      <a:pt x="42" y="84"/>
                    </a:lnTo>
                    <a:lnTo>
                      <a:pt x="36" y="96"/>
                    </a:lnTo>
                    <a:lnTo>
                      <a:pt x="28" y="108"/>
                    </a:lnTo>
                    <a:lnTo>
                      <a:pt x="24" y="122"/>
                    </a:lnTo>
                    <a:lnTo>
                      <a:pt x="20" y="136"/>
                    </a:lnTo>
                    <a:lnTo>
                      <a:pt x="18" y="152"/>
                    </a:lnTo>
                    <a:lnTo>
                      <a:pt x="18" y="166"/>
                    </a:lnTo>
                    <a:lnTo>
                      <a:pt x="18" y="166"/>
                    </a:lnTo>
                    <a:lnTo>
                      <a:pt x="18" y="182"/>
                    </a:lnTo>
                    <a:lnTo>
                      <a:pt x="20" y="196"/>
                    </a:lnTo>
                    <a:lnTo>
                      <a:pt x="24" y="212"/>
                    </a:lnTo>
                    <a:lnTo>
                      <a:pt x="28" y="224"/>
                    </a:lnTo>
                    <a:lnTo>
                      <a:pt x="36" y="238"/>
                    </a:lnTo>
                    <a:lnTo>
                      <a:pt x="42" y="250"/>
                    </a:lnTo>
                    <a:lnTo>
                      <a:pt x="52" y="262"/>
                    </a:lnTo>
                    <a:lnTo>
                      <a:pt x="60" y="272"/>
                    </a:lnTo>
                    <a:lnTo>
                      <a:pt x="72" y="282"/>
                    </a:lnTo>
                    <a:lnTo>
                      <a:pt x="82" y="290"/>
                    </a:lnTo>
                    <a:lnTo>
                      <a:pt x="96" y="298"/>
                    </a:lnTo>
                    <a:lnTo>
                      <a:pt x="108" y="304"/>
                    </a:lnTo>
                    <a:lnTo>
                      <a:pt x="122" y="310"/>
                    </a:lnTo>
                    <a:lnTo>
                      <a:pt x="136" y="314"/>
                    </a:lnTo>
                    <a:lnTo>
                      <a:pt x="152" y="316"/>
                    </a:lnTo>
                    <a:lnTo>
                      <a:pt x="166" y="316"/>
                    </a:lnTo>
                    <a:lnTo>
                      <a:pt x="166" y="316"/>
                    </a:lnTo>
                    <a:lnTo>
                      <a:pt x="182" y="316"/>
                    </a:lnTo>
                    <a:lnTo>
                      <a:pt x="196" y="314"/>
                    </a:lnTo>
                    <a:lnTo>
                      <a:pt x="210" y="310"/>
                    </a:lnTo>
                    <a:lnTo>
                      <a:pt x="224" y="304"/>
                    </a:lnTo>
                    <a:lnTo>
                      <a:pt x="238" y="298"/>
                    </a:lnTo>
                    <a:lnTo>
                      <a:pt x="250" y="290"/>
                    </a:lnTo>
                    <a:lnTo>
                      <a:pt x="262" y="282"/>
                    </a:lnTo>
                    <a:lnTo>
                      <a:pt x="272" y="272"/>
                    </a:lnTo>
                    <a:lnTo>
                      <a:pt x="282" y="262"/>
                    </a:lnTo>
                    <a:lnTo>
                      <a:pt x="290" y="250"/>
                    </a:lnTo>
                    <a:lnTo>
                      <a:pt x="298" y="238"/>
                    </a:lnTo>
                    <a:lnTo>
                      <a:pt x="304" y="224"/>
                    </a:lnTo>
                    <a:lnTo>
                      <a:pt x="310" y="212"/>
                    </a:lnTo>
                    <a:lnTo>
                      <a:pt x="312" y="196"/>
                    </a:lnTo>
                    <a:lnTo>
                      <a:pt x="316" y="182"/>
                    </a:lnTo>
                    <a:lnTo>
                      <a:pt x="316" y="166"/>
                    </a:lnTo>
                    <a:lnTo>
                      <a:pt x="316" y="166"/>
                    </a:lnTo>
                    <a:lnTo>
                      <a:pt x="316" y="152"/>
                    </a:lnTo>
                    <a:lnTo>
                      <a:pt x="312" y="136"/>
                    </a:lnTo>
                    <a:lnTo>
                      <a:pt x="310" y="122"/>
                    </a:lnTo>
                    <a:lnTo>
                      <a:pt x="304" y="108"/>
                    </a:lnTo>
                    <a:lnTo>
                      <a:pt x="298" y="96"/>
                    </a:lnTo>
                    <a:lnTo>
                      <a:pt x="290" y="84"/>
                    </a:lnTo>
                    <a:lnTo>
                      <a:pt x="282" y="72"/>
                    </a:lnTo>
                    <a:lnTo>
                      <a:pt x="272" y="62"/>
                    </a:lnTo>
                    <a:lnTo>
                      <a:pt x="262" y="52"/>
                    </a:lnTo>
                    <a:lnTo>
                      <a:pt x="250" y="44"/>
                    </a:lnTo>
                    <a:lnTo>
                      <a:pt x="238" y="36"/>
                    </a:lnTo>
                    <a:lnTo>
                      <a:pt x="224" y="30"/>
                    </a:lnTo>
                    <a:lnTo>
                      <a:pt x="210" y="24"/>
                    </a:lnTo>
                    <a:lnTo>
                      <a:pt x="196" y="20"/>
                    </a:lnTo>
                    <a:lnTo>
                      <a:pt x="182" y="18"/>
                    </a:lnTo>
                    <a:lnTo>
                      <a:pt x="166" y="18"/>
                    </a:lnTo>
                    <a:lnTo>
                      <a:pt x="16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9">
                <a:extLst>
                  <a:ext uri="{FF2B5EF4-FFF2-40B4-BE49-F238E27FC236}">
                    <a16:creationId xmlns:a16="http://schemas.microsoft.com/office/drawing/2014/main" id="{FB0AC206-B401-D498-0971-CD737A223E27}"/>
                  </a:ext>
                </a:extLst>
              </p:cNvPr>
              <p:cNvSpPr>
                <a:spLocks/>
              </p:cNvSpPr>
              <p:nvPr/>
            </p:nvSpPr>
            <p:spPr bwMode="auto">
              <a:xfrm>
                <a:off x="803" y="2270"/>
                <a:ext cx="208" cy="146"/>
              </a:xfrm>
              <a:custGeom>
                <a:avLst/>
                <a:gdLst>
                  <a:gd name="T0" fmla="*/ 74 w 208"/>
                  <a:gd name="T1" fmla="*/ 146 h 146"/>
                  <a:gd name="T2" fmla="*/ 0 w 208"/>
                  <a:gd name="T3" fmla="*/ 72 h 146"/>
                  <a:gd name="T4" fmla="*/ 14 w 208"/>
                  <a:gd name="T5" fmla="*/ 58 h 146"/>
                  <a:gd name="T6" fmla="*/ 74 w 208"/>
                  <a:gd name="T7" fmla="*/ 120 h 146"/>
                  <a:gd name="T8" fmla="*/ 196 w 208"/>
                  <a:gd name="T9" fmla="*/ 0 h 146"/>
                  <a:gd name="T10" fmla="*/ 208 w 208"/>
                  <a:gd name="T11" fmla="*/ 12 h 146"/>
                  <a:gd name="T12" fmla="*/ 74 w 20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208" h="146">
                    <a:moveTo>
                      <a:pt x="74" y="146"/>
                    </a:moveTo>
                    <a:lnTo>
                      <a:pt x="0" y="72"/>
                    </a:lnTo>
                    <a:lnTo>
                      <a:pt x="14" y="58"/>
                    </a:lnTo>
                    <a:lnTo>
                      <a:pt x="74" y="120"/>
                    </a:lnTo>
                    <a:lnTo>
                      <a:pt x="196" y="0"/>
                    </a:lnTo>
                    <a:lnTo>
                      <a:pt x="208" y="12"/>
                    </a:lnTo>
                    <a:lnTo>
                      <a:pt x="74"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07" name="Freeform: Shape 4106">
              <a:extLst>
                <a:ext uri="{FF2B5EF4-FFF2-40B4-BE49-F238E27FC236}">
                  <a16:creationId xmlns:a16="http://schemas.microsoft.com/office/drawing/2014/main" id="{67FAC3EF-8FA8-6580-2D1E-ABF093892183}"/>
                </a:ext>
              </a:extLst>
            </p:cNvPr>
            <p:cNvSpPr/>
            <p:nvPr/>
          </p:nvSpPr>
          <p:spPr>
            <a:xfrm rot="4290805">
              <a:off x="8009715" y="4240619"/>
              <a:ext cx="925128" cy="903973"/>
            </a:xfrm>
            <a:custGeom>
              <a:avLst/>
              <a:gdLst>
                <a:gd name="connsiteX0" fmla="*/ 6146 w 784845"/>
                <a:gd name="connsiteY0" fmla="*/ 191557 h 766898"/>
                <a:gd name="connsiteX1" fmla="*/ 93049 w 784845"/>
                <a:gd name="connsiteY1" fmla="*/ 114515 h 766898"/>
                <a:gd name="connsiteX2" fmla="*/ 644177 w 784845"/>
                <a:gd name="connsiteY2" fmla="*/ 2498 h 766898"/>
                <a:gd name="connsiteX3" fmla="*/ 778681 w 784845"/>
                <a:gd name="connsiteY3" fmla="*/ 153565 h 766898"/>
                <a:gd name="connsiteX4" fmla="*/ 600108 w 784845"/>
                <a:gd name="connsiteY4" fmla="*/ 687679 h 766898"/>
                <a:gd name="connsiteX5" fmla="*/ 427263 w 784845"/>
                <a:gd name="connsiteY5" fmla="*/ 748697 h 766898"/>
                <a:gd name="connsiteX6" fmla="*/ 407077 w 784845"/>
                <a:gd name="connsiteY6" fmla="*/ 731406 h 766898"/>
                <a:gd name="connsiteX7" fmla="*/ 183814 w 784845"/>
                <a:gd name="connsiteY7" fmla="*/ 480133 h 766898"/>
                <a:gd name="connsiteX8" fmla="*/ 29237 w 784845"/>
                <a:gd name="connsiteY8" fmla="*/ 305375 h 766898"/>
                <a:gd name="connsiteX9" fmla="*/ 6146 w 784845"/>
                <a:gd name="connsiteY9" fmla="*/ 191557 h 76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845" h="766898">
                  <a:moveTo>
                    <a:pt x="6146" y="191557"/>
                  </a:moveTo>
                  <a:cubicBezTo>
                    <a:pt x="18600" y="154310"/>
                    <a:pt x="49385" y="123192"/>
                    <a:pt x="93049" y="114515"/>
                  </a:cubicBezTo>
                  <a:lnTo>
                    <a:pt x="644177" y="2498"/>
                  </a:lnTo>
                  <a:cubicBezTo>
                    <a:pt x="733049" y="-15697"/>
                    <a:pt x="807087" y="68602"/>
                    <a:pt x="778681" y="153565"/>
                  </a:cubicBezTo>
                  <a:lnTo>
                    <a:pt x="600108" y="687679"/>
                  </a:lnTo>
                  <a:cubicBezTo>
                    <a:pt x="575252" y="762022"/>
                    <a:pt x="488331" y="787917"/>
                    <a:pt x="427263" y="748697"/>
                  </a:cubicBezTo>
                  <a:lnTo>
                    <a:pt x="407077" y="731406"/>
                  </a:lnTo>
                  <a:lnTo>
                    <a:pt x="183814" y="480133"/>
                  </a:lnTo>
                  <a:lnTo>
                    <a:pt x="29237" y="305375"/>
                  </a:lnTo>
                  <a:cubicBezTo>
                    <a:pt x="-427" y="272182"/>
                    <a:pt x="-6307" y="228806"/>
                    <a:pt x="6146" y="191557"/>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25" name="Group 63">
              <a:extLst>
                <a:ext uri="{FF2B5EF4-FFF2-40B4-BE49-F238E27FC236}">
                  <a16:creationId xmlns:a16="http://schemas.microsoft.com/office/drawing/2014/main" id="{CBD8362F-A562-6F7C-7AA6-BE15D8613B5A}"/>
                </a:ext>
              </a:extLst>
            </p:cNvPr>
            <p:cNvGrpSpPr>
              <a:grpSpLocks noChangeAspect="1"/>
            </p:cNvGrpSpPr>
            <p:nvPr/>
          </p:nvGrpSpPr>
          <p:grpSpPr bwMode="auto">
            <a:xfrm>
              <a:off x="8362720" y="4503725"/>
              <a:ext cx="382890" cy="437301"/>
              <a:chOff x="4531" y="2893"/>
              <a:chExt cx="760" cy="868"/>
            </a:xfrm>
            <a:solidFill>
              <a:srgbClr val="F6F6FA"/>
            </a:solidFill>
          </p:grpSpPr>
          <p:sp>
            <p:nvSpPr>
              <p:cNvPr id="26" name="Freeform 64">
                <a:extLst>
                  <a:ext uri="{FF2B5EF4-FFF2-40B4-BE49-F238E27FC236}">
                    <a16:creationId xmlns:a16="http://schemas.microsoft.com/office/drawing/2014/main" id="{99CEFD7C-42BE-26F3-7141-5B1E168BA5F3}"/>
                  </a:ext>
                </a:extLst>
              </p:cNvPr>
              <p:cNvSpPr>
                <a:spLocks noEditPoints="1"/>
              </p:cNvSpPr>
              <p:nvPr/>
            </p:nvSpPr>
            <p:spPr bwMode="auto">
              <a:xfrm>
                <a:off x="4577" y="3039"/>
                <a:ext cx="488" cy="674"/>
              </a:xfrm>
              <a:custGeom>
                <a:avLst/>
                <a:gdLst>
                  <a:gd name="T0" fmla="*/ 488 w 488"/>
                  <a:gd name="T1" fmla="*/ 674 h 674"/>
                  <a:gd name="T2" fmla="*/ 0 w 488"/>
                  <a:gd name="T3" fmla="*/ 674 h 674"/>
                  <a:gd name="T4" fmla="*/ 0 w 488"/>
                  <a:gd name="T5" fmla="*/ 0 h 674"/>
                  <a:gd name="T6" fmla="*/ 488 w 488"/>
                  <a:gd name="T7" fmla="*/ 0 h 674"/>
                  <a:gd name="T8" fmla="*/ 488 w 488"/>
                  <a:gd name="T9" fmla="*/ 674 h 674"/>
                  <a:gd name="T10" fmla="*/ 18 w 488"/>
                  <a:gd name="T11" fmla="*/ 656 h 674"/>
                  <a:gd name="T12" fmla="*/ 470 w 488"/>
                  <a:gd name="T13" fmla="*/ 656 h 674"/>
                  <a:gd name="T14" fmla="*/ 470 w 488"/>
                  <a:gd name="T15" fmla="*/ 18 h 674"/>
                  <a:gd name="T16" fmla="*/ 18 w 488"/>
                  <a:gd name="T17" fmla="*/ 18 h 674"/>
                  <a:gd name="T18" fmla="*/ 18 w 488"/>
                  <a:gd name="T19" fmla="*/ 65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8" h="674">
                    <a:moveTo>
                      <a:pt x="488" y="674"/>
                    </a:moveTo>
                    <a:lnTo>
                      <a:pt x="0" y="674"/>
                    </a:lnTo>
                    <a:lnTo>
                      <a:pt x="0" y="0"/>
                    </a:lnTo>
                    <a:lnTo>
                      <a:pt x="488" y="0"/>
                    </a:lnTo>
                    <a:lnTo>
                      <a:pt x="488" y="674"/>
                    </a:lnTo>
                    <a:close/>
                    <a:moveTo>
                      <a:pt x="18" y="656"/>
                    </a:moveTo>
                    <a:lnTo>
                      <a:pt x="470" y="656"/>
                    </a:lnTo>
                    <a:lnTo>
                      <a:pt x="470" y="18"/>
                    </a:lnTo>
                    <a:lnTo>
                      <a:pt x="18" y="18"/>
                    </a:lnTo>
                    <a:lnTo>
                      <a:pt x="18" y="6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5">
                <a:extLst>
                  <a:ext uri="{FF2B5EF4-FFF2-40B4-BE49-F238E27FC236}">
                    <a16:creationId xmlns:a16="http://schemas.microsoft.com/office/drawing/2014/main" id="{7FE1F7EC-74BF-D469-BD25-C22CB557C20C}"/>
                  </a:ext>
                </a:extLst>
              </p:cNvPr>
              <p:cNvSpPr>
                <a:spLocks/>
              </p:cNvSpPr>
              <p:nvPr/>
            </p:nvSpPr>
            <p:spPr bwMode="auto">
              <a:xfrm>
                <a:off x="4531" y="2991"/>
                <a:ext cx="578" cy="770"/>
              </a:xfrm>
              <a:custGeom>
                <a:avLst/>
                <a:gdLst>
                  <a:gd name="T0" fmla="*/ 578 w 578"/>
                  <a:gd name="T1" fmla="*/ 770 h 770"/>
                  <a:gd name="T2" fmla="*/ 0 w 578"/>
                  <a:gd name="T3" fmla="*/ 770 h 770"/>
                  <a:gd name="T4" fmla="*/ 0 w 578"/>
                  <a:gd name="T5" fmla="*/ 0 h 770"/>
                  <a:gd name="T6" fmla="*/ 184 w 578"/>
                  <a:gd name="T7" fmla="*/ 0 h 770"/>
                  <a:gd name="T8" fmla="*/ 184 w 578"/>
                  <a:gd name="T9" fmla="*/ 18 h 770"/>
                  <a:gd name="T10" fmla="*/ 18 w 578"/>
                  <a:gd name="T11" fmla="*/ 18 h 770"/>
                  <a:gd name="T12" fmla="*/ 18 w 578"/>
                  <a:gd name="T13" fmla="*/ 752 h 770"/>
                  <a:gd name="T14" fmla="*/ 560 w 578"/>
                  <a:gd name="T15" fmla="*/ 752 h 770"/>
                  <a:gd name="T16" fmla="*/ 560 w 578"/>
                  <a:gd name="T17" fmla="*/ 18 h 770"/>
                  <a:gd name="T18" fmla="*/ 394 w 578"/>
                  <a:gd name="T19" fmla="*/ 18 h 770"/>
                  <a:gd name="T20" fmla="*/ 394 w 578"/>
                  <a:gd name="T21" fmla="*/ 0 h 770"/>
                  <a:gd name="T22" fmla="*/ 578 w 578"/>
                  <a:gd name="T23" fmla="*/ 0 h 770"/>
                  <a:gd name="T24" fmla="*/ 578 w 578"/>
                  <a:gd name="T25" fmla="*/ 77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770">
                    <a:moveTo>
                      <a:pt x="578" y="770"/>
                    </a:moveTo>
                    <a:lnTo>
                      <a:pt x="0" y="770"/>
                    </a:lnTo>
                    <a:lnTo>
                      <a:pt x="0" y="0"/>
                    </a:lnTo>
                    <a:lnTo>
                      <a:pt x="184" y="0"/>
                    </a:lnTo>
                    <a:lnTo>
                      <a:pt x="184" y="18"/>
                    </a:lnTo>
                    <a:lnTo>
                      <a:pt x="18" y="18"/>
                    </a:lnTo>
                    <a:lnTo>
                      <a:pt x="18" y="752"/>
                    </a:lnTo>
                    <a:lnTo>
                      <a:pt x="560" y="752"/>
                    </a:lnTo>
                    <a:lnTo>
                      <a:pt x="560" y="18"/>
                    </a:lnTo>
                    <a:lnTo>
                      <a:pt x="394" y="18"/>
                    </a:lnTo>
                    <a:lnTo>
                      <a:pt x="394" y="0"/>
                    </a:lnTo>
                    <a:lnTo>
                      <a:pt x="578" y="0"/>
                    </a:lnTo>
                    <a:lnTo>
                      <a:pt x="578" y="7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6">
                <a:extLst>
                  <a:ext uri="{FF2B5EF4-FFF2-40B4-BE49-F238E27FC236}">
                    <a16:creationId xmlns:a16="http://schemas.microsoft.com/office/drawing/2014/main" id="{EE21617C-FEA7-7A92-3A52-E2B1E002529E}"/>
                  </a:ext>
                </a:extLst>
              </p:cNvPr>
              <p:cNvSpPr>
                <a:spLocks noEditPoints="1"/>
              </p:cNvSpPr>
              <p:nvPr/>
            </p:nvSpPr>
            <p:spPr bwMode="auto">
              <a:xfrm>
                <a:off x="4723" y="2939"/>
                <a:ext cx="194" cy="70"/>
              </a:xfrm>
              <a:custGeom>
                <a:avLst/>
                <a:gdLst>
                  <a:gd name="T0" fmla="*/ 194 w 194"/>
                  <a:gd name="T1" fmla="*/ 70 h 70"/>
                  <a:gd name="T2" fmla="*/ 0 w 194"/>
                  <a:gd name="T3" fmla="*/ 70 h 70"/>
                  <a:gd name="T4" fmla="*/ 0 w 194"/>
                  <a:gd name="T5" fmla="*/ 30 h 70"/>
                  <a:gd name="T6" fmla="*/ 0 w 194"/>
                  <a:gd name="T7" fmla="*/ 30 h 70"/>
                  <a:gd name="T8" fmla="*/ 2 w 194"/>
                  <a:gd name="T9" fmla="*/ 24 h 70"/>
                  <a:gd name="T10" fmla="*/ 4 w 194"/>
                  <a:gd name="T11" fmla="*/ 18 h 70"/>
                  <a:gd name="T12" fmla="*/ 10 w 194"/>
                  <a:gd name="T13" fmla="*/ 8 h 70"/>
                  <a:gd name="T14" fmla="*/ 20 w 194"/>
                  <a:gd name="T15" fmla="*/ 2 h 70"/>
                  <a:gd name="T16" fmla="*/ 26 w 194"/>
                  <a:gd name="T17" fmla="*/ 0 h 70"/>
                  <a:gd name="T18" fmla="*/ 32 w 194"/>
                  <a:gd name="T19" fmla="*/ 0 h 70"/>
                  <a:gd name="T20" fmla="*/ 164 w 194"/>
                  <a:gd name="T21" fmla="*/ 0 h 70"/>
                  <a:gd name="T22" fmla="*/ 164 w 194"/>
                  <a:gd name="T23" fmla="*/ 0 h 70"/>
                  <a:gd name="T24" fmla="*/ 170 w 194"/>
                  <a:gd name="T25" fmla="*/ 0 h 70"/>
                  <a:gd name="T26" fmla="*/ 176 w 194"/>
                  <a:gd name="T27" fmla="*/ 2 h 70"/>
                  <a:gd name="T28" fmla="*/ 186 w 194"/>
                  <a:gd name="T29" fmla="*/ 8 h 70"/>
                  <a:gd name="T30" fmla="*/ 192 w 194"/>
                  <a:gd name="T31" fmla="*/ 18 h 70"/>
                  <a:gd name="T32" fmla="*/ 194 w 194"/>
                  <a:gd name="T33" fmla="*/ 24 h 70"/>
                  <a:gd name="T34" fmla="*/ 194 w 194"/>
                  <a:gd name="T35" fmla="*/ 30 h 70"/>
                  <a:gd name="T36" fmla="*/ 194 w 194"/>
                  <a:gd name="T37" fmla="*/ 70 h 70"/>
                  <a:gd name="T38" fmla="*/ 18 w 194"/>
                  <a:gd name="T39" fmla="*/ 52 h 70"/>
                  <a:gd name="T40" fmla="*/ 176 w 194"/>
                  <a:gd name="T41" fmla="*/ 52 h 70"/>
                  <a:gd name="T42" fmla="*/ 176 w 194"/>
                  <a:gd name="T43" fmla="*/ 30 h 70"/>
                  <a:gd name="T44" fmla="*/ 176 w 194"/>
                  <a:gd name="T45" fmla="*/ 30 h 70"/>
                  <a:gd name="T46" fmla="*/ 176 w 194"/>
                  <a:gd name="T47" fmla="*/ 24 h 70"/>
                  <a:gd name="T48" fmla="*/ 172 w 194"/>
                  <a:gd name="T49" fmla="*/ 20 h 70"/>
                  <a:gd name="T50" fmla="*/ 170 w 194"/>
                  <a:gd name="T51" fmla="*/ 18 h 70"/>
                  <a:gd name="T52" fmla="*/ 164 w 194"/>
                  <a:gd name="T53" fmla="*/ 18 h 70"/>
                  <a:gd name="T54" fmla="*/ 32 w 194"/>
                  <a:gd name="T55" fmla="*/ 18 h 70"/>
                  <a:gd name="T56" fmla="*/ 32 w 194"/>
                  <a:gd name="T57" fmla="*/ 18 h 70"/>
                  <a:gd name="T58" fmla="*/ 26 w 194"/>
                  <a:gd name="T59" fmla="*/ 18 h 70"/>
                  <a:gd name="T60" fmla="*/ 22 w 194"/>
                  <a:gd name="T61" fmla="*/ 20 h 70"/>
                  <a:gd name="T62" fmla="*/ 20 w 194"/>
                  <a:gd name="T63" fmla="*/ 24 h 70"/>
                  <a:gd name="T64" fmla="*/ 18 w 194"/>
                  <a:gd name="T65" fmla="*/ 30 h 70"/>
                  <a:gd name="T66" fmla="*/ 18 w 194"/>
                  <a:gd name="T67"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 h="70">
                    <a:moveTo>
                      <a:pt x="194" y="70"/>
                    </a:moveTo>
                    <a:lnTo>
                      <a:pt x="0" y="70"/>
                    </a:lnTo>
                    <a:lnTo>
                      <a:pt x="0" y="30"/>
                    </a:lnTo>
                    <a:lnTo>
                      <a:pt x="0" y="30"/>
                    </a:lnTo>
                    <a:lnTo>
                      <a:pt x="2" y="24"/>
                    </a:lnTo>
                    <a:lnTo>
                      <a:pt x="4" y="18"/>
                    </a:lnTo>
                    <a:lnTo>
                      <a:pt x="10" y="8"/>
                    </a:lnTo>
                    <a:lnTo>
                      <a:pt x="20" y="2"/>
                    </a:lnTo>
                    <a:lnTo>
                      <a:pt x="26" y="0"/>
                    </a:lnTo>
                    <a:lnTo>
                      <a:pt x="32" y="0"/>
                    </a:lnTo>
                    <a:lnTo>
                      <a:pt x="164" y="0"/>
                    </a:lnTo>
                    <a:lnTo>
                      <a:pt x="164" y="0"/>
                    </a:lnTo>
                    <a:lnTo>
                      <a:pt x="170" y="0"/>
                    </a:lnTo>
                    <a:lnTo>
                      <a:pt x="176" y="2"/>
                    </a:lnTo>
                    <a:lnTo>
                      <a:pt x="186" y="8"/>
                    </a:lnTo>
                    <a:lnTo>
                      <a:pt x="192" y="18"/>
                    </a:lnTo>
                    <a:lnTo>
                      <a:pt x="194" y="24"/>
                    </a:lnTo>
                    <a:lnTo>
                      <a:pt x="194" y="30"/>
                    </a:lnTo>
                    <a:lnTo>
                      <a:pt x="194" y="70"/>
                    </a:lnTo>
                    <a:close/>
                    <a:moveTo>
                      <a:pt x="18" y="52"/>
                    </a:moveTo>
                    <a:lnTo>
                      <a:pt x="176" y="52"/>
                    </a:lnTo>
                    <a:lnTo>
                      <a:pt x="176" y="30"/>
                    </a:lnTo>
                    <a:lnTo>
                      <a:pt x="176" y="30"/>
                    </a:lnTo>
                    <a:lnTo>
                      <a:pt x="176" y="24"/>
                    </a:lnTo>
                    <a:lnTo>
                      <a:pt x="172" y="20"/>
                    </a:lnTo>
                    <a:lnTo>
                      <a:pt x="170" y="18"/>
                    </a:lnTo>
                    <a:lnTo>
                      <a:pt x="164" y="18"/>
                    </a:lnTo>
                    <a:lnTo>
                      <a:pt x="32" y="18"/>
                    </a:lnTo>
                    <a:lnTo>
                      <a:pt x="32" y="18"/>
                    </a:lnTo>
                    <a:lnTo>
                      <a:pt x="26" y="18"/>
                    </a:lnTo>
                    <a:lnTo>
                      <a:pt x="22" y="20"/>
                    </a:lnTo>
                    <a:lnTo>
                      <a:pt x="20" y="24"/>
                    </a:lnTo>
                    <a:lnTo>
                      <a:pt x="18" y="30"/>
                    </a:lnTo>
                    <a:lnTo>
                      <a:pt x="1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7">
                <a:extLst>
                  <a:ext uri="{FF2B5EF4-FFF2-40B4-BE49-F238E27FC236}">
                    <a16:creationId xmlns:a16="http://schemas.microsoft.com/office/drawing/2014/main" id="{3324CD2C-608A-ECCD-2C3F-492440586482}"/>
                  </a:ext>
                </a:extLst>
              </p:cNvPr>
              <p:cNvSpPr>
                <a:spLocks/>
              </p:cNvSpPr>
              <p:nvPr/>
            </p:nvSpPr>
            <p:spPr bwMode="auto">
              <a:xfrm>
                <a:off x="4781" y="2893"/>
                <a:ext cx="78" cy="62"/>
              </a:xfrm>
              <a:custGeom>
                <a:avLst/>
                <a:gdLst>
                  <a:gd name="T0" fmla="*/ 6 w 78"/>
                  <a:gd name="T1" fmla="*/ 62 h 62"/>
                  <a:gd name="T2" fmla="*/ 6 w 78"/>
                  <a:gd name="T3" fmla="*/ 62 h 62"/>
                  <a:gd name="T4" fmla="*/ 2 w 78"/>
                  <a:gd name="T5" fmla="*/ 50 h 62"/>
                  <a:gd name="T6" fmla="*/ 0 w 78"/>
                  <a:gd name="T7" fmla="*/ 40 h 62"/>
                  <a:gd name="T8" fmla="*/ 0 w 78"/>
                  <a:gd name="T9" fmla="*/ 40 h 62"/>
                  <a:gd name="T10" fmla="*/ 2 w 78"/>
                  <a:gd name="T11" fmla="*/ 32 h 62"/>
                  <a:gd name="T12" fmla="*/ 4 w 78"/>
                  <a:gd name="T13" fmla="*/ 24 h 62"/>
                  <a:gd name="T14" fmla="*/ 6 w 78"/>
                  <a:gd name="T15" fmla="*/ 18 h 62"/>
                  <a:gd name="T16" fmla="*/ 12 w 78"/>
                  <a:gd name="T17" fmla="*/ 12 h 62"/>
                  <a:gd name="T18" fmla="*/ 18 w 78"/>
                  <a:gd name="T19" fmla="*/ 8 h 62"/>
                  <a:gd name="T20" fmla="*/ 24 w 78"/>
                  <a:gd name="T21" fmla="*/ 4 h 62"/>
                  <a:gd name="T22" fmla="*/ 32 w 78"/>
                  <a:gd name="T23" fmla="*/ 2 h 62"/>
                  <a:gd name="T24" fmla="*/ 40 w 78"/>
                  <a:gd name="T25" fmla="*/ 0 h 62"/>
                  <a:gd name="T26" fmla="*/ 40 w 78"/>
                  <a:gd name="T27" fmla="*/ 0 h 62"/>
                  <a:gd name="T28" fmla="*/ 48 w 78"/>
                  <a:gd name="T29" fmla="*/ 2 h 62"/>
                  <a:gd name="T30" fmla="*/ 54 w 78"/>
                  <a:gd name="T31" fmla="*/ 4 h 62"/>
                  <a:gd name="T32" fmla="*/ 62 w 78"/>
                  <a:gd name="T33" fmla="*/ 8 h 62"/>
                  <a:gd name="T34" fmla="*/ 66 w 78"/>
                  <a:gd name="T35" fmla="*/ 12 h 62"/>
                  <a:gd name="T36" fmla="*/ 72 w 78"/>
                  <a:gd name="T37" fmla="*/ 18 h 62"/>
                  <a:gd name="T38" fmla="*/ 76 w 78"/>
                  <a:gd name="T39" fmla="*/ 24 h 62"/>
                  <a:gd name="T40" fmla="*/ 78 w 78"/>
                  <a:gd name="T41" fmla="*/ 32 h 62"/>
                  <a:gd name="T42" fmla="*/ 78 w 78"/>
                  <a:gd name="T43" fmla="*/ 40 h 62"/>
                  <a:gd name="T44" fmla="*/ 78 w 78"/>
                  <a:gd name="T45" fmla="*/ 40 h 62"/>
                  <a:gd name="T46" fmla="*/ 78 w 78"/>
                  <a:gd name="T47" fmla="*/ 50 h 62"/>
                  <a:gd name="T48" fmla="*/ 74 w 78"/>
                  <a:gd name="T49" fmla="*/ 58 h 62"/>
                  <a:gd name="T50" fmla="*/ 58 w 78"/>
                  <a:gd name="T51" fmla="*/ 50 h 62"/>
                  <a:gd name="T52" fmla="*/ 58 w 78"/>
                  <a:gd name="T53" fmla="*/ 50 h 62"/>
                  <a:gd name="T54" fmla="*/ 60 w 78"/>
                  <a:gd name="T55" fmla="*/ 44 h 62"/>
                  <a:gd name="T56" fmla="*/ 60 w 78"/>
                  <a:gd name="T57" fmla="*/ 40 h 62"/>
                  <a:gd name="T58" fmla="*/ 60 w 78"/>
                  <a:gd name="T59" fmla="*/ 40 h 62"/>
                  <a:gd name="T60" fmla="*/ 58 w 78"/>
                  <a:gd name="T61" fmla="*/ 32 h 62"/>
                  <a:gd name="T62" fmla="*/ 54 w 78"/>
                  <a:gd name="T63" fmla="*/ 24 h 62"/>
                  <a:gd name="T64" fmla="*/ 48 w 78"/>
                  <a:gd name="T65" fmla="*/ 20 h 62"/>
                  <a:gd name="T66" fmla="*/ 40 w 78"/>
                  <a:gd name="T67" fmla="*/ 18 h 62"/>
                  <a:gd name="T68" fmla="*/ 40 w 78"/>
                  <a:gd name="T69" fmla="*/ 18 h 62"/>
                  <a:gd name="T70" fmla="*/ 32 w 78"/>
                  <a:gd name="T71" fmla="*/ 20 h 62"/>
                  <a:gd name="T72" fmla="*/ 24 w 78"/>
                  <a:gd name="T73" fmla="*/ 24 h 62"/>
                  <a:gd name="T74" fmla="*/ 20 w 78"/>
                  <a:gd name="T75" fmla="*/ 32 h 62"/>
                  <a:gd name="T76" fmla="*/ 18 w 78"/>
                  <a:gd name="T77" fmla="*/ 40 h 62"/>
                  <a:gd name="T78" fmla="*/ 18 w 78"/>
                  <a:gd name="T79" fmla="*/ 40 h 62"/>
                  <a:gd name="T80" fmla="*/ 20 w 78"/>
                  <a:gd name="T81" fmla="*/ 46 h 62"/>
                  <a:gd name="T82" fmla="*/ 22 w 78"/>
                  <a:gd name="T83" fmla="*/ 52 h 62"/>
                  <a:gd name="T84" fmla="*/ 6 w 78"/>
                  <a:gd name="T8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62">
                    <a:moveTo>
                      <a:pt x="6" y="62"/>
                    </a:moveTo>
                    <a:lnTo>
                      <a:pt x="6" y="62"/>
                    </a:lnTo>
                    <a:lnTo>
                      <a:pt x="2" y="50"/>
                    </a:lnTo>
                    <a:lnTo>
                      <a:pt x="0" y="40"/>
                    </a:lnTo>
                    <a:lnTo>
                      <a:pt x="0" y="40"/>
                    </a:lnTo>
                    <a:lnTo>
                      <a:pt x="2" y="32"/>
                    </a:lnTo>
                    <a:lnTo>
                      <a:pt x="4" y="24"/>
                    </a:lnTo>
                    <a:lnTo>
                      <a:pt x="6" y="18"/>
                    </a:lnTo>
                    <a:lnTo>
                      <a:pt x="12" y="12"/>
                    </a:lnTo>
                    <a:lnTo>
                      <a:pt x="18" y="8"/>
                    </a:lnTo>
                    <a:lnTo>
                      <a:pt x="24" y="4"/>
                    </a:lnTo>
                    <a:lnTo>
                      <a:pt x="32" y="2"/>
                    </a:lnTo>
                    <a:lnTo>
                      <a:pt x="40" y="0"/>
                    </a:lnTo>
                    <a:lnTo>
                      <a:pt x="40" y="0"/>
                    </a:lnTo>
                    <a:lnTo>
                      <a:pt x="48" y="2"/>
                    </a:lnTo>
                    <a:lnTo>
                      <a:pt x="54" y="4"/>
                    </a:lnTo>
                    <a:lnTo>
                      <a:pt x="62" y="8"/>
                    </a:lnTo>
                    <a:lnTo>
                      <a:pt x="66" y="12"/>
                    </a:lnTo>
                    <a:lnTo>
                      <a:pt x="72" y="18"/>
                    </a:lnTo>
                    <a:lnTo>
                      <a:pt x="76" y="24"/>
                    </a:lnTo>
                    <a:lnTo>
                      <a:pt x="78" y="32"/>
                    </a:lnTo>
                    <a:lnTo>
                      <a:pt x="78" y="40"/>
                    </a:lnTo>
                    <a:lnTo>
                      <a:pt x="78" y="40"/>
                    </a:lnTo>
                    <a:lnTo>
                      <a:pt x="78" y="50"/>
                    </a:lnTo>
                    <a:lnTo>
                      <a:pt x="74" y="58"/>
                    </a:lnTo>
                    <a:lnTo>
                      <a:pt x="58" y="50"/>
                    </a:lnTo>
                    <a:lnTo>
                      <a:pt x="58" y="50"/>
                    </a:lnTo>
                    <a:lnTo>
                      <a:pt x="60" y="44"/>
                    </a:lnTo>
                    <a:lnTo>
                      <a:pt x="60" y="40"/>
                    </a:lnTo>
                    <a:lnTo>
                      <a:pt x="60" y="40"/>
                    </a:lnTo>
                    <a:lnTo>
                      <a:pt x="58" y="32"/>
                    </a:lnTo>
                    <a:lnTo>
                      <a:pt x="54" y="24"/>
                    </a:lnTo>
                    <a:lnTo>
                      <a:pt x="48" y="20"/>
                    </a:lnTo>
                    <a:lnTo>
                      <a:pt x="40" y="18"/>
                    </a:lnTo>
                    <a:lnTo>
                      <a:pt x="40" y="18"/>
                    </a:lnTo>
                    <a:lnTo>
                      <a:pt x="32" y="20"/>
                    </a:lnTo>
                    <a:lnTo>
                      <a:pt x="24" y="24"/>
                    </a:lnTo>
                    <a:lnTo>
                      <a:pt x="20" y="32"/>
                    </a:lnTo>
                    <a:lnTo>
                      <a:pt x="18" y="40"/>
                    </a:lnTo>
                    <a:lnTo>
                      <a:pt x="18" y="40"/>
                    </a:lnTo>
                    <a:lnTo>
                      <a:pt x="20" y="46"/>
                    </a:lnTo>
                    <a:lnTo>
                      <a:pt x="22" y="52"/>
                    </a:lnTo>
                    <a:lnTo>
                      <a:pt x="6"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8">
                <a:extLst>
                  <a:ext uri="{FF2B5EF4-FFF2-40B4-BE49-F238E27FC236}">
                    <a16:creationId xmlns:a16="http://schemas.microsoft.com/office/drawing/2014/main" id="{D23F04D2-39BA-2C5C-27E8-921D6FDE650D}"/>
                  </a:ext>
                </a:extLst>
              </p:cNvPr>
              <p:cNvSpPr>
                <a:spLocks noEditPoints="1"/>
              </p:cNvSpPr>
              <p:nvPr/>
            </p:nvSpPr>
            <p:spPr bwMode="auto">
              <a:xfrm>
                <a:off x="4703" y="3107"/>
                <a:ext cx="234" cy="234"/>
              </a:xfrm>
              <a:custGeom>
                <a:avLst/>
                <a:gdLst>
                  <a:gd name="T0" fmla="*/ 234 w 234"/>
                  <a:gd name="T1" fmla="*/ 234 h 234"/>
                  <a:gd name="T2" fmla="*/ 0 w 234"/>
                  <a:gd name="T3" fmla="*/ 234 h 234"/>
                  <a:gd name="T4" fmla="*/ 0 w 234"/>
                  <a:gd name="T5" fmla="*/ 0 h 234"/>
                  <a:gd name="T6" fmla="*/ 234 w 234"/>
                  <a:gd name="T7" fmla="*/ 0 h 234"/>
                  <a:gd name="T8" fmla="*/ 234 w 234"/>
                  <a:gd name="T9" fmla="*/ 234 h 234"/>
                  <a:gd name="T10" fmla="*/ 18 w 234"/>
                  <a:gd name="T11" fmla="*/ 216 h 234"/>
                  <a:gd name="T12" fmla="*/ 216 w 234"/>
                  <a:gd name="T13" fmla="*/ 216 h 234"/>
                  <a:gd name="T14" fmla="*/ 216 w 234"/>
                  <a:gd name="T15" fmla="*/ 18 h 234"/>
                  <a:gd name="T16" fmla="*/ 18 w 234"/>
                  <a:gd name="T17" fmla="*/ 18 h 234"/>
                  <a:gd name="T18" fmla="*/ 18 w 234"/>
                  <a:gd name="T19" fmla="*/ 21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234" y="234"/>
                    </a:moveTo>
                    <a:lnTo>
                      <a:pt x="0" y="234"/>
                    </a:lnTo>
                    <a:lnTo>
                      <a:pt x="0" y="0"/>
                    </a:lnTo>
                    <a:lnTo>
                      <a:pt x="234" y="0"/>
                    </a:lnTo>
                    <a:lnTo>
                      <a:pt x="234" y="234"/>
                    </a:lnTo>
                    <a:close/>
                    <a:moveTo>
                      <a:pt x="18" y="216"/>
                    </a:moveTo>
                    <a:lnTo>
                      <a:pt x="216" y="216"/>
                    </a:lnTo>
                    <a:lnTo>
                      <a:pt x="216" y="18"/>
                    </a:lnTo>
                    <a:lnTo>
                      <a:pt x="18" y="18"/>
                    </a:lnTo>
                    <a:lnTo>
                      <a:pt x="18"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9">
                <a:extLst>
                  <a:ext uri="{FF2B5EF4-FFF2-40B4-BE49-F238E27FC236}">
                    <a16:creationId xmlns:a16="http://schemas.microsoft.com/office/drawing/2014/main" id="{72E65CA0-0064-A5C4-A560-4E87EB919DBC}"/>
                  </a:ext>
                </a:extLst>
              </p:cNvPr>
              <p:cNvSpPr>
                <a:spLocks noEditPoints="1"/>
              </p:cNvSpPr>
              <p:nvPr/>
            </p:nvSpPr>
            <p:spPr bwMode="auto">
              <a:xfrm>
                <a:off x="4703" y="3413"/>
                <a:ext cx="234" cy="236"/>
              </a:xfrm>
              <a:custGeom>
                <a:avLst/>
                <a:gdLst>
                  <a:gd name="T0" fmla="*/ 234 w 234"/>
                  <a:gd name="T1" fmla="*/ 236 h 236"/>
                  <a:gd name="T2" fmla="*/ 0 w 234"/>
                  <a:gd name="T3" fmla="*/ 236 h 236"/>
                  <a:gd name="T4" fmla="*/ 0 w 234"/>
                  <a:gd name="T5" fmla="*/ 0 h 236"/>
                  <a:gd name="T6" fmla="*/ 234 w 234"/>
                  <a:gd name="T7" fmla="*/ 0 h 236"/>
                  <a:gd name="T8" fmla="*/ 234 w 234"/>
                  <a:gd name="T9" fmla="*/ 236 h 236"/>
                  <a:gd name="T10" fmla="*/ 18 w 234"/>
                  <a:gd name="T11" fmla="*/ 218 h 236"/>
                  <a:gd name="T12" fmla="*/ 216 w 234"/>
                  <a:gd name="T13" fmla="*/ 218 h 236"/>
                  <a:gd name="T14" fmla="*/ 216 w 234"/>
                  <a:gd name="T15" fmla="*/ 18 h 236"/>
                  <a:gd name="T16" fmla="*/ 18 w 234"/>
                  <a:gd name="T17" fmla="*/ 18 h 236"/>
                  <a:gd name="T18" fmla="*/ 18 w 234"/>
                  <a:gd name="T19" fmla="*/ 2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6">
                    <a:moveTo>
                      <a:pt x="234" y="236"/>
                    </a:moveTo>
                    <a:lnTo>
                      <a:pt x="0" y="236"/>
                    </a:lnTo>
                    <a:lnTo>
                      <a:pt x="0" y="0"/>
                    </a:lnTo>
                    <a:lnTo>
                      <a:pt x="234" y="0"/>
                    </a:lnTo>
                    <a:lnTo>
                      <a:pt x="234" y="236"/>
                    </a:lnTo>
                    <a:close/>
                    <a:moveTo>
                      <a:pt x="18" y="218"/>
                    </a:moveTo>
                    <a:lnTo>
                      <a:pt x="216" y="218"/>
                    </a:lnTo>
                    <a:lnTo>
                      <a:pt x="216" y="18"/>
                    </a:lnTo>
                    <a:lnTo>
                      <a:pt x="18" y="18"/>
                    </a:lnTo>
                    <a:lnTo>
                      <a:pt x="18"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0">
                <a:extLst>
                  <a:ext uri="{FF2B5EF4-FFF2-40B4-BE49-F238E27FC236}">
                    <a16:creationId xmlns:a16="http://schemas.microsoft.com/office/drawing/2014/main" id="{9EAF755C-D286-D3FF-73EB-AE87EF0C6146}"/>
                  </a:ext>
                </a:extLst>
              </p:cNvPr>
              <p:cNvSpPr>
                <a:spLocks/>
              </p:cNvSpPr>
              <p:nvPr/>
            </p:nvSpPr>
            <p:spPr bwMode="auto">
              <a:xfrm>
                <a:off x="4775" y="3195"/>
                <a:ext cx="90" cy="68"/>
              </a:xfrm>
              <a:custGeom>
                <a:avLst/>
                <a:gdLst>
                  <a:gd name="T0" fmla="*/ 34 w 90"/>
                  <a:gd name="T1" fmla="*/ 68 h 68"/>
                  <a:gd name="T2" fmla="*/ 0 w 90"/>
                  <a:gd name="T3" fmla="*/ 36 h 68"/>
                  <a:gd name="T4" fmla="*/ 12 w 90"/>
                  <a:gd name="T5" fmla="*/ 22 h 68"/>
                  <a:gd name="T6" fmla="*/ 34 w 90"/>
                  <a:gd name="T7" fmla="*/ 44 h 68"/>
                  <a:gd name="T8" fmla="*/ 78 w 90"/>
                  <a:gd name="T9" fmla="*/ 0 h 68"/>
                  <a:gd name="T10" fmla="*/ 90 w 90"/>
                  <a:gd name="T11" fmla="*/ 12 h 68"/>
                  <a:gd name="T12" fmla="*/ 34 w 90"/>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90" h="68">
                    <a:moveTo>
                      <a:pt x="34" y="68"/>
                    </a:moveTo>
                    <a:lnTo>
                      <a:pt x="0" y="36"/>
                    </a:lnTo>
                    <a:lnTo>
                      <a:pt x="12" y="22"/>
                    </a:lnTo>
                    <a:lnTo>
                      <a:pt x="34" y="44"/>
                    </a:lnTo>
                    <a:lnTo>
                      <a:pt x="78" y="0"/>
                    </a:lnTo>
                    <a:lnTo>
                      <a:pt x="90" y="12"/>
                    </a:lnTo>
                    <a:lnTo>
                      <a:pt x="3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1">
                <a:extLst>
                  <a:ext uri="{FF2B5EF4-FFF2-40B4-BE49-F238E27FC236}">
                    <a16:creationId xmlns:a16="http://schemas.microsoft.com/office/drawing/2014/main" id="{0DCE3D11-B4A8-FBE2-963E-C528D7CAF588}"/>
                  </a:ext>
                </a:extLst>
              </p:cNvPr>
              <p:cNvSpPr>
                <a:spLocks/>
              </p:cNvSpPr>
              <p:nvPr/>
            </p:nvSpPr>
            <p:spPr bwMode="auto">
              <a:xfrm>
                <a:off x="4789" y="3497"/>
                <a:ext cx="66" cy="66"/>
              </a:xfrm>
              <a:custGeom>
                <a:avLst/>
                <a:gdLst>
                  <a:gd name="T0" fmla="*/ 54 w 66"/>
                  <a:gd name="T1" fmla="*/ 66 h 66"/>
                  <a:gd name="T2" fmla="*/ 0 w 66"/>
                  <a:gd name="T3" fmla="*/ 14 h 66"/>
                  <a:gd name="T4" fmla="*/ 14 w 66"/>
                  <a:gd name="T5" fmla="*/ 0 h 66"/>
                  <a:gd name="T6" fmla="*/ 66 w 66"/>
                  <a:gd name="T7" fmla="*/ 54 h 66"/>
                  <a:gd name="T8" fmla="*/ 54 w 66"/>
                  <a:gd name="T9" fmla="*/ 66 h 66"/>
                </a:gdLst>
                <a:ahLst/>
                <a:cxnLst>
                  <a:cxn ang="0">
                    <a:pos x="T0" y="T1"/>
                  </a:cxn>
                  <a:cxn ang="0">
                    <a:pos x="T2" y="T3"/>
                  </a:cxn>
                  <a:cxn ang="0">
                    <a:pos x="T4" y="T5"/>
                  </a:cxn>
                  <a:cxn ang="0">
                    <a:pos x="T6" y="T7"/>
                  </a:cxn>
                  <a:cxn ang="0">
                    <a:pos x="T8" y="T9"/>
                  </a:cxn>
                </a:cxnLst>
                <a:rect l="0" t="0" r="r" b="b"/>
                <a:pathLst>
                  <a:path w="66" h="66">
                    <a:moveTo>
                      <a:pt x="54" y="66"/>
                    </a:moveTo>
                    <a:lnTo>
                      <a:pt x="0" y="14"/>
                    </a:lnTo>
                    <a:lnTo>
                      <a:pt x="14" y="0"/>
                    </a:lnTo>
                    <a:lnTo>
                      <a:pt x="66" y="54"/>
                    </a:lnTo>
                    <a:lnTo>
                      <a:pt x="5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2">
                <a:extLst>
                  <a:ext uri="{FF2B5EF4-FFF2-40B4-BE49-F238E27FC236}">
                    <a16:creationId xmlns:a16="http://schemas.microsoft.com/office/drawing/2014/main" id="{311D1503-60EA-9B59-068E-DF58145A64FA}"/>
                  </a:ext>
                </a:extLst>
              </p:cNvPr>
              <p:cNvSpPr>
                <a:spLocks/>
              </p:cNvSpPr>
              <p:nvPr/>
            </p:nvSpPr>
            <p:spPr bwMode="auto">
              <a:xfrm>
                <a:off x="4789" y="3497"/>
                <a:ext cx="66" cy="66"/>
              </a:xfrm>
              <a:custGeom>
                <a:avLst/>
                <a:gdLst>
                  <a:gd name="T0" fmla="*/ 14 w 66"/>
                  <a:gd name="T1" fmla="*/ 66 h 66"/>
                  <a:gd name="T2" fmla="*/ 0 w 66"/>
                  <a:gd name="T3" fmla="*/ 54 h 66"/>
                  <a:gd name="T4" fmla="*/ 54 w 66"/>
                  <a:gd name="T5" fmla="*/ 0 h 66"/>
                  <a:gd name="T6" fmla="*/ 66 w 66"/>
                  <a:gd name="T7" fmla="*/ 14 h 66"/>
                  <a:gd name="T8" fmla="*/ 14 w 66"/>
                  <a:gd name="T9" fmla="*/ 66 h 66"/>
                </a:gdLst>
                <a:ahLst/>
                <a:cxnLst>
                  <a:cxn ang="0">
                    <a:pos x="T0" y="T1"/>
                  </a:cxn>
                  <a:cxn ang="0">
                    <a:pos x="T2" y="T3"/>
                  </a:cxn>
                  <a:cxn ang="0">
                    <a:pos x="T4" y="T5"/>
                  </a:cxn>
                  <a:cxn ang="0">
                    <a:pos x="T6" y="T7"/>
                  </a:cxn>
                  <a:cxn ang="0">
                    <a:pos x="T8" y="T9"/>
                  </a:cxn>
                </a:cxnLst>
                <a:rect l="0" t="0" r="r" b="b"/>
                <a:pathLst>
                  <a:path w="66" h="66">
                    <a:moveTo>
                      <a:pt x="14" y="66"/>
                    </a:moveTo>
                    <a:lnTo>
                      <a:pt x="0" y="54"/>
                    </a:lnTo>
                    <a:lnTo>
                      <a:pt x="54" y="0"/>
                    </a:lnTo>
                    <a:lnTo>
                      <a:pt x="66" y="14"/>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3">
                <a:extLst>
                  <a:ext uri="{FF2B5EF4-FFF2-40B4-BE49-F238E27FC236}">
                    <a16:creationId xmlns:a16="http://schemas.microsoft.com/office/drawing/2014/main" id="{6BF4F130-30CD-5D09-F9A1-016BB35523FC}"/>
                  </a:ext>
                </a:extLst>
              </p:cNvPr>
              <p:cNvSpPr>
                <a:spLocks noEditPoints="1"/>
              </p:cNvSpPr>
              <p:nvPr/>
            </p:nvSpPr>
            <p:spPr bwMode="auto">
              <a:xfrm>
                <a:off x="5173" y="3025"/>
                <a:ext cx="78" cy="662"/>
              </a:xfrm>
              <a:custGeom>
                <a:avLst/>
                <a:gdLst>
                  <a:gd name="T0" fmla="*/ 40 w 78"/>
                  <a:gd name="T1" fmla="*/ 662 h 662"/>
                  <a:gd name="T2" fmla="*/ 40 w 78"/>
                  <a:gd name="T3" fmla="*/ 662 h 662"/>
                  <a:gd name="T4" fmla="*/ 32 w 78"/>
                  <a:gd name="T5" fmla="*/ 660 h 662"/>
                  <a:gd name="T6" fmla="*/ 26 w 78"/>
                  <a:gd name="T7" fmla="*/ 658 h 662"/>
                  <a:gd name="T8" fmla="*/ 22 w 78"/>
                  <a:gd name="T9" fmla="*/ 654 h 662"/>
                  <a:gd name="T10" fmla="*/ 18 w 78"/>
                  <a:gd name="T11" fmla="*/ 648 h 662"/>
                  <a:gd name="T12" fmla="*/ 0 w 78"/>
                  <a:gd name="T13" fmla="*/ 596 h 662"/>
                  <a:gd name="T14" fmla="*/ 0 w 78"/>
                  <a:gd name="T15" fmla="*/ 42 h 662"/>
                  <a:gd name="T16" fmla="*/ 0 w 78"/>
                  <a:gd name="T17" fmla="*/ 42 h 662"/>
                  <a:gd name="T18" fmla="*/ 2 w 78"/>
                  <a:gd name="T19" fmla="*/ 34 h 662"/>
                  <a:gd name="T20" fmla="*/ 4 w 78"/>
                  <a:gd name="T21" fmla="*/ 26 h 662"/>
                  <a:gd name="T22" fmla="*/ 8 w 78"/>
                  <a:gd name="T23" fmla="*/ 18 h 662"/>
                  <a:gd name="T24" fmla="*/ 12 w 78"/>
                  <a:gd name="T25" fmla="*/ 12 h 662"/>
                  <a:gd name="T26" fmla="*/ 18 w 78"/>
                  <a:gd name="T27" fmla="*/ 8 h 662"/>
                  <a:gd name="T28" fmla="*/ 24 w 78"/>
                  <a:gd name="T29" fmla="*/ 4 h 662"/>
                  <a:gd name="T30" fmla="*/ 32 w 78"/>
                  <a:gd name="T31" fmla="*/ 2 h 662"/>
                  <a:gd name="T32" fmla="*/ 40 w 78"/>
                  <a:gd name="T33" fmla="*/ 0 h 662"/>
                  <a:gd name="T34" fmla="*/ 40 w 78"/>
                  <a:gd name="T35" fmla="*/ 0 h 662"/>
                  <a:gd name="T36" fmla="*/ 46 w 78"/>
                  <a:gd name="T37" fmla="*/ 2 h 662"/>
                  <a:gd name="T38" fmla="*/ 54 w 78"/>
                  <a:gd name="T39" fmla="*/ 4 h 662"/>
                  <a:gd name="T40" fmla="*/ 60 w 78"/>
                  <a:gd name="T41" fmla="*/ 8 h 662"/>
                  <a:gd name="T42" fmla="*/ 66 w 78"/>
                  <a:gd name="T43" fmla="*/ 12 h 662"/>
                  <a:gd name="T44" fmla="*/ 70 w 78"/>
                  <a:gd name="T45" fmla="*/ 18 h 662"/>
                  <a:gd name="T46" fmla="*/ 74 w 78"/>
                  <a:gd name="T47" fmla="*/ 26 h 662"/>
                  <a:gd name="T48" fmla="*/ 76 w 78"/>
                  <a:gd name="T49" fmla="*/ 34 h 662"/>
                  <a:gd name="T50" fmla="*/ 78 w 78"/>
                  <a:gd name="T51" fmla="*/ 42 h 662"/>
                  <a:gd name="T52" fmla="*/ 76 w 78"/>
                  <a:gd name="T53" fmla="*/ 598 h 662"/>
                  <a:gd name="T54" fmla="*/ 60 w 78"/>
                  <a:gd name="T55" fmla="*/ 648 h 662"/>
                  <a:gd name="T56" fmla="*/ 60 w 78"/>
                  <a:gd name="T57" fmla="*/ 648 h 662"/>
                  <a:gd name="T58" fmla="*/ 56 w 78"/>
                  <a:gd name="T59" fmla="*/ 654 h 662"/>
                  <a:gd name="T60" fmla="*/ 52 w 78"/>
                  <a:gd name="T61" fmla="*/ 658 h 662"/>
                  <a:gd name="T62" fmla="*/ 46 w 78"/>
                  <a:gd name="T63" fmla="*/ 660 h 662"/>
                  <a:gd name="T64" fmla="*/ 40 w 78"/>
                  <a:gd name="T65" fmla="*/ 662 h 662"/>
                  <a:gd name="T66" fmla="*/ 40 w 78"/>
                  <a:gd name="T67" fmla="*/ 662 h 662"/>
                  <a:gd name="T68" fmla="*/ 18 w 78"/>
                  <a:gd name="T69" fmla="*/ 594 h 662"/>
                  <a:gd name="T70" fmla="*/ 36 w 78"/>
                  <a:gd name="T71" fmla="*/ 642 h 662"/>
                  <a:gd name="T72" fmla="*/ 36 w 78"/>
                  <a:gd name="T73" fmla="*/ 642 h 662"/>
                  <a:gd name="T74" fmla="*/ 38 w 78"/>
                  <a:gd name="T75" fmla="*/ 644 h 662"/>
                  <a:gd name="T76" fmla="*/ 40 w 78"/>
                  <a:gd name="T77" fmla="*/ 644 h 662"/>
                  <a:gd name="T78" fmla="*/ 40 w 78"/>
                  <a:gd name="T79" fmla="*/ 644 h 662"/>
                  <a:gd name="T80" fmla="*/ 42 w 78"/>
                  <a:gd name="T81" fmla="*/ 642 h 662"/>
                  <a:gd name="T82" fmla="*/ 60 w 78"/>
                  <a:gd name="T83" fmla="*/ 594 h 662"/>
                  <a:gd name="T84" fmla="*/ 60 w 78"/>
                  <a:gd name="T85" fmla="*/ 42 h 662"/>
                  <a:gd name="T86" fmla="*/ 60 w 78"/>
                  <a:gd name="T87" fmla="*/ 42 h 662"/>
                  <a:gd name="T88" fmla="*/ 58 w 78"/>
                  <a:gd name="T89" fmla="*/ 32 h 662"/>
                  <a:gd name="T90" fmla="*/ 54 w 78"/>
                  <a:gd name="T91" fmla="*/ 26 h 662"/>
                  <a:gd name="T92" fmla="*/ 46 w 78"/>
                  <a:gd name="T93" fmla="*/ 20 h 662"/>
                  <a:gd name="T94" fmla="*/ 40 w 78"/>
                  <a:gd name="T95" fmla="*/ 18 h 662"/>
                  <a:gd name="T96" fmla="*/ 40 w 78"/>
                  <a:gd name="T97" fmla="*/ 18 h 662"/>
                  <a:gd name="T98" fmla="*/ 32 w 78"/>
                  <a:gd name="T99" fmla="*/ 20 h 662"/>
                  <a:gd name="T100" fmla="*/ 24 w 78"/>
                  <a:gd name="T101" fmla="*/ 26 h 662"/>
                  <a:gd name="T102" fmla="*/ 20 w 78"/>
                  <a:gd name="T103" fmla="*/ 32 h 662"/>
                  <a:gd name="T104" fmla="*/ 18 w 78"/>
                  <a:gd name="T105" fmla="*/ 42 h 662"/>
                  <a:gd name="T106" fmla="*/ 18 w 78"/>
                  <a:gd name="T107" fmla="*/ 594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662">
                    <a:moveTo>
                      <a:pt x="40" y="662"/>
                    </a:moveTo>
                    <a:lnTo>
                      <a:pt x="40" y="662"/>
                    </a:lnTo>
                    <a:lnTo>
                      <a:pt x="32" y="660"/>
                    </a:lnTo>
                    <a:lnTo>
                      <a:pt x="26" y="658"/>
                    </a:lnTo>
                    <a:lnTo>
                      <a:pt x="22" y="654"/>
                    </a:lnTo>
                    <a:lnTo>
                      <a:pt x="18" y="648"/>
                    </a:lnTo>
                    <a:lnTo>
                      <a:pt x="0" y="596"/>
                    </a:lnTo>
                    <a:lnTo>
                      <a:pt x="0" y="42"/>
                    </a:lnTo>
                    <a:lnTo>
                      <a:pt x="0" y="42"/>
                    </a:lnTo>
                    <a:lnTo>
                      <a:pt x="2" y="34"/>
                    </a:lnTo>
                    <a:lnTo>
                      <a:pt x="4" y="26"/>
                    </a:lnTo>
                    <a:lnTo>
                      <a:pt x="8" y="18"/>
                    </a:lnTo>
                    <a:lnTo>
                      <a:pt x="12" y="12"/>
                    </a:lnTo>
                    <a:lnTo>
                      <a:pt x="18" y="8"/>
                    </a:lnTo>
                    <a:lnTo>
                      <a:pt x="24" y="4"/>
                    </a:lnTo>
                    <a:lnTo>
                      <a:pt x="32" y="2"/>
                    </a:lnTo>
                    <a:lnTo>
                      <a:pt x="40" y="0"/>
                    </a:lnTo>
                    <a:lnTo>
                      <a:pt x="40" y="0"/>
                    </a:lnTo>
                    <a:lnTo>
                      <a:pt x="46" y="2"/>
                    </a:lnTo>
                    <a:lnTo>
                      <a:pt x="54" y="4"/>
                    </a:lnTo>
                    <a:lnTo>
                      <a:pt x="60" y="8"/>
                    </a:lnTo>
                    <a:lnTo>
                      <a:pt x="66" y="12"/>
                    </a:lnTo>
                    <a:lnTo>
                      <a:pt x="70" y="18"/>
                    </a:lnTo>
                    <a:lnTo>
                      <a:pt x="74" y="26"/>
                    </a:lnTo>
                    <a:lnTo>
                      <a:pt x="76" y="34"/>
                    </a:lnTo>
                    <a:lnTo>
                      <a:pt x="78" y="42"/>
                    </a:lnTo>
                    <a:lnTo>
                      <a:pt x="76" y="598"/>
                    </a:lnTo>
                    <a:lnTo>
                      <a:pt x="60" y="648"/>
                    </a:lnTo>
                    <a:lnTo>
                      <a:pt x="60" y="648"/>
                    </a:lnTo>
                    <a:lnTo>
                      <a:pt x="56" y="654"/>
                    </a:lnTo>
                    <a:lnTo>
                      <a:pt x="52" y="658"/>
                    </a:lnTo>
                    <a:lnTo>
                      <a:pt x="46" y="660"/>
                    </a:lnTo>
                    <a:lnTo>
                      <a:pt x="40" y="662"/>
                    </a:lnTo>
                    <a:lnTo>
                      <a:pt x="40" y="662"/>
                    </a:lnTo>
                    <a:close/>
                    <a:moveTo>
                      <a:pt x="18" y="594"/>
                    </a:moveTo>
                    <a:lnTo>
                      <a:pt x="36" y="642"/>
                    </a:lnTo>
                    <a:lnTo>
                      <a:pt x="36" y="642"/>
                    </a:lnTo>
                    <a:lnTo>
                      <a:pt x="38" y="644"/>
                    </a:lnTo>
                    <a:lnTo>
                      <a:pt x="40" y="644"/>
                    </a:lnTo>
                    <a:lnTo>
                      <a:pt x="40" y="644"/>
                    </a:lnTo>
                    <a:lnTo>
                      <a:pt x="42" y="642"/>
                    </a:lnTo>
                    <a:lnTo>
                      <a:pt x="60" y="594"/>
                    </a:lnTo>
                    <a:lnTo>
                      <a:pt x="60" y="42"/>
                    </a:lnTo>
                    <a:lnTo>
                      <a:pt x="60" y="42"/>
                    </a:lnTo>
                    <a:lnTo>
                      <a:pt x="58" y="32"/>
                    </a:lnTo>
                    <a:lnTo>
                      <a:pt x="54" y="26"/>
                    </a:lnTo>
                    <a:lnTo>
                      <a:pt x="46" y="20"/>
                    </a:lnTo>
                    <a:lnTo>
                      <a:pt x="40" y="18"/>
                    </a:lnTo>
                    <a:lnTo>
                      <a:pt x="40" y="18"/>
                    </a:lnTo>
                    <a:lnTo>
                      <a:pt x="32" y="20"/>
                    </a:lnTo>
                    <a:lnTo>
                      <a:pt x="24" y="26"/>
                    </a:lnTo>
                    <a:lnTo>
                      <a:pt x="20" y="32"/>
                    </a:lnTo>
                    <a:lnTo>
                      <a:pt x="18" y="42"/>
                    </a:lnTo>
                    <a:lnTo>
                      <a:pt x="18" y="5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4">
                <a:extLst>
                  <a:ext uri="{FF2B5EF4-FFF2-40B4-BE49-F238E27FC236}">
                    <a16:creationId xmlns:a16="http://schemas.microsoft.com/office/drawing/2014/main" id="{B3AC58A9-F7FC-05F5-1F58-76646A77833D}"/>
                  </a:ext>
                </a:extLst>
              </p:cNvPr>
              <p:cNvSpPr>
                <a:spLocks/>
              </p:cNvSpPr>
              <p:nvPr/>
            </p:nvSpPr>
            <p:spPr bwMode="auto">
              <a:xfrm>
                <a:off x="5183" y="3095"/>
                <a:ext cx="108" cy="170"/>
              </a:xfrm>
              <a:custGeom>
                <a:avLst/>
                <a:gdLst>
                  <a:gd name="T0" fmla="*/ 108 w 108"/>
                  <a:gd name="T1" fmla="*/ 170 h 170"/>
                  <a:gd name="T2" fmla="*/ 90 w 108"/>
                  <a:gd name="T3" fmla="*/ 170 h 170"/>
                  <a:gd name="T4" fmla="*/ 90 w 108"/>
                  <a:gd name="T5" fmla="*/ 18 h 170"/>
                  <a:gd name="T6" fmla="*/ 0 w 108"/>
                  <a:gd name="T7" fmla="*/ 18 h 170"/>
                  <a:gd name="T8" fmla="*/ 0 w 108"/>
                  <a:gd name="T9" fmla="*/ 0 h 170"/>
                  <a:gd name="T10" fmla="*/ 108 w 108"/>
                  <a:gd name="T11" fmla="*/ 0 h 170"/>
                  <a:gd name="T12" fmla="*/ 108 w 108"/>
                  <a:gd name="T13" fmla="*/ 170 h 170"/>
                </a:gdLst>
                <a:ahLst/>
                <a:cxnLst>
                  <a:cxn ang="0">
                    <a:pos x="T0" y="T1"/>
                  </a:cxn>
                  <a:cxn ang="0">
                    <a:pos x="T2" y="T3"/>
                  </a:cxn>
                  <a:cxn ang="0">
                    <a:pos x="T4" y="T5"/>
                  </a:cxn>
                  <a:cxn ang="0">
                    <a:pos x="T6" y="T7"/>
                  </a:cxn>
                  <a:cxn ang="0">
                    <a:pos x="T8" y="T9"/>
                  </a:cxn>
                  <a:cxn ang="0">
                    <a:pos x="T10" y="T11"/>
                  </a:cxn>
                  <a:cxn ang="0">
                    <a:pos x="T12" y="T13"/>
                  </a:cxn>
                </a:cxnLst>
                <a:rect l="0" t="0" r="r" b="b"/>
                <a:pathLst>
                  <a:path w="108" h="170">
                    <a:moveTo>
                      <a:pt x="108" y="170"/>
                    </a:moveTo>
                    <a:lnTo>
                      <a:pt x="90" y="170"/>
                    </a:lnTo>
                    <a:lnTo>
                      <a:pt x="90" y="18"/>
                    </a:lnTo>
                    <a:lnTo>
                      <a:pt x="0" y="18"/>
                    </a:lnTo>
                    <a:lnTo>
                      <a:pt x="0" y="0"/>
                    </a:lnTo>
                    <a:lnTo>
                      <a:pt x="108" y="0"/>
                    </a:lnTo>
                    <a:lnTo>
                      <a:pt x="108"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75">
                <a:extLst>
                  <a:ext uri="{FF2B5EF4-FFF2-40B4-BE49-F238E27FC236}">
                    <a16:creationId xmlns:a16="http://schemas.microsoft.com/office/drawing/2014/main" id="{6BC524A3-EE81-634A-78AF-9F7A7F40E355}"/>
                  </a:ext>
                </a:extLst>
              </p:cNvPr>
              <p:cNvSpPr>
                <a:spLocks/>
              </p:cNvSpPr>
              <p:nvPr/>
            </p:nvSpPr>
            <p:spPr bwMode="auto">
              <a:xfrm>
                <a:off x="5203" y="3669"/>
                <a:ext cx="18" cy="54"/>
              </a:xfrm>
              <a:custGeom>
                <a:avLst/>
                <a:gdLst>
                  <a:gd name="T0" fmla="*/ 10 w 18"/>
                  <a:gd name="T1" fmla="*/ 54 h 54"/>
                  <a:gd name="T2" fmla="*/ 10 w 18"/>
                  <a:gd name="T3" fmla="*/ 54 h 54"/>
                  <a:gd name="T4" fmla="*/ 6 w 18"/>
                  <a:gd name="T5" fmla="*/ 54 h 54"/>
                  <a:gd name="T6" fmla="*/ 2 w 18"/>
                  <a:gd name="T7" fmla="*/ 52 h 54"/>
                  <a:gd name="T8" fmla="*/ 0 w 18"/>
                  <a:gd name="T9" fmla="*/ 48 h 54"/>
                  <a:gd name="T10" fmla="*/ 0 w 18"/>
                  <a:gd name="T11" fmla="*/ 44 h 54"/>
                  <a:gd name="T12" fmla="*/ 0 w 18"/>
                  <a:gd name="T13" fmla="*/ 8 h 54"/>
                  <a:gd name="T14" fmla="*/ 0 w 18"/>
                  <a:gd name="T15" fmla="*/ 8 h 54"/>
                  <a:gd name="T16" fmla="*/ 0 w 18"/>
                  <a:gd name="T17" fmla="*/ 6 h 54"/>
                  <a:gd name="T18" fmla="*/ 2 w 18"/>
                  <a:gd name="T19" fmla="*/ 2 h 54"/>
                  <a:gd name="T20" fmla="*/ 6 w 18"/>
                  <a:gd name="T21" fmla="*/ 0 h 54"/>
                  <a:gd name="T22" fmla="*/ 10 w 18"/>
                  <a:gd name="T23" fmla="*/ 0 h 54"/>
                  <a:gd name="T24" fmla="*/ 10 w 18"/>
                  <a:gd name="T25" fmla="*/ 0 h 54"/>
                  <a:gd name="T26" fmla="*/ 12 w 18"/>
                  <a:gd name="T27" fmla="*/ 0 h 54"/>
                  <a:gd name="T28" fmla="*/ 16 w 18"/>
                  <a:gd name="T29" fmla="*/ 2 h 54"/>
                  <a:gd name="T30" fmla="*/ 18 w 18"/>
                  <a:gd name="T31" fmla="*/ 6 h 54"/>
                  <a:gd name="T32" fmla="*/ 18 w 18"/>
                  <a:gd name="T33" fmla="*/ 8 h 54"/>
                  <a:gd name="T34" fmla="*/ 18 w 18"/>
                  <a:gd name="T35" fmla="*/ 44 h 54"/>
                  <a:gd name="T36" fmla="*/ 18 w 18"/>
                  <a:gd name="T37" fmla="*/ 44 h 54"/>
                  <a:gd name="T38" fmla="*/ 18 w 18"/>
                  <a:gd name="T39" fmla="*/ 48 h 54"/>
                  <a:gd name="T40" fmla="*/ 16 w 18"/>
                  <a:gd name="T41" fmla="*/ 52 h 54"/>
                  <a:gd name="T42" fmla="*/ 12 w 18"/>
                  <a:gd name="T43" fmla="*/ 54 h 54"/>
                  <a:gd name="T44" fmla="*/ 10 w 18"/>
                  <a:gd name="T45" fmla="*/ 54 h 54"/>
                  <a:gd name="T46" fmla="*/ 10 w 18"/>
                  <a:gd name="T4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54">
                    <a:moveTo>
                      <a:pt x="10" y="54"/>
                    </a:moveTo>
                    <a:lnTo>
                      <a:pt x="10" y="54"/>
                    </a:lnTo>
                    <a:lnTo>
                      <a:pt x="6" y="54"/>
                    </a:lnTo>
                    <a:lnTo>
                      <a:pt x="2" y="52"/>
                    </a:lnTo>
                    <a:lnTo>
                      <a:pt x="0" y="48"/>
                    </a:lnTo>
                    <a:lnTo>
                      <a:pt x="0" y="44"/>
                    </a:lnTo>
                    <a:lnTo>
                      <a:pt x="0" y="8"/>
                    </a:lnTo>
                    <a:lnTo>
                      <a:pt x="0" y="8"/>
                    </a:lnTo>
                    <a:lnTo>
                      <a:pt x="0" y="6"/>
                    </a:lnTo>
                    <a:lnTo>
                      <a:pt x="2" y="2"/>
                    </a:lnTo>
                    <a:lnTo>
                      <a:pt x="6" y="0"/>
                    </a:lnTo>
                    <a:lnTo>
                      <a:pt x="10" y="0"/>
                    </a:lnTo>
                    <a:lnTo>
                      <a:pt x="10" y="0"/>
                    </a:lnTo>
                    <a:lnTo>
                      <a:pt x="12" y="0"/>
                    </a:lnTo>
                    <a:lnTo>
                      <a:pt x="16" y="2"/>
                    </a:lnTo>
                    <a:lnTo>
                      <a:pt x="18" y="6"/>
                    </a:lnTo>
                    <a:lnTo>
                      <a:pt x="18" y="8"/>
                    </a:lnTo>
                    <a:lnTo>
                      <a:pt x="18" y="44"/>
                    </a:lnTo>
                    <a:lnTo>
                      <a:pt x="18" y="44"/>
                    </a:lnTo>
                    <a:lnTo>
                      <a:pt x="18" y="48"/>
                    </a:lnTo>
                    <a:lnTo>
                      <a:pt x="16" y="52"/>
                    </a:lnTo>
                    <a:lnTo>
                      <a:pt x="12" y="54"/>
                    </a:lnTo>
                    <a:lnTo>
                      <a:pt x="10" y="54"/>
                    </a:lnTo>
                    <a:lnTo>
                      <a:pt x="1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4">
              <a:extLst>
                <a:ext uri="{FF2B5EF4-FFF2-40B4-BE49-F238E27FC236}">
                  <a16:creationId xmlns:a16="http://schemas.microsoft.com/office/drawing/2014/main" id="{D3D4CF2A-3CCB-DEC5-7C80-82F49EFA671A}"/>
                </a:ext>
              </a:extLst>
            </p:cNvPr>
            <p:cNvGrpSpPr>
              <a:grpSpLocks noChangeAspect="1"/>
            </p:cNvGrpSpPr>
            <p:nvPr/>
          </p:nvGrpSpPr>
          <p:grpSpPr bwMode="auto">
            <a:xfrm>
              <a:off x="6111723" y="4464531"/>
              <a:ext cx="398768" cy="463883"/>
              <a:chOff x="-2534" y="618"/>
              <a:chExt cx="2364" cy="2750"/>
            </a:xfrm>
            <a:solidFill>
              <a:srgbClr val="F6F6FA"/>
            </a:solidFill>
          </p:grpSpPr>
          <p:sp>
            <p:nvSpPr>
              <p:cNvPr id="39" name="Freeform 5">
                <a:extLst>
                  <a:ext uri="{FF2B5EF4-FFF2-40B4-BE49-F238E27FC236}">
                    <a16:creationId xmlns:a16="http://schemas.microsoft.com/office/drawing/2014/main" id="{0CFB8729-10F3-A5A1-8E57-6C9E1568AEE3}"/>
                  </a:ext>
                </a:extLst>
              </p:cNvPr>
              <p:cNvSpPr>
                <a:spLocks/>
              </p:cNvSpPr>
              <p:nvPr/>
            </p:nvSpPr>
            <p:spPr bwMode="auto">
              <a:xfrm>
                <a:off x="-2017" y="1472"/>
                <a:ext cx="1847" cy="876"/>
              </a:xfrm>
              <a:custGeom>
                <a:avLst/>
                <a:gdLst>
                  <a:gd name="T0" fmla="*/ 1267 w 1515"/>
                  <a:gd name="T1" fmla="*/ 723 h 723"/>
                  <a:gd name="T2" fmla="*/ 1247 w 1515"/>
                  <a:gd name="T3" fmla="*/ 713 h 723"/>
                  <a:gd name="T4" fmla="*/ 1253 w 1515"/>
                  <a:gd name="T5" fmla="*/ 681 h 723"/>
                  <a:gd name="T6" fmla="*/ 1460 w 1515"/>
                  <a:gd name="T7" fmla="*/ 486 h 723"/>
                  <a:gd name="T8" fmla="*/ 1116 w 1515"/>
                  <a:gd name="T9" fmla="*/ 47 h 723"/>
                  <a:gd name="T10" fmla="*/ 477 w 1515"/>
                  <a:gd name="T11" fmla="*/ 46 h 723"/>
                  <a:gd name="T12" fmla="*/ 188 w 1515"/>
                  <a:gd name="T13" fmla="*/ 224 h 723"/>
                  <a:gd name="T14" fmla="*/ 55 w 1515"/>
                  <a:gd name="T15" fmla="*/ 421 h 723"/>
                  <a:gd name="T16" fmla="*/ 52 w 1515"/>
                  <a:gd name="T17" fmla="*/ 446 h 723"/>
                  <a:gd name="T18" fmla="*/ 69 w 1515"/>
                  <a:gd name="T19" fmla="*/ 461 h 723"/>
                  <a:gd name="T20" fmla="*/ 396 w 1515"/>
                  <a:gd name="T21" fmla="*/ 255 h 723"/>
                  <a:gd name="T22" fmla="*/ 428 w 1515"/>
                  <a:gd name="T23" fmla="*/ 247 h 723"/>
                  <a:gd name="T24" fmla="*/ 436 w 1515"/>
                  <a:gd name="T25" fmla="*/ 279 h 723"/>
                  <a:gd name="T26" fmla="*/ 58 w 1515"/>
                  <a:gd name="T27" fmla="*/ 507 h 723"/>
                  <a:gd name="T28" fmla="*/ 8 w 1515"/>
                  <a:gd name="T29" fmla="*/ 463 h 723"/>
                  <a:gd name="T30" fmla="*/ 16 w 1515"/>
                  <a:gd name="T31" fmla="*/ 395 h 723"/>
                  <a:gd name="T32" fmla="*/ 149 w 1515"/>
                  <a:gd name="T33" fmla="*/ 198 h 723"/>
                  <a:gd name="T34" fmla="*/ 477 w 1515"/>
                  <a:gd name="T35" fmla="*/ 0 h 723"/>
                  <a:gd name="T36" fmla="*/ 1127 w 1515"/>
                  <a:gd name="T37" fmla="*/ 1 h 723"/>
                  <a:gd name="T38" fmla="*/ 1145 w 1515"/>
                  <a:gd name="T39" fmla="*/ 9 h 723"/>
                  <a:gd name="T40" fmla="*/ 1508 w 1515"/>
                  <a:gd name="T41" fmla="*/ 471 h 723"/>
                  <a:gd name="T42" fmla="*/ 1509 w 1515"/>
                  <a:gd name="T43" fmla="*/ 499 h 723"/>
                  <a:gd name="T44" fmla="*/ 1280 w 1515"/>
                  <a:gd name="T45" fmla="*/ 719 h 723"/>
                  <a:gd name="T46" fmla="*/ 1267 w 1515"/>
                  <a:gd name="T47"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5" h="723">
                    <a:moveTo>
                      <a:pt x="1267" y="723"/>
                    </a:moveTo>
                    <a:cubicBezTo>
                      <a:pt x="1259" y="723"/>
                      <a:pt x="1252" y="720"/>
                      <a:pt x="1247" y="713"/>
                    </a:cubicBezTo>
                    <a:cubicBezTo>
                      <a:pt x="1240" y="703"/>
                      <a:pt x="1243" y="688"/>
                      <a:pt x="1253" y="681"/>
                    </a:cubicBezTo>
                    <a:cubicBezTo>
                      <a:pt x="1362" y="606"/>
                      <a:pt x="1434" y="519"/>
                      <a:pt x="1460" y="486"/>
                    </a:cubicBezTo>
                    <a:cubicBezTo>
                      <a:pt x="1116" y="47"/>
                      <a:pt x="1116" y="47"/>
                      <a:pt x="1116" y="47"/>
                    </a:cubicBezTo>
                    <a:cubicBezTo>
                      <a:pt x="1043" y="47"/>
                      <a:pt x="636" y="46"/>
                      <a:pt x="477" y="46"/>
                    </a:cubicBezTo>
                    <a:cubicBezTo>
                      <a:pt x="315" y="46"/>
                      <a:pt x="189" y="222"/>
                      <a:pt x="188" y="224"/>
                    </a:cubicBezTo>
                    <a:cubicBezTo>
                      <a:pt x="55" y="421"/>
                      <a:pt x="55" y="421"/>
                      <a:pt x="55" y="421"/>
                    </a:cubicBezTo>
                    <a:cubicBezTo>
                      <a:pt x="50" y="429"/>
                      <a:pt x="49" y="438"/>
                      <a:pt x="52" y="446"/>
                    </a:cubicBezTo>
                    <a:cubicBezTo>
                      <a:pt x="55" y="454"/>
                      <a:pt x="61" y="459"/>
                      <a:pt x="69" y="461"/>
                    </a:cubicBezTo>
                    <a:cubicBezTo>
                      <a:pt x="187" y="491"/>
                      <a:pt x="296" y="421"/>
                      <a:pt x="396" y="255"/>
                    </a:cubicBezTo>
                    <a:cubicBezTo>
                      <a:pt x="402" y="244"/>
                      <a:pt x="417" y="240"/>
                      <a:pt x="428" y="247"/>
                    </a:cubicBezTo>
                    <a:cubicBezTo>
                      <a:pt x="439" y="254"/>
                      <a:pt x="442" y="268"/>
                      <a:pt x="436" y="279"/>
                    </a:cubicBezTo>
                    <a:cubicBezTo>
                      <a:pt x="298" y="511"/>
                      <a:pt x="154" y="531"/>
                      <a:pt x="58" y="507"/>
                    </a:cubicBezTo>
                    <a:cubicBezTo>
                      <a:pt x="35" y="501"/>
                      <a:pt x="17" y="485"/>
                      <a:pt x="8" y="463"/>
                    </a:cubicBezTo>
                    <a:cubicBezTo>
                      <a:pt x="0" y="440"/>
                      <a:pt x="3" y="415"/>
                      <a:pt x="16" y="395"/>
                    </a:cubicBezTo>
                    <a:cubicBezTo>
                      <a:pt x="149" y="198"/>
                      <a:pt x="149" y="198"/>
                      <a:pt x="149" y="198"/>
                    </a:cubicBezTo>
                    <a:cubicBezTo>
                      <a:pt x="155" y="189"/>
                      <a:pt x="291" y="0"/>
                      <a:pt x="477" y="0"/>
                    </a:cubicBezTo>
                    <a:cubicBezTo>
                      <a:pt x="652" y="0"/>
                      <a:pt x="1127" y="1"/>
                      <a:pt x="1127" y="1"/>
                    </a:cubicBezTo>
                    <a:cubicBezTo>
                      <a:pt x="1134" y="1"/>
                      <a:pt x="1141" y="4"/>
                      <a:pt x="1145" y="9"/>
                    </a:cubicBezTo>
                    <a:cubicBezTo>
                      <a:pt x="1508" y="471"/>
                      <a:pt x="1508" y="471"/>
                      <a:pt x="1508" y="471"/>
                    </a:cubicBezTo>
                    <a:cubicBezTo>
                      <a:pt x="1514" y="479"/>
                      <a:pt x="1515" y="490"/>
                      <a:pt x="1509" y="499"/>
                    </a:cubicBezTo>
                    <a:cubicBezTo>
                      <a:pt x="1505" y="503"/>
                      <a:pt x="1424" y="620"/>
                      <a:pt x="1280" y="719"/>
                    </a:cubicBezTo>
                    <a:cubicBezTo>
                      <a:pt x="1276" y="722"/>
                      <a:pt x="1271" y="723"/>
                      <a:pt x="1267" y="7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 name="Freeform 6">
                <a:extLst>
                  <a:ext uri="{FF2B5EF4-FFF2-40B4-BE49-F238E27FC236}">
                    <a16:creationId xmlns:a16="http://schemas.microsoft.com/office/drawing/2014/main" id="{69D22457-0B8F-9FD3-C855-A44BB6687998}"/>
                  </a:ext>
                </a:extLst>
              </p:cNvPr>
              <p:cNvSpPr>
                <a:spLocks noEditPoints="1"/>
              </p:cNvSpPr>
              <p:nvPr/>
            </p:nvSpPr>
            <p:spPr bwMode="auto">
              <a:xfrm>
                <a:off x="-1742" y="2787"/>
                <a:ext cx="493" cy="493"/>
              </a:xfrm>
              <a:custGeom>
                <a:avLst/>
                <a:gdLst>
                  <a:gd name="T0" fmla="*/ 155 w 405"/>
                  <a:gd name="T1" fmla="*/ 406 h 406"/>
                  <a:gd name="T2" fmla="*/ 93 w 405"/>
                  <a:gd name="T3" fmla="*/ 381 h 406"/>
                  <a:gd name="T4" fmla="*/ 40 w 405"/>
                  <a:gd name="T5" fmla="*/ 332 h 406"/>
                  <a:gd name="T6" fmla="*/ 34 w 405"/>
                  <a:gd name="T7" fmla="*/ 203 h 406"/>
                  <a:gd name="T8" fmla="*/ 182 w 405"/>
                  <a:gd name="T9" fmla="*/ 43 h 406"/>
                  <a:gd name="T10" fmla="*/ 271 w 405"/>
                  <a:gd name="T11" fmla="*/ 2 h 406"/>
                  <a:gd name="T12" fmla="*/ 363 w 405"/>
                  <a:gd name="T13" fmla="*/ 35 h 406"/>
                  <a:gd name="T14" fmla="*/ 404 w 405"/>
                  <a:gd name="T15" fmla="*/ 124 h 406"/>
                  <a:gd name="T16" fmla="*/ 370 w 405"/>
                  <a:gd name="T17" fmla="*/ 216 h 406"/>
                  <a:gd name="T18" fmla="*/ 222 w 405"/>
                  <a:gd name="T19" fmla="*/ 376 h 406"/>
                  <a:gd name="T20" fmla="*/ 155 w 405"/>
                  <a:gd name="T21" fmla="*/ 406 h 406"/>
                  <a:gd name="T22" fmla="*/ 276 w 405"/>
                  <a:gd name="T23" fmla="*/ 48 h 406"/>
                  <a:gd name="T24" fmla="*/ 273 w 405"/>
                  <a:gd name="T25" fmla="*/ 48 h 406"/>
                  <a:gd name="T26" fmla="*/ 217 w 405"/>
                  <a:gd name="T27" fmla="*/ 74 h 406"/>
                  <a:gd name="T28" fmla="*/ 69 w 405"/>
                  <a:gd name="T29" fmla="*/ 235 h 406"/>
                  <a:gd name="T30" fmla="*/ 71 w 405"/>
                  <a:gd name="T31" fmla="*/ 298 h 406"/>
                  <a:gd name="T32" fmla="*/ 125 w 405"/>
                  <a:gd name="T33" fmla="*/ 347 h 406"/>
                  <a:gd name="T34" fmla="*/ 188 w 405"/>
                  <a:gd name="T35" fmla="*/ 344 h 406"/>
                  <a:gd name="T36" fmla="*/ 336 w 405"/>
                  <a:gd name="T37" fmla="*/ 184 h 406"/>
                  <a:gd name="T38" fmla="*/ 357 w 405"/>
                  <a:gd name="T39" fmla="*/ 126 h 406"/>
                  <a:gd name="T40" fmla="*/ 331 w 405"/>
                  <a:gd name="T41" fmla="*/ 70 h 406"/>
                  <a:gd name="T42" fmla="*/ 276 w 405"/>
                  <a:gd name="T43" fmla="*/ 48 h 406"/>
                  <a:gd name="T44" fmla="*/ 252 w 405"/>
                  <a:gd name="T45" fmla="*/ 309 h 406"/>
                  <a:gd name="T46" fmla="*/ 253 w 405"/>
                  <a:gd name="T47" fmla="*/ 309 h 406"/>
                  <a:gd name="T48" fmla="*/ 252 w 405"/>
                  <a:gd name="T49" fmla="*/ 309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5" h="406">
                    <a:moveTo>
                      <a:pt x="155" y="406"/>
                    </a:moveTo>
                    <a:cubicBezTo>
                      <a:pt x="133" y="406"/>
                      <a:pt x="110" y="398"/>
                      <a:pt x="93" y="381"/>
                    </a:cubicBezTo>
                    <a:cubicBezTo>
                      <a:pt x="40" y="332"/>
                      <a:pt x="40" y="332"/>
                      <a:pt x="40" y="332"/>
                    </a:cubicBezTo>
                    <a:cubicBezTo>
                      <a:pt x="3" y="298"/>
                      <a:pt x="0" y="240"/>
                      <a:pt x="34" y="203"/>
                    </a:cubicBezTo>
                    <a:cubicBezTo>
                      <a:pt x="182" y="43"/>
                      <a:pt x="182" y="43"/>
                      <a:pt x="182" y="43"/>
                    </a:cubicBezTo>
                    <a:cubicBezTo>
                      <a:pt x="206" y="18"/>
                      <a:pt x="237" y="3"/>
                      <a:pt x="271" y="2"/>
                    </a:cubicBezTo>
                    <a:cubicBezTo>
                      <a:pt x="305" y="0"/>
                      <a:pt x="338" y="12"/>
                      <a:pt x="363" y="35"/>
                    </a:cubicBezTo>
                    <a:cubicBezTo>
                      <a:pt x="388" y="59"/>
                      <a:pt x="403" y="90"/>
                      <a:pt x="404" y="124"/>
                    </a:cubicBezTo>
                    <a:cubicBezTo>
                      <a:pt x="405" y="158"/>
                      <a:pt x="393" y="191"/>
                      <a:pt x="370" y="216"/>
                    </a:cubicBezTo>
                    <a:cubicBezTo>
                      <a:pt x="222" y="376"/>
                      <a:pt x="222" y="376"/>
                      <a:pt x="222" y="376"/>
                    </a:cubicBezTo>
                    <a:cubicBezTo>
                      <a:pt x="204" y="396"/>
                      <a:pt x="179" y="406"/>
                      <a:pt x="155" y="406"/>
                    </a:cubicBezTo>
                    <a:close/>
                    <a:moveTo>
                      <a:pt x="276" y="48"/>
                    </a:moveTo>
                    <a:cubicBezTo>
                      <a:pt x="275" y="48"/>
                      <a:pt x="274" y="48"/>
                      <a:pt x="273" y="48"/>
                    </a:cubicBezTo>
                    <a:cubicBezTo>
                      <a:pt x="251" y="49"/>
                      <a:pt x="232" y="58"/>
                      <a:pt x="217" y="74"/>
                    </a:cubicBezTo>
                    <a:cubicBezTo>
                      <a:pt x="69" y="235"/>
                      <a:pt x="69" y="235"/>
                      <a:pt x="69" y="235"/>
                    </a:cubicBezTo>
                    <a:cubicBezTo>
                      <a:pt x="52" y="253"/>
                      <a:pt x="53" y="281"/>
                      <a:pt x="71" y="298"/>
                    </a:cubicBezTo>
                    <a:cubicBezTo>
                      <a:pt x="125" y="347"/>
                      <a:pt x="125" y="347"/>
                      <a:pt x="125" y="347"/>
                    </a:cubicBezTo>
                    <a:cubicBezTo>
                      <a:pt x="143" y="364"/>
                      <a:pt x="171" y="363"/>
                      <a:pt x="188" y="344"/>
                    </a:cubicBezTo>
                    <a:cubicBezTo>
                      <a:pt x="336" y="184"/>
                      <a:pt x="336" y="184"/>
                      <a:pt x="336" y="184"/>
                    </a:cubicBezTo>
                    <a:cubicBezTo>
                      <a:pt x="350" y="168"/>
                      <a:pt x="358" y="148"/>
                      <a:pt x="357" y="126"/>
                    </a:cubicBezTo>
                    <a:cubicBezTo>
                      <a:pt x="356" y="104"/>
                      <a:pt x="347" y="84"/>
                      <a:pt x="331" y="70"/>
                    </a:cubicBezTo>
                    <a:cubicBezTo>
                      <a:pt x="316" y="56"/>
                      <a:pt x="297" y="48"/>
                      <a:pt x="276" y="48"/>
                    </a:cubicBezTo>
                    <a:close/>
                    <a:moveTo>
                      <a:pt x="252" y="309"/>
                    </a:moveTo>
                    <a:cubicBezTo>
                      <a:pt x="253" y="309"/>
                      <a:pt x="253" y="309"/>
                      <a:pt x="253" y="309"/>
                    </a:cubicBezTo>
                    <a:lnTo>
                      <a:pt x="252"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 name="Freeform 7">
                <a:extLst>
                  <a:ext uri="{FF2B5EF4-FFF2-40B4-BE49-F238E27FC236}">
                    <a16:creationId xmlns:a16="http://schemas.microsoft.com/office/drawing/2014/main" id="{A322971A-6B61-5455-D0D6-F984FA6D0AE0}"/>
                  </a:ext>
                </a:extLst>
              </p:cNvPr>
              <p:cNvSpPr>
                <a:spLocks noEditPoints="1"/>
              </p:cNvSpPr>
              <p:nvPr/>
            </p:nvSpPr>
            <p:spPr bwMode="auto">
              <a:xfrm>
                <a:off x="-2399" y="2413"/>
                <a:ext cx="458" cy="464"/>
              </a:xfrm>
              <a:custGeom>
                <a:avLst/>
                <a:gdLst>
                  <a:gd name="T0" fmla="*/ 145 w 376"/>
                  <a:gd name="T1" fmla="*/ 383 h 383"/>
                  <a:gd name="T2" fmla="*/ 83 w 376"/>
                  <a:gd name="T3" fmla="*/ 358 h 383"/>
                  <a:gd name="T4" fmla="*/ 30 w 376"/>
                  <a:gd name="T5" fmla="*/ 309 h 383"/>
                  <a:gd name="T6" fmla="*/ 1 w 376"/>
                  <a:gd name="T7" fmla="*/ 246 h 383"/>
                  <a:gd name="T8" fmla="*/ 25 w 376"/>
                  <a:gd name="T9" fmla="*/ 180 h 383"/>
                  <a:gd name="T10" fmla="*/ 141 w 376"/>
                  <a:gd name="T11" fmla="*/ 55 h 383"/>
                  <a:gd name="T12" fmla="*/ 321 w 376"/>
                  <a:gd name="T13" fmla="*/ 48 h 383"/>
                  <a:gd name="T14" fmla="*/ 329 w 376"/>
                  <a:gd name="T15" fmla="*/ 228 h 383"/>
                  <a:gd name="T16" fmla="*/ 213 w 376"/>
                  <a:gd name="T17" fmla="*/ 353 h 383"/>
                  <a:gd name="T18" fmla="*/ 149 w 376"/>
                  <a:gd name="T19" fmla="*/ 383 h 383"/>
                  <a:gd name="T20" fmla="*/ 145 w 376"/>
                  <a:gd name="T21" fmla="*/ 383 h 383"/>
                  <a:gd name="T22" fmla="*/ 235 w 376"/>
                  <a:gd name="T23" fmla="*/ 61 h 383"/>
                  <a:gd name="T24" fmla="*/ 175 w 376"/>
                  <a:gd name="T25" fmla="*/ 87 h 383"/>
                  <a:gd name="T26" fmla="*/ 59 w 376"/>
                  <a:gd name="T27" fmla="*/ 212 h 383"/>
                  <a:gd name="T28" fmla="*/ 48 w 376"/>
                  <a:gd name="T29" fmla="*/ 244 h 383"/>
                  <a:gd name="T30" fmla="*/ 62 w 376"/>
                  <a:gd name="T31" fmla="*/ 275 h 383"/>
                  <a:gd name="T32" fmla="*/ 115 w 376"/>
                  <a:gd name="T33" fmla="*/ 324 h 383"/>
                  <a:gd name="T34" fmla="*/ 147 w 376"/>
                  <a:gd name="T35" fmla="*/ 336 h 383"/>
                  <a:gd name="T36" fmla="*/ 178 w 376"/>
                  <a:gd name="T37" fmla="*/ 322 h 383"/>
                  <a:gd name="T38" fmla="*/ 226 w 376"/>
                  <a:gd name="T39" fmla="*/ 270 h 383"/>
                  <a:gd name="T40" fmla="*/ 226 w 376"/>
                  <a:gd name="T41" fmla="*/ 270 h 383"/>
                  <a:gd name="T42" fmla="*/ 294 w 376"/>
                  <a:gd name="T43" fmla="*/ 196 h 383"/>
                  <a:gd name="T44" fmla="*/ 290 w 376"/>
                  <a:gd name="T45" fmla="*/ 82 h 383"/>
                  <a:gd name="T46" fmla="*/ 235 w 376"/>
                  <a:gd name="T47" fmla="*/ 6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6" h="383">
                    <a:moveTo>
                      <a:pt x="145" y="383"/>
                    </a:moveTo>
                    <a:cubicBezTo>
                      <a:pt x="122" y="383"/>
                      <a:pt x="100" y="374"/>
                      <a:pt x="83" y="358"/>
                    </a:cubicBezTo>
                    <a:cubicBezTo>
                      <a:pt x="30" y="309"/>
                      <a:pt x="30" y="309"/>
                      <a:pt x="30" y="309"/>
                    </a:cubicBezTo>
                    <a:cubicBezTo>
                      <a:pt x="12" y="293"/>
                      <a:pt x="2" y="270"/>
                      <a:pt x="1" y="246"/>
                    </a:cubicBezTo>
                    <a:cubicBezTo>
                      <a:pt x="0" y="221"/>
                      <a:pt x="9" y="198"/>
                      <a:pt x="25" y="180"/>
                    </a:cubicBezTo>
                    <a:cubicBezTo>
                      <a:pt x="141" y="55"/>
                      <a:pt x="141" y="55"/>
                      <a:pt x="141" y="55"/>
                    </a:cubicBezTo>
                    <a:cubicBezTo>
                      <a:pt x="189" y="3"/>
                      <a:pt x="270" y="0"/>
                      <a:pt x="321" y="48"/>
                    </a:cubicBezTo>
                    <a:cubicBezTo>
                      <a:pt x="373" y="95"/>
                      <a:pt x="376" y="176"/>
                      <a:pt x="329" y="228"/>
                    </a:cubicBezTo>
                    <a:cubicBezTo>
                      <a:pt x="213" y="353"/>
                      <a:pt x="213" y="353"/>
                      <a:pt x="213" y="353"/>
                    </a:cubicBezTo>
                    <a:cubicBezTo>
                      <a:pt x="196" y="371"/>
                      <a:pt x="174" y="382"/>
                      <a:pt x="149" y="383"/>
                    </a:cubicBezTo>
                    <a:cubicBezTo>
                      <a:pt x="148" y="383"/>
                      <a:pt x="147" y="383"/>
                      <a:pt x="145" y="383"/>
                    </a:cubicBezTo>
                    <a:close/>
                    <a:moveTo>
                      <a:pt x="235" y="61"/>
                    </a:moveTo>
                    <a:cubicBezTo>
                      <a:pt x="213" y="61"/>
                      <a:pt x="191" y="69"/>
                      <a:pt x="175" y="87"/>
                    </a:cubicBezTo>
                    <a:cubicBezTo>
                      <a:pt x="59" y="212"/>
                      <a:pt x="59" y="212"/>
                      <a:pt x="59" y="212"/>
                    </a:cubicBezTo>
                    <a:cubicBezTo>
                      <a:pt x="51" y="221"/>
                      <a:pt x="47" y="232"/>
                      <a:pt x="48" y="244"/>
                    </a:cubicBezTo>
                    <a:cubicBezTo>
                      <a:pt x="48" y="256"/>
                      <a:pt x="53" y="267"/>
                      <a:pt x="62" y="275"/>
                    </a:cubicBezTo>
                    <a:cubicBezTo>
                      <a:pt x="115" y="324"/>
                      <a:pt x="115" y="324"/>
                      <a:pt x="115" y="324"/>
                    </a:cubicBezTo>
                    <a:cubicBezTo>
                      <a:pt x="124" y="332"/>
                      <a:pt x="135" y="337"/>
                      <a:pt x="147" y="336"/>
                    </a:cubicBezTo>
                    <a:cubicBezTo>
                      <a:pt x="159" y="335"/>
                      <a:pt x="170" y="330"/>
                      <a:pt x="178" y="322"/>
                    </a:cubicBezTo>
                    <a:cubicBezTo>
                      <a:pt x="226" y="270"/>
                      <a:pt x="226" y="270"/>
                      <a:pt x="226" y="270"/>
                    </a:cubicBezTo>
                    <a:cubicBezTo>
                      <a:pt x="226" y="270"/>
                      <a:pt x="226" y="270"/>
                      <a:pt x="226" y="270"/>
                    </a:cubicBezTo>
                    <a:cubicBezTo>
                      <a:pt x="294" y="196"/>
                      <a:pt x="294" y="196"/>
                      <a:pt x="294" y="196"/>
                    </a:cubicBezTo>
                    <a:cubicBezTo>
                      <a:pt x="324" y="164"/>
                      <a:pt x="322" y="112"/>
                      <a:pt x="290" y="82"/>
                    </a:cubicBezTo>
                    <a:cubicBezTo>
                      <a:pt x="274" y="68"/>
                      <a:pt x="254" y="61"/>
                      <a:pt x="23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 name="Freeform 8">
                <a:extLst>
                  <a:ext uri="{FF2B5EF4-FFF2-40B4-BE49-F238E27FC236}">
                    <a16:creationId xmlns:a16="http://schemas.microsoft.com/office/drawing/2014/main" id="{F7CF8E41-2A55-5D52-D409-2E482A05E469}"/>
                  </a:ext>
                </a:extLst>
              </p:cNvPr>
              <p:cNvSpPr>
                <a:spLocks noEditPoints="1"/>
              </p:cNvSpPr>
              <p:nvPr/>
            </p:nvSpPr>
            <p:spPr bwMode="auto">
              <a:xfrm>
                <a:off x="-1974" y="2606"/>
                <a:ext cx="545" cy="560"/>
              </a:xfrm>
              <a:custGeom>
                <a:avLst/>
                <a:gdLst>
                  <a:gd name="T0" fmla="*/ 146 w 447"/>
                  <a:gd name="T1" fmla="*/ 462 h 462"/>
                  <a:gd name="T2" fmla="*/ 84 w 447"/>
                  <a:gd name="T3" fmla="*/ 438 h 462"/>
                  <a:gd name="T4" fmla="*/ 30 w 447"/>
                  <a:gd name="T5" fmla="*/ 389 h 462"/>
                  <a:gd name="T6" fmla="*/ 1 w 447"/>
                  <a:gd name="T7" fmla="*/ 325 h 462"/>
                  <a:gd name="T8" fmla="*/ 25 w 447"/>
                  <a:gd name="T9" fmla="*/ 260 h 462"/>
                  <a:gd name="T10" fmla="*/ 73 w 447"/>
                  <a:gd name="T11" fmla="*/ 208 h 462"/>
                  <a:gd name="T12" fmla="*/ 212 w 447"/>
                  <a:gd name="T13" fmla="*/ 55 h 462"/>
                  <a:gd name="T14" fmla="*/ 393 w 447"/>
                  <a:gd name="T15" fmla="*/ 47 h 462"/>
                  <a:gd name="T16" fmla="*/ 400 w 447"/>
                  <a:gd name="T17" fmla="*/ 228 h 462"/>
                  <a:gd name="T18" fmla="*/ 261 w 447"/>
                  <a:gd name="T19" fmla="*/ 381 h 462"/>
                  <a:gd name="T20" fmla="*/ 260 w 447"/>
                  <a:gd name="T21" fmla="*/ 382 h 462"/>
                  <a:gd name="T22" fmla="*/ 213 w 447"/>
                  <a:gd name="T23" fmla="*/ 433 h 462"/>
                  <a:gd name="T24" fmla="*/ 149 w 447"/>
                  <a:gd name="T25" fmla="*/ 462 h 462"/>
                  <a:gd name="T26" fmla="*/ 146 w 447"/>
                  <a:gd name="T27" fmla="*/ 462 h 462"/>
                  <a:gd name="T28" fmla="*/ 306 w 447"/>
                  <a:gd name="T29" fmla="*/ 60 h 462"/>
                  <a:gd name="T30" fmla="*/ 246 w 447"/>
                  <a:gd name="T31" fmla="*/ 86 h 462"/>
                  <a:gd name="T32" fmla="*/ 60 w 447"/>
                  <a:gd name="T33" fmla="*/ 292 h 462"/>
                  <a:gd name="T34" fmla="*/ 48 w 447"/>
                  <a:gd name="T35" fmla="*/ 324 h 462"/>
                  <a:gd name="T36" fmla="*/ 62 w 447"/>
                  <a:gd name="T37" fmla="*/ 355 h 462"/>
                  <a:gd name="T38" fmla="*/ 115 w 447"/>
                  <a:gd name="T39" fmla="*/ 404 h 462"/>
                  <a:gd name="T40" fmla="*/ 147 w 447"/>
                  <a:gd name="T41" fmla="*/ 416 h 462"/>
                  <a:gd name="T42" fmla="*/ 178 w 447"/>
                  <a:gd name="T43" fmla="*/ 401 h 462"/>
                  <a:gd name="T44" fmla="*/ 226 w 447"/>
                  <a:gd name="T45" fmla="*/ 350 h 462"/>
                  <a:gd name="T46" fmla="*/ 365 w 447"/>
                  <a:gd name="T47" fmla="*/ 196 h 462"/>
                  <a:gd name="T48" fmla="*/ 361 w 447"/>
                  <a:gd name="T49" fmla="*/ 82 h 462"/>
                  <a:gd name="T50" fmla="*/ 306 w 447"/>
                  <a:gd name="T51" fmla="*/ 60 h 462"/>
                  <a:gd name="T52" fmla="*/ 243 w 447"/>
                  <a:gd name="T53" fmla="*/ 366 h 462"/>
                  <a:gd name="T54" fmla="*/ 243 w 447"/>
                  <a:gd name="T55" fmla="*/ 36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462">
                    <a:moveTo>
                      <a:pt x="146" y="462"/>
                    </a:moveTo>
                    <a:cubicBezTo>
                      <a:pt x="122" y="462"/>
                      <a:pt x="101" y="454"/>
                      <a:pt x="84" y="438"/>
                    </a:cubicBezTo>
                    <a:cubicBezTo>
                      <a:pt x="30" y="389"/>
                      <a:pt x="30" y="389"/>
                      <a:pt x="30" y="389"/>
                    </a:cubicBezTo>
                    <a:cubicBezTo>
                      <a:pt x="12" y="372"/>
                      <a:pt x="2" y="350"/>
                      <a:pt x="1" y="325"/>
                    </a:cubicBezTo>
                    <a:cubicBezTo>
                      <a:pt x="0" y="301"/>
                      <a:pt x="9" y="278"/>
                      <a:pt x="25" y="260"/>
                    </a:cubicBezTo>
                    <a:cubicBezTo>
                      <a:pt x="73" y="208"/>
                      <a:pt x="73" y="208"/>
                      <a:pt x="73" y="208"/>
                    </a:cubicBezTo>
                    <a:cubicBezTo>
                      <a:pt x="212" y="55"/>
                      <a:pt x="212" y="55"/>
                      <a:pt x="212" y="55"/>
                    </a:cubicBezTo>
                    <a:cubicBezTo>
                      <a:pt x="260" y="3"/>
                      <a:pt x="341" y="0"/>
                      <a:pt x="393" y="47"/>
                    </a:cubicBezTo>
                    <a:cubicBezTo>
                      <a:pt x="444" y="95"/>
                      <a:pt x="447" y="176"/>
                      <a:pt x="400" y="228"/>
                    </a:cubicBezTo>
                    <a:cubicBezTo>
                      <a:pt x="261" y="381"/>
                      <a:pt x="261" y="381"/>
                      <a:pt x="261" y="381"/>
                    </a:cubicBezTo>
                    <a:cubicBezTo>
                      <a:pt x="261" y="382"/>
                      <a:pt x="260" y="382"/>
                      <a:pt x="260" y="382"/>
                    </a:cubicBezTo>
                    <a:cubicBezTo>
                      <a:pt x="213" y="433"/>
                      <a:pt x="213" y="433"/>
                      <a:pt x="213" y="433"/>
                    </a:cubicBezTo>
                    <a:cubicBezTo>
                      <a:pt x="196" y="451"/>
                      <a:pt x="174" y="461"/>
                      <a:pt x="149" y="462"/>
                    </a:cubicBezTo>
                    <a:cubicBezTo>
                      <a:pt x="148" y="462"/>
                      <a:pt x="147" y="462"/>
                      <a:pt x="146" y="462"/>
                    </a:cubicBezTo>
                    <a:close/>
                    <a:moveTo>
                      <a:pt x="306" y="60"/>
                    </a:moveTo>
                    <a:cubicBezTo>
                      <a:pt x="284" y="60"/>
                      <a:pt x="262" y="69"/>
                      <a:pt x="246" y="86"/>
                    </a:cubicBezTo>
                    <a:cubicBezTo>
                      <a:pt x="60" y="292"/>
                      <a:pt x="60" y="292"/>
                      <a:pt x="60" y="292"/>
                    </a:cubicBezTo>
                    <a:cubicBezTo>
                      <a:pt x="52" y="300"/>
                      <a:pt x="47" y="312"/>
                      <a:pt x="48" y="324"/>
                    </a:cubicBezTo>
                    <a:cubicBezTo>
                      <a:pt x="48" y="336"/>
                      <a:pt x="53" y="347"/>
                      <a:pt x="62" y="355"/>
                    </a:cubicBezTo>
                    <a:cubicBezTo>
                      <a:pt x="115" y="404"/>
                      <a:pt x="115" y="404"/>
                      <a:pt x="115" y="404"/>
                    </a:cubicBezTo>
                    <a:cubicBezTo>
                      <a:pt x="124" y="412"/>
                      <a:pt x="135" y="416"/>
                      <a:pt x="147" y="416"/>
                    </a:cubicBezTo>
                    <a:cubicBezTo>
                      <a:pt x="159" y="415"/>
                      <a:pt x="170" y="410"/>
                      <a:pt x="178" y="401"/>
                    </a:cubicBezTo>
                    <a:cubicBezTo>
                      <a:pt x="226" y="350"/>
                      <a:pt x="226" y="350"/>
                      <a:pt x="226" y="350"/>
                    </a:cubicBezTo>
                    <a:cubicBezTo>
                      <a:pt x="365" y="196"/>
                      <a:pt x="365" y="196"/>
                      <a:pt x="365" y="196"/>
                    </a:cubicBezTo>
                    <a:cubicBezTo>
                      <a:pt x="396" y="163"/>
                      <a:pt x="394" y="112"/>
                      <a:pt x="361" y="82"/>
                    </a:cubicBezTo>
                    <a:cubicBezTo>
                      <a:pt x="345" y="67"/>
                      <a:pt x="326" y="60"/>
                      <a:pt x="306" y="60"/>
                    </a:cubicBezTo>
                    <a:close/>
                    <a:moveTo>
                      <a:pt x="243" y="366"/>
                    </a:moveTo>
                    <a:cubicBezTo>
                      <a:pt x="243" y="366"/>
                      <a:pt x="243" y="366"/>
                      <a:pt x="243" y="3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3" name="Freeform 9">
                <a:extLst>
                  <a:ext uri="{FF2B5EF4-FFF2-40B4-BE49-F238E27FC236}">
                    <a16:creationId xmlns:a16="http://schemas.microsoft.com/office/drawing/2014/main" id="{0EF40074-06C1-B20F-7123-307BF8E6DAD4}"/>
                  </a:ext>
                </a:extLst>
              </p:cNvPr>
              <p:cNvSpPr>
                <a:spLocks noEditPoints="1"/>
              </p:cNvSpPr>
              <p:nvPr/>
            </p:nvSpPr>
            <p:spPr bwMode="auto">
              <a:xfrm>
                <a:off x="-2214" y="2405"/>
                <a:ext cx="620" cy="647"/>
              </a:xfrm>
              <a:custGeom>
                <a:avLst/>
                <a:gdLst>
                  <a:gd name="T0" fmla="*/ 146 w 509"/>
                  <a:gd name="T1" fmla="*/ 533 h 533"/>
                  <a:gd name="T2" fmla="*/ 84 w 509"/>
                  <a:gd name="T3" fmla="*/ 509 h 533"/>
                  <a:gd name="T4" fmla="*/ 30 w 509"/>
                  <a:gd name="T5" fmla="*/ 459 h 533"/>
                  <a:gd name="T6" fmla="*/ 1 w 509"/>
                  <a:gd name="T7" fmla="*/ 396 h 533"/>
                  <a:gd name="T8" fmla="*/ 25 w 509"/>
                  <a:gd name="T9" fmla="*/ 330 h 533"/>
                  <a:gd name="T10" fmla="*/ 73 w 509"/>
                  <a:gd name="T11" fmla="*/ 279 h 533"/>
                  <a:gd name="T12" fmla="*/ 273 w 509"/>
                  <a:gd name="T13" fmla="*/ 55 h 533"/>
                  <a:gd name="T14" fmla="*/ 454 w 509"/>
                  <a:gd name="T15" fmla="*/ 48 h 533"/>
                  <a:gd name="T16" fmla="*/ 461 w 509"/>
                  <a:gd name="T17" fmla="*/ 228 h 533"/>
                  <a:gd name="T18" fmla="*/ 261 w 509"/>
                  <a:gd name="T19" fmla="*/ 452 h 533"/>
                  <a:gd name="T20" fmla="*/ 260 w 509"/>
                  <a:gd name="T21" fmla="*/ 452 h 533"/>
                  <a:gd name="T22" fmla="*/ 213 w 509"/>
                  <a:gd name="T23" fmla="*/ 504 h 533"/>
                  <a:gd name="T24" fmla="*/ 146 w 509"/>
                  <a:gd name="T25" fmla="*/ 533 h 533"/>
                  <a:gd name="T26" fmla="*/ 367 w 509"/>
                  <a:gd name="T27" fmla="*/ 61 h 533"/>
                  <a:gd name="T28" fmla="*/ 308 w 509"/>
                  <a:gd name="T29" fmla="*/ 86 h 533"/>
                  <a:gd name="T30" fmla="*/ 107 w 509"/>
                  <a:gd name="T31" fmla="*/ 310 h 533"/>
                  <a:gd name="T32" fmla="*/ 60 w 509"/>
                  <a:gd name="T33" fmla="*/ 362 h 533"/>
                  <a:gd name="T34" fmla="*/ 48 w 509"/>
                  <a:gd name="T35" fmla="*/ 394 h 533"/>
                  <a:gd name="T36" fmla="*/ 62 w 509"/>
                  <a:gd name="T37" fmla="*/ 425 h 533"/>
                  <a:gd name="T38" fmla="*/ 115 w 509"/>
                  <a:gd name="T39" fmla="*/ 474 h 533"/>
                  <a:gd name="T40" fmla="*/ 178 w 509"/>
                  <a:gd name="T41" fmla="*/ 472 h 533"/>
                  <a:gd name="T42" fmla="*/ 226 w 509"/>
                  <a:gd name="T43" fmla="*/ 420 h 533"/>
                  <a:gd name="T44" fmla="*/ 427 w 509"/>
                  <a:gd name="T45" fmla="*/ 197 h 533"/>
                  <a:gd name="T46" fmla="*/ 422 w 509"/>
                  <a:gd name="T47" fmla="*/ 82 h 533"/>
                  <a:gd name="T48" fmla="*/ 367 w 509"/>
                  <a:gd name="T49" fmla="*/ 61 h 533"/>
                  <a:gd name="T50" fmla="*/ 243 w 509"/>
                  <a:gd name="T51" fmla="*/ 436 h 533"/>
                  <a:gd name="T52" fmla="*/ 243 w 509"/>
                  <a:gd name="T53" fmla="*/ 43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9" h="533">
                    <a:moveTo>
                      <a:pt x="146" y="533"/>
                    </a:moveTo>
                    <a:cubicBezTo>
                      <a:pt x="123" y="533"/>
                      <a:pt x="101" y="525"/>
                      <a:pt x="84" y="509"/>
                    </a:cubicBezTo>
                    <a:cubicBezTo>
                      <a:pt x="30" y="459"/>
                      <a:pt x="30" y="459"/>
                      <a:pt x="30" y="459"/>
                    </a:cubicBezTo>
                    <a:cubicBezTo>
                      <a:pt x="12" y="443"/>
                      <a:pt x="2" y="420"/>
                      <a:pt x="1" y="396"/>
                    </a:cubicBezTo>
                    <a:cubicBezTo>
                      <a:pt x="0" y="371"/>
                      <a:pt x="9" y="348"/>
                      <a:pt x="25" y="330"/>
                    </a:cubicBezTo>
                    <a:cubicBezTo>
                      <a:pt x="73" y="279"/>
                      <a:pt x="73" y="279"/>
                      <a:pt x="73" y="279"/>
                    </a:cubicBezTo>
                    <a:cubicBezTo>
                      <a:pt x="273" y="55"/>
                      <a:pt x="273" y="55"/>
                      <a:pt x="273" y="55"/>
                    </a:cubicBezTo>
                    <a:cubicBezTo>
                      <a:pt x="321" y="3"/>
                      <a:pt x="402" y="0"/>
                      <a:pt x="454" y="48"/>
                    </a:cubicBezTo>
                    <a:cubicBezTo>
                      <a:pt x="506" y="95"/>
                      <a:pt x="509" y="176"/>
                      <a:pt x="461" y="228"/>
                    </a:cubicBezTo>
                    <a:cubicBezTo>
                      <a:pt x="261" y="452"/>
                      <a:pt x="261" y="452"/>
                      <a:pt x="261" y="452"/>
                    </a:cubicBezTo>
                    <a:cubicBezTo>
                      <a:pt x="260" y="452"/>
                      <a:pt x="260" y="452"/>
                      <a:pt x="260" y="452"/>
                    </a:cubicBezTo>
                    <a:cubicBezTo>
                      <a:pt x="213" y="504"/>
                      <a:pt x="213" y="504"/>
                      <a:pt x="213" y="504"/>
                    </a:cubicBezTo>
                    <a:cubicBezTo>
                      <a:pt x="195" y="523"/>
                      <a:pt x="170" y="533"/>
                      <a:pt x="146" y="533"/>
                    </a:cubicBezTo>
                    <a:close/>
                    <a:moveTo>
                      <a:pt x="367" y="61"/>
                    </a:moveTo>
                    <a:cubicBezTo>
                      <a:pt x="346" y="61"/>
                      <a:pt x="324" y="69"/>
                      <a:pt x="308" y="86"/>
                    </a:cubicBezTo>
                    <a:cubicBezTo>
                      <a:pt x="107" y="310"/>
                      <a:pt x="107" y="310"/>
                      <a:pt x="107" y="310"/>
                    </a:cubicBezTo>
                    <a:cubicBezTo>
                      <a:pt x="60" y="362"/>
                      <a:pt x="60" y="362"/>
                      <a:pt x="60" y="362"/>
                    </a:cubicBezTo>
                    <a:cubicBezTo>
                      <a:pt x="51" y="371"/>
                      <a:pt x="47" y="382"/>
                      <a:pt x="48" y="394"/>
                    </a:cubicBezTo>
                    <a:cubicBezTo>
                      <a:pt x="48" y="406"/>
                      <a:pt x="53" y="417"/>
                      <a:pt x="62" y="425"/>
                    </a:cubicBezTo>
                    <a:cubicBezTo>
                      <a:pt x="115" y="474"/>
                      <a:pt x="115" y="474"/>
                      <a:pt x="115" y="474"/>
                    </a:cubicBezTo>
                    <a:cubicBezTo>
                      <a:pt x="133" y="491"/>
                      <a:pt x="162" y="490"/>
                      <a:pt x="178" y="472"/>
                    </a:cubicBezTo>
                    <a:cubicBezTo>
                      <a:pt x="226" y="420"/>
                      <a:pt x="226" y="420"/>
                      <a:pt x="226" y="420"/>
                    </a:cubicBezTo>
                    <a:cubicBezTo>
                      <a:pt x="427" y="197"/>
                      <a:pt x="427" y="197"/>
                      <a:pt x="427" y="197"/>
                    </a:cubicBezTo>
                    <a:cubicBezTo>
                      <a:pt x="457" y="164"/>
                      <a:pt x="455" y="112"/>
                      <a:pt x="422" y="82"/>
                    </a:cubicBezTo>
                    <a:cubicBezTo>
                      <a:pt x="407" y="68"/>
                      <a:pt x="387" y="61"/>
                      <a:pt x="367" y="61"/>
                    </a:cubicBezTo>
                    <a:close/>
                    <a:moveTo>
                      <a:pt x="243" y="436"/>
                    </a:moveTo>
                    <a:cubicBezTo>
                      <a:pt x="243" y="436"/>
                      <a:pt x="243" y="436"/>
                      <a:pt x="243" y="4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 name="Freeform 10">
                <a:extLst>
                  <a:ext uri="{FF2B5EF4-FFF2-40B4-BE49-F238E27FC236}">
                    <a16:creationId xmlns:a16="http://schemas.microsoft.com/office/drawing/2014/main" id="{B488D79A-61E5-16BF-E66A-37E13A4CBBD0}"/>
                  </a:ext>
                </a:extLst>
              </p:cNvPr>
              <p:cNvSpPr>
                <a:spLocks/>
              </p:cNvSpPr>
              <p:nvPr/>
            </p:nvSpPr>
            <p:spPr bwMode="auto">
              <a:xfrm>
                <a:off x="-826" y="2589"/>
                <a:ext cx="335" cy="322"/>
              </a:xfrm>
              <a:custGeom>
                <a:avLst/>
                <a:gdLst>
                  <a:gd name="T0" fmla="*/ 105 w 275"/>
                  <a:gd name="T1" fmla="*/ 266 h 266"/>
                  <a:gd name="T2" fmla="*/ 14 w 275"/>
                  <a:gd name="T3" fmla="*/ 240 h 266"/>
                  <a:gd name="T4" fmla="*/ 7 w 275"/>
                  <a:gd name="T5" fmla="*/ 207 h 266"/>
                  <a:gd name="T6" fmla="*/ 40 w 275"/>
                  <a:gd name="T7" fmla="*/ 201 h 266"/>
                  <a:gd name="T8" fmla="*/ 110 w 275"/>
                  <a:gd name="T9" fmla="*/ 219 h 266"/>
                  <a:gd name="T10" fmla="*/ 165 w 275"/>
                  <a:gd name="T11" fmla="*/ 195 h 266"/>
                  <a:gd name="T12" fmla="*/ 197 w 275"/>
                  <a:gd name="T13" fmla="*/ 147 h 266"/>
                  <a:gd name="T14" fmla="*/ 185 w 275"/>
                  <a:gd name="T15" fmla="*/ 46 h 266"/>
                  <a:gd name="T16" fmla="*/ 179 w 275"/>
                  <a:gd name="T17" fmla="*/ 13 h 266"/>
                  <a:gd name="T18" fmla="*/ 211 w 275"/>
                  <a:gd name="T19" fmla="*/ 7 h 266"/>
                  <a:gd name="T20" fmla="*/ 236 w 275"/>
                  <a:gd name="T21" fmla="*/ 173 h 266"/>
                  <a:gd name="T22" fmla="*/ 204 w 275"/>
                  <a:gd name="T23" fmla="*/ 221 h 266"/>
                  <a:gd name="T24" fmla="*/ 112 w 275"/>
                  <a:gd name="T25" fmla="*/ 265 h 266"/>
                  <a:gd name="T26" fmla="*/ 105 w 275"/>
                  <a:gd name="T2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66">
                    <a:moveTo>
                      <a:pt x="105" y="266"/>
                    </a:moveTo>
                    <a:cubicBezTo>
                      <a:pt x="72" y="266"/>
                      <a:pt x="38" y="256"/>
                      <a:pt x="14" y="240"/>
                    </a:cubicBezTo>
                    <a:cubicBezTo>
                      <a:pt x="3" y="232"/>
                      <a:pt x="0" y="218"/>
                      <a:pt x="7" y="207"/>
                    </a:cubicBezTo>
                    <a:cubicBezTo>
                      <a:pt x="14" y="197"/>
                      <a:pt x="29" y="194"/>
                      <a:pt x="40" y="201"/>
                    </a:cubicBezTo>
                    <a:cubicBezTo>
                      <a:pt x="58" y="213"/>
                      <a:pt x="85" y="220"/>
                      <a:pt x="110" y="219"/>
                    </a:cubicBezTo>
                    <a:cubicBezTo>
                      <a:pt x="136" y="218"/>
                      <a:pt x="156" y="209"/>
                      <a:pt x="165" y="195"/>
                    </a:cubicBezTo>
                    <a:cubicBezTo>
                      <a:pt x="197" y="147"/>
                      <a:pt x="197" y="147"/>
                      <a:pt x="197" y="147"/>
                    </a:cubicBezTo>
                    <a:cubicBezTo>
                      <a:pt x="218" y="116"/>
                      <a:pt x="221" y="70"/>
                      <a:pt x="185" y="46"/>
                    </a:cubicBezTo>
                    <a:cubicBezTo>
                      <a:pt x="175" y="38"/>
                      <a:pt x="172" y="24"/>
                      <a:pt x="179" y="13"/>
                    </a:cubicBezTo>
                    <a:cubicBezTo>
                      <a:pt x="186" y="2"/>
                      <a:pt x="201" y="0"/>
                      <a:pt x="211" y="7"/>
                    </a:cubicBezTo>
                    <a:cubicBezTo>
                      <a:pt x="264" y="42"/>
                      <a:pt x="275" y="115"/>
                      <a:pt x="236" y="173"/>
                    </a:cubicBezTo>
                    <a:cubicBezTo>
                      <a:pt x="204" y="221"/>
                      <a:pt x="204" y="221"/>
                      <a:pt x="204" y="221"/>
                    </a:cubicBezTo>
                    <a:cubicBezTo>
                      <a:pt x="186" y="248"/>
                      <a:pt x="153" y="264"/>
                      <a:pt x="112" y="265"/>
                    </a:cubicBezTo>
                    <a:cubicBezTo>
                      <a:pt x="110" y="265"/>
                      <a:pt x="107" y="266"/>
                      <a:pt x="105"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 name="Freeform 11">
                <a:extLst>
                  <a:ext uri="{FF2B5EF4-FFF2-40B4-BE49-F238E27FC236}">
                    <a16:creationId xmlns:a16="http://schemas.microsoft.com/office/drawing/2014/main" id="{48433D3D-1640-38E3-238F-ED812509A2C1}"/>
                  </a:ext>
                </a:extLst>
              </p:cNvPr>
              <p:cNvSpPr>
                <a:spLocks/>
              </p:cNvSpPr>
              <p:nvPr/>
            </p:nvSpPr>
            <p:spPr bwMode="auto">
              <a:xfrm>
                <a:off x="-1540" y="1765"/>
                <a:ext cx="1239" cy="908"/>
              </a:xfrm>
              <a:custGeom>
                <a:avLst/>
                <a:gdLst>
                  <a:gd name="T0" fmla="*/ 857 w 1017"/>
                  <a:gd name="T1" fmla="*/ 749 h 749"/>
                  <a:gd name="T2" fmla="*/ 771 w 1017"/>
                  <a:gd name="T3" fmla="*/ 725 h 749"/>
                  <a:gd name="T4" fmla="*/ 765 w 1017"/>
                  <a:gd name="T5" fmla="*/ 692 h 749"/>
                  <a:gd name="T6" fmla="*/ 797 w 1017"/>
                  <a:gd name="T7" fmla="*/ 686 h 749"/>
                  <a:gd name="T8" fmla="*/ 867 w 1017"/>
                  <a:gd name="T9" fmla="*/ 702 h 749"/>
                  <a:gd name="T10" fmla="*/ 922 w 1017"/>
                  <a:gd name="T11" fmla="*/ 676 h 749"/>
                  <a:gd name="T12" fmla="*/ 954 w 1017"/>
                  <a:gd name="T13" fmla="*/ 628 h 749"/>
                  <a:gd name="T14" fmla="*/ 965 w 1017"/>
                  <a:gd name="T15" fmla="*/ 572 h 749"/>
                  <a:gd name="T16" fmla="*/ 934 w 1017"/>
                  <a:gd name="T17" fmla="*/ 525 h 749"/>
                  <a:gd name="T18" fmla="*/ 616 w 1017"/>
                  <a:gd name="T19" fmla="*/ 311 h 749"/>
                  <a:gd name="T20" fmla="*/ 21 w 1017"/>
                  <a:gd name="T21" fmla="*/ 48 h 749"/>
                  <a:gd name="T22" fmla="*/ 2 w 1017"/>
                  <a:gd name="T23" fmla="*/ 22 h 749"/>
                  <a:gd name="T24" fmla="*/ 28 w 1017"/>
                  <a:gd name="T25" fmla="*/ 2 h 749"/>
                  <a:gd name="T26" fmla="*/ 643 w 1017"/>
                  <a:gd name="T27" fmla="*/ 273 h 749"/>
                  <a:gd name="T28" fmla="*/ 960 w 1017"/>
                  <a:gd name="T29" fmla="*/ 486 h 749"/>
                  <a:gd name="T30" fmla="*/ 1011 w 1017"/>
                  <a:gd name="T31" fmla="*/ 563 h 749"/>
                  <a:gd name="T32" fmla="*/ 993 w 1017"/>
                  <a:gd name="T33" fmla="*/ 654 h 749"/>
                  <a:gd name="T34" fmla="*/ 961 w 1017"/>
                  <a:gd name="T35" fmla="*/ 702 h 749"/>
                  <a:gd name="T36" fmla="*/ 870 w 1017"/>
                  <a:gd name="T37" fmla="*/ 748 h 749"/>
                  <a:gd name="T38" fmla="*/ 857 w 1017"/>
                  <a:gd name="T39" fmla="*/ 749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7" h="749">
                    <a:moveTo>
                      <a:pt x="857" y="749"/>
                    </a:moveTo>
                    <a:cubicBezTo>
                      <a:pt x="826" y="749"/>
                      <a:pt x="794" y="740"/>
                      <a:pt x="771" y="725"/>
                    </a:cubicBezTo>
                    <a:cubicBezTo>
                      <a:pt x="761" y="717"/>
                      <a:pt x="758" y="703"/>
                      <a:pt x="765" y="692"/>
                    </a:cubicBezTo>
                    <a:cubicBezTo>
                      <a:pt x="772" y="681"/>
                      <a:pt x="787" y="679"/>
                      <a:pt x="797" y="686"/>
                    </a:cubicBezTo>
                    <a:cubicBezTo>
                      <a:pt x="815" y="697"/>
                      <a:pt x="841" y="704"/>
                      <a:pt x="867" y="702"/>
                    </a:cubicBezTo>
                    <a:cubicBezTo>
                      <a:pt x="892" y="700"/>
                      <a:pt x="912" y="690"/>
                      <a:pt x="922" y="676"/>
                    </a:cubicBezTo>
                    <a:cubicBezTo>
                      <a:pt x="954" y="628"/>
                      <a:pt x="954" y="628"/>
                      <a:pt x="954" y="628"/>
                    </a:cubicBezTo>
                    <a:cubicBezTo>
                      <a:pt x="965" y="612"/>
                      <a:pt x="969" y="592"/>
                      <a:pt x="965" y="572"/>
                    </a:cubicBezTo>
                    <a:cubicBezTo>
                      <a:pt x="961" y="553"/>
                      <a:pt x="950" y="536"/>
                      <a:pt x="934" y="525"/>
                    </a:cubicBezTo>
                    <a:cubicBezTo>
                      <a:pt x="616" y="311"/>
                      <a:pt x="616" y="311"/>
                      <a:pt x="616" y="311"/>
                    </a:cubicBezTo>
                    <a:cubicBezTo>
                      <a:pt x="612" y="309"/>
                      <a:pt x="313" y="94"/>
                      <a:pt x="21" y="48"/>
                    </a:cubicBezTo>
                    <a:cubicBezTo>
                      <a:pt x="8" y="46"/>
                      <a:pt x="0" y="34"/>
                      <a:pt x="2" y="22"/>
                    </a:cubicBezTo>
                    <a:cubicBezTo>
                      <a:pt x="4" y="9"/>
                      <a:pt x="16" y="0"/>
                      <a:pt x="28" y="2"/>
                    </a:cubicBezTo>
                    <a:cubicBezTo>
                      <a:pt x="331" y="50"/>
                      <a:pt x="630" y="264"/>
                      <a:pt x="643" y="273"/>
                    </a:cubicBezTo>
                    <a:cubicBezTo>
                      <a:pt x="960" y="486"/>
                      <a:pt x="960" y="486"/>
                      <a:pt x="960" y="486"/>
                    </a:cubicBezTo>
                    <a:cubicBezTo>
                      <a:pt x="987" y="504"/>
                      <a:pt x="1005" y="532"/>
                      <a:pt x="1011" y="563"/>
                    </a:cubicBezTo>
                    <a:cubicBezTo>
                      <a:pt x="1017" y="595"/>
                      <a:pt x="1011" y="627"/>
                      <a:pt x="993" y="654"/>
                    </a:cubicBezTo>
                    <a:cubicBezTo>
                      <a:pt x="961" y="702"/>
                      <a:pt x="961" y="702"/>
                      <a:pt x="961" y="702"/>
                    </a:cubicBezTo>
                    <a:cubicBezTo>
                      <a:pt x="943" y="728"/>
                      <a:pt x="910" y="745"/>
                      <a:pt x="870" y="748"/>
                    </a:cubicBezTo>
                    <a:cubicBezTo>
                      <a:pt x="866" y="749"/>
                      <a:pt x="862" y="749"/>
                      <a:pt x="857" y="7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 name="Freeform 12">
                <a:extLst>
                  <a:ext uri="{FF2B5EF4-FFF2-40B4-BE49-F238E27FC236}">
                    <a16:creationId xmlns:a16="http://schemas.microsoft.com/office/drawing/2014/main" id="{42D337A1-72A1-CD36-8E75-69F6EC6F76A8}"/>
                  </a:ext>
                </a:extLst>
              </p:cNvPr>
              <p:cNvSpPr>
                <a:spLocks/>
              </p:cNvSpPr>
              <p:nvPr/>
            </p:nvSpPr>
            <p:spPr bwMode="auto">
              <a:xfrm>
                <a:off x="-2534" y="1482"/>
                <a:ext cx="765" cy="1054"/>
              </a:xfrm>
              <a:custGeom>
                <a:avLst/>
                <a:gdLst>
                  <a:gd name="T0" fmla="*/ 256 w 628"/>
                  <a:gd name="T1" fmla="*/ 870 h 870"/>
                  <a:gd name="T2" fmla="*/ 239 w 628"/>
                  <a:gd name="T3" fmla="*/ 862 h 870"/>
                  <a:gd name="T4" fmla="*/ 5 w 628"/>
                  <a:gd name="T5" fmla="*/ 569 h 870"/>
                  <a:gd name="T6" fmla="*/ 5 w 628"/>
                  <a:gd name="T7" fmla="*/ 544 h 870"/>
                  <a:gd name="T8" fmla="*/ 358 w 628"/>
                  <a:gd name="T9" fmla="*/ 11 h 870"/>
                  <a:gd name="T10" fmla="*/ 376 w 628"/>
                  <a:gd name="T11" fmla="*/ 1 h 870"/>
                  <a:gd name="T12" fmla="*/ 395 w 628"/>
                  <a:gd name="T13" fmla="*/ 7 h 870"/>
                  <a:gd name="T14" fmla="*/ 612 w 628"/>
                  <a:gd name="T15" fmla="*/ 172 h 870"/>
                  <a:gd name="T16" fmla="*/ 623 w 628"/>
                  <a:gd name="T17" fmla="*/ 203 h 870"/>
                  <a:gd name="T18" fmla="*/ 591 w 628"/>
                  <a:gd name="T19" fmla="*/ 213 h 870"/>
                  <a:gd name="T20" fmla="*/ 382 w 628"/>
                  <a:gd name="T21" fmla="*/ 60 h 870"/>
                  <a:gd name="T22" fmla="*/ 52 w 628"/>
                  <a:gd name="T23" fmla="*/ 557 h 870"/>
                  <a:gd name="T24" fmla="*/ 273 w 628"/>
                  <a:gd name="T25" fmla="*/ 830 h 870"/>
                  <a:gd name="T26" fmla="*/ 272 w 628"/>
                  <a:gd name="T27" fmla="*/ 863 h 870"/>
                  <a:gd name="T28" fmla="*/ 256 w 628"/>
                  <a:gd name="T29" fmla="*/ 87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8" h="870">
                    <a:moveTo>
                      <a:pt x="256" y="870"/>
                    </a:moveTo>
                    <a:cubicBezTo>
                      <a:pt x="250" y="870"/>
                      <a:pt x="243" y="867"/>
                      <a:pt x="239" y="862"/>
                    </a:cubicBezTo>
                    <a:cubicBezTo>
                      <a:pt x="145" y="762"/>
                      <a:pt x="66" y="664"/>
                      <a:pt x="5" y="569"/>
                    </a:cubicBezTo>
                    <a:cubicBezTo>
                      <a:pt x="0" y="561"/>
                      <a:pt x="0" y="551"/>
                      <a:pt x="5" y="544"/>
                    </a:cubicBezTo>
                    <a:cubicBezTo>
                      <a:pt x="358" y="11"/>
                      <a:pt x="358" y="11"/>
                      <a:pt x="358" y="11"/>
                    </a:cubicBezTo>
                    <a:cubicBezTo>
                      <a:pt x="362" y="5"/>
                      <a:pt x="369" y="1"/>
                      <a:pt x="376" y="1"/>
                    </a:cubicBezTo>
                    <a:cubicBezTo>
                      <a:pt x="383" y="0"/>
                      <a:pt x="390" y="2"/>
                      <a:pt x="395" y="7"/>
                    </a:cubicBezTo>
                    <a:cubicBezTo>
                      <a:pt x="396" y="9"/>
                      <a:pt x="502" y="117"/>
                      <a:pt x="612" y="172"/>
                    </a:cubicBezTo>
                    <a:cubicBezTo>
                      <a:pt x="624" y="177"/>
                      <a:pt x="628" y="191"/>
                      <a:pt x="623" y="203"/>
                    </a:cubicBezTo>
                    <a:cubicBezTo>
                      <a:pt x="617" y="215"/>
                      <a:pt x="603" y="219"/>
                      <a:pt x="591" y="213"/>
                    </a:cubicBezTo>
                    <a:cubicBezTo>
                      <a:pt x="503" y="169"/>
                      <a:pt x="419" y="96"/>
                      <a:pt x="382" y="60"/>
                    </a:cubicBezTo>
                    <a:cubicBezTo>
                      <a:pt x="52" y="557"/>
                      <a:pt x="52" y="557"/>
                      <a:pt x="52" y="557"/>
                    </a:cubicBezTo>
                    <a:cubicBezTo>
                      <a:pt x="111" y="645"/>
                      <a:pt x="185" y="737"/>
                      <a:pt x="273" y="830"/>
                    </a:cubicBezTo>
                    <a:cubicBezTo>
                      <a:pt x="282" y="840"/>
                      <a:pt x="281" y="854"/>
                      <a:pt x="272" y="863"/>
                    </a:cubicBezTo>
                    <a:cubicBezTo>
                      <a:pt x="267" y="867"/>
                      <a:pt x="262" y="870"/>
                      <a:pt x="256" y="8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 name="Freeform 13">
                <a:extLst>
                  <a:ext uri="{FF2B5EF4-FFF2-40B4-BE49-F238E27FC236}">
                    <a16:creationId xmlns:a16="http://schemas.microsoft.com/office/drawing/2014/main" id="{195540FC-A112-1AEE-5379-80765B578895}"/>
                  </a:ext>
                </a:extLst>
              </p:cNvPr>
              <p:cNvSpPr>
                <a:spLocks/>
              </p:cNvSpPr>
              <p:nvPr/>
            </p:nvSpPr>
            <p:spPr bwMode="auto">
              <a:xfrm>
                <a:off x="-1468" y="2824"/>
                <a:ext cx="766" cy="544"/>
              </a:xfrm>
              <a:custGeom>
                <a:avLst/>
                <a:gdLst>
                  <a:gd name="T0" fmla="*/ 258 w 629"/>
                  <a:gd name="T1" fmla="*/ 449 h 449"/>
                  <a:gd name="T2" fmla="*/ 191 w 629"/>
                  <a:gd name="T3" fmla="*/ 428 h 449"/>
                  <a:gd name="T4" fmla="*/ 184 w 629"/>
                  <a:gd name="T5" fmla="*/ 423 h 449"/>
                  <a:gd name="T6" fmla="*/ 13 w 629"/>
                  <a:gd name="T7" fmla="*/ 307 h 449"/>
                  <a:gd name="T8" fmla="*/ 8 w 629"/>
                  <a:gd name="T9" fmla="*/ 275 h 449"/>
                  <a:gd name="T10" fmla="*/ 40 w 629"/>
                  <a:gd name="T11" fmla="*/ 269 h 449"/>
                  <a:gd name="T12" fmla="*/ 209 w 629"/>
                  <a:gd name="T13" fmla="*/ 384 h 449"/>
                  <a:gd name="T14" fmla="*/ 217 w 629"/>
                  <a:gd name="T15" fmla="*/ 389 h 449"/>
                  <a:gd name="T16" fmla="*/ 272 w 629"/>
                  <a:gd name="T17" fmla="*/ 400 h 449"/>
                  <a:gd name="T18" fmla="*/ 319 w 629"/>
                  <a:gd name="T19" fmla="*/ 369 h 449"/>
                  <a:gd name="T20" fmla="*/ 351 w 629"/>
                  <a:gd name="T21" fmla="*/ 322 h 449"/>
                  <a:gd name="T22" fmla="*/ 333 w 629"/>
                  <a:gd name="T23" fmla="*/ 220 h 449"/>
                  <a:gd name="T24" fmla="*/ 331 w 629"/>
                  <a:gd name="T25" fmla="*/ 219 h 449"/>
                  <a:gd name="T26" fmla="*/ 325 w 629"/>
                  <a:gd name="T27" fmla="*/ 186 h 449"/>
                  <a:gd name="T28" fmla="*/ 357 w 629"/>
                  <a:gd name="T29" fmla="*/ 180 h 449"/>
                  <a:gd name="T30" fmla="*/ 360 w 629"/>
                  <a:gd name="T31" fmla="*/ 182 h 449"/>
                  <a:gd name="T32" fmla="*/ 412 w 629"/>
                  <a:gd name="T33" fmla="*/ 218 h 449"/>
                  <a:gd name="T34" fmla="*/ 468 w 629"/>
                  <a:gd name="T35" fmla="*/ 226 h 449"/>
                  <a:gd name="T36" fmla="*/ 519 w 629"/>
                  <a:gd name="T37" fmla="*/ 191 h 449"/>
                  <a:gd name="T38" fmla="*/ 551 w 629"/>
                  <a:gd name="T39" fmla="*/ 143 h 449"/>
                  <a:gd name="T40" fmla="*/ 541 w 629"/>
                  <a:gd name="T41" fmla="*/ 46 h 449"/>
                  <a:gd name="T42" fmla="*/ 534 w 629"/>
                  <a:gd name="T43" fmla="*/ 13 h 449"/>
                  <a:gd name="T44" fmla="*/ 567 w 629"/>
                  <a:gd name="T45" fmla="*/ 7 h 449"/>
                  <a:gd name="T46" fmla="*/ 590 w 629"/>
                  <a:gd name="T47" fmla="*/ 169 h 449"/>
                  <a:gd name="T48" fmla="*/ 558 w 629"/>
                  <a:gd name="T49" fmla="*/ 217 h 449"/>
                  <a:gd name="T50" fmla="*/ 480 w 629"/>
                  <a:gd name="T51" fmla="*/ 271 h 449"/>
                  <a:gd name="T52" fmla="*/ 410 w 629"/>
                  <a:gd name="T53" fmla="*/ 269 h 449"/>
                  <a:gd name="T54" fmla="*/ 390 w 629"/>
                  <a:gd name="T55" fmla="*/ 348 h 449"/>
                  <a:gd name="T56" fmla="*/ 358 w 629"/>
                  <a:gd name="T57" fmla="*/ 396 h 449"/>
                  <a:gd name="T58" fmla="*/ 281 w 629"/>
                  <a:gd name="T59" fmla="*/ 446 h 449"/>
                  <a:gd name="T60" fmla="*/ 258 w 629"/>
                  <a:gd name="T61" fmla="*/ 449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9" h="449">
                    <a:moveTo>
                      <a:pt x="258" y="449"/>
                    </a:moveTo>
                    <a:cubicBezTo>
                      <a:pt x="234" y="449"/>
                      <a:pt x="211" y="442"/>
                      <a:pt x="191" y="428"/>
                    </a:cubicBezTo>
                    <a:cubicBezTo>
                      <a:pt x="184" y="423"/>
                      <a:pt x="184" y="423"/>
                      <a:pt x="184" y="423"/>
                    </a:cubicBezTo>
                    <a:cubicBezTo>
                      <a:pt x="183" y="423"/>
                      <a:pt x="119" y="382"/>
                      <a:pt x="13" y="307"/>
                    </a:cubicBezTo>
                    <a:cubicBezTo>
                      <a:pt x="3" y="300"/>
                      <a:pt x="0" y="285"/>
                      <a:pt x="8" y="275"/>
                    </a:cubicBezTo>
                    <a:cubicBezTo>
                      <a:pt x="15" y="264"/>
                      <a:pt x="30" y="262"/>
                      <a:pt x="40" y="269"/>
                    </a:cubicBezTo>
                    <a:cubicBezTo>
                      <a:pt x="145" y="344"/>
                      <a:pt x="208" y="384"/>
                      <a:pt x="209" y="384"/>
                    </a:cubicBezTo>
                    <a:cubicBezTo>
                      <a:pt x="217" y="389"/>
                      <a:pt x="217" y="389"/>
                      <a:pt x="217" y="389"/>
                    </a:cubicBezTo>
                    <a:cubicBezTo>
                      <a:pt x="233" y="400"/>
                      <a:pt x="253" y="404"/>
                      <a:pt x="272" y="400"/>
                    </a:cubicBezTo>
                    <a:cubicBezTo>
                      <a:pt x="292" y="397"/>
                      <a:pt x="308" y="386"/>
                      <a:pt x="319" y="369"/>
                    </a:cubicBezTo>
                    <a:cubicBezTo>
                      <a:pt x="351" y="322"/>
                      <a:pt x="351" y="322"/>
                      <a:pt x="351" y="322"/>
                    </a:cubicBezTo>
                    <a:cubicBezTo>
                      <a:pt x="374" y="288"/>
                      <a:pt x="365" y="243"/>
                      <a:pt x="333" y="220"/>
                    </a:cubicBezTo>
                    <a:cubicBezTo>
                      <a:pt x="331" y="219"/>
                      <a:pt x="331" y="219"/>
                      <a:pt x="331" y="219"/>
                    </a:cubicBezTo>
                    <a:cubicBezTo>
                      <a:pt x="320" y="211"/>
                      <a:pt x="318" y="197"/>
                      <a:pt x="325" y="186"/>
                    </a:cubicBezTo>
                    <a:cubicBezTo>
                      <a:pt x="332" y="175"/>
                      <a:pt x="347" y="173"/>
                      <a:pt x="357" y="180"/>
                    </a:cubicBezTo>
                    <a:cubicBezTo>
                      <a:pt x="358" y="180"/>
                      <a:pt x="359" y="181"/>
                      <a:pt x="360" y="182"/>
                    </a:cubicBezTo>
                    <a:cubicBezTo>
                      <a:pt x="412" y="218"/>
                      <a:pt x="412" y="218"/>
                      <a:pt x="412" y="218"/>
                    </a:cubicBezTo>
                    <a:cubicBezTo>
                      <a:pt x="427" y="228"/>
                      <a:pt x="448" y="231"/>
                      <a:pt x="468" y="226"/>
                    </a:cubicBezTo>
                    <a:cubicBezTo>
                      <a:pt x="489" y="221"/>
                      <a:pt x="508" y="208"/>
                      <a:pt x="519" y="191"/>
                    </a:cubicBezTo>
                    <a:cubicBezTo>
                      <a:pt x="551" y="143"/>
                      <a:pt x="551" y="143"/>
                      <a:pt x="551" y="143"/>
                    </a:cubicBezTo>
                    <a:cubicBezTo>
                      <a:pt x="571" y="113"/>
                      <a:pt x="577" y="70"/>
                      <a:pt x="541" y="46"/>
                    </a:cubicBezTo>
                    <a:cubicBezTo>
                      <a:pt x="530" y="38"/>
                      <a:pt x="527" y="24"/>
                      <a:pt x="534" y="13"/>
                    </a:cubicBezTo>
                    <a:cubicBezTo>
                      <a:pt x="541" y="3"/>
                      <a:pt x="556" y="0"/>
                      <a:pt x="567" y="7"/>
                    </a:cubicBezTo>
                    <a:cubicBezTo>
                      <a:pt x="620" y="42"/>
                      <a:pt x="629" y="111"/>
                      <a:pt x="590" y="169"/>
                    </a:cubicBezTo>
                    <a:cubicBezTo>
                      <a:pt x="558" y="217"/>
                      <a:pt x="558" y="217"/>
                      <a:pt x="558" y="217"/>
                    </a:cubicBezTo>
                    <a:cubicBezTo>
                      <a:pt x="540" y="244"/>
                      <a:pt x="512" y="263"/>
                      <a:pt x="480" y="271"/>
                    </a:cubicBezTo>
                    <a:cubicBezTo>
                      <a:pt x="456" y="277"/>
                      <a:pt x="432" y="276"/>
                      <a:pt x="410" y="269"/>
                    </a:cubicBezTo>
                    <a:cubicBezTo>
                      <a:pt x="413" y="296"/>
                      <a:pt x="406" y="324"/>
                      <a:pt x="390" y="348"/>
                    </a:cubicBezTo>
                    <a:cubicBezTo>
                      <a:pt x="358" y="396"/>
                      <a:pt x="358" y="396"/>
                      <a:pt x="358" y="396"/>
                    </a:cubicBezTo>
                    <a:cubicBezTo>
                      <a:pt x="340" y="422"/>
                      <a:pt x="313" y="440"/>
                      <a:pt x="281" y="446"/>
                    </a:cubicBezTo>
                    <a:cubicBezTo>
                      <a:pt x="273" y="448"/>
                      <a:pt x="266" y="449"/>
                      <a:pt x="258" y="4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 name="Freeform 14">
                <a:extLst>
                  <a:ext uri="{FF2B5EF4-FFF2-40B4-BE49-F238E27FC236}">
                    <a16:creationId xmlns:a16="http://schemas.microsoft.com/office/drawing/2014/main" id="{16D03B79-4F1B-93E9-93F6-C40CF5C4FDCC}"/>
                  </a:ext>
                </a:extLst>
              </p:cNvPr>
              <p:cNvSpPr>
                <a:spLocks noEditPoints="1"/>
              </p:cNvSpPr>
              <p:nvPr/>
            </p:nvSpPr>
            <p:spPr bwMode="auto">
              <a:xfrm>
                <a:off x="-1755" y="618"/>
                <a:ext cx="721" cy="717"/>
              </a:xfrm>
              <a:custGeom>
                <a:avLst/>
                <a:gdLst>
                  <a:gd name="T0" fmla="*/ 721 w 721"/>
                  <a:gd name="T1" fmla="*/ 717 h 717"/>
                  <a:gd name="T2" fmla="*/ 0 w 721"/>
                  <a:gd name="T3" fmla="*/ 717 h 717"/>
                  <a:gd name="T4" fmla="*/ 0 w 721"/>
                  <a:gd name="T5" fmla="*/ 0 h 717"/>
                  <a:gd name="T6" fmla="*/ 721 w 721"/>
                  <a:gd name="T7" fmla="*/ 0 h 717"/>
                  <a:gd name="T8" fmla="*/ 721 w 721"/>
                  <a:gd name="T9" fmla="*/ 717 h 717"/>
                  <a:gd name="T10" fmla="*/ 58 w 721"/>
                  <a:gd name="T11" fmla="*/ 660 h 717"/>
                  <a:gd name="T12" fmla="*/ 663 w 721"/>
                  <a:gd name="T13" fmla="*/ 660 h 717"/>
                  <a:gd name="T14" fmla="*/ 663 w 721"/>
                  <a:gd name="T15" fmla="*/ 57 h 717"/>
                  <a:gd name="T16" fmla="*/ 58 w 721"/>
                  <a:gd name="T17" fmla="*/ 57 h 717"/>
                  <a:gd name="T18" fmla="*/ 58 w 721"/>
                  <a:gd name="T19" fmla="*/ 66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1" h="717">
                    <a:moveTo>
                      <a:pt x="721" y="717"/>
                    </a:moveTo>
                    <a:lnTo>
                      <a:pt x="0" y="717"/>
                    </a:lnTo>
                    <a:lnTo>
                      <a:pt x="0" y="0"/>
                    </a:lnTo>
                    <a:lnTo>
                      <a:pt x="721" y="0"/>
                    </a:lnTo>
                    <a:lnTo>
                      <a:pt x="721" y="717"/>
                    </a:lnTo>
                    <a:close/>
                    <a:moveTo>
                      <a:pt x="58" y="660"/>
                    </a:moveTo>
                    <a:lnTo>
                      <a:pt x="663" y="660"/>
                    </a:lnTo>
                    <a:lnTo>
                      <a:pt x="663" y="57"/>
                    </a:lnTo>
                    <a:lnTo>
                      <a:pt x="58" y="57"/>
                    </a:lnTo>
                    <a:lnTo>
                      <a:pt x="58" y="6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15">
                <a:extLst>
                  <a:ext uri="{FF2B5EF4-FFF2-40B4-BE49-F238E27FC236}">
                    <a16:creationId xmlns:a16="http://schemas.microsoft.com/office/drawing/2014/main" id="{E3928F2B-66CC-F75E-2D09-02B3147C0E23}"/>
                  </a:ext>
                </a:extLst>
              </p:cNvPr>
              <p:cNvSpPr>
                <a:spLocks/>
              </p:cNvSpPr>
              <p:nvPr/>
            </p:nvSpPr>
            <p:spPr bwMode="auto">
              <a:xfrm>
                <a:off x="-1636" y="780"/>
                <a:ext cx="497" cy="380"/>
              </a:xfrm>
              <a:custGeom>
                <a:avLst/>
                <a:gdLst>
                  <a:gd name="T0" fmla="*/ 158 w 497"/>
                  <a:gd name="T1" fmla="*/ 380 h 380"/>
                  <a:gd name="T2" fmla="*/ 0 w 497"/>
                  <a:gd name="T3" fmla="*/ 225 h 380"/>
                  <a:gd name="T4" fmla="*/ 40 w 497"/>
                  <a:gd name="T5" fmla="*/ 185 h 380"/>
                  <a:gd name="T6" fmla="*/ 158 w 497"/>
                  <a:gd name="T7" fmla="*/ 300 h 380"/>
                  <a:gd name="T8" fmla="*/ 457 w 497"/>
                  <a:gd name="T9" fmla="*/ 0 h 380"/>
                  <a:gd name="T10" fmla="*/ 497 w 497"/>
                  <a:gd name="T11" fmla="*/ 38 h 380"/>
                  <a:gd name="T12" fmla="*/ 158 w 497"/>
                  <a:gd name="T13" fmla="*/ 380 h 380"/>
                </a:gdLst>
                <a:ahLst/>
                <a:cxnLst>
                  <a:cxn ang="0">
                    <a:pos x="T0" y="T1"/>
                  </a:cxn>
                  <a:cxn ang="0">
                    <a:pos x="T2" y="T3"/>
                  </a:cxn>
                  <a:cxn ang="0">
                    <a:pos x="T4" y="T5"/>
                  </a:cxn>
                  <a:cxn ang="0">
                    <a:pos x="T6" y="T7"/>
                  </a:cxn>
                  <a:cxn ang="0">
                    <a:pos x="T8" y="T9"/>
                  </a:cxn>
                  <a:cxn ang="0">
                    <a:pos x="T10" y="T11"/>
                  </a:cxn>
                  <a:cxn ang="0">
                    <a:pos x="T12" y="T13"/>
                  </a:cxn>
                </a:cxnLst>
                <a:rect l="0" t="0" r="r" b="b"/>
                <a:pathLst>
                  <a:path w="497" h="380">
                    <a:moveTo>
                      <a:pt x="158" y="380"/>
                    </a:moveTo>
                    <a:lnTo>
                      <a:pt x="0" y="225"/>
                    </a:lnTo>
                    <a:lnTo>
                      <a:pt x="40" y="185"/>
                    </a:lnTo>
                    <a:lnTo>
                      <a:pt x="158" y="300"/>
                    </a:lnTo>
                    <a:lnTo>
                      <a:pt x="457" y="0"/>
                    </a:lnTo>
                    <a:lnTo>
                      <a:pt x="497" y="38"/>
                    </a:lnTo>
                    <a:lnTo>
                      <a:pt x="15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52" name="Group 51">
            <a:extLst>
              <a:ext uri="{FF2B5EF4-FFF2-40B4-BE49-F238E27FC236}">
                <a16:creationId xmlns:a16="http://schemas.microsoft.com/office/drawing/2014/main" id="{EE64A366-0148-912B-0C93-F8C79D2CADAA}"/>
              </a:ext>
            </a:extLst>
          </p:cNvPr>
          <p:cNvGrpSpPr/>
          <p:nvPr/>
        </p:nvGrpSpPr>
        <p:grpSpPr>
          <a:xfrm>
            <a:off x="7818240" y="6420836"/>
            <a:ext cx="4326632" cy="277590"/>
            <a:chOff x="7818240" y="6420836"/>
            <a:chExt cx="4326632" cy="277590"/>
          </a:xfrm>
        </p:grpSpPr>
        <p:sp>
          <p:nvSpPr>
            <p:cNvPr id="4" name="TextBox 3">
              <a:extLst>
                <a:ext uri="{FF2B5EF4-FFF2-40B4-BE49-F238E27FC236}">
                  <a16:creationId xmlns:a16="http://schemas.microsoft.com/office/drawing/2014/main" id="{77F2B2F4-94F6-67D6-F7B8-251CF20072DA}"/>
                </a:ext>
              </a:extLst>
            </p:cNvPr>
            <p:cNvSpPr txBox="1"/>
            <p:nvPr/>
          </p:nvSpPr>
          <p:spPr>
            <a:xfrm>
              <a:off x="7818240" y="6436816"/>
              <a:ext cx="747783" cy="261610"/>
            </a:xfrm>
            <a:prstGeom prst="rect">
              <a:avLst/>
            </a:prstGeom>
            <a:noFill/>
          </p:spPr>
          <p:txBody>
            <a:bodyPr wrap="square" lIns="0" rIns="0" rtlCol="0" anchor="t">
              <a:spAutoFit/>
            </a:bodyPr>
            <a:lstStyle/>
            <a:p>
              <a:pPr marL="91440">
                <a:spcAft>
                  <a:spcPts val="1200"/>
                </a:spcAft>
              </a:pPr>
              <a:r>
                <a:rPr lang="en-GB" sz="1100" b="1" noProof="1">
                  <a:latin typeface="EYInterstate Regular" panose="02000503020000020004" pitchFamily="2" charset="0"/>
                </a:rPr>
                <a:t>Legend</a:t>
              </a:r>
            </a:p>
          </p:txBody>
        </p:sp>
        <p:grpSp>
          <p:nvGrpSpPr>
            <p:cNvPr id="5" name="Group 4">
              <a:extLst>
                <a:ext uri="{FF2B5EF4-FFF2-40B4-BE49-F238E27FC236}">
                  <a16:creationId xmlns:a16="http://schemas.microsoft.com/office/drawing/2014/main" id="{70BA550F-8146-6A98-8DB9-8C289BF46E52}"/>
                </a:ext>
              </a:extLst>
            </p:cNvPr>
            <p:cNvGrpSpPr/>
            <p:nvPr/>
          </p:nvGrpSpPr>
          <p:grpSpPr>
            <a:xfrm>
              <a:off x="8566023" y="6420836"/>
              <a:ext cx="1843576" cy="277590"/>
              <a:chOff x="7287260" y="6415866"/>
              <a:chExt cx="1843576" cy="277590"/>
            </a:xfrm>
          </p:grpSpPr>
          <p:sp>
            <p:nvSpPr>
              <p:cNvPr id="6" name="TextBox 5">
                <a:extLst>
                  <a:ext uri="{FF2B5EF4-FFF2-40B4-BE49-F238E27FC236}">
                    <a16:creationId xmlns:a16="http://schemas.microsoft.com/office/drawing/2014/main" id="{9C3AED13-0626-B786-8D5B-3CC1CB94CA5B}"/>
                  </a:ext>
                </a:extLst>
              </p:cNvPr>
              <p:cNvSpPr txBox="1"/>
              <p:nvPr/>
            </p:nvSpPr>
            <p:spPr>
              <a:xfrm>
                <a:off x="7589750" y="6423856"/>
                <a:ext cx="1541086" cy="261610"/>
              </a:xfrm>
              <a:prstGeom prst="rect">
                <a:avLst/>
              </a:prstGeom>
              <a:noFill/>
            </p:spPr>
            <p:txBody>
              <a:bodyPr wrap="square" lIns="0" rIns="0" rtlCol="0" anchor="t">
                <a:spAutoFit/>
              </a:bodyPr>
              <a:lstStyle/>
              <a:p>
                <a:pPr marL="91440">
                  <a:spcAft>
                    <a:spcPts val="1200"/>
                  </a:spcAft>
                </a:pPr>
                <a:r>
                  <a:rPr lang="en-GB" sz="1100" noProof="1">
                    <a:latin typeface="EYInterstate Light" panose="02000506000000020004" pitchFamily="2" charset="0"/>
                  </a:rPr>
                  <a:t>Absa responsibility</a:t>
                </a:r>
              </a:p>
            </p:txBody>
          </p:sp>
          <p:pic>
            <p:nvPicPr>
              <p:cNvPr id="7" name="Picture 2">
                <a:extLst>
                  <a:ext uri="{FF2B5EF4-FFF2-40B4-BE49-F238E27FC236}">
                    <a16:creationId xmlns:a16="http://schemas.microsoft.com/office/drawing/2014/main" id="{C76863F7-C694-D611-B3F4-F14B6DCB06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7260" y="6415866"/>
                <a:ext cx="277590" cy="2775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14F88784-E2AE-37D5-7948-A8FDA7D744DD}"/>
                </a:ext>
              </a:extLst>
            </p:cNvPr>
            <p:cNvGrpSpPr/>
            <p:nvPr/>
          </p:nvGrpSpPr>
          <p:grpSpPr>
            <a:xfrm>
              <a:off x="10384434" y="6436816"/>
              <a:ext cx="1760438" cy="261610"/>
              <a:chOff x="10027975" y="6436816"/>
              <a:chExt cx="1760438" cy="261610"/>
            </a:xfrm>
          </p:grpSpPr>
          <p:sp>
            <p:nvSpPr>
              <p:cNvPr id="11" name="TextBox 10">
                <a:extLst>
                  <a:ext uri="{FF2B5EF4-FFF2-40B4-BE49-F238E27FC236}">
                    <a16:creationId xmlns:a16="http://schemas.microsoft.com/office/drawing/2014/main" id="{A818C9DF-8BD4-7350-8F32-667746A515FD}"/>
                  </a:ext>
                </a:extLst>
              </p:cNvPr>
              <p:cNvSpPr txBox="1"/>
              <p:nvPr/>
            </p:nvSpPr>
            <p:spPr>
              <a:xfrm>
                <a:off x="10255987" y="6436816"/>
                <a:ext cx="1532426" cy="261610"/>
              </a:xfrm>
              <a:prstGeom prst="rect">
                <a:avLst/>
              </a:prstGeom>
              <a:noFill/>
            </p:spPr>
            <p:txBody>
              <a:bodyPr wrap="square" lIns="0" rIns="0" rtlCol="0" anchor="t">
                <a:spAutoFit/>
              </a:bodyPr>
              <a:lstStyle/>
              <a:p>
                <a:pPr marL="91440">
                  <a:spcAft>
                    <a:spcPts val="1200"/>
                  </a:spcAft>
                </a:pPr>
                <a:r>
                  <a:rPr lang="en-GB" sz="1100" noProof="1">
                    <a:latin typeface="EYInterstate Light" panose="02000506000000020004" pitchFamily="2" charset="0"/>
                  </a:rPr>
                  <a:t>EY responsibility </a:t>
                </a:r>
              </a:p>
            </p:txBody>
          </p:sp>
          <p:grpSp>
            <p:nvGrpSpPr>
              <p:cNvPr id="22" name="Group 21">
                <a:extLst>
                  <a:ext uri="{FF2B5EF4-FFF2-40B4-BE49-F238E27FC236}">
                    <a16:creationId xmlns:a16="http://schemas.microsoft.com/office/drawing/2014/main" id="{EE2BFEB9-E394-D3B0-FE23-308F297DDBA0}"/>
                  </a:ext>
                </a:extLst>
              </p:cNvPr>
              <p:cNvGrpSpPr>
                <a:grpSpLocks noChangeAspect="1"/>
              </p:cNvGrpSpPr>
              <p:nvPr/>
            </p:nvGrpSpPr>
            <p:grpSpPr bwMode="auto">
              <a:xfrm>
                <a:off x="10027975" y="6445238"/>
                <a:ext cx="200032" cy="205374"/>
                <a:chOff x="7110" y="4004"/>
                <a:chExt cx="191" cy="196"/>
              </a:xfrm>
            </p:grpSpPr>
            <p:sp>
              <p:nvSpPr>
                <p:cNvPr id="23" name="Freeform 5">
                  <a:extLst>
                    <a:ext uri="{FF2B5EF4-FFF2-40B4-BE49-F238E27FC236}">
                      <a16:creationId xmlns:a16="http://schemas.microsoft.com/office/drawing/2014/main" id="{DE9A1D69-CCE8-4ECC-260F-396C3FC946C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50" name="Freeform 6">
                  <a:extLst>
                    <a:ext uri="{FF2B5EF4-FFF2-40B4-BE49-F238E27FC236}">
                      <a16:creationId xmlns:a16="http://schemas.microsoft.com/office/drawing/2014/main" id="{07BB04FC-6722-AC0E-082C-EBAC18A5857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51" name="Freeform 7">
                  <a:extLst>
                    <a:ext uri="{FF2B5EF4-FFF2-40B4-BE49-F238E27FC236}">
                      <a16:creationId xmlns:a16="http://schemas.microsoft.com/office/drawing/2014/main" id="{48907688-AF4C-A3C7-2CD6-8376559B580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grpSp>
      </p:grpSp>
    </p:spTree>
    <p:extLst>
      <p:ext uri="{BB962C8B-B14F-4D97-AF65-F5344CB8AC3E}">
        <p14:creationId xmlns:p14="http://schemas.microsoft.com/office/powerpoint/2010/main" val="245913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BD287-A6A5-5118-571E-62DD9211D54F}"/>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599C7075-1CC0-1C99-A87E-A6AB7F3A8C27}"/>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2" name="Shape">
            <a:extLst>
              <a:ext uri="{FF2B5EF4-FFF2-40B4-BE49-F238E27FC236}">
                <a16:creationId xmlns:a16="http://schemas.microsoft.com/office/drawing/2014/main" id="{71AC348E-0344-A61D-A929-1BEB93BFC371}"/>
              </a:ext>
            </a:extLst>
          </p:cNvPr>
          <p:cNvSpPr/>
          <p:nvPr/>
        </p:nvSpPr>
        <p:spPr>
          <a:xfrm>
            <a:off x="3357438" y="3188319"/>
            <a:ext cx="2758030" cy="1385881"/>
          </a:xfrm>
          <a:custGeom>
            <a:avLst/>
            <a:gdLst/>
            <a:ahLst/>
            <a:cxnLst>
              <a:cxn ang="0">
                <a:pos x="wd2" y="hd2"/>
              </a:cxn>
              <a:cxn ang="5400000">
                <a:pos x="wd2" y="hd2"/>
              </a:cxn>
              <a:cxn ang="10800000">
                <a:pos x="wd2" y="hd2"/>
              </a:cxn>
              <a:cxn ang="16200000">
                <a:pos x="wd2" y="hd2"/>
              </a:cxn>
            </a:cxnLst>
            <a:rect l="0" t="0" r="r" b="b"/>
            <a:pathLst>
              <a:path w="21329" h="21324" extrusionOk="0">
                <a:moveTo>
                  <a:pt x="13070" y="4601"/>
                </a:moveTo>
                <a:cubicBezTo>
                  <a:pt x="13370" y="3778"/>
                  <a:pt x="13696" y="2981"/>
                  <a:pt x="14084" y="2284"/>
                </a:cubicBezTo>
                <a:cubicBezTo>
                  <a:pt x="14960" y="739"/>
                  <a:pt x="16100" y="-133"/>
                  <a:pt x="17277" y="16"/>
                </a:cubicBezTo>
                <a:cubicBezTo>
                  <a:pt x="19456" y="315"/>
                  <a:pt x="21209" y="3853"/>
                  <a:pt x="21321" y="8188"/>
                </a:cubicBezTo>
                <a:cubicBezTo>
                  <a:pt x="21384" y="10331"/>
                  <a:pt x="21046" y="12324"/>
                  <a:pt x="20445" y="13918"/>
                </a:cubicBezTo>
                <a:cubicBezTo>
                  <a:pt x="20057" y="14940"/>
                  <a:pt x="19706" y="15886"/>
                  <a:pt x="19205" y="16733"/>
                </a:cubicBezTo>
                <a:cubicBezTo>
                  <a:pt x="17865" y="18951"/>
                  <a:pt x="16175" y="20196"/>
                  <a:pt x="14472" y="20794"/>
                </a:cubicBezTo>
                <a:cubicBezTo>
                  <a:pt x="12706" y="21417"/>
                  <a:pt x="10903" y="21467"/>
                  <a:pt x="9125" y="21068"/>
                </a:cubicBezTo>
                <a:cubicBezTo>
                  <a:pt x="7447" y="20695"/>
                  <a:pt x="5707" y="20072"/>
                  <a:pt x="4179" y="18652"/>
                </a:cubicBezTo>
                <a:cubicBezTo>
                  <a:pt x="2376" y="16958"/>
                  <a:pt x="911" y="14142"/>
                  <a:pt x="59" y="10555"/>
                </a:cubicBezTo>
                <a:cubicBezTo>
                  <a:pt x="-216" y="9409"/>
                  <a:pt x="523" y="8387"/>
                  <a:pt x="974" y="9284"/>
                </a:cubicBezTo>
                <a:cubicBezTo>
                  <a:pt x="1161" y="9683"/>
                  <a:pt x="1387" y="10057"/>
                  <a:pt x="1612" y="10405"/>
                </a:cubicBezTo>
                <a:cubicBezTo>
                  <a:pt x="2677" y="12000"/>
                  <a:pt x="3991" y="12822"/>
                  <a:pt x="5319" y="12772"/>
                </a:cubicBezTo>
                <a:cubicBezTo>
                  <a:pt x="6658" y="12722"/>
                  <a:pt x="7936" y="11875"/>
                  <a:pt x="9150" y="10854"/>
                </a:cubicBezTo>
                <a:cubicBezTo>
                  <a:pt x="10039" y="10106"/>
                  <a:pt x="10916" y="9160"/>
                  <a:pt x="11655" y="7914"/>
                </a:cubicBezTo>
                <a:cubicBezTo>
                  <a:pt x="12231" y="6942"/>
                  <a:pt x="12644" y="5747"/>
                  <a:pt x="13070" y="4601"/>
                </a:cubicBezTo>
                <a:close/>
              </a:path>
            </a:pathLst>
          </a:custGeom>
          <a:solidFill>
            <a:srgbClr val="74748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3" name="Shape">
            <a:extLst>
              <a:ext uri="{FF2B5EF4-FFF2-40B4-BE49-F238E27FC236}">
                <a16:creationId xmlns:a16="http://schemas.microsoft.com/office/drawing/2014/main" id="{86D78392-D6E1-AE0B-848F-21EC862BFA38}"/>
              </a:ext>
            </a:extLst>
          </p:cNvPr>
          <p:cNvSpPr/>
          <p:nvPr/>
        </p:nvSpPr>
        <p:spPr>
          <a:xfrm>
            <a:off x="3001222" y="3771214"/>
            <a:ext cx="1375749" cy="2200465"/>
          </a:xfrm>
          <a:custGeom>
            <a:avLst/>
            <a:gdLst/>
            <a:ahLst/>
            <a:cxnLst>
              <a:cxn ang="0">
                <a:pos x="wd2" y="hd2"/>
              </a:cxn>
              <a:cxn ang="5400000">
                <a:pos x="wd2" y="hd2"/>
              </a:cxn>
              <a:cxn ang="10800000">
                <a:pos x="wd2" y="hd2"/>
              </a:cxn>
              <a:cxn ang="16200000">
                <a:pos x="wd2" y="hd2"/>
              </a:cxn>
            </a:cxnLst>
            <a:rect l="0" t="0" r="r" b="b"/>
            <a:pathLst>
              <a:path w="20761" h="20878" extrusionOk="0">
                <a:moveTo>
                  <a:pt x="13555" y="9733"/>
                </a:moveTo>
                <a:cubicBezTo>
                  <a:pt x="13286" y="9702"/>
                  <a:pt x="13017" y="9671"/>
                  <a:pt x="12748" y="9656"/>
                </a:cubicBezTo>
                <a:cubicBezTo>
                  <a:pt x="8277" y="9364"/>
                  <a:pt x="4685" y="7198"/>
                  <a:pt x="4172" y="4402"/>
                </a:cubicBezTo>
                <a:cubicBezTo>
                  <a:pt x="4172" y="4371"/>
                  <a:pt x="4172" y="4356"/>
                  <a:pt x="4147" y="4325"/>
                </a:cubicBezTo>
                <a:cubicBezTo>
                  <a:pt x="3927" y="2973"/>
                  <a:pt x="4025" y="1821"/>
                  <a:pt x="4367" y="822"/>
                </a:cubicBezTo>
                <a:cubicBezTo>
                  <a:pt x="4636" y="39"/>
                  <a:pt x="2926" y="-330"/>
                  <a:pt x="2364" y="377"/>
                </a:cubicBezTo>
                <a:cubicBezTo>
                  <a:pt x="1118" y="1913"/>
                  <a:pt x="189" y="3910"/>
                  <a:pt x="42" y="6460"/>
                </a:cubicBezTo>
                <a:cubicBezTo>
                  <a:pt x="-544" y="16001"/>
                  <a:pt x="5076" y="18935"/>
                  <a:pt x="5076" y="18935"/>
                </a:cubicBezTo>
                <a:lnTo>
                  <a:pt x="5076" y="18935"/>
                </a:lnTo>
                <a:cubicBezTo>
                  <a:pt x="6444" y="19933"/>
                  <a:pt x="8375" y="20625"/>
                  <a:pt x="10598" y="20824"/>
                </a:cubicBezTo>
                <a:cubicBezTo>
                  <a:pt x="15705" y="21270"/>
                  <a:pt x="20396" y="18920"/>
                  <a:pt x="20738" y="15632"/>
                </a:cubicBezTo>
                <a:cubicBezTo>
                  <a:pt x="21056" y="12821"/>
                  <a:pt x="17953" y="10270"/>
                  <a:pt x="13555" y="9733"/>
                </a:cubicBezTo>
                <a:close/>
              </a:path>
            </a:pathLst>
          </a:custGeom>
          <a:solidFill>
            <a:srgbClr val="00000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4" name="Shape">
            <a:extLst>
              <a:ext uri="{FF2B5EF4-FFF2-40B4-BE49-F238E27FC236}">
                <a16:creationId xmlns:a16="http://schemas.microsoft.com/office/drawing/2014/main" id="{06600B34-35E1-DC22-5BCE-0FACF2E2E54C}"/>
              </a:ext>
            </a:extLst>
          </p:cNvPr>
          <p:cNvSpPr/>
          <p:nvPr/>
        </p:nvSpPr>
        <p:spPr>
          <a:xfrm>
            <a:off x="831554" y="3479767"/>
            <a:ext cx="2376559" cy="1739322"/>
          </a:xfrm>
          <a:custGeom>
            <a:avLst/>
            <a:gdLst/>
            <a:ahLst/>
            <a:cxnLst>
              <a:cxn ang="0">
                <a:pos x="wd2" y="hd2"/>
              </a:cxn>
              <a:cxn ang="5400000">
                <a:pos x="wd2" y="hd2"/>
              </a:cxn>
              <a:cxn ang="10800000">
                <a:pos x="wd2" y="hd2"/>
              </a:cxn>
              <a:cxn ang="16200000">
                <a:pos x="wd2" y="hd2"/>
              </a:cxn>
            </a:cxnLst>
            <a:rect l="0" t="0" r="r" b="b"/>
            <a:pathLst>
              <a:path w="21364" h="18637" extrusionOk="0">
                <a:moveTo>
                  <a:pt x="20803" y="2427"/>
                </a:moveTo>
                <a:cubicBezTo>
                  <a:pt x="21531" y="2306"/>
                  <a:pt x="21560" y="1057"/>
                  <a:pt x="20832" y="883"/>
                </a:cubicBezTo>
                <a:cubicBezTo>
                  <a:pt x="4094" y="-2795"/>
                  <a:pt x="935" y="6209"/>
                  <a:pt x="935" y="6209"/>
                </a:cubicBezTo>
                <a:lnTo>
                  <a:pt x="935" y="6209"/>
                </a:lnTo>
                <a:cubicBezTo>
                  <a:pt x="295" y="7511"/>
                  <a:pt x="-40" y="9055"/>
                  <a:pt x="4" y="10685"/>
                </a:cubicBezTo>
                <a:cubicBezTo>
                  <a:pt x="149" y="14988"/>
                  <a:pt x="3089" y="18475"/>
                  <a:pt x="6699" y="18632"/>
                </a:cubicBezTo>
                <a:cubicBezTo>
                  <a:pt x="10658" y="18805"/>
                  <a:pt x="13918" y="15023"/>
                  <a:pt x="13918" y="10356"/>
                </a:cubicBezTo>
                <a:cubicBezTo>
                  <a:pt x="13918" y="10338"/>
                  <a:pt x="13918" y="10321"/>
                  <a:pt x="13918" y="10304"/>
                </a:cubicBezTo>
                <a:cubicBezTo>
                  <a:pt x="13904" y="6695"/>
                  <a:pt x="15971" y="3538"/>
                  <a:pt x="18940" y="2809"/>
                </a:cubicBezTo>
                <a:cubicBezTo>
                  <a:pt x="19580" y="2653"/>
                  <a:pt x="20206" y="2531"/>
                  <a:pt x="20803" y="2427"/>
                </a:cubicBezTo>
                <a:close/>
              </a:path>
            </a:pathLst>
          </a:custGeom>
          <a:solidFill>
            <a:srgbClr val="E7D00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5" name="Shape">
            <a:extLst>
              <a:ext uri="{FF2B5EF4-FFF2-40B4-BE49-F238E27FC236}">
                <a16:creationId xmlns:a16="http://schemas.microsoft.com/office/drawing/2014/main" id="{BED94C48-4042-7DB1-8592-EC7739FD6C5C}"/>
              </a:ext>
            </a:extLst>
          </p:cNvPr>
          <p:cNvSpPr/>
          <p:nvPr/>
        </p:nvSpPr>
        <p:spPr>
          <a:xfrm>
            <a:off x="961086" y="1245332"/>
            <a:ext cx="2426164" cy="2314054"/>
          </a:xfrm>
          <a:custGeom>
            <a:avLst/>
            <a:gdLst/>
            <a:ahLst/>
            <a:cxnLst>
              <a:cxn ang="0">
                <a:pos x="wd2" y="hd2"/>
              </a:cxn>
              <a:cxn ang="5400000">
                <a:pos x="wd2" y="hd2"/>
              </a:cxn>
              <a:cxn ang="10800000">
                <a:pos x="wd2" y="hd2"/>
              </a:cxn>
              <a:cxn ang="16200000">
                <a:pos x="wd2" y="hd2"/>
              </a:cxn>
            </a:cxnLst>
            <a:rect l="0" t="0" r="r" b="b"/>
            <a:pathLst>
              <a:path w="21307" h="21393" extrusionOk="0">
                <a:moveTo>
                  <a:pt x="8054" y="39"/>
                </a:moveTo>
                <a:cubicBezTo>
                  <a:pt x="7656" y="-6"/>
                  <a:pt x="7244" y="-6"/>
                  <a:pt x="6831" y="9"/>
                </a:cubicBezTo>
                <a:cubicBezTo>
                  <a:pt x="3219" y="248"/>
                  <a:pt x="276" y="3302"/>
                  <a:pt x="20" y="7104"/>
                </a:cubicBezTo>
                <a:cubicBezTo>
                  <a:pt x="-293" y="11625"/>
                  <a:pt x="3091" y="15397"/>
                  <a:pt x="7315" y="15397"/>
                </a:cubicBezTo>
                <a:cubicBezTo>
                  <a:pt x="7869" y="15397"/>
                  <a:pt x="8410" y="15337"/>
                  <a:pt x="8936" y="15202"/>
                </a:cubicBezTo>
                <a:cubicBezTo>
                  <a:pt x="13557" y="14095"/>
                  <a:pt x="18264" y="16774"/>
                  <a:pt x="20354" y="21100"/>
                </a:cubicBezTo>
                <a:cubicBezTo>
                  <a:pt x="20596" y="21594"/>
                  <a:pt x="21307" y="21429"/>
                  <a:pt x="21307" y="20861"/>
                </a:cubicBezTo>
                <a:cubicBezTo>
                  <a:pt x="21264" y="14454"/>
                  <a:pt x="19785" y="937"/>
                  <a:pt x="8054" y="39"/>
                </a:cubicBezTo>
                <a:close/>
              </a:path>
            </a:pathLst>
          </a:custGeom>
          <a:solidFill>
            <a:srgbClr val="FFE60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6" name="Shape">
            <a:extLst>
              <a:ext uri="{FF2B5EF4-FFF2-40B4-BE49-F238E27FC236}">
                <a16:creationId xmlns:a16="http://schemas.microsoft.com/office/drawing/2014/main" id="{1CA839DD-8893-CA9F-40BD-A5DE263AA46B}"/>
              </a:ext>
            </a:extLst>
          </p:cNvPr>
          <p:cNvSpPr/>
          <p:nvPr/>
        </p:nvSpPr>
        <p:spPr>
          <a:xfrm>
            <a:off x="3454588" y="1666312"/>
            <a:ext cx="1615660" cy="2010314"/>
          </a:xfrm>
          <a:custGeom>
            <a:avLst/>
            <a:gdLst/>
            <a:ahLst/>
            <a:cxnLst>
              <a:cxn ang="0">
                <a:pos x="wd2" y="hd2"/>
              </a:cxn>
              <a:cxn ang="5400000">
                <a:pos x="wd2" y="hd2"/>
              </a:cxn>
              <a:cxn ang="10800000">
                <a:pos x="wd2" y="hd2"/>
              </a:cxn>
              <a:cxn ang="16200000">
                <a:pos x="wd2" y="hd2"/>
              </a:cxn>
            </a:cxnLst>
            <a:rect l="0" t="0" r="r" b="b"/>
            <a:pathLst>
              <a:path w="21193" h="21284" extrusionOk="0">
                <a:moveTo>
                  <a:pt x="2713" y="11354"/>
                </a:moveTo>
                <a:cubicBezTo>
                  <a:pt x="2182" y="10171"/>
                  <a:pt x="1651" y="8954"/>
                  <a:pt x="1715" y="7600"/>
                </a:cubicBezTo>
                <a:cubicBezTo>
                  <a:pt x="1885" y="3503"/>
                  <a:pt x="6005" y="160"/>
                  <a:pt x="11060" y="5"/>
                </a:cubicBezTo>
                <a:cubicBezTo>
                  <a:pt x="16624" y="-166"/>
                  <a:pt x="21191" y="3417"/>
                  <a:pt x="21191" y="7874"/>
                </a:cubicBezTo>
                <a:cubicBezTo>
                  <a:pt x="21191" y="7874"/>
                  <a:pt x="21212" y="8234"/>
                  <a:pt x="21127" y="8834"/>
                </a:cubicBezTo>
                <a:cubicBezTo>
                  <a:pt x="21000" y="9640"/>
                  <a:pt x="20745" y="10394"/>
                  <a:pt x="20341" y="11097"/>
                </a:cubicBezTo>
                <a:cubicBezTo>
                  <a:pt x="18748" y="14217"/>
                  <a:pt x="14161" y="18845"/>
                  <a:pt x="1184" y="21263"/>
                </a:cubicBezTo>
                <a:cubicBezTo>
                  <a:pt x="249" y="21434"/>
                  <a:pt x="-388" y="20525"/>
                  <a:pt x="270" y="19960"/>
                </a:cubicBezTo>
                <a:cubicBezTo>
                  <a:pt x="2331" y="18194"/>
                  <a:pt x="4454" y="15263"/>
                  <a:pt x="2713" y="11354"/>
                </a:cubicBezTo>
                <a:close/>
              </a:path>
            </a:pathLst>
          </a:custGeom>
          <a:solidFill>
            <a:srgbClr val="C0C0C1"/>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7" name="Circle">
            <a:extLst>
              <a:ext uri="{FF2B5EF4-FFF2-40B4-BE49-F238E27FC236}">
                <a16:creationId xmlns:a16="http://schemas.microsoft.com/office/drawing/2014/main" id="{A962068C-30EA-42D9-8E54-52172A86C889}"/>
              </a:ext>
            </a:extLst>
          </p:cNvPr>
          <p:cNvSpPr/>
          <p:nvPr/>
        </p:nvSpPr>
        <p:spPr>
          <a:xfrm>
            <a:off x="5106127" y="3301660"/>
            <a:ext cx="893774" cy="893774"/>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8" name="Circle">
            <a:extLst>
              <a:ext uri="{FF2B5EF4-FFF2-40B4-BE49-F238E27FC236}">
                <a16:creationId xmlns:a16="http://schemas.microsoft.com/office/drawing/2014/main" id="{329170AC-13AC-CB37-0036-5F9E0794B2ED}"/>
              </a:ext>
            </a:extLst>
          </p:cNvPr>
          <p:cNvSpPr/>
          <p:nvPr/>
        </p:nvSpPr>
        <p:spPr>
          <a:xfrm>
            <a:off x="3341247" y="4920816"/>
            <a:ext cx="893774" cy="893774"/>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9" name="Circle">
            <a:extLst>
              <a:ext uri="{FF2B5EF4-FFF2-40B4-BE49-F238E27FC236}">
                <a16:creationId xmlns:a16="http://schemas.microsoft.com/office/drawing/2014/main" id="{C1B92064-BEB4-C24D-ADED-E0ADF7E37BE7}"/>
              </a:ext>
            </a:extLst>
          </p:cNvPr>
          <p:cNvSpPr/>
          <p:nvPr/>
        </p:nvSpPr>
        <p:spPr>
          <a:xfrm>
            <a:off x="977278" y="3819789"/>
            <a:ext cx="1246751" cy="1246751"/>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11" name="Circle">
            <a:extLst>
              <a:ext uri="{FF2B5EF4-FFF2-40B4-BE49-F238E27FC236}">
                <a16:creationId xmlns:a16="http://schemas.microsoft.com/office/drawing/2014/main" id="{1326C92F-45AA-C39A-DDF2-074BD9CCF208}"/>
              </a:ext>
            </a:extLst>
          </p:cNvPr>
          <p:cNvSpPr/>
          <p:nvPr/>
        </p:nvSpPr>
        <p:spPr>
          <a:xfrm>
            <a:off x="1171577" y="1455822"/>
            <a:ext cx="1246751" cy="1246751"/>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12" name="Circle">
            <a:extLst>
              <a:ext uri="{FF2B5EF4-FFF2-40B4-BE49-F238E27FC236}">
                <a16:creationId xmlns:a16="http://schemas.microsoft.com/office/drawing/2014/main" id="{150F783B-BC0A-7AAB-C2E6-BF221C01BF3E}"/>
              </a:ext>
            </a:extLst>
          </p:cNvPr>
          <p:cNvSpPr/>
          <p:nvPr/>
        </p:nvSpPr>
        <p:spPr>
          <a:xfrm>
            <a:off x="3746036" y="1812036"/>
            <a:ext cx="1172270" cy="1172269"/>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13" name="Shape">
            <a:extLst>
              <a:ext uri="{FF2B5EF4-FFF2-40B4-BE49-F238E27FC236}">
                <a16:creationId xmlns:a16="http://schemas.microsoft.com/office/drawing/2014/main" id="{5A843A3C-D611-445F-7A04-164A76C5D8A7}"/>
              </a:ext>
            </a:extLst>
          </p:cNvPr>
          <p:cNvSpPr/>
          <p:nvPr/>
        </p:nvSpPr>
        <p:spPr>
          <a:xfrm>
            <a:off x="3001222" y="1504396"/>
            <a:ext cx="414506" cy="414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2"/>
                  <a:pt x="13078" y="10462"/>
                  <a:pt x="11475" y="10462"/>
                </a:cubicBezTo>
                <a:cubicBezTo>
                  <a:pt x="11981" y="9956"/>
                  <a:pt x="12488" y="9450"/>
                  <a:pt x="12994" y="8859"/>
                </a:cubicBezTo>
                <a:cubicBezTo>
                  <a:pt x="13669" y="8184"/>
                  <a:pt x="14259" y="7509"/>
                  <a:pt x="14850" y="6750"/>
                </a:cubicBezTo>
                <a:cubicBezTo>
                  <a:pt x="14175" y="7341"/>
                  <a:pt x="13416" y="8016"/>
                  <a:pt x="12741" y="8606"/>
                </a:cubicBezTo>
                <a:cubicBezTo>
                  <a:pt x="12234" y="9112"/>
                  <a:pt x="11644" y="9619"/>
                  <a:pt x="11137" y="10125"/>
                </a:cubicBezTo>
                <a:cubicBezTo>
                  <a:pt x="11137" y="8522"/>
                  <a:pt x="11137" y="6919"/>
                  <a:pt x="11053" y="5316"/>
                </a:cubicBezTo>
                <a:cubicBezTo>
                  <a:pt x="10969" y="3544"/>
                  <a:pt x="10969" y="1772"/>
                  <a:pt x="10800" y="0"/>
                </a:cubicBezTo>
                <a:cubicBezTo>
                  <a:pt x="10716" y="1772"/>
                  <a:pt x="10631" y="3544"/>
                  <a:pt x="10547" y="5316"/>
                </a:cubicBezTo>
                <a:cubicBezTo>
                  <a:pt x="10463" y="6919"/>
                  <a:pt x="10463" y="8522"/>
                  <a:pt x="10463" y="10125"/>
                </a:cubicBezTo>
                <a:cubicBezTo>
                  <a:pt x="9956" y="9619"/>
                  <a:pt x="9450" y="9113"/>
                  <a:pt x="8859" y="8606"/>
                </a:cubicBezTo>
                <a:cubicBezTo>
                  <a:pt x="8184" y="7931"/>
                  <a:pt x="7509" y="7341"/>
                  <a:pt x="6750" y="6750"/>
                </a:cubicBezTo>
                <a:cubicBezTo>
                  <a:pt x="7341" y="7425"/>
                  <a:pt x="8016" y="8184"/>
                  <a:pt x="8606" y="8859"/>
                </a:cubicBezTo>
                <a:cubicBezTo>
                  <a:pt x="9113" y="9366"/>
                  <a:pt x="9619" y="9956"/>
                  <a:pt x="10125" y="10462"/>
                </a:cubicBezTo>
                <a:cubicBezTo>
                  <a:pt x="8522" y="10462"/>
                  <a:pt x="6919" y="10462"/>
                  <a:pt x="5316" y="10547"/>
                </a:cubicBezTo>
                <a:cubicBezTo>
                  <a:pt x="3544" y="10631"/>
                  <a:pt x="1772" y="10631"/>
                  <a:pt x="0" y="10800"/>
                </a:cubicBezTo>
                <a:cubicBezTo>
                  <a:pt x="1772" y="10884"/>
                  <a:pt x="3544" y="10969"/>
                  <a:pt x="5316" y="11053"/>
                </a:cubicBezTo>
                <a:cubicBezTo>
                  <a:pt x="6919" y="11138"/>
                  <a:pt x="8522" y="11138"/>
                  <a:pt x="10125" y="11138"/>
                </a:cubicBezTo>
                <a:cubicBezTo>
                  <a:pt x="9619" y="11644"/>
                  <a:pt x="9112" y="12150"/>
                  <a:pt x="8606" y="12741"/>
                </a:cubicBezTo>
                <a:cubicBezTo>
                  <a:pt x="7931" y="13416"/>
                  <a:pt x="7341" y="14091"/>
                  <a:pt x="6750" y="14850"/>
                </a:cubicBezTo>
                <a:cubicBezTo>
                  <a:pt x="7425" y="14259"/>
                  <a:pt x="8184" y="13584"/>
                  <a:pt x="8859" y="12994"/>
                </a:cubicBezTo>
                <a:cubicBezTo>
                  <a:pt x="9366" y="12488"/>
                  <a:pt x="9956" y="11981"/>
                  <a:pt x="10463" y="11475"/>
                </a:cubicBezTo>
                <a:cubicBezTo>
                  <a:pt x="10463" y="13078"/>
                  <a:pt x="10463" y="14681"/>
                  <a:pt x="10547" y="16284"/>
                </a:cubicBezTo>
                <a:cubicBezTo>
                  <a:pt x="10547" y="18056"/>
                  <a:pt x="10631" y="19828"/>
                  <a:pt x="10800" y="21600"/>
                </a:cubicBezTo>
                <a:cubicBezTo>
                  <a:pt x="10884" y="19828"/>
                  <a:pt x="10969" y="18056"/>
                  <a:pt x="11053" y="16284"/>
                </a:cubicBezTo>
                <a:cubicBezTo>
                  <a:pt x="11137" y="14681"/>
                  <a:pt x="11137" y="13078"/>
                  <a:pt x="11137" y="11475"/>
                </a:cubicBezTo>
                <a:cubicBezTo>
                  <a:pt x="11644" y="11981"/>
                  <a:pt x="12150" y="12488"/>
                  <a:pt x="12741" y="12994"/>
                </a:cubicBezTo>
                <a:cubicBezTo>
                  <a:pt x="13416" y="13669"/>
                  <a:pt x="14091" y="14259"/>
                  <a:pt x="14850" y="14850"/>
                </a:cubicBezTo>
                <a:cubicBezTo>
                  <a:pt x="14259" y="14175"/>
                  <a:pt x="13584" y="13416"/>
                  <a:pt x="12994" y="12741"/>
                </a:cubicBezTo>
                <a:cubicBezTo>
                  <a:pt x="12487" y="12234"/>
                  <a:pt x="11981" y="11644"/>
                  <a:pt x="11475" y="11138"/>
                </a:cubicBezTo>
                <a:cubicBezTo>
                  <a:pt x="13078" y="11138"/>
                  <a:pt x="14681" y="11138"/>
                  <a:pt x="16284" y="11053"/>
                </a:cubicBezTo>
                <a:cubicBezTo>
                  <a:pt x="17972" y="11053"/>
                  <a:pt x="19744" y="10969"/>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4" name="Shape">
            <a:extLst>
              <a:ext uri="{FF2B5EF4-FFF2-40B4-BE49-F238E27FC236}">
                <a16:creationId xmlns:a16="http://schemas.microsoft.com/office/drawing/2014/main" id="{9B19E4EF-CA50-3BEB-696F-A285E1A34E2B}"/>
              </a:ext>
            </a:extLst>
          </p:cNvPr>
          <p:cNvSpPr/>
          <p:nvPr/>
        </p:nvSpPr>
        <p:spPr>
          <a:xfrm>
            <a:off x="4458463" y="4856048"/>
            <a:ext cx="414506" cy="41450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3"/>
                  <a:pt x="13078" y="10463"/>
                  <a:pt x="11475" y="10463"/>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7" y="10125"/>
                </a:cubicBezTo>
                <a:cubicBezTo>
                  <a:pt x="11137" y="8522"/>
                  <a:pt x="11137" y="6919"/>
                  <a:pt x="11053" y="5316"/>
                </a:cubicBezTo>
                <a:cubicBezTo>
                  <a:pt x="10969" y="3544"/>
                  <a:pt x="10969" y="1772"/>
                  <a:pt x="10800" y="0"/>
                </a:cubicBezTo>
                <a:cubicBezTo>
                  <a:pt x="10716" y="1772"/>
                  <a:pt x="10631" y="3544"/>
                  <a:pt x="10547" y="5316"/>
                </a:cubicBezTo>
                <a:cubicBezTo>
                  <a:pt x="10463" y="6919"/>
                  <a:pt x="10463" y="8522"/>
                  <a:pt x="10463" y="10125"/>
                </a:cubicBezTo>
                <a:cubicBezTo>
                  <a:pt x="9956" y="9619"/>
                  <a:pt x="9450" y="9112"/>
                  <a:pt x="8859" y="8606"/>
                </a:cubicBezTo>
                <a:cubicBezTo>
                  <a:pt x="8184" y="7931"/>
                  <a:pt x="7509" y="7341"/>
                  <a:pt x="6750" y="6750"/>
                </a:cubicBezTo>
                <a:cubicBezTo>
                  <a:pt x="7341" y="7425"/>
                  <a:pt x="8016" y="8184"/>
                  <a:pt x="8606" y="8859"/>
                </a:cubicBezTo>
                <a:cubicBezTo>
                  <a:pt x="9113" y="9366"/>
                  <a:pt x="9619" y="9956"/>
                  <a:pt x="10125" y="10463"/>
                </a:cubicBezTo>
                <a:cubicBezTo>
                  <a:pt x="8522" y="10463"/>
                  <a:pt x="6919" y="10463"/>
                  <a:pt x="5316" y="10547"/>
                </a:cubicBezTo>
                <a:cubicBezTo>
                  <a:pt x="3544" y="10631"/>
                  <a:pt x="1772" y="10631"/>
                  <a:pt x="0" y="10800"/>
                </a:cubicBezTo>
                <a:cubicBezTo>
                  <a:pt x="1772" y="10884"/>
                  <a:pt x="3544" y="10969"/>
                  <a:pt x="5316" y="11053"/>
                </a:cubicBezTo>
                <a:cubicBezTo>
                  <a:pt x="6919" y="11137"/>
                  <a:pt x="8522" y="11137"/>
                  <a:pt x="10125" y="11137"/>
                </a:cubicBezTo>
                <a:cubicBezTo>
                  <a:pt x="9619" y="11644"/>
                  <a:pt x="9112" y="12150"/>
                  <a:pt x="8606" y="12741"/>
                </a:cubicBezTo>
                <a:cubicBezTo>
                  <a:pt x="7931" y="13416"/>
                  <a:pt x="7341" y="14091"/>
                  <a:pt x="6750" y="14850"/>
                </a:cubicBezTo>
                <a:cubicBezTo>
                  <a:pt x="7425" y="14259"/>
                  <a:pt x="8184" y="13584"/>
                  <a:pt x="8859" y="12994"/>
                </a:cubicBezTo>
                <a:cubicBezTo>
                  <a:pt x="9366" y="12487"/>
                  <a:pt x="9956" y="11981"/>
                  <a:pt x="10463" y="11475"/>
                </a:cubicBezTo>
                <a:cubicBezTo>
                  <a:pt x="10463" y="13078"/>
                  <a:pt x="10463" y="14681"/>
                  <a:pt x="10547" y="16284"/>
                </a:cubicBezTo>
                <a:cubicBezTo>
                  <a:pt x="10547" y="18056"/>
                  <a:pt x="10631" y="19828"/>
                  <a:pt x="10800" y="21600"/>
                </a:cubicBezTo>
                <a:cubicBezTo>
                  <a:pt x="10884" y="19828"/>
                  <a:pt x="10969" y="18056"/>
                  <a:pt x="11053" y="16284"/>
                </a:cubicBezTo>
                <a:cubicBezTo>
                  <a:pt x="11137" y="14681"/>
                  <a:pt x="11137" y="13078"/>
                  <a:pt x="11137" y="11475"/>
                </a:cubicBezTo>
                <a:cubicBezTo>
                  <a:pt x="11644" y="11981"/>
                  <a:pt x="12150" y="12488"/>
                  <a:pt x="12741" y="12994"/>
                </a:cubicBezTo>
                <a:cubicBezTo>
                  <a:pt x="13416" y="13669"/>
                  <a:pt x="14091" y="14259"/>
                  <a:pt x="14850" y="14850"/>
                </a:cubicBezTo>
                <a:cubicBezTo>
                  <a:pt x="14259" y="14175"/>
                  <a:pt x="13584" y="13416"/>
                  <a:pt x="12994" y="12741"/>
                </a:cubicBezTo>
                <a:cubicBezTo>
                  <a:pt x="12487" y="12234"/>
                  <a:pt x="11981" y="11644"/>
                  <a:pt x="11475" y="11137"/>
                </a:cubicBezTo>
                <a:cubicBezTo>
                  <a:pt x="13078" y="11137"/>
                  <a:pt x="14681" y="11137"/>
                  <a:pt x="16284" y="11053"/>
                </a:cubicBezTo>
                <a:cubicBezTo>
                  <a:pt x="18056" y="11053"/>
                  <a:pt x="19828" y="10969"/>
                  <a:pt x="21600" y="10800"/>
                </a:cubicBezTo>
                <a:close/>
              </a:path>
            </a:pathLst>
          </a:custGeom>
          <a:solidFill>
            <a:srgbClr val="FBD057"/>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5" name="Shape">
            <a:extLst>
              <a:ext uri="{FF2B5EF4-FFF2-40B4-BE49-F238E27FC236}">
                <a16:creationId xmlns:a16="http://schemas.microsoft.com/office/drawing/2014/main" id="{8D3B4A03-9C90-78C5-A0A2-39118A1D0B3B}"/>
              </a:ext>
            </a:extLst>
          </p:cNvPr>
          <p:cNvSpPr/>
          <p:nvPr/>
        </p:nvSpPr>
        <p:spPr>
          <a:xfrm>
            <a:off x="766787" y="2573038"/>
            <a:ext cx="414505" cy="414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2"/>
                  <a:pt x="13078" y="10462"/>
                  <a:pt x="11475" y="10462"/>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8" y="10125"/>
                </a:cubicBezTo>
                <a:cubicBezTo>
                  <a:pt x="11138" y="8522"/>
                  <a:pt x="11138" y="6919"/>
                  <a:pt x="11053" y="5316"/>
                </a:cubicBezTo>
                <a:cubicBezTo>
                  <a:pt x="10969" y="3544"/>
                  <a:pt x="10969" y="1772"/>
                  <a:pt x="10800" y="0"/>
                </a:cubicBezTo>
                <a:cubicBezTo>
                  <a:pt x="10716" y="1772"/>
                  <a:pt x="10631" y="3544"/>
                  <a:pt x="10547" y="5316"/>
                </a:cubicBezTo>
                <a:cubicBezTo>
                  <a:pt x="10462" y="6919"/>
                  <a:pt x="10462" y="8522"/>
                  <a:pt x="10462" y="10125"/>
                </a:cubicBezTo>
                <a:cubicBezTo>
                  <a:pt x="9956" y="9619"/>
                  <a:pt x="9450" y="9113"/>
                  <a:pt x="8859" y="8606"/>
                </a:cubicBezTo>
                <a:cubicBezTo>
                  <a:pt x="8184" y="7931"/>
                  <a:pt x="7509" y="7341"/>
                  <a:pt x="6750" y="6750"/>
                </a:cubicBezTo>
                <a:cubicBezTo>
                  <a:pt x="7341" y="7425"/>
                  <a:pt x="8016" y="8184"/>
                  <a:pt x="8606" y="8859"/>
                </a:cubicBezTo>
                <a:cubicBezTo>
                  <a:pt x="9113" y="9366"/>
                  <a:pt x="9619" y="9956"/>
                  <a:pt x="10125" y="10462"/>
                </a:cubicBezTo>
                <a:cubicBezTo>
                  <a:pt x="8522" y="10462"/>
                  <a:pt x="6919" y="10462"/>
                  <a:pt x="5316" y="10547"/>
                </a:cubicBezTo>
                <a:cubicBezTo>
                  <a:pt x="3544" y="10631"/>
                  <a:pt x="1772" y="10631"/>
                  <a:pt x="0" y="10800"/>
                </a:cubicBezTo>
                <a:cubicBezTo>
                  <a:pt x="1772" y="10884"/>
                  <a:pt x="3544" y="10969"/>
                  <a:pt x="5316" y="11053"/>
                </a:cubicBezTo>
                <a:cubicBezTo>
                  <a:pt x="6919" y="11138"/>
                  <a:pt x="8522" y="11138"/>
                  <a:pt x="10125" y="11138"/>
                </a:cubicBezTo>
                <a:cubicBezTo>
                  <a:pt x="9619" y="11644"/>
                  <a:pt x="9113" y="12150"/>
                  <a:pt x="8606" y="12741"/>
                </a:cubicBezTo>
                <a:cubicBezTo>
                  <a:pt x="7931" y="13416"/>
                  <a:pt x="7341" y="14091"/>
                  <a:pt x="6750" y="14850"/>
                </a:cubicBezTo>
                <a:cubicBezTo>
                  <a:pt x="7425" y="14259"/>
                  <a:pt x="8184" y="13584"/>
                  <a:pt x="8859" y="12994"/>
                </a:cubicBezTo>
                <a:cubicBezTo>
                  <a:pt x="9366" y="12488"/>
                  <a:pt x="9956" y="11981"/>
                  <a:pt x="10462" y="11475"/>
                </a:cubicBezTo>
                <a:cubicBezTo>
                  <a:pt x="10462" y="13078"/>
                  <a:pt x="10462" y="14681"/>
                  <a:pt x="10547" y="16284"/>
                </a:cubicBezTo>
                <a:cubicBezTo>
                  <a:pt x="10547" y="18056"/>
                  <a:pt x="10631" y="19828"/>
                  <a:pt x="10800" y="21600"/>
                </a:cubicBezTo>
                <a:cubicBezTo>
                  <a:pt x="10884" y="19828"/>
                  <a:pt x="10969" y="18056"/>
                  <a:pt x="11053" y="16284"/>
                </a:cubicBezTo>
                <a:cubicBezTo>
                  <a:pt x="11138" y="14681"/>
                  <a:pt x="11138" y="13078"/>
                  <a:pt x="11138" y="11475"/>
                </a:cubicBezTo>
                <a:cubicBezTo>
                  <a:pt x="11644" y="11981"/>
                  <a:pt x="12150" y="12488"/>
                  <a:pt x="12741" y="12994"/>
                </a:cubicBezTo>
                <a:cubicBezTo>
                  <a:pt x="13416" y="13669"/>
                  <a:pt x="14091" y="14259"/>
                  <a:pt x="14850" y="14850"/>
                </a:cubicBezTo>
                <a:cubicBezTo>
                  <a:pt x="14259" y="14175"/>
                  <a:pt x="13584" y="13416"/>
                  <a:pt x="12994" y="12741"/>
                </a:cubicBezTo>
                <a:cubicBezTo>
                  <a:pt x="12488" y="12234"/>
                  <a:pt x="11981" y="11644"/>
                  <a:pt x="11475" y="11138"/>
                </a:cubicBezTo>
                <a:cubicBezTo>
                  <a:pt x="13078" y="11138"/>
                  <a:pt x="14681" y="11138"/>
                  <a:pt x="16284" y="11053"/>
                </a:cubicBezTo>
                <a:cubicBezTo>
                  <a:pt x="18056" y="11053"/>
                  <a:pt x="19828" y="10969"/>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6" name="Shape">
            <a:extLst>
              <a:ext uri="{FF2B5EF4-FFF2-40B4-BE49-F238E27FC236}">
                <a16:creationId xmlns:a16="http://schemas.microsoft.com/office/drawing/2014/main" id="{5553FDB0-2BA2-5E05-B036-CD803EADDBC0}"/>
              </a:ext>
            </a:extLst>
          </p:cNvPr>
          <p:cNvSpPr/>
          <p:nvPr/>
        </p:nvSpPr>
        <p:spPr>
          <a:xfrm>
            <a:off x="2466901" y="3997896"/>
            <a:ext cx="414506" cy="414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3"/>
                  <a:pt x="13078" y="10463"/>
                  <a:pt x="11475" y="10463"/>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7" y="10125"/>
                </a:cubicBezTo>
                <a:cubicBezTo>
                  <a:pt x="11137" y="8522"/>
                  <a:pt x="11137" y="6919"/>
                  <a:pt x="11053" y="5316"/>
                </a:cubicBezTo>
                <a:cubicBezTo>
                  <a:pt x="10969" y="3544"/>
                  <a:pt x="10969" y="1772"/>
                  <a:pt x="10800" y="0"/>
                </a:cubicBezTo>
                <a:cubicBezTo>
                  <a:pt x="10716" y="1772"/>
                  <a:pt x="10631" y="3544"/>
                  <a:pt x="10547" y="5316"/>
                </a:cubicBezTo>
                <a:cubicBezTo>
                  <a:pt x="10463" y="6919"/>
                  <a:pt x="10463" y="8522"/>
                  <a:pt x="10463" y="10125"/>
                </a:cubicBezTo>
                <a:cubicBezTo>
                  <a:pt x="9956" y="9619"/>
                  <a:pt x="9450" y="9113"/>
                  <a:pt x="8859" y="8606"/>
                </a:cubicBezTo>
                <a:cubicBezTo>
                  <a:pt x="8184" y="7931"/>
                  <a:pt x="7509" y="7341"/>
                  <a:pt x="6750" y="6750"/>
                </a:cubicBezTo>
                <a:cubicBezTo>
                  <a:pt x="7341" y="7425"/>
                  <a:pt x="8016" y="8184"/>
                  <a:pt x="8606" y="8859"/>
                </a:cubicBezTo>
                <a:cubicBezTo>
                  <a:pt x="9113" y="9366"/>
                  <a:pt x="9619" y="9956"/>
                  <a:pt x="10125" y="10463"/>
                </a:cubicBezTo>
                <a:cubicBezTo>
                  <a:pt x="8522" y="10463"/>
                  <a:pt x="6919" y="10463"/>
                  <a:pt x="5316" y="10547"/>
                </a:cubicBezTo>
                <a:cubicBezTo>
                  <a:pt x="3544" y="10631"/>
                  <a:pt x="1772" y="10631"/>
                  <a:pt x="0" y="10800"/>
                </a:cubicBezTo>
                <a:cubicBezTo>
                  <a:pt x="1772" y="10884"/>
                  <a:pt x="3544" y="10969"/>
                  <a:pt x="5316" y="11053"/>
                </a:cubicBezTo>
                <a:cubicBezTo>
                  <a:pt x="6919" y="11138"/>
                  <a:pt x="8522" y="11138"/>
                  <a:pt x="10125" y="11138"/>
                </a:cubicBezTo>
                <a:cubicBezTo>
                  <a:pt x="9619" y="11644"/>
                  <a:pt x="9112" y="12150"/>
                  <a:pt x="8606" y="12741"/>
                </a:cubicBezTo>
                <a:cubicBezTo>
                  <a:pt x="7931" y="13416"/>
                  <a:pt x="7341" y="14091"/>
                  <a:pt x="6750" y="14850"/>
                </a:cubicBezTo>
                <a:cubicBezTo>
                  <a:pt x="7425" y="14259"/>
                  <a:pt x="8184" y="13584"/>
                  <a:pt x="8859" y="12994"/>
                </a:cubicBezTo>
                <a:cubicBezTo>
                  <a:pt x="9366" y="12487"/>
                  <a:pt x="9956" y="11981"/>
                  <a:pt x="10463" y="11475"/>
                </a:cubicBezTo>
                <a:cubicBezTo>
                  <a:pt x="10463" y="13078"/>
                  <a:pt x="10463" y="14681"/>
                  <a:pt x="10547" y="16284"/>
                </a:cubicBezTo>
                <a:cubicBezTo>
                  <a:pt x="10547" y="18056"/>
                  <a:pt x="10631" y="19828"/>
                  <a:pt x="10800" y="21600"/>
                </a:cubicBezTo>
                <a:cubicBezTo>
                  <a:pt x="10884" y="19828"/>
                  <a:pt x="10969" y="18056"/>
                  <a:pt x="11053" y="16284"/>
                </a:cubicBezTo>
                <a:cubicBezTo>
                  <a:pt x="11137" y="14681"/>
                  <a:pt x="11137" y="13078"/>
                  <a:pt x="11137" y="11475"/>
                </a:cubicBezTo>
                <a:cubicBezTo>
                  <a:pt x="11644" y="11981"/>
                  <a:pt x="12150" y="12488"/>
                  <a:pt x="12741" y="12994"/>
                </a:cubicBezTo>
                <a:cubicBezTo>
                  <a:pt x="13416" y="13669"/>
                  <a:pt x="14091" y="14259"/>
                  <a:pt x="14850" y="14850"/>
                </a:cubicBezTo>
                <a:cubicBezTo>
                  <a:pt x="14259" y="14175"/>
                  <a:pt x="13584" y="13416"/>
                  <a:pt x="12994" y="12741"/>
                </a:cubicBezTo>
                <a:cubicBezTo>
                  <a:pt x="12487" y="12234"/>
                  <a:pt x="11981" y="11644"/>
                  <a:pt x="11475" y="11138"/>
                </a:cubicBezTo>
                <a:cubicBezTo>
                  <a:pt x="13078" y="11138"/>
                  <a:pt x="14681" y="11138"/>
                  <a:pt x="16284" y="11053"/>
                </a:cubicBezTo>
                <a:cubicBezTo>
                  <a:pt x="18056" y="10969"/>
                  <a:pt x="19828" y="10884"/>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7" name="Shape">
            <a:extLst>
              <a:ext uri="{FF2B5EF4-FFF2-40B4-BE49-F238E27FC236}">
                <a16:creationId xmlns:a16="http://schemas.microsoft.com/office/drawing/2014/main" id="{E9ED2239-D9B2-EA27-F6EF-D6CF707BF934}"/>
              </a:ext>
            </a:extLst>
          </p:cNvPr>
          <p:cNvSpPr/>
          <p:nvPr/>
        </p:nvSpPr>
        <p:spPr>
          <a:xfrm>
            <a:off x="4992785" y="2524465"/>
            <a:ext cx="563467" cy="56346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00" y="10676"/>
                  <a:pt x="18000" y="10614"/>
                  <a:pt x="16200" y="10552"/>
                </a:cubicBezTo>
                <a:cubicBezTo>
                  <a:pt x="14586" y="10490"/>
                  <a:pt x="12972" y="10490"/>
                  <a:pt x="11359" y="10490"/>
                </a:cubicBezTo>
                <a:cubicBezTo>
                  <a:pt x="11855" y="9993"/>
                  <a:pt x="12414" y="9434"/>
                  <a:pt x="12910" y="8876"/>
                </a:cubicBezTo>
                <a:cubicBezTo>
                  <a:pt x="13593" y="8193"/>
                  <a:pt x="14214" y="7510"/>
                  <a:pt x="14834" y="6766"/>
                </a:cubicBezTo>
                <a:cubicBezTo>
                  <a:pt x="14090" y="7386"/>
                  <a:pt x="13407" y="8007"/>
                  <a:pt x="12724" y="8690"/>
                </a:cubicBezTo>
                <a:cubicBezTo>
                  <a:pt x="12166" y="9186"/>
                  <a:pt x="11669" y="9745"/>
                  <a:pt x="11110" y="10241"/>
                </a:cubicBezTo>
                <a:cubicBezTo>
                  <a:pt x="11110" y="8628"/>
                  <a:pt x="11110" y="7014"/>
                  <a:pt x="11048" y="5400"/>
                </a:cubicBezTo>
                <a:cubicBezTo>
                  <a:pt x="10986" y="3600"/>
                  <a:pt x="10924" y="1800"/>
                  <a:pt x="10800" y="0"/>
                </a:cubicBezTo>
                <a:cubicBezTo>
                  <a:pt x="10676" y="1800"/>
                  <a:pt x="10614" y="3600"/>
                  <a:pt x="10552" y="5400"/>
                </a:cubicBezTo>
                <a:cubicBezTo>
                  <a:pt x="10490" y="7014"/>
                  <a:pt x="10490" y="8628"/>
                  <a:pt x="10490" y="10241"/>
                </a:cubicBezTo>
                <a:cubicBezTo>
                  <a:pt x="9993" y="9745"/>
                  <a:pt x="9434" y="9186"/>
                  <a:pt x="8876" y="8690"/>
                </a:cubicBezTo>
                <a:cubicBezTo>
                  <a:pt x="8193" y="8007"/>
                  <a:pt x="7510" y="7386"/>
                  <a:pt x="6766" y="6766"/>
                </a:cubicBezTo>
                <a:cubicBezTo>
                  <a:pt x="7386" y="7510"/>
                  <a:pt x="8007" y="8193"/>
                  <a:pt x="8690" y="8876"/>
                </a:cubicBezTo>
                <a:cubicBezTo>
                  <a:pt x="9186" y="9434"/>
                  <a:pt x="9745" y="9931"/>
                  <a:pt x="10241" y="10490"/>
                </a:cubicBezTo>
                <a:cubicBezTo>
                  <a:pt x="8628" y="10490"/>
                  <a:pt x="7014" y="10490"/>
                  <a:pt x="5400" y="10552"/>
                </a:cubicBezTo>
                <a:cubicBezTo>
                  <a:pt x="3600" y="10614"/>
                  <a:pt x="1800" y="10676"/>
                  <a:pt x="0" y="10800"/>
                </a:cubicBezTo>
                <a:cubicBezTo>
                  <a:pt x="1800" y="10924"/>
                  <a:pt x="3600" y="10986"/>
                  <a:pt x="5400" y="11048"/>
                </a:cubicBezTo>
                <a:cubicBezTo>
                  <a:pt x="7014" y="11110"/>
                  <a:pt x="8628" y="11110"/>
                  <a:pt x="10241" y="11110"/>
                </a:cubicBezTo>
                <a:cubicBezTo>
                  <a:pt x="9745" y="11607"/>
                  <a:pt x="9186" y="12166"/>
                  <a:pt x="8690" y="12724"/>
                </a:cubicBezTo>
                <a:cubicBezTo>
                  <a:pt x="8007" y="13407"/>
                  <a:pt x="7386" y="14090"/>
                  <a:pt x="6766" y="14834"/>
                </a:cubicBezTo>
                <a:cubicBezTo>
                  <a:pt x="7510" y="14214"/>
                  <a:pt x="8193" y="13593"/>
                  <a:pt x="8876" y="12910"/>
                </a:cubicBezTo>
                <a:cubicBezTo>
                  <a:pt x="9434" y="12414"/>
                  <a:pt x="9931" y="11855"/>
                  <a:pt x="10490" y="11359"/>
                </a:cubicBezTo>
                <a:cubicBezTo>
                  <a:pt x="10490" y="12972"/>
                  <a:pt x="10490" y="14586"/>
                  <a:pt x="10552" y="16200"/>
                </a:cubicBezTo>
                <a:cubicBezTo>
                  <a:pt x="10614" y="18000"/>
                  <a:pt x="10676" y="19800"/>
                  <a:pt x="10800" y="21600"/>
                </a:cubicBezTo>
                <a:cubicBezTo>
                  <a:pt x="10924" y="19800"/>
                  <a:pt x="10986" y="18000"/>
                  <a:pt x="11048" y="16200"/>
                </a:cubicBezTo>
                <a:cubicBezTo>
                  <a:pt x="11110" y="14586"/>
                  <a:pt x="11110" y="12972"/>
                  <a:pt x="11110" y="11359"/>
                </a:cubicBezTo>
                <a:cubicBezTo>
                  <a:pt x="11607" y="11855"/>
                  <a:pt x="12166" y="12414"/>
                  <a:pt x="12724" y="12910"/>
                </a:cubicBezTo>
                <a:cubicBezTo>
                  <a:pt x="13407" y="13593"/>
                  <a:pt x="14090" y="14214"/>
                  <a:pt x="14834" y="14834"/>
                </a:cubicBezTo>
                <a:cubicBezTo>
                  <a:pt x="14214" y="14090"/>
                  <a:pt x="13593" y="13407"/>
                  <a:pt x="12910" y="12724"/>
                </a:cubicBezTo>
                <a:cubicBezTo>
                  <a:pt x="12414" y="12166"/>
                  <a:pt x="11855" y="11669"/>
                  <a:pt x="11359" y="11110"/>
                </a:cubicBezTo>
                <a:cubicBezTo>
                  <a:pt x="12972" y="11110"/>
                  <a:pt x="14586" y="11110"/>
                  <a:pt x="16200" y="11048"/>
                </a:cubicBezTo>
                <a:cubicBezTo>
                  <a:pt x="18000" y="10986"/>
                  <a:pt x="19800" y="10924"/>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grpSp>
        <p:nvGrpSpPr>
          <p:cNvPr id="18" name="Group 17">
            <a:extLst>
              <a:ext uri="{FF2B5EF4-FFF2-40B4-BE49-F238E27FC236}">
                <a16:creationId xmlns:a16="http://schemas.microsoft.com/office/drawing/2014/main" id="{3C35DA5F-0BB5-D939-4FBD-AAEA1DF1A58F}"/>
              </a:ext>
            </a:extLst>
          </p:cNvPr>
          <p:cNvGrpSpPr/>
          <p:nvPr/>
        </p:nvGrpSpPr>
        <p:grpSpPr>
          <a:xfrm>
            <a:off x="13735071" y="1654192"/>
            <a:ext cx="2935559" cy="1473410"/>
            <a:chOff x="8921977" y="1466725"/>
            <a:chExt cx="2937088" cy="1474177"/>
          </a:xfrm>
        </p:grpSpPr>
        <p:sp>
          <p:nvSpPr>
            <p:cNvPr id="19" name="TextBox 18">
              <a:extLst>
                <a:ext uri="{FF2B5EF4-FFF2-40B4-BE49-F238E27FC236}">
                  <a16:creationId xmlns:a16="http://schemas.microsoft.com/office/drawing/2014/main" id="{E5437E51-2126-F443-F409-4B6A1C5079A3}"/>
                </a:ext>
              </a:extLst>
            </p:cNvPr>
            <p:cNvSpPr txBox="1"/>
            <p:nvPr/>
          </p:nvSpPr>
          <p:spPr>
            <a:xfrm>
              <a:off x="8921977" y="1466725"/>
              <a:ext cx="2937088" cy="461665"/>
            </a:xfrm>
            <a:prstGeom prst="rect">
              <a:avLst/>
            </a:prstGeom>
            <a:noFill/>
          </p:spPr>
          <p:txBody>
            <a:bodyPr wrap="square" lIns="0" rIns="0" rtlCol="0" anchor="b">
              <a:spAutoFit/>
            </a:bodyPr>
            <a:lstStyle/>
            <a:p>
              <a:r>
                <a:rPr lang="en-US" sz="2399" b="1" noProof="1">
                  <a:solidFill>
                    <a:schemeClr val="accent4">
                      <a:lumMod val="75000"/>
                    </a:schemeClr>
                  </a:solidFill>
                </a:rPr>
                <a:t>Lorem Ipsum</a:t>
              </a:r>
            </a:p>
          </p:txBody>
        </p:sp>
        <p:sp>
          <p:nvSpPr>
            <p:cNvPr id="20" name="TextBox 19">
              <a:extLst>
                <a:ext uri="{FF2B5EF4-FFF2-40B4-BE49-F238E27FC236}">
                  <a16:creationId xmlns:a16="http://schemas.microsoft.com/office/drawing/2014/main" id="{4B8B5EDC-45B3-3699-7A04-8AD83650C01D}"/>
                </a:ext>
              </a:extLst>
            </p:cNvPr>
            <p:cNvSpPr txBox="1"/>
            <p:nvPr/>
          </p:nvSpPr>
          <p:spPr>
            <a:xfrm>
              <a:off x="8929772" y="1925881"/>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1" name="Group 20">
            <a:extLst>
              <a:ext uri="{FF2B5EF4-FFF2-40B4-BE49-F238E27FC236}">
                <a16:creationId xmlns:a16="http://schemas.microsoft.com/office/drawing/2014/main" id="{17C81A9D-1ECF-0C04-64A2-3A897293DC6A}"/>
              </a:ext>
            </a:extLst>
          </p:cNvPr>
          <p:cNvGrpSpPr/>
          <p:nvPr/>
        </p:nvGrpSpPr>
        <p:grpSpPr>
          <a:xfrm>
            <a:off x="13742862" y="3328674"/>
            <a:ext cx="2935559" cy="1473410"/>
            <a:chOff x="8921977" y="4073386"/>
            <a:chExt cx="2937088" cy="1474177"/>
          </a:xfrm>
        </p:grpSpPr>
        <p:sp>
          <p:nvSpPr>
            <p:cNvPr id="22" name="TextBox 21">
              <a:extLst>
                <a:ext uri="{FF2B5EF4-FFF2-40B4-BE49-F238E27FC236}">
                  <a16:creationId xmlns:a16="http://schemas.microsoft.com/office/drawing/2014/main" id="{589A2AC9-FA55-4524-652D-85BBF94EBC6C}"/>
                </a:ext>
              </a:extLst>
            </p:cNvPr>
            <p:cNvSpPr txBox="1"/>
            <p:nvPr/>
          </p:nvSpPr>
          <p:spPr>
            <a:xfrm>
              <a:off x="8921977" y="4073386"/>
              <a:ext cx="2937088" cy="461665"/>
            </a:xfrm>
            <a:prstGeom prst="rect">
              <a:avLst/>
            </a:prstGeom>
            <a:noFill/>
          </p:spPr>
          <p:txBody>
            <a:bodyPr wrap="square" lIns="0" rIns="0" rtlCol="0" anchor="b">
              <a:spAutoFit/>
            </a:bodyPr>
            <a:lstStyle/>
            <a:p>
              <a:r>
                <a:rPr lang="en-US" sz="2399" b="1" noProof="1">
                  <a:solidFill>
                    <a:schemeClr val="accent5"/>
                  </a:solidFill>
                </a:rPr>
                <a:t>Lorem Ipsum</a:t>
              </a:r>
            </a:p>
          </p:txBody>
        </p:sp>
        <p:sp>
          <p:nvSpPr>
            <p:cNvPr id="24" name="TextBox 23">
              <a:extLst>
                <a:ext uri="{FF2B5EF4-FFF2-40B4-BE49-F238E27FC236}">
                  <a16:creationId xmlns:a16="http://schemas.microsoft.com/office/drawing/2014/main" id="{5A603D09-C114-8A9D-9644-2F4F83C04BA0}"/>
                </a:ext>
              </a:extLst>
            </p:cNvPr>
            <p:cNvSpPr txBox="1"/>
            <p:nvPr/>
          </p:nvSpPr>
          <p:spPr>
            <a:xfrm>
              <a:off x="8929772" y="453254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7" name="Group 26">
            <a:extLst>
              <a:ext uri="{FF2B5EF4-FFF2-40B4-BE49-F238E27FC236}">
                <a16:creationId xmlns:a16="http://schemas.microsoft.com/office/drawing/2014/main" id="{2D72EC80-6446-DEE2-BB64-6A5BC9E02A74}"/>
              </a:ext>
            </a:extLst>
          </p:cNvPr>
          <p:cNvGrpSpPr/>
          <p:nvPr/>
        </p:nvGrpSpPr>
        <p:grpSpPr>
          <a:xfrm>
            <a:off x="-3563211" y="1969271"/>
            <a:ext cx="2935559" cy="1473410"/>
            <a:chOff x="332936" y="2627766"/>
            <a:chExt cx="2937088" cy="1474177"/>
          </a:xfrm>
        </p:grpSpPr>
        <p:sp>
          <p:nvSpPr>
            <p:cNvPr id="28" name="TextBox 27">
              <a:extLst>
                <a:ext uri="{FF2B5EF4-FFF2-40B4-BE49-F238E27FC236}">
                  <a16:creationId xmlns:a16="http://schemas.microsoft.com/office/drawing/2014/main" id="{BA90892C-0CCD-42E6-ED50-5FA32639E4EE}"/>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399" b="1" noProof="1">
                  <a:solidFill>
                    <a:schemeClr val="accent6">
                      <a:lumMod val="75000"/>
                    </a:schemeClr>
                  </a:solidFill>
                </a:rPr>
                <a:t>Lorem Ipsum</a:t>
              </a:r>
            </a:p>
          </p:txBody>
        </p:sp>
        <p:sp>
          <p:nvSpPr>
            <p:cNvPr id="32" name="TextBox 31">
              <a:extLst>
                <a:ext uri="{FF2B5EF4-FFF2-40B4-BE49-F238E27FC236}">
                  <a16:creationId xmlns:a16="http://schemas.microsoft.com/office/drawing/2014/main" id="{97AED239-C530-F504-7EF9-E1FF94FA8FBA}"/>
                </a:ext>
              </a:extLst>
            </p:cNvPr>
            <p:cNvSpPr txBox="1"/>
            <p:nvPr/>
          </p:nvSpPr>
          <p:spPr>
            <a:xfrm>
              <a:off x="340731" y="308692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33" name="Group 32">
            <a:extLst>
              <a:ext uri="{FF2B5EF4-FFF2-40B4-BE49-F238E27FC236}">
                <a16:creationId xmlns:a16="http://schemas.microsoft.com/office/drawing/2014/main" id="{117A2C54-E513-3EAC-A84D-5321C8CE0033}"/>
              </a:ext>
            </a:extLst>
          </p:cNvPr>
          <p:cNvGrpSpPr/>
          <p:nvPr/>
        </p:nvGrpSpPr>
        <p:grpSpPr>
          <a:xfrm>
            <a:off x="13735071" y="157458"/>
            <a:ext cx="2935559" cy="1473410"/>
            <a:chOff x="8921977" y="1466725"/>
            <a:chExt cx="2937088" cy="1474177"/>
          </a:xfrm>
        </p:grpSpPr>
        <p:sp>
          <p:nvSpPr>
            <p:cNvPr id="34" name="TextBox 33">
              <a:extLst>
                <a:ext uri="{FF2B5EF4-FFF2-40B4-BE49-F238E27FC236}">
                  <a16:creationId xmlns:a16="http://schemas.microsoft.com/office/drawing/2014/main" id="{4B2E9795-5E0F-C614-8904-52FBE86B20A2}"/>
                </a:ext>
              </a:extLst>
            </p:cNvPr>
            <p:cNvSpPr txBox="1"/>
            <p:nvPr/>
          </p:nvSpPr>
          <p:spPr>
            <a:xfrm>
              <a:off x="8921977" y="1466725"/>
              <a:ext cx="2937088" cy="461665"/>
            </a:xfrm>
            <a:prstGeom prst="rect">
              <a:avLst/>
            </a:prstGeom>
            <a:noFill/>
          </p:spPr>
          <p:txBody>
            <a:bodyPr wrap="square" lIns="0" rIns="0" rtlCol="0" anchor="b">
              <a:spAutoFit/>
            </a:bodyPr>
            <a:lstStyle/>
            <a:p>
              <a:r>
                <a:rPr lang="en-US" sz="2399" b="1" noProof="1">
                  <a:solidFill>
                    <a:schemeClr val="accent3">
                      <a:lumMod val="75000"/>
                    </a:schemeClr>
                  </a:solidFill>
                </a:rPr>
                <a:t>Lorem Ipsum</a:t>
              </a:r>
            </a:p>
          </p:txBody>
        </p:sp>
        <p:sp>
          <p:nvSpPr>
            <p:cNvPr id="35" name="TextBox 34">
              <a:extLst>
                <a:ext uri="{FF2B5EF4-FFF2-40B4-BE49-F238E27FC236}">
                  <a16:creationId xmlns:a16="http://schemas.microsoft.com/office/drawing/2014/main" id="{38010D1B-B351-98A0-0305-6C08945DE1C6}"/>
                </a:ext>
              </a:extLst>
            </p:cNvPr>
            <p:cNvSpPr txBox="1"/>
            <p:nvPr/>
          </p:nvSpPr>
          <p:spPr>
            <a:xfrm>
              <a:off x="8929772" y="1925881"/>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36" name="Group 35">
            <a:extLst>
              <a:ext uri="{FF2B5EF4-FFF2-40B4-BE49-F238E27FC236}">
                <a16:creationId xmlns:a16="http://schemas.microsoft.com/office/drawing/2014/main" id="{7BB3CBAF-195F-3144-49D2-C415CC8573A6}"/>
              </a:ext>
            </a:extLst>
          </p:cNvPr>
          <p:cNvGrpSpPr/>
          <p:nvPr/>
        </p:nvGrpSpPr>
        <p:grpSpPr>
          <a:xfrm>
            <a:off x="-3571002" y="516180"/>
            <a:ext cx="2935559" cy="1473410"/>
            <a:chOff x="332936" y="2627766"/>
            <a:chExt cx="2937088" cy="1474177"/>
          </a:xfrm>
        </p:grpSpPr>
        <p:sp>
          <p:nvSpPr>
            <p:cNvPr id="37" name="TextBox 36">
              <a:extLst>
                <a:ext uri="{FF2B5EF4-FFF2-40B4-BE49-F238E27FC236}">
                  <a16:creationId xmlns:a16="http://schemas.microsoft.com/office/drawing/2014/main" id="{D2E7DA07-F2FB-1FBB-AA41-32DB316C2512}"/>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399" b="1" noProof="1">
                  <a:solidFill>
                    <a:schemeClr val="accent2"/>
                  </a:solidFill>
                </a:rPr>
                <a:t>Lorem Ipsum</a:t>
              </a:r>
            </a:p>
          </p:txBody>
        </p:sp>
        <p:sp>
          <p:nvSpPr>
            <p:cNvPr id="41" name="TextBox 40">
              <a:extLst>
                <a:ext uri="{FF2B5EF4-FFF2-40B4-BE49-F238E27FC236}">
                  <a16:creationId xmlns:a16="http://schemas.microsoft.com/office/drawing/2014/main" id="{752B0DBE-6E35-DF87-0D37-3442F147001B}"/>
                </a:ext>
              </a:extLst>
            </p:cNvPr>
            <p:cNvSpPr txBox="1"/>
            <p:nvPr/>
          </p:nvSpPr>
          <p:spPr>
            <a:xfrm>
              <a:off x="340731" y="308692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sp>
        <p:nvSpPr>
          <p:cNvPr id="42" name="Rectangle 41">
            <a:extLst>
              <a:ext uri="{FF2B5EF4-FFF2-40B4-BE49-F238E27FC236}">
                <a16:creationId xmlns:a16="http://schemas.microsoft.com/office/drawing/2014/main" id="{B1BA2B1D-56BB-E1E4-355E-80E62F1DE8D7}"/>
              </a:ext>
            </a:extLst>
          </p:cNvPr>
          <p:cNvSpPr/>
          <p:nvPr/>
        </p:nvSpPr>
        <p:spPr>
          <a:xfrm>
            <a:off x="1265963" y="2117263"/>
            <a:ext cx="1075632" cy="461297"/>
          </a:xfrm>
          <a:prstGeom prst="rect">
            <a:avLst/>
          </a:prstGeom>
        </p:spPr>
        <p:txBody>
          <a:bodyPr wrap="none" anchor="ctr">
            <a:spAutoFit/>
          </a:bodyPr>
          <a:lstStyle/>
          <a:p>
            <a:pPr algn="ctr"/>
            <a:r>
              <a:rPr lang="en-US" sz="2399" b="1">
                <a:solidFill>
                  <a:prstClr val="black"/>
                </a:solidFill>
              </a:rPr>
              <a:t>Lorem</a:t>
            </a:r>
            <a:endParaRPr lang="en-US" sz="1799"/>
          </a:p>
        </p:txBody>
      </p:sp>
      <p:sp>
        <p:nvSpPr>
          <p:cNvPr id="43" name="Rectangle 42">
            <a:extLst>
              <a:ext uri="{FF2B5EF4-FFF2-40B4-BE49-F238E27FC236}">
                <a16:creationId xmlns:a16="http://schemas.microsoft.com/office/drawing/2014/main" id="{8659F318-42F3-E165-45B7-C1EFD68C92BD}"/>
              </a:ext>
            </a:extLst>
          </p:cNvPr>
          <p:cNvSpPr/>
          <p:nvPr/>
        </p:nvSpPr>
        <p:spPr>
          <a:xfrm>
            <a:off x="3877462" y="2460553"/>
            <a:ext cx="926822" cy="399773"/>
          </a:xfrm>
          <a:prstGeom prst="rect">
            <a:avLst/>
          </a:prstGeom>
        </p:spPr>
        <p:txBody>
          <a:bodyPr wrap="none" anchor="ctr">
            <a:spAutoFit/>
          </a:bodyPr>
          <a:lstStyle/>
          <a:p>
            <a:pPr algn="ctr"/>
            <a:r>
              <a:rPr lang="en-US" sz="1999" b="1">
                <a:solidFill>
                  <a:prstClr val="black"/>
                </a:solidFill>
              </a:rPr>
              <a:t>Lorem</a:t>
            </a:r>
            <a:endParaRPr lang="en-US" sz="1599"/>
          </a:p>
        </p:txBody>
      </p:sp>
      <p:sp>
        <p:nvSpPr>
          <p:cNvPr id="44" name="Rectangle 43">
            <a:extLst>
              <a:ext uri="{FF2B5EF4-FFF2-40B4-BE49-F238E27FC236}">
                <a16:creationId xmlns:a16="http://schemas.microsoft.com/office/drawing/2014/main" id="{739BDAAE-AF95-B824-0333-F0BD4EB2A151}"/>
              </a:ext>
            </a:extLst>
          </p:cNvPr>
          <p:cNvSpPr/>
          <p:nvPr/>
        </p:nvSpPr>
        <p:spPr>
          <a:xfrm>
            <a:off x="5115145" y="3673116"/>
            <a:ext cx="926822" cy="399773"/>
          </a:xfrm>
          <a:prstGeom prst="rect">
            <a:avLst/>
          </a:prstGeom>
        </p:spPr>
        <p:txBody>
          <a:bodyPr wrap="none" anchor="ctr">
            <a:spAutoFit/>
          </a:bodyPr>
          <a:lstStyle/>
          <a:p>
            <a:pPr algn="ctr"/>
            <a:r>
              <a:rPr lang="en-US" sz="1999" b="1">
                <a:solidFill>
                  <a:prstClr val="black"/>
                </a:solidFill>
              </a:rPr>
              <a:t>Lorem</a:t>
            </a:r>
            <a:endParaRPr lang="en-US" sz="1599"/>
          </a:p>
        </p:txBody>
      </p:sp>
      <p:sp>
        <p:nvSpPr>
          <p:cNvPr id="45" name="Rectangle 44">
            <a:extLst>
              <a:ext uri="{FF2B5EF4-FFF2-40B4-BE49-F238E27FC236}">
                <a16:creationId xmlns:a16="http://schemas.microsoft.com/office/drawing/2014/main" id="{68572923-A612-6634-1E05-B081BDC71442}"/>
              </a:ext>
            </a:extLst>
          </p:cNvPr>
          <p:cNvSpPr/>
          <p:nvPr/>
        </p:nvSpPr>
        <p:spPr>
          <a:xfrm>
            <a:off x="1045386" y="4412813"/>
            <a:ext cx="1075632" cy="461297"/>
          </a:xfrm>
          <a:prstGeom prst="rect">
            <a:avLst/>
          </a:prstGeom>
        </p:spPr>
        <p:txBody>
          <a:bodyPr wrap="none" anchor="ctr">
            <a:spAutoFit/>
          </a:bodyPr>
          <a:lstStyle/>
          <a:p>
            <a:pPr algn="ctr"/>
            <a:r>
              <a:rPr lang="en-US" sz="2399" b="1">
                <a:solidFill>
                  <a:prstClr val="black"/>
                </a:solidFill>
              </a:rPr>
              <a:t>Lorem</a:t>
            </a:r>
            <a:endParaRPr lang="en-US" sz="1799"/>
          </a:p>
        </p:txBody>
      </p:sp>
      <p:sp>
        <p:nvSpPr>
          <p:cNvPr id="46" name="Rectangle 45">
            <a:extLst>
              <a:ext uri="{FF2B5EF4-FFF2-40B4-BE49-F238E27FC236}">
                <a16:creationId xmlns:a16="http://schemas.microsoft.com/office/drawing/2014/main" id="{6DC03D4F-1C9F-83DC-C1A0-0129507C57D4}"/>
              </a:ext>
            </a:extLst>
          </p:cNvPr>
          <p:cNvSpPr/>
          <p:nvPr/>
        </p:nvSpPr>
        <p:spPr>
          <a:xfrm>
            <a:off x="3342711" y="5316447"/>
            <a:ext cx="926822" cy="399773"/>
          </a:xfrm>
          <a:prstGeom prst="rect">
            <a:avLst/>
          </a:prstGeom>
        </p:spPr>
        <p:txBody>
          <a:bodyPr wrap="none" anchor="ctr">
            <a:spAutoFit/>
          </a:bodyPr>
          <a:lstStyle/>
          <a:p>
            <a:pPr algn="ctr"/>
            <a:r>
              <a:rPr lang="en-US" sz="1999" b="1">
                <a:solidFill>
                  <a:prstClr val="black"/>
                </a:solidFill>
              </a:rPr>
              <a:t>Lorem</a:t>
            </a:r>
            <a:endParaRPr lang="en-US" sz="1599"/>
          </a:p>
        </p:txBody>
      </p:sp>
      <p:sp>
        <p:nvSpPr>
          <p:cNvPr id="47" name="Freeform: Shape 46">
            <a:extLst>
              <a:ext uri="{FF2B5EF4-FFF2-40B4-BE49-F238E27FC236}">
                <a16:creationId xmlns:a16="http://schemas.microsoft.com/office/drawing/2014/main" id="{446392FC-3C3E-8143-C9C7-963605968ABD}"/>
              </a:ext>
            </a:extLst>
          </p:cNvPr>
          <p:cNvSpPr/>
          <p:nvPr/>
        </p:nvSpPr>
        <p:spPr>
          <a:xfrm>
            <a:off x="1356072" y="4030871"/>
            <a:ext cx="454264" cy="454264"/>
          </a:xfrm>
          <a:custGeom>
            <a:avLst/>
            <a:gdLst>
              <a:gd name="connsiteX0" fmla="*/ 380977 w 454501"/>
              <a:gd name="connsiteY0" fmla="*/ 253985 h 454501"/>
              <a:gd name="connsiteX1" fmla="*/ 454499 w 454501"/>
              <a:gd name="connsiteY1" fmla="*/ 253985 h 454501"/>
              <a:gd name="connsiteX2" fmla="*/ 454499 w 454501"/>
              <a:gd name="connsiteY2" fmla="*/ 374295 h 454501"/>
              <a:gd name="connsiteX3" fmla="*/ 380977 w 454501"/>
              <a:gd name="connsiteY3" fmla="*/ 374295 h 454501"/>
              <a:gd name="connsiteX4" fmla="*/ 280720 w 454501"/>
              <a:gd name="connsiteY4" fmla="*/ 140360 h 454501"/>
              <a:gd name="connsiteX5" fmla="*/ 354242 w 454501"/>
              <a:gd name="connsiteY5" fmla="*/ 140360 h 454501"/>
              <a:gd name="connsiteX6" fmla="*/ 354242 w 454501"/>
              <a:gd name="connsiteY6" fmla="*/ 374295 h 454501"/>
              <a:gd name="connsiteX7" fmla="*/ 280720 w 454501"/>
              <a:gd name="connsiteY7" fmla="*/ 374295 h 454501"/>
              <a:gd name="connsiteX8" fmla="*/ 80205 w 454501"/>
              <a:gd name="connsiteY8" fmla="*/ 140360 h 454501"/>
              <a:gd name="connsiteX9" fmla="*/ 153727 w 454501"/>
              <a:gd name="connsiteY9" fmla="*/ 140360 h 454501"/>
              <a:gd name="connsiteX10" fmla="*/ 153727 w 454501"/>
              <a:gd name="connsiteY10" fmla="*/ 374295 h 454501"/>
              <a:gd name="connsiteX11" fmla="*/ 80205 w 454501"/>
              <a:gd name="connsiteY11" fmla="*/ 374295 h 454501"/>
              <a:gd name="connsiteX12" fmla="*/ 180463 w 454501"/>
              <a:gd name="connsiteY12" fmla="*/ 0 h 454501"/>
              <a:gd name="connsiteX13" fmla="*/ 253985 w 454501"/>
              <a:gd name="connsiteY13" fmla="*/ 0 h 454501"/>
              <a:gd name="connsiteX14" fmla="*/ 253985 w 454501"/>
              <a:gd name="connsiteY14" fmla="*/ 374294 h 454501"/>
              <a:gd name="connsiteX15" fmla="*/ 180463 w 454501"/>
              <a:gd name="connsiteY15" fmla="*/ 374294 h 454501"/>
              <a:gd name="connsiteX16" fmla="*/ 0 w 454501"/>
              <a:gd name="connsiteY16" fmla="*/ 0 h 454501"/>
              <a:gd name="connsiteX17" fmla="*/ 40103 w 454501"/>
              <a:gd name="connsiteY17" fmla="*/ 0 h 454501"/>
              <a:gd name="connsiteX18" fmla="*/ 40103 w 454501"/>
              <a:gd name="connsiteY18" fmla="*/ 414398 h 454501"/>
              <a:gd name="connsiteX19" fmla="*/ 454501 w 454501"/>
              <a:gd name="connsiteY19" fmla="*/ 414398 h 454501"/>
              <a:gd name="connsiteX20" fmla="*/ 454501 w 454501"/>
              <a:gd name="connsiteY20" fmla="*/ 454501 h 454501"/>
              <a:gd name="connsiteX21" fmla="*/ 0 w 454501"/>
              <a:gd name="connsiteY21" fmla="*/ 454501 h 45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4501" h="454501">
                <a:moveTo>
                  <a:pt x="380977" y="253985"/>
                </a:moveTo>
                <a:lnTo>
                  <a:pt x="454499" y="253985"/>
                </a:lnTo>
                <a:lnTo>
                  <a:pt x="454499" y="374295"/>
                </a:lnTo>
                <a:lnTo>
                  <a:pt x="380977" y="374295"/>
                </a:lnTo>
                <a:close/>
                <a:moveTo>
                  <a:pt x="280720" y="140360"/>
                </a:moveTo>
                <a:lnTo>
                  <a:pt x="354242" y="140360"/>
                </a:lnTo>
                <a:lnTo>
                  <a:pt x="354242" y="374295"/>
                </a:lnTo>
                <a:lnTo>
                  <a:pt x="280720" y="374295"/>
                </a:lnTo>
                <a:close/>
                <a:moveTo>
                  <a:pt x="80205" y="140360"/>
                </a:moveTo>
                <a:lnTo>
                  <a:pt x="153727" y="140360"/>
                </a:lnTo>
                <a:lnTo>
                  <a:pt x="153727" y="374295"/>
                </a:lnTo>
                <a:lnTo>
                  <a:pt x="80205" y="374295"/>
                </a:lnTo>
                <a:close/>
                <a:moveTo>
                  <a:pt x="180463" y="0"/>
                </a:moveTo>
                <a:lnTo>
                  <a:pt x="253985" y="0"/>
                </a:lnTo>
                <a:lnTo>
                  <a:pt x="253985" y="374294"/>
                </a:lnTo>
                <a:lnTo>
                  <a:pt x="180463" y="374294"/>
                </a:lnTo>
                <a:close/>
                <a:moveTo>
                  <a:pt x="0" y="0"/>
                </a:moveTo>
                <a:lnTo>
                  <a:pt x="40103" y="0"/>
                </a:lnTo>
                <a:lnTo>
                  <a:pt x="40103" y="414398"/>
                </a:lnTo>
                <a:lnTo>
                  <a:pt x="454501" y="414398"/>
                </a:lnTo>
                <a:lnTo>
                  <a:pt x="454501" y="454501"/>
                </a:lnTo>
                <a:lnTo>
                  <a:pt x="0" y="454501"/>
                </a:lnTo>
                <a:close/>
              </a:path>
            </a:pathLst>
          </a:custGeom>
          <a:solidFill>
            <a:schemeClr val="accent6">
              <a:lumMod val="75000"/>
            </a:schemeClr>
          </a:solidFill>
          <a:ln w="6648" cap="flat">
            <a:noFill/>
            <a:prstDash val="solid"/>
            <a:miter/>
          </a:ln>
        </p:spPr>
        <p:txBody>
          <a:bodyPr rtlCol="0" anchor="ctr"/>
          <a:lstStyle/>
          <a:p>
            <a:endParaRPr lang="en-US" sz="1799"/>
          </a:p>
        </p:txBody>
      </p:sp>
      <p:sp>
        <p:nvSpPr>
          <p:cNvPr id="48" name="Freeform: Shape 47">
            <a:extLst>
              <a:ext uri="{FF2B5EF4-FFF2-40B4-BE49-F238E27FC236}">
                <a16:creationId xmlns:a16="http://schemas.microsoft.com/office/drawing/2014/main" id="{8B5362BE-DFE2-685B-B63F-33255F608499}"/>
              </a:ext>
            </a:extLst>
          </p:cNvPr>
          <p:cNvSpPr/>
          <p:nvPr/>
        </p:nvSpPr>
        <p:spPr>
          <a:xfrm>
            <a:off x="3692940" y="5005164"/>
            <a:ext cx="226364" cy="365667"/>
          </a:xfrm>
          <a:custGeom>
            <a:avLst/>
            <a:gdLst>
              <a:gd name="connsiteX0" fmla="*/ 84931 w 226482"/>
              <a:gd name="connsiteY0" fmla="*/ 339723 h 365857"/>
              <a:gd name="connsiteX1" fmla="*/ 141553 w 226482"/>
              <a:gd name="connsiteY1" fmla="*/ 339723 h 365857"/>
              <a:gd name="connsiteX2" fmla="*/ 113242 w 226482"/>
              <a:gd name="connsiteY2" fmla="*/ 365857 h 365857"/>
              <a:gd name="connsiteX3" fmla="*/ 84931 w 226482"/>
              <a:gd name="connsiteY3" fmla="*/ 339723 h 365857"/>
              <a:gd name="connsiteX4" fmla="*/ 69687 w 226482"/>
              <a:gd name="connsiteY4" fmla="*/ 296169 h 365857"/>
              <a:gd name="connsiteX5" fmla="*/ 156796 w 226482"/>
              <a:gd name="connsiteY5" fmla="*/ 296169 h 365857"/>
              <a:gd name="connsiteX6" fmla="*/ 169862 w 226482"/>
              <a:gd name="connsiteY6" fmla="*/ 309236 h 365857"/>
              <a:gd name="connsiteX7" fmla="*/ 156796 w 226482"/>
              <a:gd name="connsiteY7" fmla="*/ 322303 h 365857"/>
              <a:gd name="connsiteX8" fmla="*/ 69687 w 226482"/>
              <a:gd name="connsiteY8" fmla="*/ 322303 h 365857"/>
              <a:gd name="connsiteX9" fmla="*/ 56621 w 226482"/>
              <a:gd name="connsiteY9" fmla="*/ 309236 h 365857"/>
              <a:gd name="connsiteX10" fmla="*/ 69687 w 226482"/>
              <a:gd name="connsiteY10" fmla="*/ 296169 h 365857"/>
              <a:gd name="connsiteX11" fmla="*/ 69687 w 226482"/>
              <a:gd name="connsiteY11" fmla="*/ 252614 h 365857"/>
              <a:gd name="connsiteX12" fmla="*/ 156796 w 226482"/>
              <a:gd name="connsiteY12" fmla="*/ 252614 h 365857"/>
              <a:gd name="connsiteX13" fmla="*/ 169862 w 226482"/>
              <a:gd name="connsiteY13" fmla="*/ 265681 h 365857"/>
              <a:gd name="connsiteX14" fmla="*/ 156796 w 226482"/>
              <a:gd name="connsiteY14" fmla="*/ 278748 h 365857"/>
              <a:gd name="connsiteX15" fmla="*/ 69687 w 226482"/>
              <a:gd name="connsiteY15" fmla="*/ 278748 h 365857"/>
              <a:gd name="connsiteX16" fmla="*/ 56621 w 226482"/>
              <a:gd name="connsiteY16" fmla="*/ 265681 h 365857"/>
              <a:gd name="connsiteX17" fmla="*/ 69687 w 226482"/>
              <a:gd name="connsiteY17" fmla="*/ 252614 h 365857"/>
              <a:gd name="connsiteX18" fmla="*/ 113677 w 226482"/>
              <a:gd name="connsiteY18" fmla="*/ 25697 h 365857"/>
              <a:gd name="connsiteX19" fmla="*/ 26568 w 226482"/>
              <a:gd name="connsiteY19" fmla="*/ 111934 h 365857"/>
              <a:gd name="connsiteX20" fmla="*/ 26568 w 226482"/>
              <a:gd name="connsiteY20" fmla="*/ 115419 h 365857"/>
              <a:gd name="connsiteX21" fmla="*/ 32666 w 226482"/>
              <a:gd name="connsiteY21" fmla="*/ 145907 h 365857"/>
              <a:gd name="connsiteX22" fmla="*/ 47474 w 226482"/>
              <a:gd name="connsiteY22" fmla="*/ 169862 h 365857"/>
              <a:gd name="connsiteX23" fmla="*/ 72736 w 226482"/>
              <a:gd name="connsiteY23" fmla="*/ 209061 h 365857"/>
              <a:gd name="connsiteX24" fmla="*/ 113241 w 226482"/>
              <a:gd name="connsiteY24" fmla="*/ 209061 h 365857"/>
              <a:gd name="connsiteX25" fmla="*/ 154182 w 226482"/>
              <a:gd name="connsiteY25" fmla="*/ 209061 h 365857"/>
              <a:gd name="connsiteX26" fmla="*/ 179444 w 226482"/>
              <a:gd name="connsiteY26" fmla="*/ 169862 h 365857"/>
              <a:gd name="connsiteX27" fmla="*/ 194252 w 226482"/>
              <a:gd name="connsiteY27" fmla="*/ 145907 h 365857"/>
              <a:gd name="connsiteX28" fmla="*/ 200350 w 226482"/>
              <a:gd name="connsiteY28" fmla="*/ 115419 h 365857"/>
              <a:gd name="connsiteX29" fmla="*/ 200785 w 226482"/>
              <a:gd name="connsiteY29" fmla="*/ 115419 h 365857"/>
              <a:gd name="connsiteX30" fmla="*/ 200785 w 226482"/>
              <a:gd name="connsiteY30" fmla="*/ 111934 h 365857"/>
              <a:gd name="connsiteX31" fmla="*/ 113677 w 226482"/>
              <a:gd name="connsiteY31" fmla="*/ 25697 h 365857"/>
              <a:gd name="connsiteX32" fmla="*/ 113241 w 226482"/>
              <a:gd name="connsiteY32" fmla="*/ 0 h 365857"/>
              <a:gd name="connsiteX33" fmla="*/ 226482 w 226482"/>
              <a:gd name="connsiteY33" fmla="*/ 111934 h 365857"/>
              <a:gd name="connsiteX34" fmla="*/ 226482 w 226482"/>
              <a:gd name="connsiteY34" fmla="*/ 115854 h 365857"/>
              <a:gd name="connsiteX35" fmla="*/ 218642 w 226482"/>
              <a:gd name="connsiteY35" fmla="*/ 155053 h 365857"/>
              <a:gd name="connsiteX36" fmla="*/ 199043 w 226482"/>
              <a:gd name="connsiteY36" fmla="*/ 187283 h 365857"/>
              <a:gd name="connsiteX37" fmla="*/ 172475 w 226482"/>
              <a:gd name="connsiteY37" fmla="*/ 230402 h 365857"/>
              <a:gd name="connsiteX38" fmla="*/ 164635 w 226482"/>
              <a:gd name="connsiteY38" fmla="*/ 235193 h 365857"/>
              <a:gd name="connsiteX39" fmla="*/ 61847 w 226482"/>
              <a:gd name="connsiteY39" fmla="*/ 235193 h 365857"/>
              <a:gd name="connsiteX40" fmla="*/ 54007 w 226482"/>
              <a:gd name="connsiteY40" fmla="*/ 230402 h 365857"/>
              <a:gd name="connsiteX41" fmla="*/ 27439 w 226482"/>
              <a:gd name="connsiteY41" fmla="*/ 187283 h 365857"/>
              <a:gd name="connsiteX42" fmla="*/ 7840 w 226482"/>
              <a:gd name="connsiteY42" fmla="*/ 155053 h 365857"/>
              <a:gd name="connsiteX43" fmla="*/ 0 w 226482"/>
              <a:gd name="connsiteY43" fmla="*/ 115854 h 365857"/>
              <a:gd name="connsiteX44" fmla="*/ 0 w 226482"/>
              <a:gd name="connsiteY44" fmla="*/ 111934 h 365857"/>
              <a:gd name="connsiteX45" fmla="*/ 113241 w 226482"/>
              <a:gd name="connsiteY45" fmla="*/ 0 h 3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26482" h="365857">
                <a:moveTo>
                  <a:pt x="84931" y="339723"/>
                </a:moveTo>
                <a:lnTo>
                  <a:pt x="141553" y="339723"/>
                </a:lnTo>
                <a:cubicBezTo>
                  <a:pt x="140246" y="354532"/>
                  <a:pt x="128051" y="365857"/>
                  <a:pt x="113242" y="365857"/>
                </a:cubicBezTo>
                <a:cubicBezTo>
                  <a:pt x="98433" y="365857"/>
                  <a:pt x="86238" y="354532"/>
                  <a:pt x="84931" y="339723"/>
                </a:cubicBezTo>
                <a:close/>
                <a:moveTo>
                  <a:pt x="69687" y="296169"/>
                </a:moveTo>
                <a:lnTo>
                  <a:pt x="156796" y="296169"/>
                </a:lnTo>
                <a:cubicBezTo>
                  <a:pt x="164200" y="296169"/>
                  <a:pt x="169862" y="301831"/>
                  <a:pt x="169862" y="309236"/>
                </a:cubicBezTo>
                <a:cubicBezTo>
                  <a:pt x="169862" y="316640"/>
                  <a:pt x="164200" y="322303"/>
                  <a:pt x="156796" y="322303"/>
                </a:cubicBezTo>
                <a:lnTo>
                  <a:pt x="69687" y="322303"/>
                </a:lnTo>
                <a:cubicBezTo>
                  <a:pt x="62283" y="322303"/>
                  <a:pt x="56621" y="316640"/>
                  <a:pt x="56621" y="309236"/>
                </a:cubicBezTo>
                <a:cubicBezTo>
                  <a:pt x="56621" y="301831"/>
                  <a:pt x="62283" y="296169"/>
                  <a:pt x="69687" y="296169"/>
                </a:cubicBezTo>
                <a:close/>
                <a:moveTo>
                  <a:pt x="69687" y="252614"/>
                </a:moveTo>
                <a:lnTo>
                  <a:pt x="156796" y="252614"/>
                </a:lnTo>
                <a:cubicBezTo>
                  <a:pt x="164200" y="252614"/>
                  <a:pt x="169862" y="258276"/>
                  <a:pt x="169862" y="265681"/>
                </a:cubicBezTo>
                <a:cubicBezTo>
                  <a:pt x="169862" y="273085"/>
                  <a:pt x="164200" y="278748"/>
                  <a:pt x="156796" y="278748"/>
                </a:cubicBezTo>
                <a:lnTo>
                  <a:pt x="69687" y="278748"/>
                </a:lnTo>
                <a:cubicBezTo>
                  <a:pt x="62283" y="278748"/>
                  <a:pt x="56621" y="273085"/>
                  <a:pt x="56621" y="265681"/>
                </a:cubicBezTo>
                <a:cubicBezTo>
                  <a:pt x="56621" y="258276"/>
                  <a:pt x="62283" y="252614"/>
                  <a:pt x="69687" y="252614"/>
                </a:cubicBezTo>
                <a:close/>
                <a:moveTo>
                  <a:pt x="113677" y="25697"/>
                </a:moveTo>
                <a:cubicBezTo>
                  <a:pt x="66202" y="26133"/>
                  <a:pt x="27439" y="64460"/>
                  <a:pt x="26568" y="111934"/>
                </a:cubicBezTo>
                <a:lnTo>
                  <a:pt x="26568" y="115419"/>
                </a:lnTo>
                <a:cubicBezTo>
                  <a:pt x="27004" y="125872"/>
                  <a:pt x="28746" y="136325"/>
                  <a:pt x="32666" y="145907"/>
                </a:cubicBezTo>
                <a:cubicBezTo>
                  <a:pt x="36150" y="154618"/>
                  <a:pt x="41377" y="162893"/>
                  <a:pt x="47474" y="169862"/>
                </a:cubicBezTo>
                <a:cubicBezTo>
                  <a:pt x="57056" y="182057"/>
                  <a:pt x="65767" y="195123"/>
                  <a:pt x="72736" y="209061"/>
                </a:cubicBezTo>
                <a:lnTo>
                  <a:pt x="113241" y="209061"/>
                </a:lnTo>
                <a:lnTo>
                  <a:pt x="154182" y="209061"/>
                </a:lnTo>
                <a:cubicBezTo>
                  <a:pt x="160715" y="195123"/>
                  <a:pt x="169426" y="182057"/>
                  <a:pt x="179444" y="169862"/>
                </a:cubicBezTo>
                <a:cubicBezTo>
                  <a:pt x="185977" y="162893"/>
                  <a:pt x="190768" y="154618"/>
                  <a:pt x="194252" y="145907"/>
                </a:cubicBezTo>
                <a:cubicBezTo>
                  <a:pt x="197736" y="136325"/>
                  <a:pt x="199914" y="125872"/>
                  <a:pt x="200350" y="115419"/>
                </a:cubicBezTo>
                <a:lnTo>
                  <a:pt x="200785" y="115419"/>
                </a:lnTo>
                <a:lnTo>
                  <a:pt x="200785" y="111934"/>
                </a:lnTo>
                <a:cubicBezTo>
                  <a:pt x="199914" y="64025"/>
                  <a:pt x="161151" y="26133"/>
                  <a:pt x="113677" y="25697"/>
                </a:cubicBezTo>
                <a:close/>
                <a:moveTo>
                  <a:pt x="113241" y="0"/>
                </a:moveTo>
                <a:cubicBezTo>
                  <a:pt x="175088" y="436"/>
                  <a:pt x="225176" y="50087"/>
                  <a:pt x="226482" y="111934"/>
                </a:cubicBezTo>
                <a:lnTo>
                  <a:pt x="226482" y="115854"/>
                </a:lnTo>
                <a:cubicBezTo>
                  <a:pt x="226047" y="129356"/>
                  <a:pt x="223433" y="142422"/>
                  <a:pt x="218642" y="155053"/>
                </a:cubicBezTo>
                <a:cubicBezTo>
                  <a:pt x="214287" y="166813"/>
                  <a:pt x="207318" y="177701"/>
                  <a:pt x="199043" y="187283"/>
                </a:cubicBezTo>
                <a:cubicBezTo>
                  <a:pt x="188590" y="198607"/>
                  <a:pt x="177266" y="220820"/>
                  <a:pt x="172475" y="230402"/>
                </a:cubicBezTo>
                <a:cubicBezTo>
                  <a:pt x="171168" y="233451"/>
                  <a:pt x="168119" y="235193"/>
                  <a:pt x="164635" y="235193"/>
                </a:cubicBezTo>
                <a:lnTo>
                  <a:pt x="61847" y="235193"/>
                </a:lnTo>
                <a:cubicBezTo>
                  <a:pt x="58363" y="235193"/>
                  <a:pt x="55314" y="233451"/>
                  <a:pt x="54007" y="230402"/>
                </a:cubicBezTo>
                <a:cubicBezTo>
                  <a:pt x="49216" y="220820"/>
                  <a:pt x="37892" y="198607"/>
                  <a:pt x="27439" y="187283"/>
                </a:cubicBezTo>
                <a:cubicBezTo>
                  <a:pt x="19164" y="177701"/>
                  <a:pt x="12631" y="166813"/>
                  <a:pt x="7840" y="155053"/>
                </a:cubicBezTo>
                <a:cubicBezTo>
                  <a:pt x="3049" y="142422"/>
                  <a:pt x="436" y="129356"/>
                  <a:pt x="0" y="115854"/>
                </a:cubicBezTo>
                <a:lnTo>
                  <a:pt x="0" y="111934"/>
                </a:lnTo>
                <a:cubicBezTo>
                  <a:pt x="1307" y="50087"/>
                  <a:pt x="51394" y="436"/>
                  <a:pt x="113241" y="0"/>
                </a:cubicBezTo>
                <a:close/>
              </a:path>
            </a:pathLst>
          </a:custGeom>
          <a:solidFill>
            <a:schemeClr val="accent5"/>
          </a:solidFill>
          <a:ln w="4266" cap="flat">
            <a:noFill/>
            <a:prstDash val="solid"/>
            <a:miter/>
          </a:ln>
        </p:spPr>
        <p:txBody>
          <a:bodyPr rtlCol="0" anchor="ctr"/>
          <a:lstStyle/>
          <a:p>
            <a:endParaRPr lang="en-US" sz="1799"/>
          </a:p>
        </p:txBody>
      </p:sp>
      <p:sp>
        <p:nvSpPr>
          <p:cNvPr id="49" name="Freeform: Shape 48">
            <a:extLst>
              <a:ext uri="{FF2B5EF4-FFF2-40B4-BE49-F238E27FC236}">
                <a16:creationId xmlns:a16="http://schemas.microsoft.com/office/drawing/2014/main" id="{6CAECAD6-5926-2A51-8124-0D2B0CC3460F}"/>
              </a:ext>
            </a:extLst>
          </p:cNvPr>
          <p:cNvSpPr/>
          <p:nvPr/>
        </p:nvSpPr>
        <p:spPr>
          <a:xfrm>
            <a:off x="5330242" y="3456894"/>
            <a:ext cx="496627" cy="297630"/>
          </a:xfrm>
          <a:custGeom>
            <a:avLst/>
            <a:gdLst>
              <a:gd name="connsiteX0" fmla="*/ 259321 w 496886"/>
              <a:gd name="connsiteY0" fmla="*/ 243291 h 297785"/>
              <a:gd name="connsiteX1" fmla="*/ 260466 w 496886"/>
              <a:gd name="connsiteY1" fmla="*/ 259319 h 297785"/>
              <a:gd name="connsiteX2" fmla="*/ 238140 w 496886"/>
              <a:gd name="connsiteY2" fmla="*/ 285080 h 297785"/>
              <a:gd name="connsiteX3" fmla="*/ 230698 w 496886"/>
              <a:gd name="connsiteY3" fmla="*/ 289087 h 297785"/>
              <a:gd name="connsiteX4" fmla="*/ 222111 w 496886"/>
              <a:gd name="connsiteY4" fmla="*/ 286224 h 297785"/>
              <a:gd name="connsiteX5" fmla="*/ 220966 w 496886"/>
              <a:gd name="connsiteY5" fmla="*/ 270196 h 297785"/>
              <a:gd name="connsiteX6" fmla="*/ 243292 w 496886"/>
              <a:gd name="connsiteY6" fmla="*/ 244436 h 297785"/>
              <a:gd name="connsiteX7" fmla="*/ 259321 w 496886"/>
              <a:gd name="connsiteY7" fmla="*/ 243291 h 297785"/>
              <a:gd name="connsiteX8" fmla="*/ 219894 w 496886"/>
              <a:gd name="connsiteY8" fmla="*/ 217460 h 297785"/>
              <a:gd name="connsiteX9" fmla="*/ 230126 w 496886"/>
              <a:gd name="connsiteY9" fmla="*/ 220966 h 297785"/>
              <a:gd name="connsiteX10" fmla="*/ 231271 w 496886"/>
              <a:gd name="connsiteY10" fmla="*/ 241001 h 297785"/>
              <a:gd name="connsiteX11" fmla="*/ 204937 w 496886"/>
              <a:gd name="connsiteY11" fmla="*/ 271341 h 297785"/>
              <a:gd name="connsiteX12" fmla="*/ 195778 w 496886"/>
              <a:gd name="connsiteY12" fmla="*/ 275921 h 297785"/>
              <a:gd name="connsiteX13" fmla="*/ 184902 w 496886"/>
              <a:gd name="connsiteY13" fmla="*/ 272486 h 297785"/>
              <a:gd name="connsiteX14" fmla="*/ 183757 w 496886"/>
              <a:gd name="connsiteY14" fmla="*/ 252450 h 297785"/>
              <a:gd name="connsiteX15" fmla="*/ 210089 w 496886"/>
              <a:gd name="connsiteY15" fmla="*/ 222111 h 297785"/>
              <a:gd name="connsiteX16" fmla="*/ 219894 w 496886"/>
              <a:gd name="connsiteY16" fmla="*/ 217460 h 297785"/>
              <a:gd name="connsiteX17" fmla="*/ 183541 w 496886"/>
              <a:gd name="connsiteY17" fmla="*/ 190554 h 297785"/>
              <a:gd name="connsiteX18" fmla="*/ 195777 w 496886"/>
              <a:gd name="connsiteY18" fmla="*/ 194633 h 297785"/>
              <a:gd name="connsiteX19" fmla="*/ 197495 w 496886"/>
              <a:gd name="connsiteY19" fmla="*/ 218676 h 297785"/>
              <a:gd name="connsiteX20" fmla="*/ 171162 w 496886"/>
              <a:gd name="connsiteY20" fmla="*/ 249017 h 297785"/>
              <a:gd name="connsiteX21" fmla="*/ 159713 w 496886"/>
              <a:gd name="connsiteY21" fmla="*/ 254741 h 297785"/>
              <a:gd name="connsiteX22" fmla="*/ 147119 w 496886"/>
              <a:gd name="connsiteY22" fmla="*/ 250734 h 297785"/>
              <a:gd name="connsiteX23" fmla="*/ 145402 w 496886"/>
              <a:gd name="connsiteY23" fmla="*/ 226690 h 297785"/>
              <a:gd name="connsiteX24" fmla="*/ 171734 w 496886"/>
              <a:gd name="connsiteY24" fmla="*/ 196350 h 297785"/>
              <a:gd name="connsiteX25" fmla="*/ 183541 w 496886"/>
              <a:gd name="connsiteY25" fmla="*/ 190554 h 297785"/>
              <a:gd name="connsiteX26" fmla="*/ 145760 w 496886"/>
              <a:gd name="connsiteY26" fmla="*/ 165366 h 297785"/>
              <a:gd name="connsiteX27" fmla="*/ 157997 w 496886"/>
              <a:gd name="connsiteY27" fmla="*/ 169445 h 297785"/>
              <a:gd name="connsiteX28" fmla="*/ 159714 w 496886"/>
              <a:gd name="connsiteY28" fmla="*/ 193488 h 297785"/>
              <a:gd name="connsiteX29" fmla="*/ 129373 w 496886"/>
              <a:gd name="connsiteY29" fmla="*/ 227836 h 297785"/>
              <a:gd name="connsiteX30" fmla="*/ 117924 w 496886"/>
              <a:gd name="connsiteY30" fmla="*/ 233560 h 297785"/>
              <a:gd name="connsiteX31" fmla="*/ 105330 w 496886"/>
              <a:gd name="connsiteY31" fmla="*/ 229553 h 297785"/>
              <a:gd name="connsiteX32" fmla="*/ 103613 w 496886"/>
              <a:gd name="connsiteY32" fmla="*/ 205510 h 297785"/>
              <a:gd name="connsiteX33" fmla="*/ 133953 w 496886"/>
              <a:gd name="connsiteY33" fmla="*/ 171162 h 297785"/>
              <a:gd name="connsiteX34" fmla="*/ 145760 w 496886"/>
              <a:gd name="connsiteY34" fmla="*/ 165366 h 297785"/>
              <a:gd name="connsiteX35" fmla="*/ 120214 w 496886"/>
              <a:gd name="connsiteY35" fmla="*/ 51520 h 297785"/>
              <a:gd name="connsiteX36" fmla="*/ 215241 w 496886"/>
              <a:gd name="connsiteY36" fmla="*/ 58389 h 297785"/>
              <a:gd name="connsiteX37" fmla="*/ 181466 w 496886"/>
              <a:gd name="connsiteY37" fmla="*/ 97316 h 297785"/>
              <a:gd name="connsiteX38" fmla="*/ 184901 w 496886"/>
              <a:gd name="connsiteY38" fmla="*/ 145974 h 297785"/>
              <a:gd name="connsiteX39" fmla="*/ 207227 w 496886"/>
              <a:gd name="connsiteY39" fmla="*/ 154561 h 297785"/>
              <a:gd name="connsiteX40" fmla="*/ 210089 w 496886"/>
              <a:gd name="connsiteY40" fmla="*/ 154561 h 297785"/>
              <a:gd name="connsiteX41" fmla="*/ 232988 w 496886"/>
              <a:gd name="connsiteY41" fmla="*/ 143112 h 297785"/>
              <a:gd name="connsiteX42" fmla="*/ 272487 w 496886"/>
              <a:gd name="connsiteY42" fmla="*/ 97888 h 297785"/>
              <a:gd name="connsiteX43" fmla="*/ 278784 w 496886"/>
              <a:gd name="connsiteY43" fmla="*/ 103613 h 297785"/>
              <a:gd name="connsiteX44" fmla="*/ 370948 w 496886"/>
              <a:gd name="connsiteY44" fmla="*/ 182611 h 297785"/>
              <a:gd name="connsiteX45" fmla="*/ 377245 w 496886"/>
              <a:gd name="connsiteY45" fmla="*/ 198067 h 297785"/>
              <a:gd name="connsiteX46" fmla="*/ 356637 w 496886"/>
              <a:gd name="connsiteY46" fmla="*/ 222684 h 297785"/>
              <a:gd name="connsiteX47" fmla="*/ 344616 w 496886"/>
              <a:gd name="connsiteY47" fmla="*/ 220394 h 297785"/>
              <a:gd name="connsiteX48" fmla="*/ 345188 w 496886"/>
              <a:gd name="connsiteY48" fmla="*/ 223828 h 297785"/>
              <a:gd name="connsiteX49" fmla="*/ 324580 w 496886"/>
              <a:gd name="connsiteY49" fmla="*/ 248444 h 297785"/>
              <a:gd name="connsiteX50" fmla="*/ 318855 w 496886"/>
              <a:gd name="connsiteY50" fmla="*/ 247871 h 297785"/>
              <a:gd name="connsiteX51" fmla="*/ 318855 w 496886"/>
              <a:gd name="connsiteY51" fmla="*/ 248444 h 297785"/>
              <a:gd name="connsiteX52" fmla="*/ 298247 w 496886"/>
              <a:gd name="connsiteY52" fmla="*/ 273059 h 297785"/>
              <a:gd name="connsiteX53" fmla="*/ 292523 w 496886"/>
              <a:gd name="connsiteY53" fmla="*/ 272487 h 297785"/>
              <a:gd name="connsiteX54" fmla="*/ 292523 w 496886"/>
              <a:gd name="connsiteY54" fmla="*/ 273059 h 297785"/>
              <a:gd name="connsiteX55" fmla="*/ 271914 w 496886"/>
              <a:gd name="connsiteY55" fmla="*/ 297675 h 297785"/>
              <a:gd name="connsiteX56" fmla="*/ 258176 w 496886"/>
              <a:gd name="connsiteY56" fmla="*/ 294240 h 297785"/>
              <a:gd name="connsiteX57" fmla="*/ 250161 w 496886"/>
              <a:gd name="connsiteY57" fmla="*/ 287943 h 297785"/>
              <a:gd name="connsiteX58" fmla="*/ 269625 w 496886"/>
              <a:gd name="connsiteY58" fmla="*/ 265617 h 297785"/>
              <a:gd name="connsiteX59" fmla="*/ 275349 w 496886"/>
              <a:gd name="connsiteY59" fmla="*/ 249016 h 297785"/>
              <a:gd name="connsiteX60" fmla="*/ 267335 w 496886"/>
              <a:gd name="connsiteY60" fmla="*/ 233560 h 297785"/>
              <a:gd name="connsiteX61" fmla="*/ 252451 w 496886"/>
              <a:gd name="connsiteY61" fmla="*/ 227836 h 297785"/>
              <a:gd name="connsiteX62" fmla="*/ 246154 w 496886"/>
              <a:gd name="connsiteY62" fmla="*/ 228981 h 297785"/>
              <a:gd name="connsiteX63" fmla="*/ 237567 w 496886"/>
              <a:gd name="connsiteY63" fmla="*/ 211235 h 297785"/>
              <a:gd name="connsiteX64" fmla="*/ 220394 w 496886"/>
              <a:gd name="connsiteY64" fmla="*/ 204937 h 297785"/>
              <a:gd name="connsiteX65" fmla="*/ 212951 w 496886"/>
              <a:gd name="connsiteY65" fmla="*/ 206082 h 297785"/>
              <a:gd name="connsiteX66" fmla="*/ 203219 w 496886"/>
              <a:gd name="connsiteY66" fmla="*/ 184901 h 297785"/>
              <a:gd name="connsiteX67" fmla="*/ 184329 w 496886"/>
              <a:gd name="connsiteY67" fmla="*/ 178031 h 297785"/>
              <a:gd name="connsiteX68" fmla="*/ 174597 w 496886"/>
              <a:gd name="connsiteY68" fmla="*/ 179749 h 297785"/>
              <a:gd name="connsiteX69" fmla="*/ 164865 w 496886"/>
              <a:gd name="connsiteY69" fmla="*/ 159141 h 297785"/>
              <a:gd name="connsiteX70" fmla="*/ 145974 w 496886"/>
              <a:gd name="connsiteY70" fmla="*/ 152271 h 297785"/>
              <a:gd name="connsiteX71" fmla="*/ 124221 w 496886"/>
              <a:gd name="connsiteY71" fmla="*/ 162003 h 297785"/>
              <a:gd name="connsiteX72" fmla="*/ 109338 w 496886"/>
              <a:gd name="connsiteY72" fmla="*/ 179176 h 297785"/>
              <a:gd name="connsiteX73" fmla="*/ 70411 w 496886"/>
              <a:gd name="connsiteY73" fmla="*/ 133953 h 297785"/>
              <a:gd name="connsiteX74" fmla="*/ 254168 w 496886"/>
              <a:gd name="connsiteY74" fmla="*/ 46368 h 297785"/>
              <a:gd name="connsiteX75" fmla="*/ 257030 w 496886"/>
              <a:gd name="connsiteY75" fmla="*/ 46941 h 297785"/>
              <a:gd name="connsiteX76" fmla="*/ 377244 w 496886"/>
              <a:gd name="connsiteY76" fmla="*/ 53810 h 297785"/>
              <a:gd name="connsiteX77" fmla="*/ 425903 w 496886"/>
              <a:gd name="connsiteY77" fmla="*/ 133382 h 297785"/>
              <a:gd name="connsiteX78" fmla="*/ 384686 w 496886"/>
              <a:gd name="connsiteY78" fmla="*/ 180895 h 297785"/>
              <a:gd name="connsiteX79" fmla="*/ 378389 w 496886"/>
              <a:gd name="connsiteY79" fmla="*/ 173453 h 297785"/>
              <a:gd name="connsiteX80" fmla="*/ 271341 w 496886"/>
              <a:gd name="connsiteY80" fmla="*/ 81288 h 297785"/>
              <a:gd name="connsiteX81" fmla="*/ 224400 w 496886"/>
              <a:gd name="connsiteY81" fmla="*/ 135099 h 297785"/>
              <a:gd name="connsiteX82" fmla="*/ 208944 w 496886"/>
              <a:gd name="connsiteY82" fmla="*/ 143113 h 297785"/>
              <a:gd name="connsiteX83" fmla="*/ 191771 w 496886"/>
              <a:gd name="connsiteY83" fmla="*/ 137389 h 297785"/>
              <a:gd name="connsiteX84" fmla="*/ 189481 w 496886"/>
              <a:gd name="connsiteY84" fmla="*/ 105331 h 297785"/>
              <a:gd name="connsiteX85" fmla="*/ 234704 w 496886"/>
              <a:gd name="connsiteY85" fmla="*/ 53810 h 297785"/>
              <a:gd name="connsiteX86" fmla="*/ 254168 w 496886"/>
              <a:gd name="connsiteY86" fmla="*/ 46368 h 297785"/>
              <a:gd name="connsiteX87" fmla="*/ 432199 w 496886"/>
              <a:gd name="connsiteY87" fmla="*/ 0 h 297785"/>
              <a:gd name="connsiteX88" fmla="*/ 496886 w 496886"/>
              <a:gd name="connsiteY88" fmla="*/ 107622 h 297785"/>
              <a:gd name="connsiteX89" fmla="*/ 452807 w 496886"/>
              <a:gd name="connsiteY89" fmla="*/ 134527 h 297785"/>
              <a:gd name="connsiteX90" fmla="*/ 437351 w 496886"/>
              <a:gd name="connsiteY90" fmla="*/ 130520 h 297785"/>
              <a:gd name="connsiteX91" fmla="*/ 384113 w 496886"/>
              <a:gd name="connsiteY91" fmla="*/ 42361 h 297785"/>
              <a:gd name="connsiteX92" fmla="*/ 388120 w 496886"/>
              <a:gd name="connsiteY92" fmla="*/ 26905 h 297785"/>
              <a:gd name="connsiteX93" fmla="*/ 65259 w 496886"/>
              <a:gd name="connsiteY93" fmla="*/ 0 h 297785"/>
              <a:gd name="connsiteX94" fmla="*/ 108766 w 496886"/>
              <a:gd name="connsiteY94" fmla="*/ 26905 h 297785"/>
              <a:gd name="connsiteX95" fmla="*/ 112773 w 496886"/>
              <a:gd name="connsiteY95" fmla="*/ 42361 h 297785"/>
              <a:gd name="connsiteX96" fmla="*/ 59535 w 496886"/>
              <a:gd name="connsiteY96" fmla="*/ 130520 h 297785"/>
              <a:gd name="connsiteX97" fmla="*/ 44079 w 496886"/>
              <a:gd name="connsiteY97" fmla="*/ 134527 h 297785"/>
              <a:gd name="connsiteX98" fmla="*/ 0 w 496886"/>
              <a:gd name="connsiteY98" fmla="*/ 107622 h 29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96886" h="297785">
                <a:moveTo>
                  <a:pt x="259321" y="243291"/>
                </a:moveTo>
                <a:cubicBezTo>
                  <a:pt x="263900" y="247298"/>
                  <a:pt x="264473" y="254740"/>
                  <a:pt x="260466" y="259319"/>
                </a:cubicBezTo>
                <a:lnTo>
                  <a:pt x="238140" y="285080"/>
                </a:lnTo>
                <a:cubicBezTo>
                  <a:pt x="236423" y="287369"/>
                  <a:pt x="233561" y="288514"/>
                  <a:pt x="230698" y="289087"/>
                </a:cubicBezTo>
                <a:cubicBezTo>
                  <a:pt x="227835" y="289087"/>
                  <a:pt x="224400" y="288514"/>
                  <a:pt x="222111" y="286224"/>
                </a:cubicBezTo>
                <a:cubicBezTo>
                  <a:pt x="217531" y="282217"/>
                  <a:pt x="216959" y="274775"/>
                  <a:pt x="220966" y="270196"/>
                </a:cubicBezTo>
                <a:lnTo>
                  <a:pt x="243292" y="244436"/>
                </a:lnTo>
                <a:cubicBezTo>
                  <a:pt x="247299" y="239856"/>
                  <a:pt x="254741" y="239284"/>
                  <a:pt x="259321" y="243291"/>
                </a:cubicBezTo>
                <a:close/>
                <a:moveTo>
                  <a:pt x="219894" y="217460"/>
                </a:moveTo>
                <a:cubicBezTo>
                  <a:pt x="223543" y="217245"/>
                  <a:pt x="227264" y="218390"/>
                  <a:pt x="230126" y="220966"/>
                </a:cubicBezTo>
                <a:cubicBezTo>
                  <a:pt x="235851" y="226118"/>
                  <a:pt x="236423" y="235277"/>
                  <a:pt x="231271" y="241001"/>
                </a:cubicBezTo>
                <a:lnTo>
                  <a:pt x="204937" y="271341"/>
                </a:lnTo>
                <a:cubicBezTo>
                  <a:pt x="202647" y="274204"/>
                  <a:pt x="199213" y="275921"/>
                  <a:pt x="195778" y="275921"/>
                </a:cubicBezTo>
                <a:cubicBezTo>
                  <a:pt x="191771" y="276493"/>
                  <a:pt x="188336" y="275348"/>
                  <a:pt x="184902" y="272486"/>
                </a:cubicBezTo>
                <a:cubicBezTo>
                  <a:pt x="179177" y="267334"/>
                  <a:pt x="178605" y="258175"/>
                  <a:pt x="183757" y="252450"/>
                </a:cubicBezTo>
                <a:lnTo>
                  <a:pt x="210089" y="222111"/>
                </a:lnTo>
                <a:cubicBezTo>
                  <a:pt x="212665" y="219248"/>
                  <a:pt x="216243" y="217674"/>
                  <a:pt x="219894" y="217460"/>
                </a:cubicBezTo>
                <a:close/>
                <a:moveTo>
                  <a:pt x="183541" y="190554"/>
                </a:moveTo>
                <a:cubicBezTo>
                  <a:pt x="187906" y="190196"/>
                  <a:pt x="192342" y="191484"/>
                  <a:pt x="195777" y="194633"/>
                </a:cubicBezTo>
                <a:cubicBezTo>
                  <a:pt x="202647" y="200930"/>
                  <a:pt x="203792" y="211806"/>
                  <a:pt x="197495" y="218676"/>
                </a:cubicBezTo>
                <a:lnTo>
                  <a:pt x="171162" y="249017"/>
                </a:lnTo>
                <a:cubicBezTo>
                  <a:pt x="168300" y="252451"/>
                  <a:pt x="163720" y="254741"/>
                  <a:pt x="159713" y="254741"/>
                </a:cubicBezTo>
                <a:cubicBezTo>
                  <a:pt x="155133" y="255313"/>
                  <a:pt x="150554" y="253596"/>
                  <a:pt x="147119" y="250734"/>
                </a:cubicBezTo>
                <a:cubicBezTo>
                  <a:pt x="140250" y="244437"/>
                  <a:pt x="139105" y="233560"/>
                  <a:pt x="145402" y="226690"/>
                </a:cubicBezTo>
                <a:lnTo>
                  <a:pt x="171734" y="196350"/>
                </a:lnTo>
                <a:cubicBezTo>
                  <a:pt x="174882" y="192915"/>
                  <a:pt x="179176" y="190912"/>
                  <a:pt x="183541" y="190554"/>
                </a:cubicBezTo>
                <a:close/>
                <a:moveTo>
                  <a:pt x="145760" y="165366"/>
                </a:moveTo>
                <a:cubicBezTo>
                  <a:pt x="150125" y="165008"/>
                  <a:pt x="154562" y="166296"/>
                  <a:pt x="157997" y="169445"/>
                </a:cubicBezTo>
                <a:cubicBezTo>
                  <a:pt x="164866" y="175742"/>
                  <a:pt x="166011" y="186618"/>
                  <a:pt x="159714" y="193488"/>
                </a:cubicBezTo>
                <a:lnTo>
                  <a:pt x="129373" y="227836"/>
                </a:lnTo>
                <a:cubicBezTo>
                  <a:pt x="125938" y="231270"/>
                  <a:pt x="121931" y="232988"/>
                  <a:pt x="117924" y="233560"/>
                </a:cubicBezTo>
                <a:cubicBezTo>
                  <a:pt x="113344" y="234133"/>
                  <a:pt x="108765" y="232415"/>
                  <a:pt x="105330" y="229553"/>
                </a:cubicBezTo>
                <a:cubicBezTo>
                  <a:pt x="98461" y="223256"/>
                  <a:pt x="97316" y="212380"/>
                  <a:pt x="103613" y="205510"/>
                </a:cubicBezTo>
                <a:lnTo>
                  <a:pt x="133953" y="171162"/>
                </a:lnTo>
                <a:cubicBezTo>
                  <a:pt x="137102" y="167727"/>
                  <a:pt x="141395" y="165724"/>
                  <a:pt x="145760" y="165366"/>
                </a:cubicBezTo>
                <a:close/>
                <a:moveTo>
                  <a:pt x="120214" y="51520"/>
                </a:moveTo>
                <a:cubicBezTo>
                  <a:pt x="155134" y="68694"/>
                  <a:pt x="188908" y="54955"/>
                  <a:pt x="215241" y="58389"/>
                </a:cubicBezTo>
                <a:lnTo>
                  <a:pt x="181466" y="97316"/>
                </a:lnTo>
                <a:cubicBezTo>
                  <a:pt x="169445" y="111627"/>
                  <a:pt x="170590" y="133380"/>
                  <a:pt x="184901" y="145974"/>
                </a:cubicBezTo>
                <a:cubicBezTo>
                  <a:pt x="190626" y="151699"/>
                  <a:pt x="198640" y="154561"/>
                  <a:pt x="207227" y="154561"/>
                </a:cubicBezTo>
                <a:cubicBezTo>
                  <a:pt x="207799" y="154561"/>
                  <a:pt x="208944" y="154561"/>
                  <a:pt x="210089" y="154561"/>
                </a:cubicBezTo>
                <a:cubicBezTo>
                  <a:pt x="219249" y="153989"/>
                  <a:pt x="227263" y="149981"/>
                  <a:pt x="232988" y="143112"/>
                </a:cubicBezTo>
                <a:lnTo>
                  <a:pt x="272487" y="97888"/>
                </a:lnTo>
                <a:lnTo>
                  <a:pt x="278784" y="103613"/>
                </a:lnTo>
                <a:lnTo>
                  <a:pt x="370948" y="182611"/>
                </a:lnTo>
                <a:cubicBezTo>
                  <a:pt x="374955" y="186618"/>
                  <a:pt x="377818" y="191770"/>
                  <a:pt x="377245" y="198067"/>
                </a:cubicBezTo>
                <a:cubicBezTo>
                  <a:pt x="378390" y="210662"/>
                  <a:pt x="369231" y="221539"/>
                  <a:pt x="356637" y="222684"/>
                </a:cubicBezTo>
                <a:cubicBezTo>
                  <a:pt x="352057" y="223256"/>
                  <a:pt x="348050" y="222111"/>
                  <a:pt x="344616" y="220394"/>
                </a:cubicBezTo>
                <a:cubicBezTo>
                  <a:pt x="344616" y="221539"/>
                  <a:pt x="345188" y="222684"/>
                  <a:pt x="345188" y="223828"/>
                </a:cubicBezTo>
                <a:cubicBezTo>
                  <a:pt x="346333" y="236422"/>
                  <a:pt x="337174" y="247299"/>
                  <a:pt x="324580" y="248444"/>
                </a:cubicBezTo>
                <a:cubicBezTo>
                  <a:pt x="322862" y="248444"/>
                  <a:pt x="320573" y="248444"/>
                  <a:pt x="318855" y="247871"/>
                </a:cubicBezTo>
                <a:cubicBezTo>
                  <a:pt x="318855" y="247871"/>
                  <a:pt x="318855" y="248444"/>
                  <a:pt x="318855" y="248444"/>
                </a:cubicBezTo>
                <a:cubicBezTo>
                  <a:pt x="320000" y="261038"/>
                  <a:pt x="310841" y="271914"/>
                  <a:pt x="298247" y="273059"/>
                </a:cubicBezTo>
                <a:cubicBezTo>
                  <a:pt x="296530" y="273059"/>
                  <a:pt x="294240" y="273059"/>
                  <a:pt x="292523" y="272487"/>
                </a:cubicBezTo>
                <a:cubicBezTo>
                  <a:pt x="292523" y="272487"/>
                  <a:pt x="292523" y="273059"/>
                  <a:pt x="292523" y="273059"/>
                </a:cubicBezTo>
                <a:cubicBezTo>
                  <a:pt x="293668" y="285653"/>
                  <a:pt x="284508" y="296530"/>
                  <a:pt x="271914" y="297675"/>
                </a:cubicBezTo>
                <a:cubicBezTo>
                  <a:pt x="266762" y="298247"/>
                  <a:pt x="262183" y="296530"/>
                  <a:pt x="258176" y="294240"/>
                </a:cubicBezTo>
                <a:lnTo>
                  <a:pt x="250161" y="287943"/>
                </a:lnTo>
                <a:lnTo>
                  <a:pt x="269625" y="265617"/>
                </a:lnTo>
                <a:cubicBezTo>
                  <a:pt x="273632" y="261038"/>
                  <a:pt x="275922" y="255313"/>
                  <a:pt x="275349" y="249016"/>
                </a:cubicBezTo>
                <a:cubicBezTo>
                  <a:pt x="274777" y="243292"/>
                  <a:pt x="271914" y="237567"/>
                  <a:pt x="267335" y="233560"/>
                </a:cubicBezTo>
                <a:cubicBezTo>
                  <a:pt x="263328" y="229553"/>
                  <a:pt x="258176" y="227836"/>
                  <a:pt x="252451" y="227836"/>
                </a:cubicBezTo>
                <a:cubicBezTo>
                  <a:pt x="250161" y="227836"/>
                  <a:pt x="247872" y="228408"/>
                  <a:pt x="246154" y="228981"/>
                </a:cubicBezTo>
                <a:cubicBezTo>
                  <a:pt x="245582" y="222111"/>
                  <a:pt x="242719" y="215814"/>
                  <a:pt x="237567" y="211235"/>
                </a:cubicBezTo>
                <a:cubicBezTo>
                  <a:pt x="232415" y="207226"/>
                  <a:pt x="226691" y="204937"/>
                  <a:pt x="220394" y="204937"/>
                </a:cubicBezTo>
                <a:cubicBezTo>
                  <a:pt x="218103" y="204937"/>
                  <a:pt x="215241" y="205509"/>
                  <a:pt x="212951" y="206082"/>
                </a:cubicBezTo>
                <a:cubicBezTo>
                  <a:pt x="212951" y="198067"/>
                  <a:pt x="209516" y="190625"/>
                  <a:pt x="203219" y="184901"/>
                </a:cubicBezTo>
                <a:cubicBezTo>
                  <a:pt x="198067" y="180321"/>
                  <a:pt x="191198" y="178031"/>
                  <a:pt x="184329" y="178031"/>
                </a:cubicBezTo>
                <a:cubicBezTo>
                  <a:pt x="180894" y="178031"/>
                  <a:pt x="177459" y="178604"/>
                  <a:pt x="174597" y="179749"/>
                </a:cubicBezTo>
                <a:cubicBezTo>
                  <a:pt x="174024" y="171735"/>
                  <a:pt x="171162" y="164293"/>
                  <a:pt x="164865" y="159141"/>
                </a:cubicBezTo>
                <a:cubicBezTo>
                  <a:pt x="159713" y="154561"/>
                  <a:pt x="152844" y="152271"/>
                  <a:pt x="145974" y="152271"/>
                </a:cubicBezTo>
                <a:cubicBezTo>
                  <a:pt x="137388" y="152271"/>
                  <a:pt x="129373" y="155706"/>
                  <a:pt x="124221" y="162003"/>
                </a:cubicBezTo>
                <a:lnTo>
                  <a:pt x="109338" y="179176"/>
                </a:lnTo>
                <a:lnTo>
                  <a:pt x="70411" y="133953"/>
                </a:lnTo>
                <a:close/>
                <a:moveTo>
                  <a:pt x="254168" y="46368"/>
                </a:moveTo>
                <a:cubicBezTo>
                  <a:pt x="254168" y="46368"/>
                  <a:pt x="256457" y="46941"/>
                  <a:pt x="257030" y="46941"/>
                </a:cubicBezTo>
                <a:cubicBezTo>
                  <a:pt x="295384" y="54383"/>
                  <a:pt x="329731" y="70984"/>
                  <a:pt x="377244" y="53810"/>
                </a:cubicBezTo>
                <a:lnTo>
                  <a:pt x="425903" y="133382"/>
                </a:lnTo>
                <a:lnTo>
                  <a:pt x="384686" y="180895"/>
                </a:lnTo>
                <a:cubicBezTo>
                  <a:pt x="382396" y="177460"/>
                  <a:pt x="381251" y="176315"/>
                  <a:pt x="378389" y="173453"/>
                </a:cubicBezTo>
                <a:lnTo>
                  <a:pt x="271341" y="81288"/>
                </a:lnTo>
                <a:cubicBezTo>
                  <a:pt x="271341" y="81288"/>
                  <a:pt x="224400" y="135099"/>
                  <a:pt x="224400" y="135099"/>
                </a:cubicBezTo>
                <a:cubicBezTo>
                  <a:pt x="220393" y="140251"/>
                  <a:pt x="214669" y="142541"/>
                  <a:pt x="208944" y="143113"/>
                </a:cubicBezTo>
                <a:cubicBezTo>
                  <a:pt x="202647" y="143686"/>
                  <a:pt x="196923" y="141396"/>
                  <a:pt x="191771" y="137389"/>
                </a:cubicBezTo>
                <a:cubicBezTo>
                  <a:pt x="182039" y="129375"/>
                  <a:pt x="180894" y="115062"/>
                  <a:pt x="189481" y="105331"/>
                </a:cubicBezTo>
                <a:lnTo>
                  <a:pt x="234704" y="53810"/>
                </a:lnTo>
                <a:cubicBezTo>
                  <a:pt x="239856" y="48086"/>
                  <a:pt x="247298" y="45796"/>
                  <a:pt x="254168" y="46368"/>
                </a:cubicBezTo>
                <a:close/>
                <a:moveTo>
                  <a:pt x="432199" y="0"/>
                </a:moveTo>
                <a:lnTo>
                  <a:pt x="496886" y="107622"/>
                </a:lnTo>
                <a:lnTo>
                  <a:pt x="452807" y="134527"/>
                </a:lnTo>
                <a:cubicBezTo>
                  <a:pt x="447655" y="137961"/>
                  <a:pt x="440213" y="136244"/>
                  <a:pt x="437351" y="130520"/>
                </a:cubicBezTo>
                <a:lnTo>
                  <a:pt x="384113" y="42361"/>
                </a:lnTo>
                <a:cubicBezTo>
                  <a:pt x="380679" y="37209"/>
                  <a:pt x="382396" y="29767"/>
                  <a:pt x="388120" y="26905"/>
                </a:cubicBezTo>
                <a:close/>
                <a:moveTo>
                  <a:pt x="65259" y="0"/>
                </a:moveTo>
                <a:lnTo>
                  <a:pt x="108766" y="26905"/>
                </a:lnTo>
                <a:cubicBezTo>
                  <a:pt x="114490" y="29767"/>
                  <a:pt x="116207" y="37209"/>
                  <a:pt x="112773" y="42361"/>
                </a:cubicBezTo>
                <a:lnTo>
                  <a:pt x="59535" y="130520"/>
                </a:lnTo>
                <a:cubicBezTo>
                  <a:pt x="56673" y="136244"/>
                  <a:pt x="49231" y="137961"/>
                  <a:pt x="44079" y="134527"/>
                </a:cubicBezTo>
                <a:lnTo>
                  <a:pt x="0" y="107622"/>
                </a:lnTo>
                <a:close/>
              </a:path>
            </a:pathLst>
          </a:custGeom>
          <a:solidFill>
            <a:schemeClr val="accent4">
              <a:lumMod val="75000"/>
            </a:schemeClr>
          </a:solidFill>
          <a:ln w="5655" cap="flat">
            <a:noFill/>
            <a:prstDash val="solid"/>
            <a:miter/>
          </a:ln>
        </p:spPr>
        <p:txBody>
          <a:bodyPr rtlCol="0" anchor="ctr"/>
          <a:lstStyle/>
          <a:p>
            <a:endParaRPr lang="en-US" sz="1799"/>
          </a:p>
        </p:txBody>
      </p:sp>
      <p:sp>
        <p:nvSpPr>
          <p:cNvPr id="50" name="Graphic 92" descr="Network">
            <a:extLst>
              <a:ext uri="{FF2B5EF4-FFF2-40B4-BE49-F238E27FC236}">
                <a16:creationId xmlns:a16="http://schemas.microsoft.com/office/drawing/2014/main" id="{0F0A05B3-9437-6A2A-BC0B-CCF64E3FBCB8}"/>
              </a:ext>
            </a:extLst>
          </p:cNvPr>
          <p:cNvSpPr/>
          <p:nvPr/>
        </p:nvSpPr>
        <p:spPr>
          <a:xfrm>
            <a:off x="4072622" y="1955950"/>
            <a:ext cx="534766" cy="499116"/>
          </a:xfrm>
          <a:custGeom>
            <a:avLst/>
            <a:gdLst>
              <a:gd name="connsiteX0" fmla="*/ 532348 w 535045"/>
              <a:gd name="connsiteY0" fmla="*/ 176208 h 499375"/>
              <a:gd name="connsiteX1" fmla="*/ 457442 w 535045"/>
              <a:gd name="connsiteY1" fmla="*/ 145532 h 499375"/>
              <a:gd name="connsiteX2" fmla="*/ 422485 w 535045"/>
              <a:gd name="connsiteY2" fmla="*/ 206171 h 499375"/>
              <a:gd name="connsiteX3" fmla="*/ 330458 w 535045"/>
              <a:gd name="connsiteY3" fmla="*/ 244694 h 499375"/>
              <a:gd name="connsiteX4" fmla="*/ 282660 w 535045"/>
              <a:gd name="connsiteY4" fmla="*/ 211165 h 499375"/>
              <a:gd name="connsiteX5" fmla="*/ 282660 w 535045"/>
              <a:gd name="connsiteY5" fmla="*/ 112003 h 499375"/>
              <a:gd name="connsiteX6" fmla="*/ 325464 w 535045"/>
              <a:gd name="connsiteY6" fmla="*/ 57072 h 499375"/>
              <a:gd name="connsiteX7" fmla="*/ 268392 w 535045"/>
              <a:gd name="connsiteY7" fmla="*/ 0 h 499375"/>
              <a:gd name="connsiteX8" fmla="*/ 268392 w 535045"/>
              <a:gd name="connsiteY8" fmla="*/ 0 h 499375"/>
              <a:gd name="connsiteX9" fmla="*/ 211321 w 535045"/>
              <a:gd name="connsiteY9" fmla="*/ 57072 h 499375"/>
              <a:gd name="connsiteX10" fmla="*/ 254124 w 535045"/>
              <a:gd name="connsiteY10" fmla="*/ 112003 h 499375"/>
              <a:gd name="connsiteX11" fmla="*/ 254124 w 535045"/>
              <a:gd name="connsiteY11" fmla="*/ 210451 h 499375"/>
              <a:gd name="connsiteX12" fmla="*/ 206327 w 535045"/>
              <a:gd name="connsiteY12" fmla="*/ 243981 h 499375"/>
              <a:gd name="connsiteX13" fmla="*/ 114299 w 535045"/>
              <a:gd name="connsiteY13" fmla="*/ 205457 h 499375"/>
              <a:gd name="connsiteX14" fmla="*/ 79343 w 535045"/>
              <a:gd name="connsiteY14" fmla="*/ 144819 h 499375"/>
              <a:gd name="connsiteX15" fmla="*/ 4437 w 535045"/>
              <a:gd name="connsiteY15" fmla="*/ 175495 h 499375"/>
              <a:gd name="connsiteX16" fmla="*/ 35113 w 535045"/>
              <a:gd name="connsiteY16" fmla="*/ 250401 h 499375"/>
              <a:gd name="connsiteX17" fmla="*/ 102172 w 535045"/>
              <a:gd name="connsiteY17" fmla="*/ 231853 h 499375"/>
              <a:gd name="connsiteX18" fmla="*/ 196340 w 535045"/>
              <a:gd name="connsiteY18" fmla="*/ 270376 h 499375"/>
              <a:gd name="connsiteX19" fmla="*/ 195626 w 535045"/>
              <a:gd name="connsiteY19" fmla="*/ 279650 h 499375"/>
              <a:gd name="connsiteX20" fmla="*/ 209894 w 535045"/>
              <a:gd name="connsiteY20" fmla="*/ 322454 h 499375"/>
              <a:gd name="connsiteX21" fmla="*/ 135701 w 535045"/>
              <a:gd name="connsiteY21" fmla="*/ 397360 h 499375"/>
              <a:gd name="connsiteX22" fmla="*/ 66502 w 535045"/>
              <a:gd name="connsiteY22" fmla="*/ 405921 h 499375"/>
              <a:gd name="connsiteX23" fmla="*/ 66502 w 535045"/>
              <a:gd name="connsiteY23" fmla="*/ 486535 h 499375"/>
              <a:gd name="connsiteX24" fmla="*/ 147115 w 535045"/>
              <a:gd name="connsiteY24" fmla="*/ 486535 h 499375"/>
              <a:gd name="connsiteX25" fmla="*/ 155676 w 535045"/>
              <a:gd name="connsiteY25" fmla="*/ 417335 h 499375"/>
              <a:gd name="connsiteX26" fmla="*/ 231296 w 535045"/>
              <a:gd name="connsiteY26" fmla="*/ 341716 h 499375"/>
              <a:gd name="connsiteX27" fmla="*/ 266966 w 535045"/>
              <a:gd name="connsiteY27" fmla="*/ 351703 h 499375"/>
              <a:gd name="connsiteX28" fmla="*/ 268392 w 535045"/>
              <a:gd name="connsiteY28" fmla="*/ 351703 h 499375"/>
              <a:gd name="connsiteX29" fmla="*/ 269819 w 535045"/>
              <a:gd name="connsiteY29" fmla="*/ 351703 h 499375"/>
              <a:gd name="connsiteX30" fmla="*/ 305489 w 535045"/>
              <a:gd name="connsiteY30" fmla="*/ 341716 h 499375"/>
              <a:gd name="connsiteX31" fmla="*/ 381109 w 535045"/>
              <a:gd name="connsiteY31" fmla="*/ 417335 h 499375"/>
              <a:gd name="connsiteX32" fmla="*/ 389669 w 535045"/>
              <a:gd name="connsiteY32" fmla="*/ 487248 h 499375"/>
              <a:gd name="connsiteX33" fmla="*/ 470283 w 535045"/>
              <a:gd name="connsiteY33" fmla="*/ 487248 h 499375"/>
              <a:gd name="connsiteX34" fmla="*/ 470283 w 535045"/>
              <a:gd name="connsiteY34" fmla="*/ 406634 h 499375"/>
              <a:gd name="connsiteX35" fmla="*/ 401084 w 535045"/>
              <a:gd name="connsiteY35" fmla="*/ 398074 h 499375"/>
              <a:gd name="connsiteX36" fmla="*/ 326891 w 535045"/>
              <a:gd name="connsiteY36" fmla="*/ 323167 h 499375"/>
              <a:gd name="connsiteX37" fmla="*/ 341159 w 535045"/>
              <a:gd name="connsiteY37" fmla="*/ 280364 h 499375"/>
              <a:gd name="connsiteX38" fmla="*/ 340445 w 535045"/>
              <a:gd name="connsiteY38" fmla="*/ 271090 h 499375"/>
              <a:gd name="connsiteX39" fmla="*/ 434613 w 535045"/>
              <a:gd name="connsiteY39" fmla="*/ 232566 h 499375"/>
              <a:gd name="connsiteX40" fmla="*/ 501672 w 535045"/>
              <a:gd name="connsiteY40" fmla="*/ 251115 h 499375"/>
              <a:gd name="connsiteX41" fmla="*/ 532348 w 535045"/>
              <a:gd name="connsiteY41" fmla="*/ 176208 h 49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35045" h="499375">
                <a:moveTo>
                  <a:pt x="532348" y="176208"/>
                </a:moveTo>
                <a:cubicBezTo>
                  <a:pt x="520220" y="146959"/>
                  <a:pt x="486691" y="133405"/>
                  <a:pt x="457442" y="145532"/>
                </a:cubicBezTo>
                <a:cubicBezTo>
                  <a:pt x="433186" y="155520"/>
                  <a:pt x="418918" y="181202"/>
                  <a:pt x="422485" y="206171"/>
                </a:cubicBezTo>
                <a:lnTo>
                  <a:pt x="330458" y="244694"/>
                </a:lnTo>
                <a:cubicBezTo>
                  <a:pt x="320470" y="227573"/>
                  <a:pt x="302635" y="214732"/>
                  <a:pt x="282660" y="211165"/>
                </a:cubicBezTo>
                <a:lnTo>
                  <a:pt x="282660" y="112003"/>
                </a:lnTo>
                <a:cubicBezTo>
                  <a:pt x="306916" y="105582"/>
                  <a:pt x="325464" y="83467"/>
                  <a:pt x="325464" y="57072"/>
                </a:cubicBezTo>
                <a:cubicBezTo>
                  <a:pt x="325464" y="25682"/>
                  <a:pt x="299782" y="0"/>
                  <a:pt x="268392" y="0"/>
                </a:cubicBezTo>
                <a:lnTo>
                  <a:pt x="268392" y="0"/>
                </a:lnTo>
                <a:cubicBezTo>
                  <a:pt x="237003" y="0"/>
                  <a:pt x="211321" y="25682"/>
                  <a:pt x="211321" y="57072"/>
                </a:cubicBezTo>
                <a:cubicBezTo>
                  <a:pt x="211321" y="83467"/>
                  <a:pt x="229869" y="105582"/>
                  <a:pt x="254124" y="112003"/>
                </a:cubicBezTo>
                <a:lnTo>
                  <a:pt x="254124" y="210451"/>
                </a:lnTo>
                <a:cubicBezTo>
                  <a:pt x="233436" y="214018"/>
                  <a:pt x="216315" y="226859"/>
                  <a:pt x="206327" y="243981"/>
                </a:cubicBezTo>
                <a:lnTo>
                  <a:pt x="114299" y="205457"/>
                </a:lnTo>
                <a:cubicBezTo>
                  <a:pt x="117866" y="180489"/>
                  <a:pt x="104312" y="154806"/>
                  <a:pt x="79343" y="144819"/>
                </a:cubicBezTo>
                <a:cubicBezTo>
                  <a:pt x="50094" y="132691"/>
                  <a:pt x="16564" y="146246"/>
                  <a:pt x="4437" y="175495"/>
                </a:cubicBezTo>
                <a:cubicBezTo>
                  <a:pt x="-7691" y="204744"/>
                  <a:pt x="5863" y="238274"/>
                  <a:pt x="35113" y="250401"/>
                </a:cubicBezTo>
                <a:cubicBezTo>
                  <a:pt x="59368" y="260389"/>
                  <a:pt x="87190" y="252541"/>
                  <a:pt x="102172" y="231853"/>
                </a:cubicBezTo>
                <a:lnTo>
                  <a:pt x="196340" y="270376"/>
                </a:lnTo>
                <a:cubicBezTo>
                  <a:pt x="195626" y="273230"/>
                  <a:pt x="195626" y="276797"/>
                  <a:pt x="195626" y="279650"/>
                </a:cubicBezTo>
                <a:cubicBezTo>
                  <a:pt x="195626" y="295345"/>
                  <a:pt x="200620" y="310326"/>
                  <a:pt x="209894" y="322454"/>
                </a:cubicBezTo>
                <a:lnTo>
                  <a:pt x="135701" y="397360"/>
                </a:lnTo>
                <a:cubicBezTo>
                  <a:pt x="113586" y="384519"/>
                  <a:pt x="85050" y="387373"/>
                  <a:pt x="66502" y="405921"/>
                </a:cubicBezTo>
                <a:cubicBezTo>
                  <a:pt x="44387" y="428036"/>
                  <a:pt x="44387" y="464419"/>
                  <a:pt x="66502" y="486535"/>
                </a:cubicBezTo>
                <a:cubicBezTo>
                  <a:pt x="88617" y="508650"/>
                  <a:pt x="125000" y="508650"/>
                  <a:pt x="147115" y="486535"/>
                </a:cubicBezTo>
                <a:cubicBezTo>
                  <a:pt x="165664" y="467986"/>
                  <a:pt x="168517" y="439451"/>
                  <a:pt x="155676" y="417335"/>
                </a:cubicBezTo>
                <a:lnTo>
                  <a:pt x="231296" y="341716"/>
                </a:lnTo>
                <a:cubicBezTo>
                  <a:pt x="241997" y="348136"/>
                  <a:pt x="254124" y="351703"/>
                  <a:pt x="266966" y="351703"/>
                </a:cubicBezTo>
                <a:cubicBezTo>
                  <a:pt x="267679" y="351703"/>
                  <a:pt x="267679" y="351703"/>
                  <a:pt x="268392" y="351703"/>
                </a:cubicBezTo>
                <a:cubicBezTo>
                  <a:pt x="269106" y="351703"/>
                  <a:pt x="269106" y="351703"/>
                  <a:pt x="269819" y="351703"/>
                </a:cubicBezTo>
                <a:cubicBezTo>
                  <a:pt x="282660" y="351703"/>
                  <a:pt x="294788" y="348136"/>
                  <a:pt x="305489" y="341716"/>
                </a:cubicBezTo>
                <a:lnTo>
                  <a:pt x="381109" y="417335"/>
                </a:lnTo>
                <a:cubicBezTo>
                  <a:pt x="368268" y="439451"/>
                  <a:pt x="371121" y="467986"/>
                  <a:pt x="389669" y="487248"/>
                </a:cubicBezTo>
                <a:cubicBezTo>
                  <a:pt x="411785" y="509363"/>
                  <a:pt x="448168" y="509363"/>
                  <a:pt x="470283" y="487248"/>
                </a:cubicBezTo>
                <a:cubicBezTo>
                  <a:pt x="492398" y="465133"/>
                  <a:pt x="492398" y="428750"/>
                  <a:pt x="470283" y="406634"/>
                </a:cubicBezTo>
                <a:cubicBezTo>
                  <a:pt x="451735" y="388086"/>
                  <a:pt x="423199" y="385233"/>
                  <a:pt x="401084" y="398074"/>
                </a:cubicBezTo>
                <a:lnTo>
                  <a:pt x="326891" y="323167"/>
                </a:lnTo>
                <a:cubicBezTo>
                  <a:pt x="336165" y="311040"/>
                  <a:pt x="341159" y="296772"/>
                  <a:pt x="341159" y="280364"/>
                </a:cubicBezTo>
                <a:cubicBezTo>
                  <a:pt x="341159" y="277510"/>
                  <a:pt x="341159" y="273943"/>
                  <a:pt x="340445" y="271090"/>
                </a:cubicBezTo>
                <a:lnTo>
                  <a:pt x="434613" y="232566"/>
                </a:lnTo>
                <a:cubicBezTo>
                  <a:pt x="449594" y="252541"/>
                  <a:pt x="477417" y="261102"/>
                  <a:pt x="501672" y="251115"/>
                </a:cubicBezTo>
                <a:cubicBezTo>
                  <a:pt x="530208" y="238274"/>
                  <a:pt x="544476" y="205457"/>
                  <a:pt x="532348" y="176208"/>
                </a:cubicBezTo>
                <a:close/>
              </a:path>
            </a:pathLst>
          </a:custGeom>
          <a:solidFill>
            <a:schemeClr val="accent3">
              <a:lumMod val="75000"/>
            </a:schemeClr>
          </a:solidFill>
          <a:ln w="7045" cap="flat">
            <a:noFill/>
            <a:prstDash val="solid"/>
            <a:miter/>
          </a:ln>
        </p:spPr>
        <p:txBody>
          <a:bodyPr rtlCol="0" anchor="ctr"/>
          <a:lstStyle/>
          <a:p>
            <a:endParaRPr lang="en-US" sz="1799"/>
          </a:p>
        </p:txBody>
      </p:sp>
      <p:sp>
        <p:nvSpPr>
          <p:cNvPr id="51" name="Graphic 93" descr="Send">
            <a:extLst>
              <a:ext uri="{FF2B5EF4-FFF2-40B4-BE49-F238E27FC236}">
                <a16:creationId xmlns:a16="http://schemas.microsoft.com/office/drawing/2014/main" id="{7331D95E-309A-A57E-73C7-4BE6767AE66F}"/>
              </a:ext>
            </a:extLst>
          </p:cNvPr>
          <p:cNvSpPr/>
          <p:nvPr/>
        </p:nvSpPr>
        <p:spPr>
          <a:xfrm>
            <a:off x="1481605" y="1620981"/>
            <a:ext cx="644347" cy="596022"/>
          </a:xfrm>
          <a:custGeom>
            <a:avLst/>
            <a:gdLst>
              <a:gd name="connsiteX0" fmla="*/ 535087 w 644683"/>
              <a:gd name="connsiteY0" fmla="*/ 501955 h 596332"/>
              <a:gd name="connsiteX1" fmla="*/ 390033 w 644683"/>
              <a:gd name="connsiteY1" fmla="*/ 451992 h 596332"/>
              <a:gd name="connsiteX2" fmla="*/ 389228 w 644683"/>
              <a:gd name="connsiteY2" fmla="*/ 451992 h 596332"/>
              <a:gd name="connsiteX3" fmla="*/ 331206 w 644683"/>
              <a:gd name="connsiteY3" fmla="*/ 431846 h 596332"/>
              <a:gd name="connsiteX4" fmla="*/ 602779 w 644683"/>
              <a:gd name="connsiteY4" fmla="*/ 73240 h 596332"/>
              <a:gd name="connsiteX5" fmla="*/ 535087 w 644683"/>
              <a:gd name="connsiteY5" fmla="*/ 501955 h 596332"/>
              <a:gd name="connsiteX6" fmla="*/ 353770 w 644683"/>
              <a:gd name="connsiteY6" fmla="*/ 474556 h 596332"/>
              <a:gd name="connsiteX7" fmla="*/ 300584 w 644683"/>
              <a:gd name="connsiteY7" fmla="*/ 527742 h 596332"/>
              <a:gd name="connsiteX8" fmla="*/ 315089 w 644683"/>
              <a:gd name="connsiteY8" fmla="*/ 461662 h 596332"/>
              <a:gd name="connsiteX9" fmla="*/ 353770 w 644683"/>
              <a:gd name="connsiteY9" fmla="*/ 474556 h 596332"/>
              <a:gd name="connsiteX10" fmla="*/ 353770 w 644683"/>
              <a:gd name="connsiteY10" fmla="*/ 474556 h 596332"/>
              <a:gd name="connsiteX11" fmla="*/ 289302 w 644683"/>
              <a:gd name="connsiteY11" fmla="*/ 433457 h 596332"/>
              <a:gd name="connsiteX12" fmla="*/ 286078 w 644683"/>
              <a:gd name="connsiteY12" fmla="*/ 439904 h 596332"/>
              <a:gd name="connsiteX13" fmla="*/ 283661 w 644683"/>
              <a:gd name="connsiteY13" fmla="*/ 450380 h 596332"/>
              <a:gd name="connsiteX14" fmla="*/ 267544 w 644683"/>
              <a:gd name="connsiteY14" fmla="*/ 523713 h 596332"/>
              <a:gd name="connsiteX15" fmla="*/ 228863 w 644683"/>
              <a:gd name="connsiteY15" fmla="*/ 410893 h 596332"/>
              <a:gd name="connsiteX16" fmla="*/ 530252 w 644683"/>
              <a:gd name="connsiteY16" fmla="*/ 120786 h 596332"/>
              <a:gd name="connsiteX17" fmla="*/ 298972 w 644683"/>
              <a:gd name="connsiteY17" fmla="*/ 421369 h 596332"/>
              <a:gd name="connsiteX18" fmla="*/ 289302 w 644683"/>
              <a:gd name="connsiteY18" fmla="*/ 433457 h 596332"/>
              <a:gd name="connsiteX19" fmla="*/ 56410 w 644683"/>
              <a:gd name="connsiteY19" fmla="*/ 338366 h 596332"/>
              <a:gd name="connsiteX20" fmla="*/ 528640 w 644683"/>
              <a:gd name="connsiteY20" fmla="*/ 86940 h 596332"/>
              <a:gd name="connsiteX21" fmla="*/ 205493 w 644683"/>
              <a:gd name="connsiteY21" fmla="*/ 389135 h 596332"/>
              <a:gd name="connsiteX22" fmla="*/ 56410 w 644683"/>
              <a:gd name="connsiteY22" fmla="*/ 338366 h 596332"/>
              <a:gd name="connsiteX23" fmla="*/ 638237 w 644683"/>
              <a:gd name="connsiteY23" fmla="*/ 3131 h 596332"/>
              <a:gd name="connsiteX24" fmla="*/ 620508 w 644683"/>
              <a:gd name="connsiteY24" fmla="*/ 2325 h 596332"/>
              <a:gd name="connsiteX25" fmla="*/ 8864 w 644683"/>
              <a:gd name="connsiteY25" fmla="*/ 327084 h 596332"/>
              <a:gd name="connsiteX26" fmla="*/ 0 w 644683"/>
              <a:gd name="connsiteY26" fmla="*/ 342396 h 596332"/>
              <a:gd name="connsiteX27" fmla="*/ 10476 w 644683"/>
              <a:gd name="connsiteY27" fmla="*/ 356095 h 596332"/>
              <a:gd name="connsiteX28" fmla="*/ 178094 w 644683"/>
              <a:gd name="connsiteY28" fmla="*/ 413311 h 596332"/>
              <a:gd name="connsiteX29" fmla="*/ 199046 w 644683"/>
              <a:gd name="connsiteY29" fmla="*/ 420564 h 596332"/>
              <a:gd name="connsiteX30" fmla="*/ 203881 w 644683"/>
              <a:gd name="connsiteY30" fmla="*/ 434263 h 596332"/>
              <a:gd name="connsiteX31" fmla="*/ 253844 w 644683"/>
              <a:gd name="connsiteY31" fmla="*/ 584152 h 596332"/>
              <a:gd name="connsiteX32" fmla="*/ 253844 w 644683"/>
              <a:gd name="connsiteY32" fmla="*/ 584958 h 596332"/>
              <a:gd name="connsiteX33" fmla="*/ 253844 w 644683"/>
              <a:gd name="connsiteY33" fmla="*/ 585764 h 596332"/>
              <a:gd name="connsiteX34" fmla="*/ 265932 w 644683"/>
              <a:gd name="connsiteY34" fmla="*/ 596240 h 596332"/>
              <a:gd name="connsiteX35" fmla="*/ 281243 w 644683"/>
              <a:gd name="connsiteY35" fmla="*/ 592211 h 596332"/>
              <a:gd name="connsiteX36" fmla="*/ 282049 w 644683"/>
              <a:gd name="connsiteY36" fmla="*/ 591405 h 596332"/>
              <a:gd name="connsiteX37" fmla="*/ 286884 w 644683"/>
              <a:gd name="connsiteY37" fmla="*/ 586570 h 596332"/>
              <a:gd name="connsiteX38" fmla="*/ 388422 w 644683"/>
              <a:gd name="connsiteY38" fmla="*/ 486644 h 596332"/>
              <a:gd name="connsiteX39" fmla="*/ 543146 w 644683"/>
              <a:gd name="connsiteY39" fmla="*/ 539830 h 596332"/>
              <a:gd name="connsiteX40" fmla="*/ 556845 w 644683"/>
              <a:gd name="connsiteY40" fmla="*/ 538218 h 596332"/>
              <a:gd name="connsiteX41" fmla="*/ 564904 w 644683"/>
              <a:gd name="connsiteY41" fmla="*/ 526936 h 596332"/>
              <a:gd name="connsiteX42" fmla="*/ 645489 w 644683"/>
              <a:gd name="connsiteY42" fmla="*/ 19248 h 596332"/>
              <a:gd name="connsiteX43" fmla="*/ 638237 w 644683"/>
              <a:gd name="connsiteY43" fmla="*/ 3131 h 59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44683" h="596332">
                <a:moveTo>
                  <a:pt x="535087" y="501955"/>
                </a:moveTo>
                <a:lnTo>
                  <a:pt x="390033" y="451992"/>
                </a:lnTo>
                <a:lnTo>
                  <a:pt x="389228" y="451992"/>
                </a:lnTo>
                <a:lnTo>
                  <a:pt x="331206" y="431846"/>
                </a:lnTo>
                <a:lnTo>
                  <a:pt x="602779" y="73240"/>
                </a:lnTo>
                <a:lnTo>
                  <a:pt x="535087" y="501955"/>
                </a:lnTo>
                <a:close/>
                <a:moveTo>
                  <a:pt x="353770" y="474556"/>
                </a:moveTo>
                <a:lnTo>
                  <a:pt x="300584" y="527742"/>
                </a:lnTo>
                <a:lnTo>
                  <a:pt x="315089" y="461662"/>
                </a:lnTo>
                <a:lnTo>
                  <a:pt x="353770" y="474556"/>
                </a:lnTo>
                <a:lnTo>
                  <a:pt x="353770" y="474556"/>
                </a:lnTo>
                <a:close/>
                <a:moveTo>
                  <a:pt x="289302" y="433457"/>
                </a:moveTo>
                <a:cubicBezTo>
                  <a:pt x="287690" y="435069"/>
                  <a:pt x="286884" y="437487"/>
                  <a:pt x="286078" y="439904"/>
                </a:cubicBezTo>
                <a:lnTo>
                  <a:pt x="283661" y="450380"/>
                </a:lnTo>
                <a:lnTo>
                  <a:pt x="267544" y="523713"/>
                </a:lnTo>
                <a:lnTo>
                  <a:pt x="228863" y="410893"/>
                </a:lnTo>
                <a:lnTo>
                  <a:pt x="530252" y="120786"/>
                </a:lnTo>
                <a:lnTo>
                  <a:pt x="298972" y="421369"/>
                </a:lnTo>
                <a:lnTo>
                  <a:pt x="289302" y="433457"/>
                </a:lnTo>
                <a:close/>
                <a:moveTo>
                  <a:pt x="56410" y="338366"/>
                </a:moveTo>
                <a:lnTo>
                  <a:pt x="528640" y="86940"/>
                </a:lnTo>
                <a:lnTo>
                  <a:pt x="205493" y="389135"/>
                </a:lnTo>
                <a:lnTo>
                  <a:pt x="56410" y="338366"/>
                </a:lnTo>
                <a:close/>
                <a:moveTo>
                  <a:pt x="638237" y="3131"/>
                </a:moveTo>
                <a:cubicBezTo>
                  <a:pt x="633401" y="-898"/>
                  <a:pt x="626149" y="-898"/>
                  <a:pt x="620508" y="2325"/>
                </a:cubicBezTo>
                <a:lnTo>
                  <a:pt x="8864" y="327084"/>
                </a:lnTo>
                <a:cubicBezTo>
                  <a:pt x="3223" y="330308"/>
                  <a:pt x="0" y="335949"/>
                  <a:pt x="0" y="342396"/>
                </a:cubicBezTo>
                <a:cubicBezTo>
                  <a:pt x="0" y="348843"/>
                  <a:pt x="4835" y="354484"/>
                  <a:pt x="10476" y="356095"/>
                </a:cubicBezTo>
                <a:lnTo>
                  <a:pt x="178094" y="413311"/>
                </a:lnTo>
                <a:lnTo>
                  <a:pt x="199046" y="420564"/>
                </a:lnTo>
                <a:lnTo>
                  <a:pt x="203881" y="434263"/>
                </a:lnTo>
                <a:lnTo>
                  <a:pt x="253844" y="584152"/>
                </a:lnTo>
                <a:lnTo>
                  <a:pt x="253844" y="584958"/>
                </a:lnTo>
                <a:lnTo>
                  <a:pt x="253844" y="585764"/>
                </a:lnTo>
                <a:cubicBezTo>
                  <a:pt x="255456" y="590599"/>
                  <a:pt x="260291" y="594628"/>
                  <a:pt x="265932" y="596240"/>
                </a:cubicBezTo>
                <a:cubicBezTo>
                  <a:pt x="271573" y="597851"/>
                  <a:pt x="277214" y="596240"/>
                  <a:pt x="281243" y="592211"/>
                </a:cubicBezTo>
                <a:lnTo>
                  <a:pt x="282049" y="591405"/>
                </a:lnTo>
                <a:lnTo>
                  <a:pt x="286884" y="586570"/>
                </a:lnTo>
                <a:lnTo>
                  <a:pt x="388422" y="486644"/>
                </a:lnTo>
                <a:lnTo>
                  <a:pt x="543146" y="539830"/>
                </a:lnTo>
                <a:cubicBezTo>
                  <a:pt x="547981" y="541442"/>
                  <a:pt x="552816" y="540636"/>
                  <a:pt x="556845" y="538218"/>
                </a:cubicBezTo>
                <a:cubicBezTo>
                  <a:pt x="560875" y="535801"/>
                  <a:pt x="564098" y="531771"/>
                  <a:pt x="564904" y="526936"/>
                </a:cubicBezTo>
                <a:lnTo>
                  <a:pt x="645489" y="19248"/>
                </a:lnTo>
                <a:cubicBezTo>
                  <a:pt x="646295" y="11995"/>
                  <a:pt x="643072" y="6355"/>
                  <a:pt x="638237" y="3131"/>
                </a:cubicBezTo>
                <a:close/>
              </a:path>
            </a:pathLst>
          </a:custGeom>
          <a:solidFill>
            <a:schemeClr val="accent2">
              <a:lumMod val="75000"/>
            </a:schemeClr>
          </a:solidFill>
          <a:ln w="8037" cap="flat">
            <a:noFill/>
            <a:prstDash val="solid"/>
            <a:miter/>
          </a:ln>
        </p:spPr>
        <p:txBody>
          <a:bodyPr rtlCol="0" anchor="ctr"/>
          <a:lstStyle/>
          <a:p>
            <a:endParaRPr lang="en-US" sz="1799"/>
          </a:p>
        </p:txBody>
      </p:sp>
      <p:sp>
        <p:nvSpPr>
          <p:cNvPr id="52" name="Freeform 584">
            <a:extLst>
              <a:ext uri="{FF2B5EF4-FFF2-40B4-BE49-F238E27FC236}">
                <a16:creationId xmlns:a16="http://schemas.microsoft.com/office/drawing/2014/main" id="{19C96D60-721D-CF8D-8505-7F59DC430536}"/>
              </a:ext>
            </a:extLst>
          </p:cNvPr>
          <p:cNvSpPr>
            <a:spLocks/>
          </p:cNvSpPr>
          <p:nvPr/>
        </p:nvSpPr>
        <p:spPr bwMode="auto">
          <a:xfrm>
            <a:off x="6680428" y="1603620"/>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53" name="Freeform 586">
            <a:extLst>
              <a:ext uri="{FF2B5EF4-FFF2-40B4-BE49-F238E27FC236}">
                <a16:creationId xmlns:a16="http://schemas.microsoft.com/office/drawing/2014/main" id="{D245D9BF-C2AB-DA2C-50D1-0B672F994523}"/>
              </a:ext>
            </a:extLst>
          </p:cNvPr>
          <p:cNvSpPr>
            <a:spLocks/>
          </p:cNvSpPr>
          <p:nvPr/>
        </p:nvSpPr>
        <p:spPr bwMode="auto">
          <a:xfrm>
            <a:off x="7539652" y="1593953"/>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1">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56" name="Group 55">
            <a:extLst>
              <a:ext uri="{FF2B5EF4-FFF2-40B4-BE49-F238E27FC236}">
                <a16:creationId xmlns:a16="http://schemas.microsoft.com/office/drawing/2014/main" id="{4DFD4F5A-6AA8-4601-F60F-A84DE025064D}"/>
              </a:ext>
            </a:extLst>
          </p:cNvPr>
          <p:cNvGrpSpPr/>
          <p:nvPr/>
        </p:nvGrpSpPr>
        <p:grpSpPr>
          <a:xfrm>
            <a:off x="7977742" y="1528334"/>
            <a:ext cx="2935559" cy="1039417"/>
            <a:chOff x="2276598" y="1382952"/>
            <a:chExt cx="2937088" cy="1039958"/>
          </a:xfrm>
        </p:grpSpPr>
        <p:sp>
          <p:nvSpPr>
            <p:cNvPr id="57" name="TextBox 56">
              <a:extLst>
                <a:ext uri="{FF2B5EF4-FFF2-40B4-BE49-F238E27FC236}">
                  <a16:creationId xmlns:a16="http://schemas.microsoft.com/office/drawing/2014/main" id="{5BECF6F1-7FC3-051A-E2E8-771999D547D3}"/>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58" name="TextBox 57">
              <a:extLst>
                <a:ext uri="{FF2B5EF4-FFF2-40B4-BE49-F238E27FC236}">
                  <a16:creationId xmlns:a16="http://schemas.microsoft.com/office/drawing/2014/main" id="{608767A8-76E3-6A40-9EB7-44C5E1FA6AA3}"/>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62" name="Graphic 61" descr="Family with boy">
            <a:extLst>
              <a:ext uri="{FF2B5EF4-FFF2-40B4-BE49-F238E27FC236}">
                <a16:creationId xmlns:a16="http://schemas.microsoft.com/office/drawing/2014/main" id="{04D302F2-BC83-1875-146E-B2DFEF8221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2976" y="1622996"/>
            <a:ext cx="426776" cy="426776"/>
          </a:xfrm>
          <a:prstGeom prst="rect">
            <a:avLst/>
          </a:prstGeom>
        </p:spPr>
      </p:pic>
      <p:sp>
        <p:nvSpPr>
          <p:cNvPr id="134" name="Freeform 588">
            <a:extLst>
              <a:ext uri="{FF2B5EF4-FFF2-40B4-BE49-F238E27FC236}">
                <a16:creationId xmlns:a16="http://schemas.microsoft.com/office/drawing/2014/main" id="{5E63E9BD-7670-515B-2EF1-A523ECB19153}"/>
              </a:ext>
            </a:extLst>
          </p:cNvPr>
          <p:cNvSpPr>
            <a:spLocks/>
          </p:cNvSpPr>
          <p:nvPr/>
        </p:nvSpPr>
        <p:spPr bwMode="auto">
          <a:xfrm>
            <a:off x="6680427" y="1505574"/>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35" name="Freeform 587">
            <a:extLst>
              <a:ext uri="{FF2B5EF4-FFF2-40B4-BE49-F238E27FC236}">
                <a16:creationId xmlns:a16="http://schemas.microsoft.com/office/drawing/2014/main" id="{DD20ECFF-D590-F69D-A9EF-E3E9E75CB96A}"/>
              </a:ext>
            </a:extLst>
          </p:cNvPr>
          <p:cNvSpPr>
            <a:spLocks/>
          </p:cNvSpPr>
          <p:nvPr/>
        </p:nvSpPr>
        <p:spPr bwMode="auto">
          <a:xfrm>
            <a:off x="6908279" y="1732045"/>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6" name="Freeform 589">
            <a:extLst>
              <a:ext uri="{FF2B5EF4-FFF2-40B4-BE49-F238E27FC236}">
                <a16:creationId xmlns:a16="http://schemas.microsoft.com/office/drawing/2014/main" id="{0D38510D-8B95-41BA-C4C7-FBA73E9931F5}"/>
              </a:ext>
            </a:extLst>
          </p:cNvPr>
          <p:cNvSpPr>
            <a:spLocks/>
          </p:cNvSpPr>
          <p:nvPr/>
        </p:nvSpPr>
        <p:spPr bwMode="auto">
          <a:xfrm>
            <a:off x="7551787" y="2081418"/>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rgbClr val="008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7" name="Freeform 590">
            <a:extLst>
              <a:ext uri="{FF2B5EF4-FFF2-40B4-BE49-F238E27FC236}">
                <a16:creationId xmlns:a16="http://schemas.microsoft.com/office/drawing/2014/main" id="{0706908E-E40E-CC2A-BCD2-5DCFCA1FEB40}"/>
              </a:ext>
            </a:extLst>
          </p:cNvPr>
          <p:cNvSpPr>
            <a:spLocks/>
          </p:cNvSpPr>
          <p:nvPr/>
        </p:nvSpPr>
        <p:spPr bwMode="auto">
          <a:xfrm>
            <a:off x="7551787" y="2081418"/>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1">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38" name="Freeform: Shape 137">
            <a:extLst>
              <a:ext uri="{FF2B5EF4-FFF2-40B4-BE49-F238E27FC236}">
                <a16:creationId xmlns:a16="http://schemas.microsoft.com/office/drawing/2014/main" id="{5CF8D6A0-4488-B879-8879-2BF84DAAD9C9}"/>
              </a:ext>
            </a:extLst>
          </p:cNvPr>
          <p:cNvSpPr>
            <a:spLocks/>
          </p:cNvSpPr>
          <p:nvPr/>
        </p:nvSpPr>
        <p:spPr bwMode="auto">
          <a:xfrm>
            <a:off x="7597359" y="2077274"/>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1"/>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39" name="Freeform 585">
            <a:extLst>
              <a:ext uri="{FF2B5EF4-FFF2-40B4-BE49-F238E27FC236}">
                <a16:creationId xmlns:a16="http://schemas.microsoft.com/office/drawing/2014/main" id="{427FD03A-84B2-E8E1-A714-93A20908CEA8}"/>
              </a:ext>
            </a:extLst>
          </p:cNvPr>
          <p:cNvSpPr>
            <a:spLocks/>
          </p:cNvSpPr>
          <p:nvPr/>
        </p:nvSpPr>
        <p:spPr bwMode="auto">
          <a:xfrm>
            <a:off x="6908279" y="1738907"/>
            <a:ext cx="694582" cy="694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1</a:t>
            </a:r>
          </a:p>
        </p:txBody>
      </p:sp>
      <p:sp>
        <p:nvSpPr>
          <p:cNvPr id="140" name="Freeform 584">
            <a:extLst>
              <a:ext uri="{FF2B5EF4-FFF2-40B4-BE49-F238E27FC236}">
                <a16:creationId xmlns:a16="http://schemas.microsoft.com/office/drawing/2014/main" id="{6A0935FC-4AAD-E340-2DF5-AC1C2E617410}"/>
              </a:ext>
            </a:extLst>
          </p:cNvPr>
          <p:cNvSpPr>
            <a:spLocks/>
          </p:cNvSpPr>
          <p:nvPr/>
        </p:nvSpPr>
        <p:spPr bwMode="auto">
          <a:xfrm>
            <a:off x="6710104" y="3058585"/>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41" name="Freeform 586">
            <a:extLst>
              <a:ext uri="{FF2B5EF4-FFF2-40B4-BE49-F238E27FC236}">
                <a16:creationId xmlns:a16="http://schemas.microsoft.com/office/drawing/2014/main" id="{0CD079D7-55C9-B2BE-238E-208B6F5582F5}"/>
              </a:ext>
            </a:extLst>
          </p:cNvPr>
          <p:cNvSpPr>
            <a:spLocks/>
          </p:cNvSpPr>
          <p:nvPr/>
        </p:nvSpPr>
        <p:spPr bwMode="auto">
          <a:xfrm>
            <a:off x="7569327" y="3048918"/>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5">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142" name="Group 141">
            <a:extLst>
              <a:ext uri="{FF2B5EF4-FFF2-40B4-BE49-F238E27FC236}">
                <a16:creationId xmlns:a16="http://schemas.microsoft.com/office/drawing/2014/main" id="{93F67471-699F-6691-64AA-93F9571B32FC}"/>
              </a:ext>
            </a:extLst>
          </p:cNvPr>
          <p:cNvGrpSpPr/>
          <p:nvPr/>
        </p:nvGrpSpPr>
        <p:grpSpPr>
          <a:xfrm>
            <a:off x="8007418" y="3005196"/>
            <a:ext cx="2935559" cy="1039417"/>
            <a:chOff x="2276598" y="1382952"/>
            <a:chExt cx="2937088" cy="1039958"/>
          </a:xfrm>
        </p:grpSpPr>
        <p:sp>
          <p:nvSpPr>
            <p:cNvPr id="143" name="TextBox 142">
              <a:extLst>
                <a:ext uri="{FF2B5EF4-FFF2-40B4-BE49-F238E27FC236}">
                  <a16:creationId xmlns:a16="http://schemas.microsoft.com/office/drawing/2014/main" id="{676B72E4-FCAA-2137-2757-5A07382FBFB1}"/>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44" name="TextBox 143">
              <a:extLst>
                <a:ext uri="{FF2B5EF4-FFF2-40B4-BE49-F238E27FC236}">
                  <a16:creationId xmlns:a16="http://schemas.microsoft.com/office/drawing/2014/main" id="{9346C6F2-6C0A-4911-D98F-3AF5EC43E38E}"/>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148" name="Graphic 147" descr="Bar chart">
            <a:extLst>
              <a:ext uri="{FF2B5EF4-FFF2-40B4-BE49-F238E27FC236}">
                <a16:creationId xmlns:a16="http://schemas.microsoft.com/office/drawing/2014/main" id="{C6B08207-9CAD-ACC8-1FE6-ABE37464DD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72652" y="3058585"/>
            <a:ext cx="426776" cy="426776"/>
          </a:xfrm>
          <a:prstGeom prst="rect">
            <a:avLst/>
          </a:prstGeom>
        </p:spPr>
      </p:pic>
      <p:sp>
        <p:nvSpPr>
          <p:cNvPr id="150" name="Freeform 588">
            <a:extLst>
              <a:ext uri="{FF2B5EF4-FFF2-40B4-BE49-F238E27FC236}">
                <a16:creationId xmlns:a16="http://schemas.microsoft.com/office/drawing/2014/main" id="{9559792E-18DF-5D4D-0C0C-61147A38A184}"/>
              </a:ext>
            </a:extLst>
          </p:cNvPr>
          <p:cNvSpPr>
            <a:spLocks/>
          </p:cNvSpPr>
          <p:nvPr/>
        </p:nvSpPr>
        <p:spPr bwMode="auto">
          <a:xfrm>
            <a:off x="6710103" y="2960539"/>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1" name="Freeform 587">
            <a:extLst>
              <a:ext uri="{FF2B5EF4-FFF2-40B4-BE49-F238E27FC236}">
                <a16:creationId xmlns:a16="http://schemas.microsoft.com/office/drawing/2014/main" id="{FF755AE2-CC23-7148-AEA3-FF4A7A4E56A9}"/>
              </a:ext>
            </a:extLst>
          </p:cNvPr>
          <p:cNvSpPr>
            <a:spLocks/>
          </p:cNvSpPr>
          <p:nvPr/>
        </p:nvSpPr>
        <p:spPr bwMode="auto">
          <a:xfrm>
            <a:off x="6937955" y="3187010"/>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52" name="Freeform 589">
            <a:extLst>
              <a:ext uri="{FF2B5EF4-FFF2-40B4-BE49-F238E27FC236}">
                <a16:creationId xmlns:a16="http://schemas.microsoft.com/office/drawing/2014/main" id="{27976B78-5C13-52DB-AC99-BA7EF3F55B97}"/>
              </a:ext>
            </a:extLst>
          </p:cNvPr>
          <p:cNvSpPr>
            <a:spLocks/>
          </p:cNvSpPr>
          <p:nvPr/>
        </p:nvSpPr>
        <p:spPr bwMode="auto">
          <a:xfrm>
            <a:off x="7581462" y="3536383"/>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5">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7" name="Freeform 590">
            <a:extLst>
              <a:ext uri="{FF2B5EF4-FFF2-40B4-BE49-F238E27FC236}">
                <a16:creationId xmlns:a16="http://schemas.microsoft.com/office/drawing/2014/main" id="{469B612B-135F-F30A-DE32-9FA92FEEDF54}"/>
              </a:ext>
            </a:extLst>
          </p:cNvPr>
          <p:cNvSpPr>
            <a:spLocks/>
          </p:cNvSpPr>
          <p:nvPr/>
        </p:nvSpPr>
        <p:spPr bwMode="auto">
          <a:xfrm>
            <a:off x="7581462" y="3536383"/>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5">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9" name="Freeform: Shape 158">
            <a:extLst>
              <a:ext uri="{FF2B5EF4-FFF2-40B4-BE49-F238E27FC236}">
                <a16:creationId xmlns:a16="http://schemas.microsoft.com/office/drawing/2014/main" id="{19DEB9EF-9DEA-7AB1-066C-227EA2EE8953}"/>
              </a:ext>
            </a:extLst>
          </p:cNvPr>
          <p:cNvSpPr>
            <a:spLocks/>
          </p:cNvSpPr>
          <p:nvPr/>
        </p:nvSpPr>
        <p:spPr bwMode="auto">
          <a:xfrm>
            <a:off x="7627034" y="3532239"/>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5"/>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63" name="Freeform 585">
            <a:extLst>
              <a:ext uri="{FF2B5EF4-FFF2-40B4-BE49-F238E27FC236}">
                <a16:creationId xmlns:a16="http://schemas.microsoft.com/office/drawing/2014/main" id="{9432BBCB-B51A-79DA-C9B7-4517750A2AB5}"/>
              </a:ext>
            </a:extLst>
          </p:cNvPr>
          <p:cNvSpPr>
            <a:spLocks/>
          </p:cNvSpPr>
          <p:nvPr/>
        </p:nvSpPr>
        <p:spPr bwMode="auto">
          <a:xfrm>
            <a:off x="6937955" y="3187010"/>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5</a:t>
            </a:r>
          </a:p>
        </p:txBody>
      </p:sp>
      <p:sp>
        <p:nvSpPr>
          <p:cNvPr id="166" name="Freeform 584">
            <a:extLst>
              <a:ext uri="{FF2B5EF4-FFF2-40B4-BE49-F238E27FC236}">
                <a16:creationId xmlns:a16="http://schemas.microsoft.com/office/drawing/2014/main" id="{B248D35E-2F81-BE12-A50C-CDBE087D580F}"/>
              </a:ext>
            </a:extLst>
          </p:cNvPr>
          <p:cNvSpPr>
            <a:spLocks/>
          </p:cNvSpPr>
          <p:nvPr/>
        </p:nvSpPr>
        <p:spPr bwMode="auto">
          <a:xfrm>
            <a:off x="6710104" y="4652833"/>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68" name="Freeform 586">
            <a:extLst>
              <a:ext uri="{FF2B5EF4-FFF2-40B4-BE49-F238E27FC236}">
                <a16:creationId xmlns:a16="http://schemas.microsoft.com/office/drawing/2014/main" id="{3E6C2AD8-5B62-512E-F8A0-0E100977273B}"/>
              </a:ext>
            </a:extLst>
          </p:cNvPr>
          <p:cNvSpPr>
            <a:spLocks/>
          </p:cNvSpPr>
          <p:nvPr/>
        </p:nvSpPr>
        <p:spPr bwMode="auto">
          <a:xfrm>
            <a:off x="7569327" y="4643167"/>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2">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71" name="Freeform 584">
            <a:extLst>
              <a:ext uri="{FF2B5EF4-FFF2-40B4-BE49-F238E27FC236}">
                <a16:creationId xmlns:a16="http://schemas.microsoft.com/office/drawing/2014/main" id="{FFC79CEE-5517-C9B2-8D2F-7E5ECE0F2123}"/>
              </a:ext>
            </a:extLst>
          </p:cNvPr>
          <p:cNvSpPr>
            <a:spLocks/>
          </p:cNvSpPr>
          <p:nvPr/>
        </p:nvSpPr>
        <p:spPr bwMode="auto">
          <a:xfrm>
            <a:off x="6888024" y="10038132"/>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72" name="Freeform 586">
            <a:extLst>
              <a:ext uri="{FF2B5EF4-FFF2-40B4-BE49-F238E27FC236}">
                <a16:creationId xmlns:a16="http://schemas.microsoft.com/office/drawing/2014/main" id="{08D6B92E-0574-6CAF-597E-8E34C0061024}"/>
              </a:ext>
            </a:extLst>
          </p:cNvPr>
          <p:cNvSpPr>
            <a:spLocks/>
          </p:cNvSpPr>
          <p:nvPr/>
        </p:nvSpPr>
        <p:spPr bwMode="auto">
          <a:xfrm>
            <a:off x="7747248" y="10028465"/>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6">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173" name="Group 172">
            <a:extLst>
              <a:ext uri="{FF2B5EF4-FFF2-40B4-BE49-F238E27FC236}">
                <a16:creationId xmlns:a16="http://schemas.microsoft.com/office/drawing/2014/main" id="{DEE48E59-07CB-B198-67F3-AB208E1FAB85}"/>
              </a:ext>
            </a:extLst>
          </p:cNvPr>
          <p:cNvGrpSpPr/>
          <p:nvPr/>
        </p:nvGrpSpPr>
        <p:grpSpPr>
          <a:xfrm>
            <a:off x="7990420" y="4577548"/>
            <a:ext cx="2935559" cy="1039417"/>
            <a:chOff x="2276598" y="1382952"/>
            <a:chExt cx="2937088" cy="1039958"/>
          </a:xfrm>
        </p:grpSpPr>
        <p:sp>
          <p:nvSpPr>
            <p:cNvPr id="174" name="TextBox 173">
              <a:extLst>
                <a:ext uri="{FF2B5EF4-FFF2-40B4-BE49-F238E27FC236}">
                  <a16:creationId xmlns:a16="http://schemas.microsoft.com/office/drawing/2014/main" id="{57318706-D1A8-B807-1112-B8396AED1C5F}"/>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75" name="TextBox 174">
              <a:extLst>
                <a:ext uri="{FF2B5EF4-FFF2-40B4-BE49-F238E27FC236}">
                  <a16:creationId xmlns:a16="http://schemas.microsoft.com/office/drawing/2014/main" id="{2C5D9CDF-7275-E259-1A84-797445F3F4CF}"/>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grpSp>
        <p:nvGrpSpPr>
          <p:cNvPr id="179" name="Group 178">
            <a:extLst>
              <a:ext uri="{FF2B5EF4-FFF2-40B4-BE49-F238E27FC236}">
                <a16:creationId xmlns:a16="http://schemas.microsoft.com/office/drawing/2014/main" id="{666688C1-6D11-DD2D-A3A6-81B03CA72D3D}"/>
              </a:ext>
            </a:extLst>
          </p:cNvPr>
          <p:cNvGrpSpPr/>
          <p:nvPr/>
        </p:nvGrpSpPr>
        <p:grpSpPr>
          <a:xfrm>
            <a:off x="8168341" y="9984742"/>
            <a:ext cx="2935559" cy="1039417"/>
            <a:chOff x="2276598" y="1382952"/>
            <a:chExt cx="2937088" cy="1039958"/>
          </a:xfrm>
        </p:grpSpPr>
        <p:sp>
          <p:nvSpPr>
            <p:cNvPr id="180" name="TextBox 179">
              <a:extLst>
                <a:ext uri="{FF2B5EF4-FFF2-40B4-BE49-F238E27FC236}">
                  <a16:creationId xmlns:a16="http://schemas.microsoft.com/office/drawing/2014/main" id="{AB892C11-A7AD-E53A-9CE3-A7BA501A174B}"/>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81" name="TextBox 180">
              <a:extLst>
                <a:ext uri="{FF2B5EF4-FFF2-40B4-BE49-F238E27FC236}">
                  <a16:creationId xmlns:a16="http://schemas.microsoft.com/office/drawing/2014/main" id="{517A806D-B46E-2AED-8E8F-8BE5A7B282FC}"/>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182" name="Graphic 181" descr="Chat">
            <a:extLst>
              <a:ext uri="{FF2B5EF4-FFF2-40B4-BE49-F238E27FC236}">
                <a16:creationId xmlns:a16="http://schemas.microsoft.com/office/drawing/2014/main" id="{7CDE5D3B-6573-C450-8955-0CF0217BFE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32885" y="4672210"/>
            <a:ext cx="426776" cy="426776"/>
          </a:xfrm>
          <a:prstGeom prst="rect">
            <a:avLst/>
          </a:prstGeom>
        </p:spPr>
      </p:pic>
      <p:pic>
        <p:nvPicPr>
          <p:cNvPr id="183" name="Graphic 182" descr="Briefcase">
            <a:extLst>
              <a:ext uri="{FF2B5EF4-FFF2-40B4-BE49-F238E27FC236}">
                <a16:creationId xmlns:a16="http://schemas.microsoft.com/office/drawing/2014/main" id="{E7EA51AF-2B9D-2D58-4503-9B872A4D52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153014" y="10038132"/>
            <a:ext cx="426776" cy="426776"/>
          </a:xfrm>
          <a:prstGeom prst="rect">
            <a:avLst/>
          </a:prstGeom>
        </p:spPr>
      </p:pic>
      <p:sp>
        <p:nvSpPr>
          <p:cNvPr id="185" name="Freeform 588">
            <a:extLst>
              <a:ext uri="{FF2B5EF4-FFF2-40B4-BE49-F238E27FC236}">
                <a16:creationId xmlns:a16="http://schemas.microsoft.com/office/drawing/2014/main" id="{E26B9085-3677-53A7-139C-D99CAFC2CB10}"/>
              </a:ext>
            </a:extLst>
          </p:cNvPr>
          <p:cNvSpPr>
            <a:spLocks/>
          </p:cNvSpPr>
          <p:nvPr/>
        </p:nvSpPr>
        <p:spPr bwMode="auto">
          <a:xfrm>
            <a:off x="6710103" y="4554788"/>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6" name="Freeform 587">
            <a:extLst>
              <a:ext uri="{FF2B5EF4-FFF2-40B4-BE49-F238E27FC236}">
                <a16:creationId xmlns:a16="http://schemas.microsoft.com/office/drawing/2014/main" id="{79CC8FE1-4513-3BEC-73CB-525C04BCF044}"/>
              </a:ext>
            </a:extLst>
          </p:cNvPr>
          <p:cNvSpPr>
            <a:spLocks/>
          </p:cNvSpPr>
          <p:nvPr/>
        </p:nvSpPr>
        <p:spPr bwMode="auto">
          <a:xfrm>
            <a:off x="6937955" y="4781259"/>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87" name="Freeform 589">
            <a:extLst>
              <a:ext uri="{FF2B5EF4-FFF2-40B4-BE49-F238E27FC236}">
                <a16:creationId xmlns:a16="http://schemas.microsoft.com/office/drawing/2014/main" id="{43671EF5-E887-F13E-714F-ABBE5123790C}"/>
              </a:ext>
            </a:extLst>
          </p:cNvPr>
          <p:cNvSpPr>
            <a:spLocks/>
          </p:cNvSpPr>
          <p:nvPr/>
        </p:nvSpPr>
        <p:spPr bwMode="auto">
          <a:xfrm>
            <a:off x="7581462" y="5130632"/>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8" name="Freeform 590">
            <a:extLst>
              <a:ext uri="{FF2B5EF4-FFF2-40B4-BE49-F238E27FC236}">
                <a16:creationId xmlns:a16="http://schemas.microsoft.com/office/drawing/2014/main" id="{89DB0787-8702-740B-A97A-AA2CBE732D4E}"/>
              </a:ext>
            </a:extLst>
          </p:cNvPr>
          <p:cNvSpPr>
            <a:spLocks/>
          </p:cNvSpPr>
          <p:nvPr/>
        </p:nvSpPr>
        <p:spPr bwMode="auto">
          <a:xfrm>
            <a:off x="7581462" y="5130632"/>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9" name="Freeform: Shape 188">
            <a:extLst>
              <a:ext uri="{FF2B5EF4-FFF2-40B4-BE49-F238E27FC236}">
                <a16:creationId xmlns:a16="http://schemas.microsoft.com/office/drawing/2014/main" id="{60914835-3769-29B4-B5DF-4DCB0912288F}"/>
              </a:ext>
            </a:extLst>
          </p:cNvPr>
          <p:cNvSpPr>
            <a:spLocks/>
          </p:cNvSpPr>
          <p:nvPr/>
        </p:nvSpPr>
        <p:spPr bwMode="auto">
          <a:xfrm>
            <a:off x="7627034" y="5126488"/>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2"/>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90" name="Freeform 585">
            <a:extLst>
              <a:ext uri="{FF2B5EF4-FFF2-40B4-BE49-F238E27FC236}">
                <a16:creationId xmlns:a16="http://schemas.microsoft.com/office/drawing/2014/main" id="{1C520911-9911-C6CB-412B-FDFC9C33365A}"/>
              </a:ext>
            </a:extLst>
          </p:cNvPr>
          <p:cNvSpPr>
            <a:spLocks/>
          </p:cNvSpPr>
          <p:nvPr/>
        </p:nvSpPr>
        <p:spPr bwMode="auto">
          <a:xfrm>
            <a:off x="6937955" y="4781259"/>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2</a:t>
            </a:r>
          </a:p>
        </p:txBody>
      </p:sp>
      <p:sp>
        <p:nvSpPr>
          <p:cNvPr id="197" name="Freeform 588">
            <a:extLst>
              <a:ext uri="{FF2B5EF4-FFF2-40B4-BE49-F238E27FC236}">
                <a16:creationId xmlns:a16="http://schemas.microsoft.com/office/drawing/2014/main" id="{D5035590-1236-83EE-39F9-01319CDB9ACF}"/>
              </a:ext>
            </a:extLst>
          </p:cNvPr>
          <p:cNvSpPr>
            <a:spLocks/>
          </p:cNvSpPr>
          <p:nvPr/>
        </p:nvSpPr>
        <p:spPr bwMode="auto">
          <a:xfrm>
            <a:off x="6888023" y="9940086"/>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6"/>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98" name="Freeform 587">
            <a:extLst>
              <a:ext uri="{FF2B5EF4-FFF2-40B4-BE49-F238E27FC236}">
                <a16:creationId xmlns:a16="http://schemas.microsoft.com/office/drawing/2014/main" id="{9EFAFC75-54E0-159B-6469-F9FEEA958496}"/>
              </a:ext>
            </a:extLst>
          </p:cNvPr>
          <p:cNvSpPr>
            <a:spLocks/>
          </p:cNvSpPr>
          <p:nvPr/>
        </p:nvSpPr>
        <p:spPr bwMode="auto">
          <a:xfrm>
            <a:off x="7115875" y="10166557"/>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99" name="Freeform 589">
            <a:extLst>
              <a:ext uri="{FF2B5EF4-FFF2-40B4-BE49-F238E27FC236}">
                <a16:creationId xmlns:a16="http://schemas.microsoft.com/office/drawing/2014/main" id="{4245C75E-092E-0F96-106D-15E46F72EE29}"/>
              </a:ext>
            </a:extLst>
          </p:cNvPr>
          <p:cNvSpPr>
            <a:spLocks/>
          </p:cNvSpPr>
          <p:nvPr/>
        </p:nvSpPr>
        <p:spPr bwMode="auto">
          <a:xfrm>
            <a:off x="7759382" y="10515930"/>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6">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200" name="Freeform 590">
            <a:extLst>
              <a:ext uri="{FF2B5EF4-FFF2-40B4-BE49-F238E27FC236}">
                <a16:creationId xmlns:a16="http://schemas.microsoft.com/office/drawing/2014/main" id="{1F8FE6CF-1C98-A34A-3F83-2C76C41E40A7}"/>
              </a:ext>
            </a:extLst>
          </p:cNvPr>
          <p:cNvSpPr>
            <a:spLocks/>
          </p:cNvSpPr>
          <p:nvPr/>
        </p:nvSpPr>
        <p:spPr bwMode="auto">
          <a:xfrm>
            <a:off x="7759382" y="10515930"/>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6">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201" name="Freeform: Shape 200">
            <a:extLst>
              <a:ext uri="{FF2B5EF4-FFF2-40B4-BE49-F238E27FC236}">
                <a16:creationId xmlns:a16="http://schemas.microsoft.com/office/drawing/2014/main" id="{EE672516-FC32-D83F-26EE-7725C460ACE8}"/>
              </a:ext>
            </a:extLst>
          </p:cNvPr>
          <p:cNvSpPr>
            <a:spLocks/>
          </p:cNvSpPr>
          <p:nvPr/>
        </p:nvSpPr>
        <p:spPr bwMode="auto">
          <a:xfrm>
            <a:off x="7804954" y="10511786"/>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6"/>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202" name="Freeform 585">
            <a:extLst>
              <a:ext uri="{FF2B5EF4-FFF2-40B4-BE49-F238E27FC236}">
                <a16:creationId xmlns:a16="http://schemas.microsoft.com/office/drawing/2014/main" id="{779535AF-4428-AC2D-99D6-A0A70EEB28B3}"/>
              </a:ext>
            </a:extLst>
          </p:cNvPr>
          <p:cNvSpPr>
            <a:spLocks/>
          </p:cNvSpPr>
          <p:nvPr/>
        </p:nvSpPr>
        <p:spPr bwMode="auto">
          <a:xfrm>
            <a:off x="7115875" y="10166557"/>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6</a:t>
            </a:r>
          </a:p>
        </p:txBody>
      </p:sp>
    </p:spTree>
    <p:extLst>
      <p:ext uri="{BB962C8B-B14F-4D97-AF65-F5344CB8AC3E}">
        <p14:creationId xmlns:p14="http://schemas.microsoft.com/office/powerpoint/2010/main" val="3813462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84AA7-8392-7A06-6211-BC9F610D05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8F07F6-2F5B-4898-2C5D-ABCED22FDCF5}"/>
              </a:ext>
            </a:extLst>
          </p:cNvPr>
          <p:cNvSpPr>
            <a:spLocks noGrp="1"/>
          </p:cNvSpPr>
          <p:nvPr>
            <p:ph type="title"/>
          </p:nvPr>
        </p:nvSpPr>
        <p:spPr>
          <a:xfrm>
            <a:off x="593086" y="329512"/>
            <a:ext cx="11018953" cy="360407"/>
          </a:xfrm>
        </p:spPr>
        <p:txBody>
          <a:bodyPr/>
          <a:lstStyle/>
          <a:p>
            <a:r>
              <a:rPr lang="en-GB"/>
              <a:t>ESA framework architectural standard: SABSA</a:t>
            </a:r>
          </a:p>
        </p:txBody>
      </p:sp>
      <p:sp>
        <p:nvSpPr>
          <p:cNvPr id="3" name="TextBox 2">
            <a:extLst>
              <a:ext uri="{FF2B5EF4-FFF2-40B4-BE49-F238E27FC236}">
                <a16:creationId xmlns:a16="http://schemas.microsoft.com/office/drawing/2014/main" id="{D8AF9850-5B3D-DB36-F3E4-6F39746BEAEE}"/>
              </a:ext>
            </a:extLst>
          </p:cNvPr>
          <p:cNvSpPr txBox="1"/>
          <p:nvPr/>
        </p:nvSpPr>
        <p:spPr>
          <a:xfrm>
            <a:off x="546914" y="966696"/>
            <a:ext cx="11065123" cy="818561"/>
          </a:xfrm>
          <a:prstGeom prst="roundRect">
            <a:avLst/>
          </a:prstGeom>
          <a:noFill/>
          <a:ln w="952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effectLst/>
                <a:uLnTx/>
                <a:uFillTx/>
                <a:latin typeface="Aveni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defTabSz="914418"/>
            <a:r>
              <a:rPr lang="en-GB">
                <a:solidFill>
                  <a:srgbClr val="000000"/>
                </a:solidFill>
              </a:rPr>
              <a:t>The SABSA methodology is applied through a structured, top-down approach that begins with the analysis of security requirements from a business and risk management standpoint. The process initiates at the contextual layer, defining business drivers and security objectives then progresses methodically through the conceptual, logical, physical and component layers. Throughout, the SABSA framework ensures traceability from security needs to technical solutions. Cyberani’s focus will be on the contextual and conceptual layers, as detailed below.</a:t>
            </a:r>
          </a:p>
        </p:txBody>
      </p:sp>
      <p:sp>
        <p:nvSpPr>
          <p:cNvPr id="69" name="Freeform 23">
            <a:extLst>
              <a:ext uri="{FF2B5EF4-FFF2-40B4-BE49-F238E27FC236}">
                <a16:creationId xmlns:a16="http://schemas.microsoft.com/office/drawing/2014/main" id="{AB1788AD-8563-BBFD-7E78-78DE0480E861}"/>
              </a:ext>
            </a:extLst>
          </p:cNvPr>
          <p:cNvSpPr/>
          <p:nvPr/>
        </p:nvSpPr>
        <p:spPr>
          <a:xfrm>
            <a:off x="3596676" y="3714970"/>
            <a:ext cx="7170536" cy="748172"/>
          </a:xfrm>
          <a:custGeom>
            <a:avLst/>
            <a:gdLst>
              <a:gd name="connsiteX0" fmla="*/ 830702 w 897856"/>
              <a:gd name="connsiteY0" fmla="*/ 0 h 134262"/>
              <a:gd name="connsiteX1" fmla="*/ 0 w 897856"/>
              <a:gd name="connsiteY1" fmla="*/ 0 h 134262"/>
              <a:gd name="connsiteX2" fmla="*/ 0 w 897856"/>
              <a:gd name="connsiteY2" fmla="*/ 134263 h 134262"/>
              <a:gd name="connsiteX3" fmla="*/ 830702 w 897856"/>
              <a:gd name="connsiteY3" fmla="*/ 134263 h 134262"/>
              <a:gd name="connsiteX4" fmla="*/ 897856 w 897856"/>
              <a:gd name="connsiteY4" fmla="*/ 67132 h 134262"/>
              <a:gd name="connsiteX5" fmla="*/ 897856 w 897856"/>
              <a:gd name="connsiteY5" fmla="*/ 67132 h 134262"/>
              <a:gd name="connsiteX6" fmla="*/ 830702 w 897856"/>
              <a:gd name="connsiteY6" fmla="*/ 0 h 134262"/>
              <a:gd name="connsiteX7" fmla="*/ 827001 w 897856"/>
              <a:gd name="connsiteY7" fmla="*/ 121577 h 134262"/>
              <a:gd name="connsiteX8" fmla="*/ 773066 w 897856"/>
              <a:gd name="connsiteY8" fmla="*/ 67660 h 134262"/>
              <a:gd name="connsiteX9" fmla="*/ 827001 w 897856"/>
              <a:gd name="connsiteY9" fmla="*/ 13743 h 134262"/>
              <a:gd name="connsiteX10" fmla="*/ 880936 w 897856"/>
              <a:gd name="connsiteY10" fmla="*/ 67660 h 134262"/>
              <a:gd name="connsiteX11" fmla="*/ 827001 w 897856"/>
              <a:gd name="connsiteY11" fmla="*/ 121577 h 134262"/>
              <a:gd name="connsiteX0" fmla="*/ 831860 w 899014"/>
              <a:gd name="connsiteY0" fmla="*/ 0 h 134263"/>
              <a:gd name="connsiteX1" fmla="*/ 1158 w 899014"/>
              <a:gd name="connsiteY1" fmla="*/ 0 h 134263"/>
              <a:gd name="connsiteX2" fmla="*/ 0 w 899014"/>
              <a:gd name="connsiteY2" fmla="*/ 71129 h 134263"/>
              <a:gd name="connsiteX3" fmla="*/ 1158 w 899014"/>
              <a:gd name="connsiteY3" fmla="*/ 134263 h 134263"/>
              <a:gd name="connsiteX4" fmla="*/ 831860 w 899014"/>
              <a:gd name="connsiteY4" fmla="*/ 134263 h 134263"/>
              <a:gd name="connsiteX5" fmla="*/ 899014 w 899014"/>
              <a:gd name="connsiteY5" fmla="*/ 67132 h 134263"/>
              <a:gd name="connsiteX6" fmla="*/ 899014 w 899014"/>
              <a:gd name="connsiteY6" fmla="*/ 67132 h 134263"/>
              <a:gd name="connsiteX7" fmla="*/ 831860 w 899014"/>
              <a:gd name="connsiteY7" fmla="*/ 0 h 134263"/>
              <a:gd name="connsiteX8" fmla="*/ 828159 w 899014"/>
              <a:gd name="connsiteY8" fmla="*/ 121577 h 134263"/>
              <a:gd name="connsiteX9" fmla="*/ 774224 w 899014"/>
              <a:gd name="connsiteY9" fmla="*/ 67660 h 134263"/>
              <a:gd name="connsiteX10" fmla="*/ 828159 w 899014"/>
              <a:gd name="connsiteY10" fmla="*/ 13743 h 134263"/>
              <a:gd name="connsiteX11" fmla="*/ 882094 w 899014"/>
              <a:gd name="connsiteY11" fmla="*/ 67660 h 134263"/>
              <a:gd name="connsiteX12" fmla="*/ 828159 w 899014"/>
              <a:gd name="connsiteY12" fmla="*/ 121577 h 134263"/>
              <a:gd name="connsiteX0" fmla="*/ 845597 w 912751"/>
              <a:gd name="connsiteY0" fmla="*/ 0 h 134263"/>
              <a:gd name="connsiteX1" fmla="*/ 14895 w 912751"/>
              <a:gd name="connsiteY1" fmla="*/ 0 h 134263"/>
              <a:gd name="connsiteX2" fmla="*/ 0 w 912751"/>
              <a:gd name="connsiteY2" fmla="*/ 71129 h 134263"/>
              <a:gd name="connsiteX3" fmla="*/ 14895 w 912751"/>
              <a:gd name="connsiteY3" fmla="*/ 134263 h 134263"/>
              <a:gd name="connsiteX4" fmla="*/ 845597 w 912751"/>
              <a:gd name="connsiteY4" fmla="*/ 134263 h 134263"/>
              <a:gd name="connsiteX5" fmla="*/ 912751 w 912751"/>
              <a:gd name="connsiteY5" fmla="*/ 67132 h 134263"/>
              <a:gd name="connsiteX6" fmla="*/ 912751 w 912751"/>
              <a:gd name="connsiteY6" fmla="*/ 67132 h 134263"/>
              <a:gd name="connsiteX7" fmla="*/ 845597 w 912751"/>
              <a:gd name="connsiteY7" fmla="*/ 0 h 134263"/>
              <a:gd name="connsiteX8" fmla="*/ 841896 w 912751"/>
              <a:gd name="connsiteY8" fmla="*/ 121577 h 134263"/>
              <a:gd name="connsiteX9" fmla="*/ 787961 w 912751"/>
              <a:gd name="connsiteY9" fmla="*/ 67660 h 134263"/>
              <a:gd name="connsiteX10" fmla="*/ 841896 w 912751"/>
              <a:gd name="connsiteY10" fmla="*/ 13743 h 134263"/>
              <a:gd name="connsiteX11" fmla="*/ 895831 w 912751"/>
              <a:gd name="connsiteY11" fmla="*/ 67660 h 134263"/>
              <a:gd name="connsiteX12" fmla="*/ 841896 w 912751"/>
              <a:gd name="connsiteY12" fmla="*/ 121577 h 134263"/>
              <a:gd name="connsiteX0" fmla="*/ 944505 w 1011659"/>
              <a:gd name="connsiteY0" fmla="*/ 0 h 134263"/>
              <a:gd name="connsiteX1" fmla="*/ 113803 w 1011659"/>
              <a:gd name="connsiteY1" fmla="*/ 0 h 134263"/>
              <a:gd name="connsiteX2" fmla="*/ 0 w 1011659"/>
              <a:gd name="connsiteY2" fmla="*/ 75222 h 134263"/>
              <a:gd name="connsiteX3" fmla="*/ 113803 w 1011659"/>
              <a:gd name="connsiteY3" fmla="*/ 134263 h 134263"/>
              <a:gd name="connsiteX4" fmla="*/ 944505 w 1011659"/>
              <a:gd name="connsiteY4" fmla="*/ 134263 h 134263"/>
              <a:gd name="connsiteX5" fmla="*/ 1011659 w 1011659"/>
              <a:gd name="connsiteY5" fmla="*/ 67132 h 134263"/>
              <a:gd name="connsiteX6" fmla="*/ 1011659 w 1011659"/>
              <a:gd name="connsiteY6" fmla="*/ 67132 h 134263"/>
              <a:gd name="connsiteX7" fmla="*/ 944505 w 1011659"/>
              <a:gd name="connsiteY7" fmla="*/ 0 h 134263"/>
              <a:gd name="connsiteX8" fmla="*/ 940804 w 1011659"/>
              <a:gd name="connsiteY8" fmla="*/ 121577 h 134263"/>
              <a:gd name="connsiteX9" fmla="*/ 886869 w 1011659"/>
              <a:gd name="connsiteY9" fmla="*/ 67660 h 134263"/>
              <a:gd name="connsiteX10" fmla="*/ 940804 w 1011659"/>
              <a:gd name="connsiteY10" fmla="*/ 13743 h 134263"/>
              <a:gd name="connsiteX11" fmla="*/ 994739 w 1011659"/>
              <a:gd name="connsiteY11" fmla="*/ 67660 h 134263"/>
              <a:gd name="connsiteX12" fmla="*/ 940804 w 1011659"/>
              <a:gd name="connsiteY12" fmla="*/ 121577 h 1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1659" h="134263">
                <a:moveTo>
                  <a:pt x="944505" y="0"/>
                </a:moveTo>
                <a:lnTo>
                  <a:pt x="113803" y="0"/>
                </a:lnTo>
                <a:lnTo>
                  <a:pt x="0" y="75222"/>
                </a:lnTo>
                <a:lnTo>
                  <a:pt x="113803" y="134263"/>
                </a:lnTo>
                <a:lnTo>
                  <a:pt x="944505" y="134263"/>
                </a:lnTo>
                <a:cubicBezTo>
                  <a:pt x="981520" y="134263"/>
                  <a:pt x="1011659" y="104133"/>
                  <a:pt x="1011659" y="67132"/>
                </a:cubicBezTo>
                <a:lnTo>
                  <a:pt x="1011659" y="67132"/>
                </a:lnTo>
                <a:cubicBezTo>
                  <a:pt x="1011659" y="30130"/>
                  <a:pt x="981520" y="0"/>
                  <a:pt x="944505" y="0"/>
                </a:cubicBezTo>
                <a:close/>
                <a:moveTo>
                  <a:pt x="940804" y="121577"/>
                </a:moveTo>
                <a:cubicBezTo>
                  <a:pt x="910664" y="121577"/>
                  <a:pt x="886869" y="97261"/>
                  <a:pt x="886869" y="67660"/>
                </a:cubicBezTo>
                <a:cubicBezTo>
                  <a:pt x="886869" y="38059"/>
                  <a:pt x="911192" y="13743"/>
                  <a:pt x="940804" y="13743"/>
                </a:cubicBezTo>
                <a:cubicBezTo>
                  <a:pt x="970415" y="13743"/>
                  <a:pt x="994739" y="38059"/>
                  <a:pt x="994739" y="67660"/>
                </a:cubicBezTo>
                <a:cubicBezTo>
                  <a:pt x="994739" y="97261"/>
                  <a:pt x="970415" y="121577"/>
                  <a:pt x="940804" y="121577"/>
                </a:cubicBezTo>
                <a:close/>
              </a:path>
            </a:pathLst>
          </a:custGeom>
          <a:solidFill>
            <a:srgbClr val="0E2841">
              <a:lumMod val="25000"/>
              <a:lumOff val="75000"/>
            </a:srgbClr>
          </a:solidFill>
          <a:ln w="0" cap="flat">
            <a:noFill/>
            <a:prstDash val="solid"/>
            <a:miter/>
          </a:ln>
        </p:spPr>
        <p:txBody>
          <a:bodyPr rtlCol="0" anchor="ctr"/>
          <a:lstStyle/>
          <a:p>
            <a:pPr defTabSz="653156">
              <a:defRPr/>
            </a:pPr>
            <a:endParaRPr lang="en-US" sz="1200" kern="0">
              <a:solidFill>
                <a:prstClr val="black"/>
              </a:solidFill>
            </a:endParaRPr>
          </a:p>
        </p:txBody>
      </p:sp>
      <p:grpSp>
        <p:nvGrpSpPr>
          <p:cNvPr id="74" name="Group 73">
            <a:extLst>
              <a:ext uri="{FF2B5EF4-FFF2-40B4-BE49-F238E27FC236}">
                <a16:creationId xmlns:a16="http://schemas.microsoft.com/office/drawing/2014/main" id="{2137EC06-6B76-4CFF-5FAB-249303B4BC93}"/>
              </a:ext>
            </a:extLst>
          </p:cNvPr>
          <p:cNvGrpSpPr/>
          <p:nvPr/>
        </p:nvGrpSpPr>
        <p:grpSpPr>
          <a:xfrm>
            <a:off x="1628904" y="3799888"/>
            <a:ext cx="1181892" cy="920124"/>
            <a:chOff x="332936" y="2872651"/>
            <a:chExt cx="2975111" cy="720091"/>
          </a:xfrm>
        </p:grpSpPr>
        <p:sp>
          <p:nvSpPr>
            <p:cNvPr id="75" name="TextBox 74">
              <a:extLst>
                <a:ext uri="{FF2B5EF4-FFF2-40B4-BE49-F238E27FC236}">
                  <a16:creationId xmlns:a16="http://schemas.microsoft.com/office/drawing/2014/main" id="{25DA1D80-AB4F-4392-A8D0-AAF70E19B889}"/>
                </a:ext>
              </a:extLst>
            </p:cNvPr>
            <p:cNvSpPr txBox="1"/>
            <p:nvPr/>
          </p:nvSpPr>
          <p:spPr>
            <a:xfrm>
              <a:off x="332936" y="2872651"/>
              <a:ext cx="2926080" cy="216780"/>
            </a:xfrm>
            <a:prstGeom prst="rect">
              <a:avLst/>
            </a:prstGeom>
            <a:noFill/>
          </p:spPr>
          <p:txBody>
            <a:bodyPr wrap="square" lIns="0" rIns="0" rtlCol="0" anchor="b">
              <a:spAutoFit/>
            </a:bodyPr>
            <a:lstStyle/>
            <a:p>
              <a:pPr algn="ctr" defTabSz="653156">
                <a:defRPr/>
              </a:pPr>
              <a:r>
                <a:rPr lang="en-US" sz="1200" b="1" kern="0" noProof="1">
                  <a:solidFill>
                    <a:prstClr val="white"/>
                  </a:solidFill>
                </a:rPr>
                <a:t>Lorem Ipsum</a:t>
              </a:r>
            </a:p>
          </p:txBody>
        </p:sp>
        <p:sp>
          <p:nvSpPr>
            <p:cNvPr id="83" name="TextBox 82">
              <a:extLst>
                <a:ext uri="{FF2B5EF4-FFF2-40B4-BE49-F238E27FC236}">
                  <a16:creationId xmlns:a16="http://schemas.microsoft.com/office/drawing/2014/main" id="{C00791DC-742B-3933-C432-D81739909572}"/>
                </a:ext>
              </a:extLst>
            </p:cNvPr>
            <p:cNvSpPr txBox="1"/>
            <p:nvPr/>
          </p:nvSpPr>
          <p:spPr>
            <a:xfrm>
              <a:off x="332936" y="3086922"/>
              <a:ext cx="2975111" cy="505820"/>
            </a:xfrm>
            <a:prstGeom prst="rect">
              <a:avLst/>
            </a:prstGeom>
            <a:noFill/>
          </p:spPr>
          <p:txBody>
            <a:bodyPr wrap="square" lIns="0" rIns="0" rtlCol="0" anchor="t">
              <a:spAutoFit/>
            </a:bodyPr>
            <a:lstStyle/>
            <a:p>
              <a:pPr algn="ctr" defTabSz="653156">
                <a:defRPr/>
              </a:pPr>
              <a:r>
                <a:rPr lang="en-US" sz="1200" kern="0" noProof="1">
                  <a:solidFill>
                    <a:prstClr val="white"/>
                  </a:solidFill>
                </a:rPr>
                <a:t>Lorem ipsum dolor sit amet, nibh esamet. </a:t>
              </a:r>
            </a:p>
          </p:txBody>
        </p:sp>
      </p:grpSp>
      <p:sp>
        <p:nvSpPr>
          <p:cNvPr id="84" name="Freeform 22">
            <a:extLst>
              <a:ext uri="{FF2B5EF4-FFF2-40B4-BE49-F238E27FC236}">
                <a16:creationId xmlns:a16="http://schemas.microsoft.com/office/drawing/2014/main" id="{FE1875DC-7B2F-E103-9FCB-F2E89F607A38}"/>
              </a:ext>
            </a:extLst>
          </p:cNvPr>
          <p:cNvSpPr/>
          <p:nvPr/>
        </p:nvSpPr>
        <p:spPr>
          <a:xfrm>
            <a:off x="3150556" y="1990296"/>
            <a:ext cx="7625729" cy="781028"/>
          </a:xfrm>
          <a:custGeom>
            <a:avLst/>
            <a:gdLst>
              <a:gd name="connsiteX0" fmla="*/ 830702 w 897856"/>
              <a:gd name="connsiteY0" fmla="*/ 0 h 134263"/>
              <a:gd name="connsiteX1" fmla="*/ 0 w 897856"/>
              <a:gd name="connsiteY1" fmla="*/ 0 h 134263"/>
              <a:gd name="connsiteX2" fmla="*/ 0 w 897856"/>
              <a:gd name="connsiteY2" fmla="*/ 134263 h 134263"/>
              <a:gd name="connsiteX3" fmla="*/ 830702 w 897856"/>
              <a:gd name="connsiteY3" fmla="*/ 134263 h 134263"/>
              <a:gd name="connsiteX4" fmla="*/ 897856 w 897856"/>
              <a:gd name="connsiteY4" fmla="*/ 67132 h 134263"/>
              <a:gd name="connsiteX5" fmla="*/ 897856 w 897856"/>
              <a:gd name="connsiteY5" fmla="*/ 67132 h 134263"/>
              <a:gd name="connsiteX6" fmla="*/ 830702 w 897856"/>
              <a:gd name="connsiteY6" fmla="*/ 0 h 134263"/>
              <a:gd name="connsiteX7" fmla="*/ 827001 w 897856"/>
              <a:gd name="connsiteY7" fmla="*/ 121048 h 134263"/>
              <a:gd name="connsiteX8" fmla="*/ 773066 w 897856"/>
              <a:gd name="connsiteY8" fmla="*/ 67132 h 134263"/>
              <a:gd name="connsiteX9" fmla="*/ 827001 w 897856"/>
              <a:gd name="connsiteY9" fmla="*/ 13215 h 134263"/>
              <a:gd name="connsiteX10" fmla="*/ 880936 w 897856"/>
              <a:gd name="connsiteY10" fmla="*/ 67132 h 134263"/>
              <a:gd name="connsiteX11" fmla="*/ 827001 w 897856"/>
              <a:gd name="connsiteY11" fmla="*/ 121048 h 134263"/>
              <a:gd name="connsiteX0" fmla="*/ 831002 w 898156"/>
              <a:gd name="connsiteY0" fmla="*/ 0 h 134263"/>
              <a:gd name="connsiteX1" fmla="*/ 300 w 898156"/>
              <a:gd name="connsiteY1" fmla="*/ 0 h 134263"/>
              <a:gd name="connsiteX2" fmla="*/ 0 w 898156"/>
              <a:gd name="connsiteY2" fmla="*/ 66905 h 134263"/>
              <a:gd name="connsiteX3" fmla="*/ 300 w 898156"/>
              <a:gd name="connsiteY3" fmla="*/ 134263 h 134263"/>
              <a:gd name="connsiteX4" fmla="*/ 831002 w 898156"/>
              <a:gd name="connsiteY4" fmla="*/ 134263 h 134263"/>
              <a:gd name="connsiteX5" fmla="*/ 898156 w 898156"/>
              <a:gd name="connsiteY5" fmla="*/ 67132 h 134263"/>
              <a:gd name="connsiteX6" fmla="*/ 898156 w 898156"/>
              <a:gd name="connsiteY6" fmla="*/ 67132 h 134263"/>
              <a:gd name="connsiteX7" fmla="*/ 831002 w 898156"/>
              <a:gd name="connsiteY7" fmla="*/ 0 h 134263"/>
              <a:gd name="connsiteX8" fmla="*/ 827301 w 898156"/>
              <a:gd name="connsiteY8" fmla="*/ 121048 h 134263"/>
              <a:gd name="connsiteX9" fmla="*/ 773366 w 898156"/>
              <a:gd name="connsiteY9" fmla="*/ 67132 h 134263"/>
              <a:gd name="connsiteX10" fmla="*/ 827301 w 898156"/>
              <a:gd name="connsiteY10" fmla="*/ 13215 h 134263"/>
              <a:gd name="connsiteX11" fmla="*/ 881236 w 898156"/>
              <a:gd name="connsiteY11" fmla="*/ 67132 h 134263"/>
              <a:gd name="connsiteX12" fmla="*/ 827301 w 898156"/>
              <a:gd name="connsiteY12" fmla="*/ 121048 h 134263"/>
              <a:gd name="connsiteX0" fmla="*/ 850749 w 917903"/>
              <a:gd name="connsiteY0" fmla="*/ 0 h 134263"/>
              <a:gd name="connsiteX1" fmla="*/ 20047 w 917903"/>
              <a:gd name="connsiteY1" fmla="*/ 0 h 134263"/>
              <a:gd name="connsiteX2" fmla="*/ 0 w 917903"/>
              <a:gd name="connsiteY2" fmla="*/ 72056 h 134263"/>
              <a:gd name="connsiteX3" fmla="*/ 20047 w 917903"/>
              <a:gd name="connsiteY3" fmla="*/ 134263 h 134263"/>
              <a:gd name="connsiteX4" fmla="*/ 850749 w 917903"/>
              <a:gd name="connsiteY4" fmla="*/ 134263 h 134263"/>
              <a:gd name="connsiteX5" fmla="*/ 917903 w 917903"/>
              <a:gd name="connsiteY5" fmla="*/ 67132 h 134263"/>
              <a:gd name="connsiteX6" fmla="*/ 917903 w 917903"/>
              <a:gd name="connsiteY6" fmla="*/ 67132 h 134263"/>
              <a:gd name="connsiteX7" fmla="*/ 850749 w 917903"/>
              <a:gd name="connsiteY7" fmla="*/ 0 h 134263"/>
              <a:gd name="connsiteX8" fmla="*/ 847048 w 917903"/>
              <a:gd name="connsiteY8" fmla="*/ 121048 h 134263"/>
              <a:gd name="connsiteX9" fmla="*/ 793113 w 917903"/>
              <a:gd name="connsiteY9" fmla="*/ 67132 h 134263"/>
              <a:gd name="connsiteX10" fmla="*/ 847048 w 917903"/>
              <a:gd name="connsiteY10" fmla="*/ 13215 h 134263"/>
              <a:gd name="connsiteX11" fmla="*/ 900983 w 917903"/>
              <a:gd name="connsiteY11" fmla="*/ 67132 h 134263"/>
              <a:gd name="connsiteX12" fmla="*/ 847048 w 917903"/>
              <a:gd name="connsiteY12" fmla="*/ 121048 h 134263"/>
              <a:gd name="connsiteX0" fmla="*/ 1008726 w 1075880"/>
              <a:gd name="connsiteY0" fmla="*/ 0 h 134263"/>
              <a:gd name="connsiteX1" fmla="*/ 178024 w 1075880"/>
              <a:gd name="connsiteY1" fmla="*/ 0 h 134263"/>
              <a:gd name="connsiteX2" fmla="*/ 0 w 1075880"/>
              <a:gd name="connsiteY2" fmla="*/ 115719 h 134263"/>
              <a:gd name="connsiteX3" fmla="*/ 178024 w 1075880"/>
              <a:gd name="connsiteY3" fmla="*/ 134263 h 134263"/>
              <a:gd name="connsiteX4" fmla="*/ 1008726 w 1075880"/>
              <a:gd name="connsiteY4" fmla="*/ 134263 h 134263"/>
              <a:gd name="connsiteX5" fmla="*/ 1075880 w 1075880"/>
              <a:gd name="connsiteY5" fmla="*/ 67132 h 134263"/>
              <a:gd name="connsiteX6" fmla="*/ 1075880 w 1075880"/>
              <a:gd name="connsiteY6" fmla="*/ 67132 h 134263"/>
              <a:gd name="connsiteX7" fmla="*/ 1008726 w 1075880"/>
              <a:gd name="connsiteY7" fmla="*/ 0 h 134263"/>
              <a:gd name="connsiteX8" fmla="*/ 1005025 w 1075880"/>
              <a:gd name="connsiteY8" fmla="*/ 121048 h 134263"/>
              <a:gd name="connsiteX9" fmla="*/ 951090 w 1075880"/>
              <a:gd name="connsiteY9" fmla="*/ 67132 h 134263"/>
              <a:gd name="connsiteX10" fmla="*/ 1005025 w 1075880"/>
              <a:gd name="connsiteY10" fmla="*/ 13215 h 134263"/>
              <a:gd name="connsiteX11" fmla="*/ 1058960 w 1075880"/>
              <a:gd name="connsiteY11" fmla="*/ 67132 h 134263"/>
              <a:gd name="connsiteX12" fmla="*/ 1005025 w 1075880"/>
              <a:gd name="connsiteY12" fmla="*/ 121048 h 1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880" h="134263">
                <a:moveTo>
                  <a:pt x="1008726" y="0"/>
                </a:moveTo>
                <a:lnTo>
                  <a:pt x="178024" y="0"/>
                </a:lnTo>
                <a:lnTo>
                  <a:pt x="0" y="115719"/>
                </a:lnTo>
                <a:lnTo>
                  <a:pt x="178024" y="134263"/>
                </a:lnTo>
                <a:lnTo>
                  <a:pt x="1008726" y="134263"/>
                </a:lnTo>
                <a:cubicBezTo>
                  <a:pt x="1045741" y="134263"/>
                  <a:pt x="1075880" y="104133"/>
                  <a:pt x="1075880" y="67132"/>
                </a:cubicBezTo>
                <a:lnTo>
                  <a:pt x="1075880" y="67132"/>
                </a:lnTo>
                <a:cubicBezTo>
                  <a:pt x="1075880" y="30130"/>
                  <a:pt x="1045741" y="0"/>
                  <a:pt x="1008726" y="0"/>
                </a:cubicBezTo>
                <a:close/>
                <a:moveTo>
                  <a:pt x="1005025" y="121048"/>
                </a:moveTo>
                <a:cubicBezTo>
                  <a:pt x="974885" y="121048"/>
                  <a:pt x="951090" y="96733"/>
                  <a:pt x="951090" y="67132"/>
                </a:cubicBezTo>
                <a:cubicBezTo>
                  <a:pt x="951090" y="37530"/>
                  <a:pt x="975413" y="13215"/>
                  <a:pt x="1005025" y="13215"/>
                </a:cubicBezTo>
                <a:cubicBezTo>
                  <a:pt x="1034636" y="13215"/>
                  <a:pt x="1058960" y="37530"/>
                  <a:pt x="1058960" y="67132"/>
                </a:cubicBezTo>
                <a:cubicBezTo>
                  <a:pt x="1058960" y="96733"/>
                  <a:pt x="1034636" y="121048"/>
                  <a:pt x="1005025" y="121048"/>
                </a:cubicBezTo>
                <a:close/>
              </a:path>
            </a:pathLst>
          </a:custGeom>
          <a:solidFill>
            <a:srgbClr val="7FD3C1"/>
          </a:solidFill>
          <a:ln w="0" cap="flat">
            <a:noFill/>
            <a:prstDash val="solid"/>
            <a:miter/>
          </a:ln>
        </p:spPr>
        <p:txBody>
          <a:bodyPr rtlCol="0" anchor="ctr"/>
          <a:lstStyle/>
          <a:p>
            <a:pPr defTabSz="653156">
              <a:defRPr/>
            </a:pPr>
            <a:endParaRPr lang="en-US" sz="1200" kern="0">
              <a:solidFill>
                <a:prstClr val="black"/>
              </a:solidFill>
            </a:endParaRPr>
          </a:p>
        </p:txBody>
      </p:sp>
      <p:sp>
        <p:nvSpPr>
          <p:cNvPr id="85" name="Freeform 18">
            <a:extLst>
              <a:ext uri="{FF2B5EF4-FFF2-40B4-BE49-F238E27FC236}">
                <a16:creationId xmlns:a16="http://schemas.microsoft.com/office/drawing/2014/main" id="{8C9039F0-8685-D7C0-5884-B91C1C56805C}"/>
              </a:ext>
            </a:extLst>
          </p:cNvPr>
          <p:cNvSpPr/>
          <p:nvPr/>
        </p:nvSpPr>
        <p:spPr>
          <a:xfrm>
            <a:off x="2733313" y="1990294"/>
            <a:ext cx="1679052" cy="1025957"/>
          </a:xfrm>
          <a:custGeom>
            <a:avLst/>
            <a:gdLst>
              <a:gd name="connsiteX0" fmla="*/ 0 w 236890"/>
              <a:gd name="connsiteY0" fmla="*/ 111534 h 176550"/>
              <a:gd name="connsiteX1" fmla="*/ 236891 w 236890"/>
              <a:gd name="connsiteY1" fmla="*/ 0 h 176550"/>
              <a:gd name="connsiteX2" fmla="*/ 236891 w 236890"/>
              <a:gd name="connsiteY2" fmla="*/ 134263 h 176550"/>
              <a:gd name="connsiteX3" fmla="*/ 89363 w 236890"/>
              <a:gd name="connsiteY3" fmla="*/ 176551 h 176550"/>
              <a:gd name="connsiteX4" fmla="*/ 0 w 236890"/>
              <a:gd name="connsiteY4" fmla="*/ 111534 h 17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890" h="176550">
                <a:moveTo>
                  <a:pt x="0" y="111534"/>
                </a:moveTo>
                <a:lnTo>
                  <a:pt x="236891" y="0"/>
                </a:lnTo>
                <a:lnTo>
                  <a:pt x="236891" y="134263"/>
                </a:lnTo>
                <a:lnTo>
                  <a:pt x="89363" y="176551"/>
                </a:lnTo>
                <a:lnTo>
                  <a:pt x="0" y="111534"/>
                </a:lnTo>
                <a:close/>
              </a:path>
            </a:pathLst>
          </a:custGeom>
          <a:solidFill>
            <a:srgbClr val="41B69D"/>
          </a:solidFill>
          <a:ln w="0" cap="flat">
            <a:noFill/>
            <a:prstDash val="solid"/>
            <a:miter/>
          </a:ln>
        </p:spPr>
        <p:txBody>
          <a:bodyPr rtlCol="0" anchor="ctr"/>
          <a:lstStyle/>
          <a:p>
            <a:pPr defTabSz="653156">
              <a:defRPr/>
            </a:pPr>
            <a:endParaRPr lang="en-US" sz="1200" kern="0">
              <a:solidFill>
                <a:prstClr val="black"/>
              </a:solidFill>
            </a:endParaRPr>
          </a:p>
        </p:txBody>
      </p:sp>
      <p:sp>
        <p:nvSpPr>
          <p:cNvPr id="86" name="TextBox 85">
            <a:extLst>
              <a:ext uri="{FF2B5EF4-FFF2-40B4-BE49-F238E27FC236}">
                <a16:creationId xmlns:a16="http://schemas.microsoft.com/office/drawing/2014/main" id="{58674A46-FA7E-45C5-C660-651FAF29FBA7}"/>
              </a:ext>
            </a:extLst>
          </p:cNvPr>
          <p:cNvSpPr txBox="1"/>
          <p:nvPr/>
        </p:nvSpPr>
        <p:spPr>
          <a:xfrm>
            <a:off x="4590480" y="2118525"/>
            <a:ext cx="5134869" cy="276999"/>
          </a:xfrm>
          <a:prstGeom prst="rect">
            <a:avLst/>
          </a:prstGeom>
          <a:noFill/>
        </p:spPr>
        <p:txBody>
          <a:bodyPr wrap="square" lIns="0" rIns="0" rtlCol="0" anchor="b">
            <a:spAutoFit/>
          </a:bodyPr>
          <a:lstStyle/>
          <a:p>
            <a:pPr defTabSz="653156">
              <a:defRPr/>
            </a:pPr>
            <a:r>
              <a:rPr lang="en-US" sz="1200" b="1" kern="0" noProof="1">
                <a:solidFill>
                  <a:prstClr val="black"/>
                </a:solidFill>
              </a:rPr>
              <a:t>Contextual View</a:t>
            </a:r>
          </a:p>
        </p:txBody>
      </p:sp>
      <p:grpSp>
        <p:nvGrpSpPr>
          <p:cNvPr id="87" name="Group 86">
            <a:extLst>
              <a:ext uri="{FF2B5EF4-FFF2-40B4-BE49-F238E27FC236}">
                <a16:creationId xmlns:a16="http://schemas.microsoft.com/office/drawing/2014/main" id="{51D4C409-4F0B-678A-15A7-052686DE963E}"/>
              </a:ext>
            </a:extLst>
          </p:cNvPr>
          <p:cNvGrpSpPr/>
          <p:nvPr/>
        </p:nvGrpSpPr>
        <p:grpSpPr>
          <a:xfrm>
            <a:off x="3366708" y="2871328"/>
            <a:ext cx="7409576" cy="784459"/>
            <a:chOff x="4141088" y="2634398"/>
            <a:chExt cx="5798742" cy="713398"/>
          </a:xfrm>
        </p:grpSpPr>
        <p:sp>
          <p:nvSpPr>
            <p:cNvPr id="88" name="Freeform 23">
              <a:extLst>
                <a:ext uri="{FF2B5EF4-FFF2-40B4-BE49-F238E27FC236}">
                  <a16:creationId xmlns:a16="http://schemas.microsoft.com/office/drawing/2014/main" id="{29CBCD8F-ACCD-F5C8-D1D1-D75E526EB811}"/>
                </a:ext>
              </a:extLst>
            </p:cNvPr>
            <p:cNvSpPr/>
            <p:nvPr/>
          </p:nvSpPr>
          <p:spPr>
            <a:xfrm>
              <a:off x="4328161" y="2634398"/>
              <a:ext cx="5611669" cy="696898"/>
            </a:xfrm>
            <a:custGeom>
              <a:avLst/>
              <a:gdLst>
                <a:gd name="connsiteX0" fmla="*/ 830702 w 897856"/>
                <a:gd name="connsiteY0" fmla="*/ 0 h 134262"/>
                <a:gd name="connsiteX1" fmla="*/ 0 w 897856"/>
                <a:gd name="connsiteY1" fmla="*/ 0 h 134262"/>
                <a:gd name="connsiteX2" fmla="*/ 0 w 897856"/>
                <a:gd name="connsiteY2" fmla="*/ 134263 h 134262"/>
                <a:gd name="connsiteX3" fmla="*/ 830702 w 897856"/>
                <a:gd name="connsiteY3" fmla="*/ 134263 h 134262"/>
                <a:gd name="connsiteX4" fmla="*/ 897856 w 897856"/>
                <a:gd name="connsiteY4" fmla="*/ 67132 h 134262"/>
                <a:gd name="connsiteX5" fmla="*/ 897856 w 897856"/>
                <a:gd name="connsiteY5" fmla="*/ 67132 h 134262"/>
                <a:gd name="connsiteX6" fmla="*/ 830702 w 897856"/>
                <a:gd name="connsiteY6" fmla="*/ 0 h 134262"/>
                <a:gd name="connsiteX7" fmla="*/ 827001 w 897856"/>
                <a:gd name="connsiteY7" fmla="*/ 121577 h 134262"/>
                <a:gd name="connsiteX8" fmla="*/ 773066 w 897856"/>
                <a:gd name="connsiteY8" fmla="*/ 67660 h 134262"/>
                <a:gd name="connsiteX9" fmla="*/ 827001 w 897856"/>
                <a:gd name="connsiteY9" fmla="*/ 13743 h 134262"/>
                <a:gd name="connsiteX10" fmla="*/ 880936 w 897856"/>
                <a:gd name="connsiteY10" fmla="*/ 67660 h 134262"/>
                <a:gd name="connsiteX11" fmla="*/ 827001 w 897856"/>
                <a:gd name="connsiteY11" fmla="*/ 121577 h 134262"/>
                <a:gd name="connsiteX0" fmla="*/ 831860 w 899014"/>
                <a:gd name="connsiteY0" fmla="*/ 0 h 134263"/>
                <a:gd name="connsiteX1" fmla="*/ 1158 w 899014"/>
                <a:gd name="connsiteY1" fmla="*/ 0 h 134263"/>
                <a:gd name="connsiteX2" fmla="*/ 0 w 899014"/>
                <a:gd name="connsiteY2" fmla="*/ 71129 h 134263"/>
                <a:gd name="connsiteX3" fmla="*/ 1158 w 899014"/>
                <a:gd name="connsiteY3" fmla="*/ 134263 h 134263"/>
                <a:gd name="connsiteX4" fmla="*/ 831860 w 899014"/>
                <a:gd name="connsiteY4" fmla="*/ 134263 h 134263"/>
                <a:gd name="connsiteX5" fmla="*/ 899014 w 899014"/>
                <a:gd name="connsiteY5" fmla="*/ 67132 h 134263"/>
                <a:gd name="connsiteX6" fmla="*/ 899014 w 899014"/>
                <a:gd name="connsiteY6" fmla="*/ 67132 h 134263"/>
                <a:gd name="connsiteX7" fmla="*/ 831860 w 899014"/>
                <a:gd name="connsiteY7" fmla="*/ 0 h 134263"/>
                <a:gd name="connsiteX8" fmla="*/ 828159 w 899014"/>
                <a:gd name="connsiteY8" fmla="*/ 121577 h 134263"/>
                <a:gd name="connsiteX9" fmla="*/ 774224 w 899014"/>
                <a:gd name="connsiteY9" fmla="*/ 67660 h 134263"/>
                <a:gd name="connsiteX10" fmla="*/ 828159 w 899014"/>
                <a:gd name="connsiteY10" fmla="*/ 13743 h 134263"/>
                <a:gd name="connsiteX11" fmla="*/ 882094 w 899014"/>
                <a:gd name="connsiteY11" fmla="*/ 67660 h 134263"/>
                <a:gd name="connsiteX12" fmla="*/ 828159 w 899014"/>
                <a:gd name="connsiteY12" fmla="*/ 121577 h 134263"/>
                <a:gd name="connsiteX0" fmla="*/ 845597 w 912751"/>
                <a:gd name="connsiteY0" fmla="*/ 0 h 134263"/>
                <a:gd name="connsiteX1" fmla="*/ 14895 w 912751"/>
                <a:gd name="connsiteY1" fmla="*/ 0 h 134263"/>
                <a:gd name="connsiteX2" fmla="*/ 0 w 912751"/>
                <a:gd name="connsiteY2" fmla="*/ 71129 h 134263"/>
                <a:gd name="connsiteX3" fmla="*/ 14895 w 912751"/>
                <a:gd name="connsiteY3" fmla="*/ 134263 h 134263"/>
                <a:gd name="connsiteX4" fmla="*/ 845597 w 912751"/>
                <a:gd name="connsiteY4" fmla="*/ 134263 h 134263"/>
                <a:gd name="connsiteX5" fmla="*/ 912751 w 912751"/>
                <a:gd name="connsiteY5" fmla="*/ 67132 h 134263"/>
                <a:gd name="connsiteX6" fmla="*/ 912751 w 912751"/>
                <a:gd name="connsiteY6" fmla="*/ 67132 h 134263"/>
                <a:gd name="connsiteX7" fmla="*/ 845597 w 912751"/>
                <a:gd name="connsiteY7" fmla="*/ 0 h 134263"/>
                <a:gd name="connsiteX8" fmla="*/ 841896 w 912751"/>
                <a:gd name="connsiteY8" fmla="*/ 121577 h 134263"/>
                <a:gd name="connsiteX9" fmla="*/ 787961 w 912751"/>
                <a:gd name="connsiteY9" fmla="*/ 67660 h 134263"/>
                <a:gd name="connsiteX10" fmla="*/ 841896 w 912751"/>
                <a:gd name="connsiteY10" fmla="*/ 13743 h 134263"/>
                <a:gd name="connsiteX11" fmla="*/ 895831 w 912751"/>
                <a:gd name="connsiteY11" fmla="*/ 67660 h 134263"/>
                <a:gd name="connsiteX12" fmla="*/ 841896 w 912751"/>
                <a:gd name="connsiteY12" fmla="*/ 121577 h 134263"/>
                <a:gd name="connsiteX0" fmla="*/ 944505 w 1011659"/>
                <a:gd name="connsiteY0" fmla="*/ 0 h 134263"/>
                <a:gd name="connsiteX1" fmla="*/ 113803 w 1011659"/>
                <a:gd name="connsiteY1" fmla="*/ 0 h 134263"/>
                <a:gd name="connsiteX2" fmla="*/ 0 w 1011659"/>
                <a:gd name="connsiteY2" fmla="*/ 75222 h 134263"/>
                <a:gd name="connsiteX3" fmla="*/ 113803 w 1011659"/>
                <a:gd name="connsiteY3" fmla="*/ 134263 h 134263"/>
                <a:gd name="connsiteX4" fmla="*/ 944505 w 1011659"/>
                <a:gd name="connsiteY4" fmla="*/ 134263 h 134263"/>
                <a:gd name="connsiteX5" fmla="*/ 1011659 w 1011659"/>
                <a:gd name="connsiteY5" fmla="*/ 67132 h 134263"/>
                <a:gd name="connsiteX6" fmla="*/ 1011659 w 1011659"/>
                <a:gd name="connsiteY6" fmla="*/ 67132 h 134263"/>
                <a:gd name="connsiteX7" fmla="*/ 944505 w 1011659"/>
                <a:gd name="connsiteY7" fmla="*/ 0 h 134263"/>
                <a:gd name="connsiteX8" fmla="*/ 940804 w 1011659"/>
                <a:gd name="connsiteY8" fmla="*/ 121577 h 134263"/>
                <a:gd name="connsiteX9" fmla="*/ 886869 w 1011659"/>
                <a:gd name="connsiteY9" fmla="*/ 67660 h 134263"/>
                <a:gd name="connsiteX10" fmla="*/ 940804 w 1011659"/>
                <a:gd name="connsiteY10" fmla="*/ 13743 h 134263"/>
                <a:gd name="connsiteX11" fmla="*/ 994739 w 1011659"/>
                <a:gd name="connsiteY11" fmla="*/ 67660 h 134263"/>
                <a:gd name="connsiteX12" fmla="*/ 940804 w 1011659"/>
                <a:gd name="connsiteY12" fmla="*/ 121577 h 1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1659" h="134263">
                  <a:moveTo>
                    <a:pt x="944505" y="0"/>
                  </a:moveTo>
                  <a:lnTo>
                    <a:pt x="113803" y="0"/>
                  </a:lnTo>
                  <a:lnTo>
                    <a:pt x="0" y="75222"/>
                  </a:lnTo>
                  <a:lnTo>
                    <a:pt x="113803" y="134263"/>
                  </a:lnTo>
                  <a:lnTo>
                    <a:pt x="944505" y="134263"/>
                  </a:lnTo>
                  <a:cubicBezTo>
                    <a:pt x="981520" y="134263"/>
                    <a:pt x="1011659" y="104133"/>
                    <a:pt x="1011659" y="67132"/>
                  </a:cubicBezTo>
                  <a:lnTo>
                    <a:pt x="1011659" y="67132"/>
                  </a:lnTo>
                  <a:cubicBezTo>
                    <a:pt x="1011659" y="30130"/>
                    <a:pt x="981520" y="0"/>
                    <a:pt x="944505" y="0"/>
                  </a:cubicBezTo>
                  <a:close/>
                  <a:moveTo>
                    <a:pt x="940804" y="121577"/>
                  </a:moveTo>
                  <a:cubicBezTo>
                    <a:pt x="910664" y="121577"/>
                    <a:pt x="886869" y="97261"/>
                    <a:pt x="886869" y="67660"/>
                  </a:cubicBezTo>
                  <a:cubicBezTo>
                    <a:pt x="886869" y="38059"/>
                    <a:pt x="911192" y="13743"/>
                    <a:pt x="940804" y="13743"/>
                  </a:cubicBezTo>
                  <a:cubicBezTo>
                    <a:pt x="970415" y="13743"/>
                    <a:pt x="994739" y="38059"/>
                    <a:pt x="994739" y="67660"/>
                  </a:cubicBezTo>
                  <a:cubicBezTo>
                    <a:pt x="994739" y="97261"/>
                    <a:pt x="970415" y="121577"/>
                    <a:pt x="940804" y="121577"/>
                  </a:cubicBezTo>
                  <a:close/>
                </a:path>
              </a:pathLst>
            </a:custGeom>
            <a:solidFill>
              <a:srgbClr val="268BC2"/>
            </a:solidFill>
            <a:ln w="0" cap="flat">
              <a:noFill/>
              <a:prstDash val="solid"/>
              <a:miter/>
            </a:ln>
          </p:spPr>
          <p:txBody>
            <a:bodyPr rtlCol="0" anchor="ctr"/>
            <a:lstStyle/>
            <a:p>
              <a:pPr defTabSz="653156">
                <a:defRPr/>
              </a:pPr>
              <a:endParaRPr lang="en-US" sz="1200" kern="0">
                <a:solidFill>
                  <a:prstClr val="black"/>
                </a:solidFill>
              </a:endParaRPr>
            </a:p>
          </p:txBody>
        </p:sp>
        <p:sp>
          <p:nvSpPr>
            <p:cNvPr id="89" name="Freeform 19">
              <a:extLst>
                <a:ext uri="{FF2B5EF4-FFF2-40B4-BE49-F238E27FC236}">
                  <a16:creationId xmlns:a16="http://schemas.microsoft.com/office/drawing/2014/main" id="{17CB9E6D-60DA-32C9-0894-F0B1CFCB14C5}"/>
                </a:ext>
              </a:extLst>
            </p:cNvPr>
            <p:cNvSpPr/>
            <p:nvPr/>
          </p:nvSpPr>
          <p:spPr>
            <a:xfrm>
              <a:off x="4141088" y="2634398"/>
              <a:ext cx="818332" cy="713398"/>
            </a:xfrm>
            <a:custGeom>
              <a:avLst/>
              <a:gdLst>
                <a:gd name="connsiteX0" fmla="*/ 33842 w 147527"/>
                <a:gd name="connsiteY0" fmla="*/ 139020 h 139020"/>
                <a:gd name="connsiteX1" fmla="*/ 147528 w 147527"/>
                <a:gd name="connsiteY1" fmla="*/ 134792 h 139020"/>
                <a:gd name="connsiteX2" fmla="*/ 147528 w 147527"/>
                <a:gd name="connsiteY2" fmla="*/ 0 h 139020"/>
                <a:gd name="connsiteX3" fmla="*/ 0 w 147527"/>
                <a:gd name="connsiteY3" fmla="*/ 33830 h 139020"/>
                <a:gd name="connsiteX4" fmla="*/ 33842 w 147527"/>
                <a:gd name="connsiteY4" fmla="*/ 139020 h 139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7" h="139020">
                  <a:moveTo>
                    <a:pt x="33842" y="139020"/>
                  </a:moveTo>
                  <a:lnTo>
                    <a:pt x="147528" y="134792"/>
                  </a:lnTo>
                  <a:lnTo>
                    <a:pt x="147528" y="0"/>
                  </a:lnTo>
                  <a:lnTo>
                    <a:pt x="0" y="33830"/>
                  </a:lnTo>
                  <a:lnTo>
                    <a:pt x="33842" y="139020"/>
                  </a:lnTo>
                  <a:close/>
                </a:path>
              </a:pathLst>
            </a:custGeom>
            <a:solidFill>
              <a:srgbClr val="004B84"/>
            </a:solidFill>
            <a:ln w="0" cap="flat">
              <a:noFill/>
              <a:prstDash val="solid"/>
              <a:miter/>
            </a:ln>
          </p:spPr>
          <p:txBody>
            <a:bodyPr rtlCol="0" anchor="ctr"/>
            <a:lstStyle/>
            <a:p>
              <a:pPr defTabSz="653156">
                <a:defRPr/>
              </a:pPr>
              <a:endParaRPr lang="en-US" sz="1200" kern="0">
                <a:solidFill>
                  <a:prstClr val="black"/>
                </a:solidFill>
              </a:endParaRPr>
            </a:p>
          </p:txBody>
        </p:sp>
        <p:sp>
          <p:nvSpPr>
            <p:cNvPr id="90" name="TextBox 89">
              <a:extLst>
                <a:ext uri="{FF2B5EF4-FFF2-40B4-BE49-F238E27FC236}">
                  <a16:creationId xmlns:a16="http://schemas.microsoft.com/office/drawing/2014/main" id="{356953ED-DD4A-2749-19C2-00179D7010C3}"/>
                </a:ext>
              </a:extLst>
            </p:cNvPr>
            <p:cNvSpPr txBox="1"/>
            <p:nvPr/>
          </p:nvSpPr>
          <p:spPr>
            <a:xfrm>
              <a:off x="4280406" y="2952729"/>
              <a:ext cx="687796" cy="251907"/>
            </a:xfrm>
            <a:prstGeom prst="rect">
              <a:avLst/>
            </a:prstGeom>
            <a:noFill/>
          </p:spPr>
          <p:txBody>
            <a:bodyPr wrap="square" lIns="0" rIns="0" rtlCol="0" anchor="b">
              <a:spAutoFit/>
            </a:bodyPr>
            <a:lstStyle/>
            <a:p>
              <a:pPr algn="ctr" defTabSz="653156">
                <a:defRPr/>
              </a:pPr>
              <a:r>
                <a:rPr lang="en-US" sz="1200" b="1" kern="0" noProof="1">
                  <a:solidFill>
                    <a:prstClr val="white"/>
                  </a:solidFill>
                </a:rPr>
                <a:t>02</a:t>
              </a:r>
            </a:p>
          </p:txBody>
        </p:sp>
        <p:grpSp>
          <p:nvGrpSpPr>
            <p:cNvPr id="91" name="Group 90">
              <a:extLst>
                <a:ext uri="{FF2B5EF4-FFF2-40B4-BE49-F238E27FC236}">
                  <a16:creationId xmlns:a16="http://schemas.microsoft.com/office/drawing/2014/main" id="{76E6BD8A-CF5D-4D16-C2A2-7034040B528F}"/>
                </a:ext>
              </a:extLst>
            </p:cNvPr>
            <p:cNvGrpSpPr/>
            <p:nvPr/>
          </p:nvGrpSpPr>
          <p:grpSpPr>
            <a:xfrm>
              <a:off x="5098018" y="2647962"/>
              <a:ext cx="4019350" cy="614662"/>
              <a:chOff x="8921397" y="1464743"/>
              <a:chExt cx="2926659" cy="614662"/>
            </a:xfrm>
          </p:grpSpPr>
          <p:sp>
            <p:nvSpPr>
              <p:cNvPr id="92" name="TextBox 91">
                <a:extLst>
                  <a:ext uri="{FF2B5EF4-FFF2-40B4-BE49-F238E27FC236}">
                    <a16:creationId xmlns:a16="http://schemas.microsoft.com/office/drawing/2014/main" id="{02C9BB48-ED77-B1F9-DF0A-95190107DD5D}"/>
                  </a:ext>
                </a:extLst>
              </p:cNvPr>
              <p:cNvSpPr txBox="1"/>
              <p:nvPr/>
            </p:nvSpPr>
            <p:spPr>
              <a:xfrm>
                <a:off x="8921976" y="1464743"/>
                <a:ext cx="2926080" cy="251907"/>
              </a:xfrm>
              <a:prstGeom prst="rect">
                <a:avLst/>
              </a:prstGeom>
              <a:noFill/>
            </p:spPr>
            <p:txBody>
              <a:bodyPr wrap="square" lIns="0" rIns="0" rtlCol="0" anchor="b">
                <a:spAutoFit/>
              </a:bodyPr>
              <a:lstStyle/>
              <a:p>
                <a:pPr defTabSz="653156">
                  <a:defRPr/>
                </a:pPr>
                <a:r>
                  <a:rPr lang="en-US" sz="1200" b="1" kern="0" noProof="1">
                    <a:solidFill>
                      <a:prstClr val="white"/>
                    </a:solidFill>
                  </a:rPr>
                  <a:t>Conceptual View</a:t>
                </a:r>
              </a:p>
            </p:txBody>
          </p:sp>
          <p:sp>
            <p:nvSpPr>
              <p:cNvPr id="93" name="TextBox 92">
                <a:extLst>
                  <a:ext uri="{FF2B5EF4-FFF2-40B4-BE49-F238E27FC236}">
                    <a16:creationId xmlns:a16="http://schemas.microsoft.com/office/drawing/2014/main" id="{004E833F-7490-EC4E-8286-BB38C894595D}"/>
                  </a:ext>
                </a:extLst>
              </p:cNvPr>
              <p:cNvSpPr txBox="1"/>
              <p:nvPr/>
            </p:nvSpPr>
            <p:spPr>
              <a:xfrm>
                <a:off x="8921397" y="1701079"/>
                <a:ext cx="2926080" cy="378326"/>
              </a:xfrm>
              <a:prstGeom prst="rect">
                <a:avLst/>
              </a:prstGeom>
              <a:noFill/>
            </p:spPr>
            <p:txBody>
              <a:bodyPr wrap="square" lIns="0" rIns="0" rtlCol="0" anchor="t">
                <a:spAutoFit/>
              </a:bodyPr>
              <a:lstStyle/>
              <a:p>
                <a:pPr algn="just" defTabSz="548662">
                  <a:lnSpc>
                    <a:spcPct val="107000"/>
                  </a:lnSpc>
                  <a:spcAft>
                    <a:spcPts val="408"/>
                  </a:spcAft>
                  <a:defRPr/>
                </a:pPr>
                <a:r>
                  <a:rPr lang="en-GB" sz="1000" kern="0">
                    <a:solidFill>
                      <a:prstClr val="white"/>
                    </a:solidFill>
                  </a:rPr>
                  <a:t>Drivers &amp; Reference libraries: Drivers and mandates used to standardize the planning, design, and operationalizing security controls </a:t>
                </a:r>
              </a:p>
            </p:txBody>
          </p:sp>
        </p:grpSp>
      </p:grpSp>
      <p:grpSp>
        <p:nvGrpSpPr>
          <p:cNvPr id="94" name="Group 93">
            <a:extLst>
              <a:ext uri="{FF2B5EF4-FFF2-40B4-BE49-F238E27FC236}">
                <a16:creationId xmlns:a16="http://schemas.microsoft.com/office/drawing/2014/main" id="{35E45A71-A974-8EC4-6A6E-E961C0652BB9}"/>
              </a:ext>
            </a:extLst>
          </p:cNvPr>
          <p:cNvGrpSpPr/>
          <p:nvPr/>
        </p:nvGrpSpPr>
        <p:grpSpPr>
          <a:xfrm>
            <a:off x="3366708" y="4526643"/>
            <a:ext cx="7409576" cy="779819"/>
            <a:chOff x="4141088" y="3452458"/>
            <a:chExt cx="5798742" cy="768209"/>
          </a:xfrm>
        </p:grpSpPr>
        <p:sp>
          <p:nvSpPr>
            <p:cNvPr id="95" name="Freeform 24">
              <a:extLst>
                <a:ext uri="{FF2B5EF4-FFF2-40B4-BE49-F238E27FC236}">
                  <a16:creationId xmlns:a16="http://schemas.microsoft.com/office/drawing/2014/main" id="{1D999556-C09C-72D1-98D1-8CC16E65AD44}"/>
                </a:ext>
              </a:extLst>
            </p:cNvPr>
            <p:cNvSpPr/>
            <p:nvPr/>
          </p:nvSpPr>
          <p:spPr>
            <a:xfrm>
              <a:off x="4329115" y="3470859"/>
              <a:ext cx="5610715" cy="749808"/>
            </a:xfrm>
            <a:custGeom>
              <a:avLst/>
              <a:gdLst>
                <a:gd name="connsiteX0" fmla="*/ 830702 w 897856"/>
                <a:gd name="connsiteY0" fmla="*/ 0 h 134262"/>
                <a:gd name="connsiteX1" fmla="*/ 0 w 897856"/>
                <a:gd name="connsiteY1" fmla="*/ 0 h 134262"/>
                <a:gd name="connsiteX2" fmla="*/ 0 w 897856"/>
                <a:gd name="connsiteY2" fmla="*/ 134263 h 134262"/>
                <a:gd name="connsiteX3" fmla="*/ 830702 w 897856"/>
                <a:gd name="connsiteY3" fmla="*/ 134263 h 134262"/>
                <a:gd name="connsiteX4" fmla="*/ 897856 w 897856"/>
                <a:gd name="connsiteY4" fmla="*/ 67131 h 134262"/>
                <a:gd name="connsiteX5" fmla="*/ 830702 w 897856"/>
                <a:gd name="connsiteY5" fmla="*/ 0 h 134262"/>
                <a:gd name="connsiteX6" fmla="*/ 827001 w 897856"/>
                <a:gd name="connsiteY6" fmla="*/ 121048 h 134262"/>
                <a:gd name="connsiteX7" fmla="*/ 773066 w 897856"/>
                <a:gd name="connsiteY7" fmla="*/ 67131 h 134262"/>
                <a:gd name="connsiteX8" fmla="*/ 827001 w 897856"/>
                <a:gd name="connsiteY8" fmla="*/ 13215 h 134262"/>
                <a:gd name="connsiteX9" fmla="*/ 880936 w 897856"/>
                <a:gd name="connsiteY9" fmla="*/ 67131 h 134262"/>
                <a:gd name="connsiteX10" fmla="*/ 827001 w 897856"/>
                <a:gd name="connsiteY10" fmla="*/ 121048 h 134262"/>
                <a:gd name="connsiteX0" fmla="*/ 831860 w 899014"/>
                <a:gd name="connsiteY0" fmla="*/ 0 h 134263"/>
                <a:gd name="connsiteX1" fmla="*/ 1158 w 899014"/>
                <a:gd name="connsiteY1" fmla="*/ 0 h 134263"/>
                <a:gd name="connsiteX2" fmla="*/ 0 w 899014"/>
                <a:gd name="connsiteY2" fmla="*/ 61087 h 134263"/>
                <a:gd name="connsiteX3" fmla="*/ 1158 w 899014"/>
                <a:gd name="connsiteY3" fmla="*/ 134263 h 134263"/>
                <a:gd name="connsiteX4" fmla="*/ 831860 w 899014"/>
                <a:gd name="connsiteY4" fmla="*/ 134263 h 134263"/>
                <a:gd name="connsiteX5" fmla="*/ 899014 w 899014"/>
                <a:gd name="connsiteY5" fmla="*/ 67131 h 134263"/>
                <a:gd name="connsiteX6" fmla="*/ 831860 w 899014"/>
                <a:gd name="connsiteY6" fmla="*/ 0 h 134263"/>
                <a:gd name="connsiteX7" fmla="*/ 828159 w 899014"/>
                <a:gd name="connsiteY7" fmla="*/ 121048 h 134263"/>
                <a:gd name="connsiteX8" fmla="*/ 774224 w 899014"/>
                <a:gd name="connsiteY8" fmla="*/ 67131 h 134263"/>
                <a:gd name="connsiteX9" fmla="*/ 828159 w 899014"/>
                <a:gd name="connsiteY9" fmla="*/ 13215 h 134263"/>
                <a:gd name="connsiteX10" fmla="*/ 882094 w 899014"/>
                <a:gd name="connsiteY10" fmla="*/ 67131 h 134263"/>
                <a:gd name="connsiteX11" fmla="*/ 828159 w 899014"/>
                <a:gd name="connsiteY11" fmla="*/ 121048 h 134263"/>
                <a:gd name="connsiteX0" fmla="*/ 848173 w 915327"/>
                <a:gd name="connsiteY0" fmla="*/ 0 h 134263"/>
                <a:gd name="connsiteX1" fmla="*/ 17471 w 915327"/>
                <a:gd name="connsiteY1" fmla="*/ 0 h 134263"/>
                <a:gd name="connsiteX2" fmla="*/ 0 w 915327"/>
                <a:gd name="connsiteY2" fmla="*/ 64521 h 134263"/>
                <a:gd name="connsiteX3" fmla="*/ 17471 w 915327"/>
                <a:gd name="connsiteY3" fmla="*/ 134263 h 134263"/>
                <a:gd name="connsiteX4" fmla="*/ 848173 w 915327"/>
                <a:gd name="connsiteY4" fmla="*/ 134263 h 134263"/>
                <a:gd name="connsiteX5" fmla="*/ 915327 w 915327"/>
                <a:gd name="connsiteY5" fmla="*/ 67131 h 134263"/>
                <a:gd name="connsiteX6" fmla="*/ 848173 w 915327"/>
                <a:gd name="connsiteY6" fmla="*/ 0 h 134263"/>
                <a:gd name="connsiteX7" fmla="*/ 844472 w 915327"/>
                <a:gd name="connsiteY7" fmla="*/ 121048 h 134263"/>
                <a:gd name="connsiteX8" fmla="*/ 790537 w 915327"/>
                <a:gd name="connsiteY8" fmla="*/ 67131 h 134263"/>
                <a:gd name="connsiteX9" fmla="*/ 844472 w 915327"/>
                <a:gd name="connsiteY9" fmla="*/ 13215 h 134263"/>
                <a:gd name="connsiteX10" fmla="*/ 898407 w 915327"/>
                <a:gd name="connsiteY10" fmla="*/ 67131 h 134263"/>
                <a:gd name="connsiteX11" fmla="*/ 844472 w 915327"/>
                <a:gd name="connsiteY11" fmla="*/ 121048 h 134263"/>
                <a:gd name="connsiteX0" fmla="*/ 944333 w 1011487"/>
                <a:gd name="connsiteY0" fmla="*/ 0 h 134263"/>
                <a:gd name="connsiteX1" fmla="*/ 113631 w 1011487"/>
                <a:gd name="connsiteY1" fmla="*/ 0 h 134263"/>
                <a:gd name="connsiteX2" fmla="*/ 0 w 1011487"/>
                <a:gd name="connsiteY2" fmla="*/ 64521 h 134263"/>
                <a:gd name="connsiteX3" fmla="*/ 113631 w 1011487"/>
                <a:gd name="connsiteY3" fmla="*/ 134263 h 134263"/>
                <a:gd name="connsiteX4" fmla="*/ 944333 w 1011487"/>
                <a:gd name="connsiteY4" fmla="*/ 134263 h 134263"/>
                <a:gd name="connsiteX5" fmla="*/ 1011487 w 1011487"/>
                <a:gd name="connsiteY5" fmla="*/ 67131 h 134263"/>
                <a:gd name="connsiteX6" fmla="*/ 944333 w 1011487"/>
                <a:gd name="connsiteY6" fmla="*/ 0 h 134263"/>
                <a:gd name="connsiteX7" fmla="*/ 940632 w 1011487"/>
                <a:gd name="connsiteY7" fmla="*/ 121048 h 134263"/>
                <a:gd name="connsiteX8" fmla="*/ 886697 w 1011487"/>
                <a:gd name="connsiteY8" fmla="*/ 67131 h 134263"/>
                <a:gd name="connsiteX9" fmla="*/ 940632 w 1011487"/>
                <a:gd name="connsiteY9" fmla="*/ 13215 h 134263"/>
                <a:gd name="connsiteX10" fmla="*/ 994567 w 1011487"/>
                <a:gd name="connsiteY10" fmla="*/ 67131 h 134263"/>
                <a:gd name="connsiteX11" fmla="*/ 940632 w 1011487"/>
                <a:gd name="connsiteY11" fmla="*/ 121048 h 1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487" h="134263">
                  <a:moveTo>
                    <a:pt x="944333" y="0"/>
                  </a:moveTo>
                  <a:lnTo>
                    <a:pt x="113631" y="0"/>
                  </a:lnTo>
                  <a:lnTo>
                    <a:pt x="0" y="64521"/>
                  </a:lnTo>
                  <a:lnTo>
                    <a:pt x="113631" y="134263"/>
                  </a:lnTo>
                  <a:lnTo>
                    <a:pt x="944333" y="134263"/>
                  </a:lnTo>
                  <a:cubicBezTo>
                    <a:pt x="981348" y="134263"/>
                    <a:pt x="1011487" y="104133"/>
                    <a:pt x="1011487" y="67131"/>
                  </a:cubicBezTo>
                  <a:cubicBezTo>
                    <a:pt x="1011487" y="30130"/>
                    <a:pt x="981348" y="0"/>
                    <a:pt x="944333" y="0"/>
                  </a:cubicBezTo>
                  <a:close/>
                  <a:moveTo>
                    <a:pt x="940632" y="121048"/>
                  </a:moveTo>
                  <a:cubicBezTo>
                    <a:pt x="910492" y="121048"/>
                    <a:pt x="886697" y="96733"/>
                    <a:pt x="886697" y="67131"/>
                  </a:cubicBezTo>
                  <a:cubicBezTo>
                    <a:pt x="886697" y="37530"/>
                    <a:pt x="911020" y="13215"/>
                    <a:pt x="940632" y="13215"/>
                  </a:cubicBezTo>
                  <a:cubicBezTo>
                    <a:pt x="970243" y="13215"/>
                    <a:pt x="994567" y="37530"/>
                    <a:pt x="994567" y="67131"/>
                  </a:cubicBezTo>
                  <a:cubicBezTo>
                    <a:pt x="994567" y="96733"/>
                    <a:pt x="970243" y="121048"/>
                    <a:pt x="940632" y="121048"/>
                  </a:cubicBezTo>
                  <a:close/>
                </a:path>
              </a:pathLst>
            </a:custGeom>
            <a:solidFill>
              <a:srgbClr val="69B8E4"/>
            </a:solidFill>
            <a:ln w="0" cap="flat">
              <a:noFill/>
              <a:prstDash val="solid"/>
              <a:miter/>
            </a:ln>
          </p:spPr>
          <p:txBody>
            <a:bodyPr rtlCol="0" anchor="ctr"/>
            <a:lstStyle/>
            <a:p>
              <a:pPr defTabSz="653156">
                <a:defRPr/>
              </a:pPr>
              <a:endParaRPr lang="en-US" sz="1200" kern="0">
                <a:solidFill>
                  <a:prstClr val="black"/>
                </a:solidFill>
              </a:endParaRPr>
            </a:p>
          </p:txBody>
        </p:sp>
        <p:sp>
          <p:nvSpPr>
            <p:cNvPr id="96" name="Freeform 20">
              <a:extLst>
                <a:ext uri="{FF2B5EF4-FFF2-40B4-BE49-F238E27FC236}">
                  <a16:creationId xmlns:a16="http://schemas.microsoft.com/office/drawing/2014/main" id="{511BFE99-BA80-198B-30C5-186E79D6BFA8}"/>
                </a:ext>
              </a:extLst>
            </p:cNvPr>
            <p:cNvSpPr/>
            <p:nvPr/>
          </p:nvSpPr>
          <p:spPr>
            <a:xfrm>
              <a:off x="4141088" y="3452458"/>
              <a:ext cx="818332" cy="768209"/>
            </a:xfrm>
            <a:custGeom>
              <a:avLst/>
              <a:gdLst>
                <a:gd name="connsiteX0" fmla="*/ 0 w 147527"/>
                <a:gd name="connsiteY0" fmla="*/ 104662 h 138491"/>
                <a:gd name="connsiteX1" fmla="*/ 147528 w 147527"/>
                <a:gd name="connsiteY1" fmla="*/ 138492 h 138491"/>
                <a:gd name="connsiteX2" fmla="*/ 147528 w 147527"/>
                <a:gd name="connsiteY2" fmla="*/ 4229 h 138491"/>
                <a:gd name="connsiteX3" fmla="*/ 33842 w 147527"/>
                <a:gd name="connsiteY3" fmla="*/ 0 h 138491"/>
                <a:gd name="connsiteX4" fmla="*/ 0 w 147527"/>
                <a:gd name="connsiteY4" fmla="*/ 104662 h 138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7" h="138491">
                  <a:moveTo>
                    <a:pt x="0" y="104662"/>
                  </a:moveTo>
                  <a:lnTo>
                    <a:pt x="147528" y="138492"/>
                  </a:lnTo>
                  <a:lnTo>
                    <a:pt x="147528" y="4229"/>
                  </a:lnTo>
                  <a:lnTo>
                    <a:pt x="33842" y="0"/>
                  </a:lnTo>
                  <a:lnTo>
                    <a:pt x="0" y="104662"/>
                  </a:lnTo>
                  <a:close/>
                </a:path>
              </a:pathLst>
            </a:custGeom>
            <a:solidFill>
              <a:srgbClr val="2F7DB8"/>
            </a:solidFill>
            <a:ln w="0" cap="flat">
              <a:noFill/>
              <a:prstDash val="solid"/>
              <a:miter/>
            </a:ln>
          </p:spPr>
          <p:txBody>
            <a:bodyPr rtlCol="0" anchor="ctr"/>
            <a:lstStyle/>
            <a:p>
              <a:pPr defTabSz="653156">
                <a:defRPr/>
              </a:pPr>
              <a:endParaRPr lang="en-US" sz="1200" kern="0">
                <a:solidFill>
                  <a:prstClr val="black"/>
                </a:solidFill>
              </a:endParaRPr>
            </a:p>
          </p:txBody>
        </p:sp>
        <p:sp>
          <p:nvSpPr>
            <p:cNvPr id="97" name="TextBox 96">
              <a:extLst>
                <a:ext uri="{FF2B5EF4-FFF2-40B4-BE49-F238E27FC236}">
                  <a16:creationId xmlns:a16="http://schemas.microsoft.com/office/drawing/2014/main" id="{BCA1DD51-744D-789D-9FB3-02F5824CB63E}"/>
                </a:ext>
              </a:extLst>
            </p:cNvPr>
            <p:cNvSpPr txBox="1"/>
            <p:nvPr/>
          </p:nvSpPr>
          <p:spPr>
            <a:xfrm>
              <a:off x="4270827" y="3691166"/>
              <a:ext cx="687796" cy="272875"/>
            </a:xfrm>
            <a:prstGeom prst="rect">
              <a:avLst/>
            </a:prstGeom>
            <a:noFill/>
          </p:spPr>
          <p:txBody>
            <a:bodyPr wrap="square" lIns="0" rIns="0" rtlCol="0" anchor="b">
              <a:spAutoFit/>
            </a:bodyPr>
            <a:lstStyle/>
            <a:p>
              <a:pPr algn="ctr" defTabSz="653156">
                <a:defRPr/>
              </a:pPr>
              <a:r>
                <a:rPr lang="en-US" sz="1200" b="1" kern="0" noProof="1">
                  <a:solidFill>
                    <a:prstClr val="white"/>
                  </a:solidFill>
                </a:rPr>
                <a:t>04</a:t>
              </a:r>
            </a:p>
          </p:txBody>
        </p:sp>
        <p:grpSp>
          <p:nvGrpSpPr>
            <p:cNvPr id="98" name="Group 97">
              <a:extLst>
                <a:ext uri="{FF2B5EF4-FFF2-40B4-BE49-F238E27FC236}">
                  <a16:creationId xmlns:a16="http://schemas.microsoft.com/office/drawing/2014/main" id="{874869F1-9F14-D848-F421-220CA9CAF3FF}"/>
                </a:ext>
              </a:extLst>
            </p:cNvPr>
            <p:cNvGrpSpPr/>
            <p:nvPr/>
          </p:nvGrpSpPr>
          <p:grpSpPr>
            <a:xfrm>
              <a:off x="5098015" y="3508895"/>
              <a:ext cx="4019352" cy="667028"/>
              <a:chOff x="8921396" y="1487666"/>
              <a:chExt cx="2926661" cy="667028"/>
            </a:xfrm>
          </p:grpSpPr>
          <p:sp>
            <p:nvSpPr>
              <p:cNvPr id="99" name="TextBox 98">
                <a:extLst>
                  <a:ext uri="{FF2B5EF4-FFF2-40B4-BE49-F238E27FC236}">
                    <a16:creationId xmlns:a16="http://schemas.microsoft.com/office/drawing/2014/main" id="{43970309-56D9-99E9-7BAF-FF8D5B1E1C4D}"/>
                  </a:ext>
                </a:extLst>
              </p:cNvPr>
              <p:cNvSpPr txBox="1"/>
              <p:nvPr/>
            </p:nvSpPr>
            <p:spPr>
              <a:xfrm>
                <a:off x="8921977" y="1487666"/>
                <a:ext cx="2926080" cy="272875"/>
              </a:xfrm>
              <a:prstGeom prst="rect">
                <a:avLst/>
              </a:prstGeom>
              <a:noFill/>
            </p:spPr>
            <p:txBody>
              <a:bodyPr wrap="square" lIns="0" rIns="0" rtlCol="0" anchor="b">
                <a:spAutoFit/>
              </a:bodyPr>
              <a:lstStyle/>
              <a:p>
                <a:pPr defTabSz="653156">
                  <a:defRPr/>
                </a:pPr>
                <a:r>
                  <a:rPr lang="en-US" sz="1200" b="1" kern="0" noProof="1">
                    <a:solidFill>
                      <a:prstClr val="black"/>
                    </a:solidFill>
                  </a:rPr>
                  <a:t>Physical View</a:t>
                </a:r>
              </a:p>
            </p:txBody>
          </p:sp>
          <p:sp>
            <p:nvSpPr>
              <p:cNvPr id="100" name="TextBox 99">
                <a:extLst>
                  <a:ext uri="{FF2B5EF4-FFF2-40B4-BE49-F238E27FC236}">
                    <a16:creationId xmlns:a16="http://schemas.microsoft.com/office/drawing/2014/main" id="{024868B8-0068-6146-071A-65CA631E0B44}"/>
                  </a:ext>
                </a:extLst>
              </p:cNvPr>
              <p:cNvSpPr txBox="1"/>
              <p:nvPr/>
            </p:nvSpPr>
            <p:spPr>
              <a:xfrm>
                <a:off x="8921396" y="1760541"/>
                <a:ext cx="2926080" cy="394153"/>
              </a:xfrm>
              <a:prstGeom prst="rect">
                <a:avLst/>
              </a:prstGeom>
              <a:noFill/>
            </p:spPr>
            <p:txBody>
              <a:bodyPr wrap="square" lIns="0" rIns="0" rtlCol="0" anchor="t">
                <a:spAutoFit/>
              </a:bodyPr>
              <a:lstStyle/>
              <a:p>
                <a:pPr defTabSz="653156">
                  <a:defRPr/>
                </a:pPr>
                <a:r>
                  <a:rPr lang="en-GB" sz="1000" kern="0" noProof="1">
                    <a:solidFill>
                      <a:prstClr val="black"/>
                    </a:solidFill>
                  </a:rPr>
                  <a:t>Physical instantiation: Defines where and how security controls are deployed in the Cyberani’s infrastructure</a:t>
                </a:r>
              </a:p>
            </p:txBody>
          </p:sp>
        </p:grpSp>
      </p:grpSp>
      <p:grpSp>
        <p:nvGrpSpPr>
          <p:cNvPr id="101" name="Group 100">
            <a:extLst>
              <a:ext uri="{FF2B5EF4-FFF2-40B4-BE49-F238E27FC236}">
                <a16:creationId xmlns:a16="http://schemas.microsoft.com/office/drawing/2014/main" id="{74C25AE9-A634-DDD4-AB3C-E4233EA12C5F}"/>
              </a:ext>
            </a:extLst>
          </p:cNvPr>
          <p:cNvGrpSpPr/>
          <p:nvPr/>
        </p:nvGrpSpPr>
        <p:grpSpPr>
          <a:xfrm>
            <a:off x="2733313" y="5140477"/>
            <a:ext cx="8042972" cy="1068911"/>
            <a:chOff x="3645392" y="4230234"/>
            <a:chExt cx="6294438" cy="831952"/>
          </a:xfrm>
        </p:grpSpPr>
        <p:sp>
          <p:nvSpPr>
            <p:cNvPr id="102" name="Freeform 25">
              <a:extLst>
                <a:ext uri="{FF2B5EF4-FFF2-40B4-BE49-F238E27FC236}">
                  <a16:creationId xmlns:a16="http://schemas.microsoft.com/office/drawing/2014/main" id="{FD20273B-E9EF-6881-360C-9E0C066A69C8}"/>
                </a:ext>
              </a:extLst>
            </p:cNvPr>
            <p:cNvSpPr/>
            <p:nvPr/>
          </p:nvSpPr>
          <p:spPr>
            <a:xfrm>
              <a:off x="3960500" y="4423219"/>
              <a:ext cx="5979330" cy="638966"/>
            </a:xfrm>
            <a:custGeom>
              <a:avLst/>
              <a:gdLst>
                <a:gd name="connsiteX0" fmla="*/ 830702 w 897856"/>
                <a:gd name="connsiteY0" fmla="*/ 0 h 134263"/>
                <a:gd name="connsiteX1" fmla="*/ 0 w 897856"/>
                <a:gd name="connsiteY1" fmla="*/ 0 h 134263"/>
                <a:gd name="connsiteX2" fmla="*/ 0 w 897856"/>
                <a:gd name="connsiteY2" fmla="*/ 134263 h 134263"/>
                <a:gd name="connsiteX3" fmla="*/ 830702 w 897856"/>
                <a:gd name="connsiteY3" fmla="*/ 134263 h 134263"/>
                <a:gd name="connsiteX4" fmla="*/ 897856 w 897856"/>
                <a:gd name="connsiteY4" fmla="*/ 67132 h 134263"/>
                <a:gd name="connsiteX5" fmla="*/ 830702 w 897856"/>
                <a:gd name="connsiteY5" fmla="*/ 0 h 134263"/>
                <a:gd name="connsiteX6" fmla="*/ 827001 w 897856"/>
                <a:gd name="connsiteY6" fmla="*/ 121577 h 134263"/>
                <a:gd name="connsiteX7" fmla="*/ 773066 w 897856"/>
                <a:gd name="connsiteY7" fmla="*/ 67660 h 134263"/>
                <a:gd name="connsiteX8" fmla="*/ 827001 w 897856"/>
                <a:gd name="connsiteY8" fmla="*/ 13743 h 134263"/>
                <a:gd name="connsiteX9" fmla="*/ 880936 w 897856"/>
                <a:gd name="connsiteY9" fmla="*/ 67660 h 134263"/>
                <a:gd name="connsiteX10" fmla="*/ 827001 w 897856"/>
                <a:gd name="connsiteY10" fmla="*/ 121577 h 134263"/>
                <a:gd name="connsiteX0" fmla="*/ 831860 w 899014"/>
                <a:gd name="connsiteY0" fmla="*/ 0 h 134263"/>
                <a:gd name="connsiteX1" fmla="*/ 1158 w 899014"/>
                <a:gd name="connsiteY1" fmla="*/ 0 h 134263"/>
                <a:gd name="connsiteX2" fmla="*/ 0 w 899014"/>
                <a:gd name="connsiteY2" fmla="*/ 65641 h 134263"/>
                <a:gd name="connsiteX3" fmla="*/ 1158 w 899014"/>
                <a:gd name="connsiteY3" fmla="*/ 134263 h 134263"/>
                <a:gd name="connsiteX4" fmla="*/ 831860 w 899014"/>
                <a:gd name="connsiteY4" fmla="*/ 134263 h 134263"/>
                <a:gd name="connsiteX5" fmla="*/ 899014 w 899014"/>
                <a:gd name="connsiteY5" fmla="*/ 67132 h 134263"/>
                <a:gd name="connsiteX6" fmla="*/ 831860 w 899014"/>
                <a:gd name="connsiteY6" fmla="*/ 0 h 134263"/>
                <a:gd name="connsiteX7" fmla="*/ 828159 w 899014"/>
                <a:gd name="connsiteY7" fmla="*/ 121577 h 134263"/>
                <a:gd name="connsiteX8" fmla="*/ 774224 w 899014"/>
                <a:gd name="connsiteY8" fmla="*/ 67660 h 134263"/>
                <a:gd name="connsiteX9" fmla="*/ 828159 w 899014"/>
                <a:gd name="connsiteY9" fmla="*/ 13743 h 134263"/>
                <a:gd name="connsiteX10" fmla="*/ 882094 w 899014"/>
                <a:gd name="connsiteY10" fmla="*/ 67660 h 134263"/>
                <a:gd name="connsiteX11" fmla="*/ 828159 w 899014"/>
                <a:gd name="connsiteY11" fmla="*/ 121577 h 134263"/>
                <a:gd name="connsiteX0" fmla="*/ 847314 w 914468"/>
                <a:gd name="connsiteY0" fmla="*/ 0 h 134263"/>
                <a:gd name="connsiteX1" fmla="*/ 16612 w 914468"/>
                <a:gd name="connsiteY1" fmla="*/ 0 h 134263"/>
                <a:gd name="connsiteX2" fmla="*/ 0 w 914468"/>
                <a:gd name="connsiteY2" fmla="*/ 66500 h 134263"/>
                <a:gd name="connsiteX3" fmla="*/ 16612 w 914468"/>
                <a:gd name="connsiteY3" fmla="*/ 134263 h 134263"/>
                <a:gd name="connsiteX4" fmla="*/ 847314 w 914468"/>
                <a:gd name="connsiteY4" fmla="*/ 134263 h 134263"/>
                <a:gd name="connsiteX5" fmla="*/ 914468 w 914468"/>
                <a:gd name="connsiteY5" fmla="*/ 67132 h 134263"/>
                <a:gd name="connsiteX6" fmla="*/ 847314 w 914468"/>
                <a:gd name="connsiteY6" fmla="*/ 0 h 134263"/>
                <a:gd name="connsiteX7" fmla="*/ 843613 w 914468"/>
                <a:gd name="connsiteY7" fmla="*/ 121577 h 134263"/>
                <a:gd name="connsiteX8" fmla="*/ 789678 w 914468"/>
                <a:gd name="connsiteY8" fmla="*/ 67660 h 134263"/>
                <a:gd name="connsiteX9" fmla="*/ 843613 w 914468"/>
                <a:gd name="connsiteY9" fmla="*/ 13743 h 134263"/>
                <a:gd name="connsiteX10" fmla="*/ 897548 w 914468"/>
                <a:gd name="connsiteY10" fmla="*/ 67660 h 134263"/>
                <a:gd name="connsiteX11" fmla="*/ 843613 w 914468"/>
                <a:gd name="connsiteY11" fmla="*/ 121577 h 134263"/>
                <a:gd name="connsiteX0" fmla="*/ 1010786 w 1077940"/>
                <a:gd name="connsiteY0" fmla="*/ 0 h 134263"/>
                <a:gd name="connsiteX1" fmla="*/ 180084 w 1077940"/>
                <a:gd name="connsiteY1" fmla="*/ 0 h 134263"/>
                <a:gd name="connsiteX2" fmla="*/ 0 w 1077940"/>
                <a:gd name="connsiteY2" fmla="*/ 22837 h 134263"/>
                <a:gd name="connsiteX3" fmla="*/ 180084 w 1077940"/>
                <a:gd name="connsiteY3" fmla="*/ 134263 h 134263"/>
                <a:gd name="connsiteX4" fmla="*/ 1010786 w 1077940"/>
                <a:gd name="connsiteY4" fmla="*/ 134263 h 134263"/>
                <a:gd name="connsiteX5" fmla="*/ 1077940 w 1077940"/>
                <a:gd name="connsiteY5" fmla="*/ 67132 h 134263"/>
                <a:gd name="connsiteX6" fmla="*/ 1010786 w 1077940"/>
                <a:gd name="connsiteY6" fmla="*/ 0 h 134263"/>
                <a:gd name="connsiteX7" fmla="*/ 1007085 w 1077940"/>
                <a:gd name="connsiteY7" fmla="*/ 121577 h 134263"/>
                <a:gd name="connsiteX8" fmla="*/ 953150 w 1077940"/>
                <a:gd name="connsiteY8" fmla="*/ 67660 h 134263"/>
                <a:gd name="connsiteX9" fmla="*/ 1007085 w 1077940"/>
                <a:gd name="connsiteY9" fmla="*/ 13743 h 134263"/>
                <a:gd name="connsiteX10" fmla="*/ 1061020 w 1077940"/>
                <a:gd name="connsiteY10" fmla="*/ 67660 h 134263"/>
                <a:gd name="connsiteX11" fmla="*/ 1007085 w 1077940"/>
                <a:gd name="connsiteY11" fmla="*/ 121577 h 1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7940" h="134263">
                  <a:moveTo>
                    <a:pt x="1010786" y="0"/>
                  </a:moveTo>
                  <a:lnTo>
                    <a:pt x="180084" y="0"/>
                  </a:lnTo>
                  <a:lnTo>
                    <a:pt x="0" y="22837"/>
                  </a:lnTo>
                  <a:lnTo>
                    <a:pt x="180084" y="134263"/>
                  </a:lnTo>
                  <a:lnTo>
                    <a:pt x="1010786" y="134263"/>
                  </a:lnTo>
                  <a:cubicBezTo>
                    <a:pt x="1047801" y="134263"/>
                    <a:pt x="1077940" y="104133"/>
                    <a:pt x="1077940" y="67132"/>
                  </a:cubicBezTo>
                  <a:cubicBezTo>
                    <a:pt x="1077940" y="30130"/>
                    <a:pt x="1047801" y="0"/>
                    <a:pt x="1010786" y="0"/>
                  </a:cubicBezTo>
                  <a:close/>
                  <a:moveTo>
                    <a:pt x="1007085" y="121577"/>
                  </a:moveTo>
                  <a:cubicBezTo>
                    <a:pt x="976945" y="121577"/>
                    <a:pt x="953150" y="97261"/>
                    <a:pt x="953150" y="67660"/>
                  </a:cubicBezTo>
                  <a:cubicBezTo>
                    <a:pt x="953150" y="38059"/>
                    <a:pt x="977473" y="13743"/>
                    <a:pt x="1007085" y="13743"/>
                  </a:cubicBezTo>
                  <a:cubicBezTo>
                    <a:pt x="1036696" y="13743"/>
                    <a:pt x="1061020" y="38059"/>
                    <a:pt x="1061020" y="67660"/>
                  </a:cubicBezTo>
                  <a:cubicBezTo>
                    <a:pt x="1061020" y="97261"/>
                    <a:pt x="1036696" y="121577"/>
                    <a:pt x="1007085" y="121577"/>
                  </a:cubicBezTo>
                  <a:close/>
                </a:path>
              </a:pathLst>
            </a:custGeom>
            <a:solidFill>
              <a:srgbClr val="75C79B"/>
            </a:solidFill>
            <a:ln w="0" cap="flat">
              <a:noFill/>
              <a:prstDash val="solid"/>
              <a:miter/>
            </a:ln>
          </p:spPr>
          <p:txBody>
            <a:bodyPr rtlCol="0" anchor="ctr"/>
            <a:lstStyle/>
            <a:p>
              <a:pPr defTabSz="653156">
                <a:defRPr/>
              </a:pPr>
              <a:endParaRPr lang="en-US" sz="1200" kern="0">
                <a:solidFill>
                  <a:prstClr val="black"/>
                </a:solidFill>
              </a:endParaRPr>
            </a:p>
          </p:txBody>
        </p:sp>
        <p:sp>
          <p:nvSpPr>
            <p:cNvPr id="103" name="Freeform 21">
              <a:extLst>
                <a:ext uri="{FF2B5EF4-FFF2-40B4-BE49-F238E27FC236}">
                  <a16:creationId xmlns:a16="http://schemas.microsoft.com/office/drawing/2014/main" id="{B4BDE3F5-1448-9B45-3B01-6C5DB83C60DB}"/>
                </a:ext>
              </a:extLst>
            </p:cNvPr>
            <p:cNvSpPr/>
            <p:nvPr/>
          </p:nvSpPr>
          <p:spPr>
            <a:xfrm>
              <a:off x="3645392" y="4230234"/>
              <a:ext cx="1314028" cy="831952"/>
            </a:xfrm>
            <a:custGeom>
              <a:avLst/>
              <a:gdLst>
                <a:gd name="connsiteX0" fmla="*/ 0 w 236890"/>
                <a:gd name="connsiteY0" fmla="*/ 65017 h 177079"/>
                <a:gd name="connsiteX1" fmla="*/ 236891 w 236890"/>
                <a:gd name="connsiteY1" fmla="*/ 177079 h 177079"/>
                <a:gd name="connsiteX2" fmla="*/ 236891 w 236890"/>
                <a:gd name="connsiteY2" fmla="*/ 42288 h 177079"/>
                <a:gd name="connsiteX3" fmla="*/ 89363 w 236890"/>
                <a:gd name="connsiteY3" fmla="*/ 0 h 177079"/>
                <a:gd name="connsiteX4" fmla="*/ 0 w 236890"/>
                <a:gd name="connsiteY4" fmla="*/ 65017 h 177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890" h="177079">
                  <a:moveTo>
                    <a:pt x="0" y="65017"/>
                  </a:moveTo>
                  <a:lnTo>
                    <a:pt x="236891" y="177079"/>
                  </a:lnTo>
                  <a:lnTo>
                    <a:pt x="236891" y="42288"/>
                  </a:lnTo>
                  <a:lnTo>
                    <a:pt x="89363" y="0"/>
                  </a:lnTo>
                  <a:lnTo>
                    <a:pt x="0" y="65017"/>
                  </a:lnTo>
                  <a:close/>
                </a:path>
              </a:pathLst>
            </a:custGeom>
            <a:solidFill>
              <a:srgbClr val="069A50"/>
            </a:solidFill>
            <a:ln w="0" cap="flat">
              <a:noFill/>
              <a:prstDash val="solid"/>
              <a:miter/>
            </a:ln>
          </p:spPr>
          <p:txBody>
            <a:bodyPr rtlCol="0" anchor="ctr"/>
            <a:lstStyle/>
            <a:p>
              <a:pPr defTabSz="653156">
                <a:defRPr/>
              </a:pPr>
              <a:endParaRPr lang="en-US" sz="1200" kern="0">
                <a:solidFill>
                  <a:prstClr val="black"/>
                </a:solidFill>
              </a:endParaRPr>
            </a:p>
          </p:txBody>
        </p:sp>
        <p:sp>
          <p:nvSpPr>
            <p:cNvPr id="104" name="TextBox 103">
              <a:extLst>
                <a:ext uri="{FF2B5EF4-FFF2-40B4-BE49-F238E27FC236}">
                  <a16:creationId xmlns:a16="http://schemas.microsoft.com/office/drawing/2014/main" id="{1820BAE5-EC0B-AA0B-B945-184FB37D0644}"/>
                </a:ext>
              </a:extLst>
            </p:cNvPr>
            <p:cNvSpPr txBox="1"/>
            <p:nvPr/>
          </p:nvSpPr>
          <p:spPr>
            <a:xfrm>
              <a:off x="4248481" y="4491377"/>
              <a:ext cx="687796" cy="215593"/>
            </a:xfrm>
            <a:prstGeom prst="rect">
              <a:avLst/>
            </a:prstGeom>
            <a:noFill/>
          </p:spPr>
          <p:txBody>
            <a:bodyPr wrap="square" lIns="0" rIns="0" rtlCol="0" anchor="b">
              <a:spAutoFit/>
            </a:bodyPr>
            <a:lstStyle/>
            <a:p>
              <a:pPr algn="ctr" defTabSz="653156">
                <a:defRPr/>
              </a:pPr>
              <a:r>
                <a:rPr lang="en-US" sz="1200" b="1" kern="0" noProof="1">
                  <a:solidFill>
                    <a:prstClr val="white"/>
                  </a:solidFill>
                </a:rPr>
                <a:t>05</a:t>
              </a:r>
            </a:p>
          </p:txBody>
        </p:sp>
      </p:grpSp>
      <p:pic>
        <p:nvPicPr>
          <p:cNvPr id="105" name="Graphic 104">
            <a:extLst>
              <a:ext uri="{FF2B5EF4-FFF2-40B4-BE49-F238E27FC236}">
                <a16:creationId xmlns:a16="http://schemas.microsoft.com/office/drawing/2014/main" id="{20D007FC-02A7-4608-F9F1-97C471BDF64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65340"/>
          <a:stretch/>
        </p:blipFill>
        <p:spPr>
          <a:xfrm>
            <a:off x="593086" y="2629384"/>
            <a:ext cx="3051926" cy="2858157"/>
          </a:xfrm>
          <a:prstGeom prst="rect">
            <a:avLst/>
          </a:prstGeom>
        </p:spPr>
      </p:pic>
      <p:sp>
        <p:nvSpPr>
          <p:cNvPr id="106" name="TextBox 105">
            <a:extLst>
              <a:ext uri="{FF2B5EF4-FFF2-40B4-BE49-F238E27FC236}">
                <a16:creationId xmlns:a16="http://schemas.microsoft.com/office/drawing/2014/main" id="{38E343B4-52A2-7D71-7099-57A4BA491A7E}"/>
              </a:ext>
            </a:extLst>
          </p:cNvPr>
          <p:cNvSpPr txBox="1"/>
          <p:nvPr/>
        </p:nvSpPr>
        <p:spPr>
          <a:xfrm>
            <a:off x="833143" y="3546162"/>
            <a:ext cx="2571812" cy="1035555"/>
          </a:xfrm>
          <a:prstGeom prst="rect">
            <a:avLst/>
          </a:prstGeom>
          <a:noFill/>
          <a:ln w="9525" cap="flat" cmpd="sng" algn="ctr">
            <a:noFill/>
            <a:prstDash val="sysDash"/>
            <a:miter lim="800000"/>
          </a:ln>
          <a:effectLst/>
        </p:spPr>
        <p:txBody>
          <a:bodyPr rtlCol="0" anchor="ctr"/>
          <a:lstStyle>
            <a:defPPr>
              <a:defRPr lang="en-US"/>
            </a:defPPr>
            <a:lvl1pPr marR="0" lvl="0" indent="0" algn="just" fontAlgn="auto">
              <a:lnSpc>
                <a:spcPct val="100000"/>
              </a:lnSpc>
              <a:spcBef>
                <a:spcPts val="0"/>
              </a:spcBef>
              <a:spcAft>
                <a:spcPts val="0"/>
              </a:spcAft>
              <a:buClrTx/>
              <a:buSzTx/>
              <a:buFontTx/>
              <a:buNone/>
              <a:tabLst/>
              <a:defRPr kumimoji="0" sz="1200" b="0" i="0" u="none" strike="noStrike" cap="none" spc="0" normalizeH="0" baseline="0">
                <a:ln>
                  <a:noFill/>
                </a:ln>
                <a:solidFill>
                  <a:schemeClr val="tx1"/>
                </a:solidFill>
                <a:effectLst/>
                <a:uLnTx/>
                <a:uFillTx/>
                <a:latin typeface="Aveni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653156">
              <a:defRPr/>
            </a:pPr>
            <a:r>
              <a:rPr lang="en-US" sz="2286" b="1" kern="0">
                <a:solidFill>
                  <a:srgbClr val="0E2841"/>
                </a:solidFill>
              </a:rPr>
              <a:t>SABSA</a:t>
            </a:r>
            <a:endParaRPr lang="en-GB" sz="2286" kern="0">
              <a:solidFill>
                <a:srgbClr val="000000"/>
              </a:solidFill>
            </a:endParaRPr>
          </a:p>
        </p:txBody>
      </p:sp>
      <p:sp>
        <p:nvSpPr>
          <p:cNvPr id="107" name="Rectangle 106">
            <a:extLst>
              <a:ext uri="{FF2B5EF4-FFF2-40B4-BE49-F238E27FC236}">
                <a16:creationId xmlns:a16="http://schemas.microsoft.com/office/drawing/2014/main" id="{44C1DB83-657E-5A0B-AA85-F029949C7C7C}"/>
              </a:ext>
            </a:extLst>
          </p:cNvPr>
          <p:cNvSpPr/>
          <p:nvPr/>
        </p:nvSpPr>
        <p:spPr>
          <a:xfrm>
            <a:off x="3610429" y="3728357"/>
            <a:ext cx="780143" cy="724264"/>
          </a:xfrm>
          <a:prstGeom prst="rect">
            <a:avLst/>
          </a:prstGeom>
          <a:solidFill>
            <a:srgbClr val="0E2841">
              <a:lumMod val="50000"/>
              <a:lumOff val="50000"/>
            </a:srgbClr>
          </a:solidFill>
          <a:ln w="19050" cap="flat" cmpd="sng" algn="ctr">
            <a:solidFill>
              <a:srgbClr val="4E95D9"/>
            </a:solidFill>
            <a:prstDash val="solid"/>
            <a:miter lim="800000"/>
          </a:ln>
          <a:effectLst/>
        </p:spPr>
        <p:txBody>
          <a:bodyPr rtlCol="0" anchor="ctr"/>
          <a:lstStyle/>
          <a:p>
            <a:pPr algn="ctr" defTabSz="653156">
              <a:defRPr/>
            </a:pPr>
            <a:endParaRPr lang="en-GB" sz="1286" kern="0">
              <a:solidFill>
                <a:prstClr val="white"/>
              </a:solidFill>
              <a:latin typeface="Aptos" panose="02110004020202020204"/>
            </a:endParaRPr>
          </a:p>
        </p:txBody>
      </p:sp>
      <p:sp>
        <p:nvSpPr>
          <p:cNvPr id="108" name="TextBox 107">
            <a:extLst>
              <a:ext uri="{FF2B5EF4-FFF2-40B4-BE49-F238E27FC236}">
                <a16:creationId xmlns:a16="http://schemas.microsoft.com/office/drawing/2014/main" id="{19DC0899-7B20-3677-0BDA-FE52D7DD20C8}"/>
              </a:ext>
            </a:extLst>
          </p:cNvPr>
          <p:cNvSpPr txBox="1"/>
          <p:nvPr/>
        </p:nvSpPr>
        <p:spPr>
          <a:xfrm>
            <a:off x="4598535" y="2375051"/>
            <a:ext cx="5134871" cy="251351"/>
          </a:xfrm>
          <a:prstGeom prst="rect">
            <a:avLst/>
          </a:prstGeom>
          <a:noFill/>
        </p:spPr>
        <p:txBody>
          <a:bodyPr wrap="square" lIns="0" rIns="0" rtlCol="0" anchor="t">
            <a:spAutoFit/>
          </a:bodyPr>
          <a:lstStyle/>
          <a:p>
            <a:pPr algn="just" defTabSz="548662">
              <a:lnSpc>
                <a:spcPct val="107000"/>
              </a:lnSpc>
              <a:spcAft>
                <a:spcPts val="408"/>
              </a:spcAft>
              <a:defRPr/>
            </a:pPr>
            <a:r>
              <a:rPr lang="en-GB" sz="1000" kern="0">
                <a:solidFill>
                  <a:prstClr val="black"/>
                </a:solidFill>
              </a:rPr>
              <a:t>Goals &amp; Objectives: Overarching concepts such as vision, mission, goals and objectives </a:t>
            </a:r>
          </a:p>
        </p:txBody>
      </p:sp>
      <p:sp>
        <p:nvSpPr>
          <p:cNvPr id="115" name="TextBox 114">
            <a:extLst>
              <a:ext uri="{FF2B5EF4-FFF2-40B4-BE49-F238E27FC236}">
                <a16:creationId xmlns:a16="http://schemas.microsoft.com/office/drawing/2014/main" id="{F2078926-2E0E-389A-DDAF-4E72FBD51869}"/>
              </a:ext>
            </a:extLst>
          </p:cNvPr>
          <p:cNvSpPr txBox="1"/>
          <p:nvPr/>
        </p:nvSpPr>
        <p:spPr>
          <a:xfrm>
            <a:off x="3517513" y="2395868"/>
            <a:ext cx="878859" cy="276999"/>
          </a:xfrm>
          <a:prstGeom prst="rect">
            <a:avLst/>
          </a:prstGeom>
          <a:noFill/>
        </p:spPr>
        <p:txBody>
          <a:bodyPr wrap="square" lIns="0" rIns="0" rtlCol="0" anchor="b">
            <a:spAutoFit/>
          </a:bodyPr>
          <a:lstStyle/>
          <a:p>
            <a:pPr algn="ctr" defTabSz="653156">
              <a:defRPr/>
            </a:pPr>
            <a:r>
              <a:rPr lang="en-US" sz="1200" b="1" kern="0" noProof="1">
                <a:solidFill>
                  <a:prstClr val="white"/>
                </a:solidFill>
              </a:rPr>
              <a:t>01</a:t>
            </a:r>
          </a:p>
        </p:txBody>
      </p:sp>
      <p:sp>
        <p:nvSpPr>
          <p:cNvPr id="116" name="TextBox 115">
            <a:extLst>
              <a:ext uri="{FF2B5EF4-FFF2-40B4-BE49-F238E27FC236}">
                <a16:creationId xmlns:a16="http://schemas.microsoft.com/office/drawing/2014/main" id="{7BCE12F5-4FB0-9398-EE4D-01B15EFEE17A}"/>
              </a:ext>
            </a:extLst>
          </p:cNvPr>
          <p:cNvSpPr txBox="1"/>
          <p:nvPr/>
        </p:nvSpPr>
        <p:spPr>
          <a:xfrm>
            <a:off x="3559701" y="3961601"/>
            <a:ext cx="878859" cy="276999"/>
          </a:xfrm>
          <a:prstGeom prst="rect">
            <a:avLst/>
          </a:prstGeom>
          <a:noFill/>
        </p:spPr>
        <p:txBody>
          <a:bodyPr wrap="square" lIns="0" rIns="0" rtlCol="0" anchor="b">
            <a:spAutoFit/>
          </a:bodyPr>
          <a:lstStyle/>
          <a:p>
            <a:pPr algn="ctr" defTabSz="653156">
              <a:defRPr/>
            </a:pPr>
            <a:r>
              <a:rPr lang="en-US" sz="1200" b="1" kern="0" noProof="1">
                <a:solidFill>
                  <a:prstClr val="white"/>
                </a:solidFill>
              </a:rPr>
              <a:t>03</a:t>
            </a:r>
          </a:p>
        </p:txBody>
      </p:sp>
      <p:sp>
        <p:nvSpPr>
          <p:cNvPr id="117" name="TextBox 116">
            <a:extLst>
              <a:ext uri="{FF2B5EF4-FFF2-40B4-BE49-F238E27FC236}">
                <a16:creationId xmlns:a16="http://schemas.microsoft.com/office/drawing/2014/main" id="{22C619B7-91C8-8D13-A14F-DD8DBD9FB9A6}"/>
              </a:ext>
            </a:extLst>
          </p:cNvPr>
          <p:cNvSpPr txBox="1"/>
          <p:nvPr/>
        </p:nvSpPr>
        <p:spPr>
          <a:xfrm>
            <a:off x="4590479" y="3738186"/>
            <a:ext cx="5134871" cy="276999"/>
          </a:xfrm>
          <a:prstGeom prst="rect">
            <a:avLst/>
          </a:prstGeom>
          <a:noFill/>
        </p:spPr>
        <p:txBody>
          <a:bodyPr wrap="square" lIns="0" rIns="0" rtlCol="0" anchor="b">
            <a:spAutoFit/>
          </a:bodyPr>
          <a:lstStyle/>
          <a:p>
            <a:pPr defTabSz="653156">
              <a:defRPr/>
            </a:pPr>
            <a:r>
              <a:rPr lang="en-US" sz="1200" b="1" kern="0" noProof="1">
                <a:solidFill>
                  <a:prstClr val="black"/>
                </a:solidFill>
              </a:rPr>
              <a:t>Logical View</a:t>
            </a:r>
          </a:p>
        </p:txBody>
      </p:sp>
      <p:sp>
        <p:nvSpPr>
          <p:cNvPr id="118" name="TextBox 117">
            <a:extLst>
              <a:ext uri="{FF2B5EF4-FFF2-40B4-BE49-F238E27FC236}">
                <a16:creationId xmlns:a16="http://schemas.microsoft.com/office/drawing/2014/main" id="{027C168A-2444-0BE6-ACEF-1D1B552A88FF}"/>
              </a:ext>
            </a:extLst>
          </p:cNvPr>
          <p:cNvSpPr txBox="1"/>
          <p:nvPr/>
        </p:nvSpPr>
        <p:spPr>
          <a:xfrm>
            <a:off x="4589463" y="3998063"/>
            <a:ext cx="5134871" cy="416011"/>
          </a:xfrm>
          <a:prstGeom prst="rect">
            <a:avLst/>
          </a:prstGeom>
          <a:noFill/>
        </p:spPr>
        <p:txBody>
          <a:bodyPr wrap="square" lIns="0" rIns="0" rtlCol="0" anchor="t">
            <a:spAutoFit/>
          </a:bodyPr>
          <a:lstStyle/>
          <a:p>
            <a:pPr algn="just" defTabSz="548662">
              <a:lnSpc>
                <a:spcPct val="107000"/>
              </a:lnSpc>
              <a:spcAft>
                <a:spcPts val="408"/>
              </a:spcAft>
              <a:defRPr/>
            </a:pPr>
            <a:r>
              <a:rPr lang="en-GB" sz="1000" kern="0">
                <a:solidFill>
                  <a:prstClr val="black"/>
                </a:solidFill>
              </a:rPr>
              <a:t>Architectural &amp; Functional Requirements: A detailed view of security architectures, relevant controls and requirements </a:t>
            </a:r>
          </a:p>
        </p:txBody>
      </p:sp>
      <p:sp>
        <p:nvSpPr>
          <p:cNvPr id="119" name="TextBox 118">
            <a:extLst>
              <a:ext uri="{FF2B5EF4-FFF2-40B4-BE49-F238E27FC236}">
                <a16:creationId xmlns:a16="http://schemas.microsoft.com/office/drawing/2014/main" id="{8DC12EAD-ECAF-EB7C-FBA5-92B9E2DD6245}"/>
              </a:ext>
            </a:extLst>
          </p:cNvPr>
          <p:cNvSpPr txBox="1"/>
          <p:nvPr/>
        </p:nvSpPr>
        <p:spPr>
          <a:xfrm>
            <a:off x="4590479" y="5472933"/>
            <a:ext cx="5134870" cy="276999"/>
          </a:xfrm>
          <a:prstGeom prst="rect">
            <a:avLst/>
          </a:prstGeom>
          <a:noFill/>
        </p:spPr>
        <p:txBody>
          <a:bodyPr wrap="square" lIns="0" rIns="0" rtlCol="0" anchor="b">
            <a:spAutoFit/>
          </a:bodyPr>
          <a:lstStyle/>
          <a:p>
            <a:pPr defTabSz="653156">
              <a:defRPr/>
            </a:pPr>
            <a:r>
              <a:rPr lang="en-US" sz="1200" b="1" kern="0" noProof="1">
                <a:solidFill>
                  <a:prstClr val="black"/>
                </a:solidFill>
              </a:rPr>
              <a:t>Component View</a:t>
            </a:r>
          </a:p>
        </p:txBody>
      </p:sp>
      <p:sp>
        <p:nvSpPr>
          <p:cNvPr id="120" name="TextBox 119">
            <a:extLst>
              <a:ext uri="{FF2B5EF4-FFF2-40B4-BE49-F238E27FC236}">
                <a16:creationId xmlns:a16="http://schemas.microsoft.com/office/drawing/2014/main" id="{5DEC8A30-C745-B457-FF2C-5595FA1C0361}"/>
              </a:ext>
            </a:extLst>
          </p:cNvPr>
          <p:cNvSpPr txBox="1"/>
          <p:nvPr/>
        </p:nvSpPr>
        <p:spPr>
          <a:xfrm>
            <a:off x="4589459" y="5749931"/>
            <a:ext cx="5134870" cy="400110"/>
          </a:xfrm>
          <a:prstGeom prst="rect">
            <a:avLst/>
          </a:prstGeom>
          <a:noFill/>
        </p:spPr>
        <p:txBody>
          <a:bodyPr wrap="square" lIns="0" rIns="0" rtlCol="0" anchor="t">
            <a:spAutoFit/>
          </a:bodyPr>
          <a:lstStyle/>
          <a:p>
            <a:pPr defTabSz="653156">
              <a:defRPr/>
            </a:pPr>
            <a:r>
              <a:rPr lang="en-GB" sz="1000" kern="0" noProof="1">
                <a:solidFill>
                  <a:prstClr val="black"/>
                </a:solidFill>
              </a:rPr>
              <a:t>Technology stack: Details the actual security components, tools, and technologies that fulfil the architecture. It reflects the technical integration of the security model</a:t>
            </a:r>
          </a:p>
        </p:txBody>
      </p:sp>
      <p:pic>
        <p:nvPicPr>
          <p:cNvPr id="121" name="Graphic 11" descr="Head with gears">
            <a:extLst>
              <a:ext uri="{FF2B5EF4-FFF2-40B4-BE49-F238E27FC236}">
                <a16:creationId xmlns:a16="http://schemas.microsoft.com/office/drawing/2014/main" id="{41FAFEDB-E3E5-B660-E595-E31454F137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48050" y="2136278"/>
            <a:ext cx="530062" cy="530062"/>
          </a:xfrm>
          <a:prstGeom prst="rect">
            <a:avLst/>
          </a:prstGeom>
        </p:spPr>
      </p:pic>
      <p:pic>
        <p:nvPicPr>
          <p:cNvPr id="122" name="Graphic 10" descr="Eye">
            <a:extLst>
              <a:ext uri="{FF2B5EF4-FFF2-40B4-BE49-F238E27FC236}">
                <a16:creationId xmlns:a16="http://schemas.microsoft.com/office/drawing/2014/main" id="{99C43C64-7953-8F3B-F9FC-F73D283935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92795" y="2956250"/>
            <a:ext cx="604286" cy="604286"/>
          </a:xfrm>
          <a:prstGeom prst="rect">
            <a:avLst/>
          </a:prstGeom>
        </p:spPr>
      </p:pic>
      <p:pic>
        <p:nvPicPr>
          <p:cNvPr id="124" name="Graphic 4" descr="Bullseye">
            <a:extLst>
              <a:ext uri="{FF2B5EF4-FFF2-40B4-BE49-F238E27FC236}">
                <a16:creationId xmlns:a16="http://schemas.microsoft.com/office/drawing/2014/main" id="{A0489EE1-FA91-D977-09CE-E5840449D0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53212" y="4708028"/>
            <a:ext cx="444544" cy="444544"/>
          </a:xfrm>
          <a:prstGeom prst="rect">
            <a:avLst/>
          </a:prstGeom>
        </p:spPr>
      </p:pic>
      <p:pic>
        <p:nvPicPr>
          <p:cNvPr id="125" name="Graphic 12" descr="Lights On">
            <a:extLst>
              <a:ext uri="{FF2B5EF4-FFF2-40B4-BE49-F238E27FC236}">
                <a16:creationId xmlns:a16="http://schemas.microsoft.com/office/drawing/2014/main" id="{33A5B9D6-EA90-D621-42B1-53864F9D902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64525" y="5606100"/>
            <a:ext cx="431118" cy="431118"/>
          </a:xfrm>
          <a:prstGeom prst="rect">
            <a:avLst/>
          </a:prstGeom>
        </p:spPr>
      </p:pic>
      <p:pic>
        <p:nvPicPr>
          <p:cNvPr id="133" name="Picture 132">
            <a:extLst>
              <a:ext uri="{FF2B5EF4-FFF2-40B4-BE49-F238E27FC236}">
                <a16:creationId xmlns:a16="http://schemas.microsoft.com/office/drawing/2014/main" id="{64BBC252-BAE4-9189-7C31-86E53FD0DB27}"/>
              </a:ext>
            </a:extLst>
          </p:cNvPr>
          <p:cNvPicPr>
            <a:picLocks noChangeAspect="1"/>
          </p:cNvPicPr>
          <p:nvPr/>
        </p:nvPicPr>
        <p:blipFill>
          <a:blip r:embed="rId12"/>
          <a:stretch>
            <a:fillRect/>
          </a:stretch>
        </p:blipFill>
        <p:spPr>
          <a:xfrm>
            <a:off x="10123714" y="3882571"/>
            <a:ext cx="399143" cy="399143"/>
          </a:xfrm>
          <a:prstGeom prst="rect">
            <a:avLst/>
          </a:prstGeom>
        </p:spPr>
      </p:pic>
    </p:spTree>
    <p:extLst>
      <p:ext uri="{BB962C8B-B14F-4D97-AF65-F5344CB8AC3E}">
        <p14:creationId xmlns:p14="http://schemas.microsoft.com/office/powerpoint/2010/main" val="2952987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F0F77-AB97-CC05-1CA5-626DEB8853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F5C7A3-34E9-D15B-AEAE-8C4D32AD0543}"/>
              </a:ext>
            </a:extLst>
          </p:cNvPr>
          <p:cNvSpPr>
            <a:spLocks noGrp="1"/>
          </p:cNvSpPr>
          <p:nvPr>
            <p:ph type="title"/>
          </p:nvPr>
        </p:nvSpPr>
        <p:spPr>
          <a:xfrm>
            <a:off x="593086" y="329512"/>
            <a:ext cx="11018953" cy="360407"/>
          </a:xfrm>
        </p:spPr>
        <p:txBody>
          <a:bodyPr/>
          <a:lstStyle/>
          <a:p>
            <a:r>
              <a:rPr lang="en-GB" b="1">
                <a:solidFill>
                  <a:schemeClr val="accent1"/>
                </a:solidFill>
              </a:rPr>
              <a:t>Enterprise Security Architecture strategy</a:t>
            </a:r>
          </a:p>
        </p:txBody>
      </p:sp>
      <p:sp>
        <p:nvSpPr>
          <p:cNvPr id="65" name="TextBox 64">
            <a:extLst>
              <a:ext uri="{FF2B5EF4-FFF2-40B4-BE49-F238E27FC236}">
                <a16:creationId xmlns:a16="http://schemas.microsoft.com/office/drawing/2014/main" id="{97044BEB-CD76-7430-5E25-14AF1FBF8575}"/>
              </a:ext>
            </a:extLst>
          </p:cNvPr>
          <p:cNvSpPr txBox="1"/>
          <p:nvPr/>
        </p:nvSpPr>
        <p:spPr>
          <a:xfrm>
            <a:off x="546914" y="966694"/>
            <a:ext cx="11065123" cy="454813"/>
          </a:xfrm>
          <a:prstGeom prst="roundRect">
            <a:avLst/>
          </a:prstGeom>
          <a:noFill/>
          <a:ln w="9525">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effectLst/>
                <a:uLnTx/>
                <a:uFillTx/>
                <a:latin typeface="Avenir"/>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defTabSz="914418">
              <a:defRPr/>
            </a:pPr>
            <a:r>
              <a:rPr lang="en-GB">
                <a:solidFill>
                  <a:prstClr val="black"/>
                </a:solidFill>
              </a:rPr>
              <a:t>The representation below illustrates how security is embedded across the business, application, data and technology layers of the Enterprise Architecture.</a:t>
            </a:r>
          </a:p>
        </p:txBody>
      </p:sp>
      <p:grpSp>
        <p:nvGrpSpPr>
          <p:cNvPr id="3" name="Group 2">
            <a:extLst>
              <a:ext uri="{FF2B5EF4-FFF2-40B4-BE49-F238E27FC236}">
                <a16:creationId xmlns:a16="http://schemas.microsoft.com/office/drawing/2014/main" id="{42B83339-3E2C-DFC4-AA74-9470A53A6541}"/>
              </a:ext>
            </a:extLst>
          </p:cNvPr>
          <p:cNvGrpSpPr/>
          <p:nvPr/>
        </p:nvGrpSpPr>
        <p:grpSpPr>
          <a:xfrm>
            <a:off x="631912" y="1404627"/>
            <a:ext cx="11013976" cy="4815019"/>
            <a:chOff x="585906" y="1509581"/>
            <a:chExt cx="11017059" cy="4815019"/>
          </a:xfrm>
        </p:grpSpPr>
        <p:cxnSp>
          <p:nvCxnSpPr>
            <p:cNvPr id="16" name="Straight Connector 15">
              <a:extLst>
                <a:ext uri="{FF2B5EF4-FFF2-40B4-BE49-F238E27FC236}">
                  <a16:creationId xmlns:a16="http://schemas.microsoft.com/office/drawing/2014/main" id="{AFBD6EDD-1039-1B34-9038-91AECC6D7813}"/>
                </a:ext>
              </a:extLst>
            </p:cNvPr>
            <p:cNvCxnSpPr>
              <a:cxnSpLocks/>
              <a:stCxn id="20" idx="4"/>
            </p:cNvCxnSpPr>
            <p:nvPr/>
          </p:nvCxnSpPr>
          <p:spPr>
            <a:xfrm>
              <a:off x="4592150" y="2823844"/>
              <a:ext cx="1021" cy="2499175"/>
            </a:xfrm>
            <a:prstGeom prst="line">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4B38848E-724A-3AE3-376A-3FC34E655EB3}"/>
                </a:ext>
              </a:extLst>
            </p:cNvPr>
            <p:cNvGrpSpPr/>
            <p:nvPr/>
          </p:nvGrpSpPr>
          <p:grpSpPr>
            <a:xfrm>
              <a:off x="4412150" y="5317908"/>
              <a:ext cx="4381189" cy="815334"/>
              <a:chOff x="4392013" y="3353798"/>
              <a:chExt cx="4051948" cy="815334"/>
            </a:xfrm>
          </p:grpSpPr>
          <p:sp>
            <p:nvSpPr>
              <p:cNvPr id="72" name="Rectangle 71">
                <a:extLst>
                  <a:ext uri="{FF2B5EF4-FFF2-40B4-BE49-F238E27FC236}">
                    <a16:creationId xmlns:a16="http://schemas.microsoft.com/office/drawing/2014/main" id="{3DCF837F-AD20-80BC-F103-5499C37BB857}"/>
                  </a:ext>
                </a:extLst>
              </p:cNvPr>
              <p:cNvSpPr/>
              <p:nvPr/>
            </p:nvSpPr>
            <p:spPr>
              <a:xfrm>
                <a:off x="4862671" y="3353798"/>
                <a:ext cx="3581290" cy="815334"/>
              </a:xfrm>
              <a:prstGeom prst="rect">
                <a:avLst/>
              </a:prstGeom>
              <a:noFill/>
              <a:ln w="12700">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418">
                  <a:lnSpc>
                    <a:spcPct val="90000"/>
                  </a:lnSpc>
                  <a:spcBef>
                    <a:spcPts val="400"/>
                  </a:spcBef>
                  <a:spcAft>
                    <a:spcPts val="400"/>
                  </a:spcAft>
                  <a:buClr>
                    <a:srgbClr val="0E2841"/>
                  </a:buClr>
                  <a:defRPr/>
                </a:pPr>
                <a:r>
                  <a:rPr lang="en-GB" sz="1400" b="1">
                    <a:solidFill>
                      <a:prstClr val="black"/>
                    </a:solidFill>
                    <a:latin typeface="Avenir"/>
                  </a:rPr>
                  <a:t>Technology Layer (Infrastructure)</a:t>
                </a:r>
                <a:endParaRPr lang="en-GB" sz="1200" b="1">
                  <a:solidFill>
                    <a:srgbClr val="000000"/>
                  </a:solidFill>
                  <a:latin typeface="Avenir"/>
                </a:endParaRPr>
              </a:p>
              <a:p>
                <a:pPr defTabSz="914418">
                  <a:lnSpc>
                    <a:spcPct val="90000"/>
                  </a:lnSpc>
                  <a:spcBef>
                    <a:spcPts val="400"/>
                  </a:spcBef>
                  <a:spcAft>
                    <a:spcPts val="400"/>
                  </a:spcAft>
                  <a:buClr>
                    <a:srgbClr val="0E2841"/>
                  </a:buClr>
                  <a:defRPr/>
                </a:pPr>
                <a:r>
                  <a:rPr lang="en-GB" sz="1200">
                    <a:solidFill>
                      <a:prstClr val="black"/>
                    </a:solidFill>
                    <a:latin typeface="Avenir"/>
                  </a:rPr>
                  <a:t>Security is embedded by integrating safeguards within infrastructure, platforms, and enabling technologies.</a:t>
                </a:r>
                <a:endParaRPr lang="en-MU" sz="1200">
                  <a:solidFill>
                    <a:prstClr val="black"/>
                  </a:solidFill>
                  <a:latin typeface="Avenir"/>
                </a:endParaRPr>
              </a:p>
            </p:txBody>
          </p:sp>
          <p:sp>
            <p:nvSpPr>
              <p:cNvPr id="73" name="Flowchart: Connector 72">
                <a:extLst>
                  <a:ext uri="{FF2B5EF4-FFF2-40B4-BE49-F238E27FC236}">
                    <a16:creationId xmlns:a16="http://schemas.microsoft.com/office/drawing/2014/main" id="{F9A3F39B-06D1-1700-AA49-E470F3E03B0D}"/>
                  </a:ext>
                </a:extLst>
              </p:cNvPr>
              <p:cNvSpPr/>
              <p:nvPr/>
            </p:nvSpPr>
            <p:spPr>
              <a:xfrm>
                <a:off x="4392013" y="3358909"/>
                <a:ext cx="360000" cy="360000"/>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4</a:t>
                </a:r>
              </a:p>
            </p:txBody>
          </p:sp>
        </p:grpSp>
        <p:grpSp>
          <p:nvGrpSpPr>
            <p:cNvPr id="66" name="Group 65">
              <a:extLst>
                <a:ext uri="{FF2B5EF4-FFF2-40B4-BE49-F238E27FC236}">
                  <a16:creationId xmlns:a16="http://schemas.microsoft.com/office/drawing/2014/main" id="{EB1D77DF-3757-49E3-AAAB-5EFE31F04C17}"/>
                </a:ext>
              </a:extLst>
            </p:cNvPr>
            <p:cNvGrpSpPr/>
            <p:nvPr/>
          </p:nvGrpSpPr>
          <p:grpSpPr>
            <a:xfrm>
              <a:off x="4412150" y="4215213"/>
              <a:ext cx="4590333" cy="938203"/>
              <a:chOff x="4392014" y="3254727"/>
              <a:chExt cx="4245374" cy="938203"/>
            </a:xfrm>
          </p:grpSpPr>
          <p:sp>
            <p:nvSpPr>
              <p:cNvPr id="68" name="Rectangle 67">
                <a:extLst>
                  <a:ext uri="{FF2B5EF4-FFF2-40B4-BE49-F238E27FC236}">
                    <a16:creationId xmlns:a16="http://schemas.microsoft.com/office/drawing/2014/main" id="{59BE534C-9126-211C-71C0-E58977544396}"/>
                  </a:ext>
                </a:extLst>
              </p:cNvPr>
              <p:cNvSpPr/>
              <p:nvPr/>
            </p:nvSpPr>
            <p:spPr>
              <a:xfrm>
                <a:off x="4862672" y="3254727"/>
                <a:ext cx="3774716" cy="938203"/>
              </a:xfrm>
              <a:prstGeom prst="rect">
                <a:avLst/>
              </a:prstGeom>
              <a:noFill/>
              <a:ln w="12700">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418">
                  <a:lnSpc>
                    <a:spcPct val="90000"/>
                  </a:lnSpc>
                  <a:spcBef>
                    <a:spcPts val="400"/>
                  </a:spcBef>
                  <a:spcAft>
                    <a:spcPts val="400"/>
                  </a:spcAft>
                  <a:buClr>
                    <a:srgbClr val="0E2841"/>
                  </a:buClr>
                  <a:defRPr/>
                </a:pPr>
                <a:r>
                  <a:rPr lang="en-GB" sz="1400" b="1">
                    <a:solidFill>
                      <a:prstClr val="black"/>
                    </a:solidFill>
                    <a:latin typeface="Avenir"/>
                  </a:rPr>
                  <a:t>Application Layer (Software)</a:t>
                </a:r>
              </a:p>
              <a:p>
                <a:pPr defTabSz="914418">
                  <a:lnSpc>
                    <a:spcPct val="90000"/>
                  </a:lnSpc>
                  <a:spcBef>
                    <a:spcPts val="400"/>
                  </a:spcBef>
                  <a:spcAft>
                    <a:spcPts val="400"/>
                  </a:spcAft>
                  <a:buClr>
                    <a:srgbClr val="0E2841"/>
                  </a:buClr>
                  <a:defRPr/>
                </a:pPr>
                <a:r>
                  <a:rPr lang="en-GB" sz="1200">
                    <a:solidFill>
                      <a:prstClr val="black"/>
                    </a:solidFill>
                    <a:latin typeface="Avenir"/>
                  </a:rPr>
                  <a:t>Security is embedded by incorporating protection considerations into application structure and interactions.</a:t>
                </a:r>
                <a:endParaRPr lang="en-MU" sz="1200">
                  <a:solidFill>
                    <a:prstClr val="black"/>
                  </a:solidFill>
                  <a:latin typeface="Avenir"/>
                </a:endParaRPr>
              </a:p>
            </p:txBody>
          </p:sp>
          <p:sp>
            <p:nvSpPr>
              <p:cNvPr id="69" name="Flowchart: Connector 68">
                <a:extLst>
                  <a:ext uri="{FF2B5EF4-FFF2-40B4-BE49-F238E27FC236}">
                    <a16:creationId xmlns:a16="http://schemas.microsoft.com/office/drawing/2014/main" id="{20DDAA78-16BD-2D39-D0F9-9BE41A0A5AF1}"/>
                  </a:ext>
                </a:extLst>
              </p:cNvPr>
              <p:cNvSpPr/>
              <p:nvPr/>
            </p:nvSpPr>
            <p:spPr>
              <a:xfrm>
                <a:off x="4392014" y="3358909"/>
                <a:ext cx="360000" cy="360000"/>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3</a:t>
                </a:r>
              </a:p>
            </p:txBody>
          </p:sp>
        </p:grpSp>
        <p:cxnSp>
          <p:nvCxnSpPr>
            <p:cNvPr id="19" name="Straight Arrow Connector 18">
              <a:extLst>
                <a:ext uri="{FF2B5EF4-FFF2-40B4-BE49-F238E27FC236}">
                  <a16:creationId xmlns:a16="http://schemas.microsoft.com/office/drawing/2014/main" id="{3A75962B-8551-C543-D35F-B74281F768D3}"/>
                </a:ext>
              </a:extLst>
            </p:cNvPr>
            <p:cNvCxnSpPr>
              <a:cxnSpLocks/>
            </p:cNvCxnSpPr>
            <p:nvPr/>
          </p:nvCxnSpPr>
          <p:spPr>
            <a:xfrm>
              <a:off x="4979126" y="3240417"/>
              <a:ext cx="3456000" cy="0"/>
            </a:xfrm>
            <a:prstGeom prst="straightConnector1">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03B29A3C-E721-E6B4-F372-5040FBD388A2}"/>
                </a:ext>
              </a:extLst>
            </p:cNvPr>
            <p:cNvSpPr/>
            <p:nvPr/>
          </p:nvSpPr>
          <p:spPr>
            <a:xfrm>
              <a:off x="4862672" y="2359663"/>
              <a:ext cx="3774716" cy="815334"/>
            </a:xfrm>
            <a:prstGeom prst="rect">
              <a:avLst/>
            </a:prstGeom>
            <a:noFill/>
            <a:ln w="12700">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418">
                <a:lnSpc>
                  <a:spcPct val="90000"/>
                </a:lnSpc>
                <a:spcBef>
                  <a:spcPts val="400"/>
                </a:spcBef>
                <a:spcAft>
                  <a:spcPts val="400"/>
                </a:spcAft>
                <a:buClr>
                  <a:srgbClr val="0E2841"/>
                </a:buClr>
                <a:defRPr/>
              </a:pPr>
              <a:r>
                <a:rPr lang="en-GB" sz="1400" b="1">
                  <a:solidFill>
                    <a:prstClr val="black"/>
                  </a:solidFill>
                  <a:latin typeface="Avenir"/>
                </a:rPr>
                <a:t>Business Layer (Capabilities)</a:t>
              </a:r>
              <a:endParaRPr lang="en-GB" sz="1200" b="1">
                <a:solidFill>
                  <a:srgbClr val="000000"/>
                </a:solidFill>
                <a:latin typeface="Avenir"/>
              </a:endParaRPr>
            </a:p>
            <a:p>
              <a:pPr defTabSz="914418">
                <a:lnSpc>
                  <a:spcPct val="90000"/>
                </a:lnSpc>
                <a:spcBef>
                  <a:spcPts val="400"/>
                </a:spcBef>
                <a:spcAft>
                  <a:spcPts val="400"/>
                </a:spcAft>
                <a:buClr>
                  <a:srgbClr val="0E2841"/>
                </a:buClr>
                <a:defRPr/>
              </a:pPr>
              <a:r>
                <a:rPr lang="en-GB" sz="1200">
                  <a:solidFill>
                    <a:prstClr val="black"/>
                  </a:solidFill>
                  <a:latin typeface="Avenir"/>
                </a:rPr>
                <a:t>Security is embedded by aligning protection objectives with business strategy and risk appetite.</a:t>
              </a:r>
              <a:endParaRPr lang="en-MU" sz="1200">
                <a:solidFill>
                  <a:prstClr val="black"/>
                </a:solidFill>
                <a:latin typeface="Avenir"/>
              </a:endParaRPr>
            </a:p>
          </p:txBody>
        </p:sp>
        <p:sp>
          <p:nvSpPr>
            <p:cNvPr id="20" name="Flowchart: Connector 19">
              <a:extLst>
                <a:ext uri="{FF2B5EF4-FFF2-40B4-BE49-F238E27FC236}">
                  <a16:creationId xmlns:a16="http://schemas.microsoft.com/office/drawing/2014/main" id="{C9190429-2BE4-9C33-FBC6-31642E48EF3C}"/>
                </a:ext>
              </a:extLst>
            </p:cNvPr>
            <p:cNvSpPr/>
            <p:nvPr/>
          </p:nvSpPr>
          <p:spPr>
            <a:xfrm>
              <a:off x="4412150" y="2463844"/>
              <a:ext cx="360000" cy="360000"/>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1</a:t>
              </a:r>
            </a:p>
          </p:txBody>
        </p:sp>
        <p:grpSp>
          <p:nvGrpSpPr>
            <p:cNvPr id="64" name="Group 63">
              <a:extLst>
                <a:ext uri="{FF2B5EF4-FFF2-40B4-BE49-F238E27FC236}">
                  <a16:creationId xmlns:a16="http://schemas.microsoft.com/office/drawing/2014/main" id="{48042D20-C246-3912-D268-404F2FAB9905}"/>
                </a:ext>
              </a:extLst>
            </p:cNvPr>
            <p:cNvGrpSpPr/>
            <p:nvPr/>
          </p:nvGrpSpPr>
          <p:grpSpPr>
            <a:xfrm>
              <a:off x="4412150" y="3254728"/>
              <a:ext cx="4247011" cy="880754"/>
              <a:chOff x="4390377" y="3254728"/>
              <a:chExt cx="4247011" cy="880754"/>
            </a:xfrm>
          </p:grpSpPr>
          <p:cxnSp>
            <p:nvCxnSpPr>
              <p:cNvPr id="61" name="Straight Arrow Connector 60">
                <a:extLst>
                  <a:ext uri="{FF2B5EF4-FFF2-40B4-BE49-F238E27FC236}">
                    <a16:creationId xmlns:a16="http://schemas.microsoft.com/office/drawing/2014/main" id="{605B5BE6-F197-5274-BA73-641CB0E19B63}"/>
                  </a:ext>
                </a:extLst>
              </p:cNvPr>
              <p:cNvCxnSpPr>
                <a:cxnSpLocks/>
              </p:cNvCxnSpPr>
              <p:nvPr/>
            </p:nvCxnSpPr>
            <p:spPr>
              <a:xfrm>
                <a:off x="4979126" y="4135482"/>
                <a:ext cx="3456000" cy="0"/>
              </a:xfrm>
              <a:prstGeom prst="straightConnector1">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2B276A7-898D-38FB-1D48-7A17286963A2}"/>
                  </a:ext>
                </a:extLst>
              </p:cNvPr>
              <p:cNvSpPr/>
              <p:nvPr/>
            </p:nvSpPr>
            <p:spPr>
              <a:xfrm>
                <a:off x="4862672" y="3254728"/>
                <a:ext cx="3774716" cy="815334"/>
              </a:xfrm>
              <a:prstGeom prst="rect">
                <a:avLst/>
              </a:prstGeom>
              <a:noFill/>
              <a:ln w="12700">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418">
                  <a:lnSpc>
                    <a:spcPct val="90000"/>
                  </a:lnSpc>
                  <a:spcBef>
                    <a:spcPts val="400"/>
                  </a:spcBef>
                  <a:spcAft>
                    <a:spcPts val="400"/>
                  </a:spcAft>
                  <a:buClr>
                    <a:srgbClr val="0E2841"/>
                  </a:buClr>
                  <a:defRPr/>
                </a:pPr>
                <a:r>
                  <a:rPr lang="en-GB" sz="1400" b="1">
                    <a:solidFill>
                      <a:prstClr val="black"/>
                    </a:solidFill>
                    <a:latin typeface="Avenir"/>
                  </a:rPr>
                  <a:t>Information Layer (Data)</a:t>
                </a:r>
              </a:p>
              <a:p>
                <a:pPr defTabSz="914418">
                  <a:lnSpc>
                    <a:spcPct val="90000"/>
                  </a:lnSpc>
                  <a:spcBef>
                    <a:spcPts val="400"/>
                  </a:spcBef>
                  <a:spcAft>
                    <a:spcPts val="400"/>
                  </a:spcAft>
                  <a:buClr>
                    <a:srgbClr val="0E2841"/>
                  </a:buClr>
                  <a:defRPr/>
                </a:pPr>
                <a:r>
                  <a:rPr lang="en-GB" sz="1200">
                    <a:solidFill>
                      <a:prstClr val="black"/>
                    </a:solidFill>
                    <a:latin typeface="Avenir"/>
                  </a:rPr>
                  <a:t>Security is embedded by enforcing controls around data usage, analytics, flow, storage and management.</a:t>
                </a:r>
                <a:endParaRPr lang="en-MU" sz="1200">
                  <a:solidFill>
                    <a:prstClr val="black"/>
                  </a:solidFill>
                  <a:latin typeface="Avenir"/>
                </a:endParaRPr>
              </a:p>
            </p:txBody>
          </p:sp>
          <p:sp>
            <p:nvSpPr>
              <p:cNvPr id="63" name="Flowchart: Connector 62">
                <a:extLst>
                  <a:ext uri="{FF2B5EF4-FFF2-40B4-BE49-F238E27FC236}">
                    <a16:creationId xmlns:a16="http://schemas.microsoft.com/office/drawing/2014/main" id="{164FCDB6-2EE1-8103-3347-543C643A9468}"/>
                  </a:ext>
                </a:extLst>
              </p:cNvPr>
              <p:cNvSpPr/>
              <p:nvPr/>
            </p:nvSpPr>
            <p:spPr>
              <a:xfrm>
                <a:off x="4390377" y="3358909"/>
                <a:ext cx="360000" cy="360000"/>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2</a:t>
                </a:r>
              </a:p>
            </p:txBody>
          </p:sp>
        </p:grpSp>
        <p:cxnSp>
          <p:nvCxnSpPr>
            <p:cNvPr id="76" name="Straight Arrow Connector 75">
              <a:extLst>
                <a:ext uri="{FF2B5EF4-FFF2-40B4-BE49-F238E27FC236}">
                  <a16:creationId xmlns:a16="http://schemas.microsoft.com/office/drawing/2014/main" id="{A31BFC46-B174-6CD7-3293-18C63FE87765}"/>
                </a:ext>
              </a:extLst>
            </p:cNvPr>
            <p:cNvCxnSpPr>
              <a:cxnSpLocks/>
            </p:cNvCxnSpPr>
            <p:nvPr/>
          </p:nvCxnSpPr>
          <p:spPr>
            <a:xfrm>
              <a:off x="5000899" y="5268375"/>
              <a:ext cx="3456000" cy="0"/>
            </a:xfrm>
            <a:prstGeom prst="straightConnector1">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B558EAAB-243B-CB85-599D-AC4590BCF933}"/>
                </a:ext>
              </a:extLst>
            </p:cNvPr>
            <p:cNvCxnSpPr>
              <a:cxnSpLocks/>
            </p:cNvCxnSpPr>
            <p:nvPr/>
          </p:nvCxnSpPr>
          <p:spPr>
            <a:xfrm>
              <a:off x="5000899" y="6314867"/>
              <a:ext cx="3456000" cy="0"/>
            </a:xfrm>
            <a:prstGeom prst="straightConnector1">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133930FB-A5F6-5F31-408A-E174DE5757C6}"/>
                </a:ext>
              </a:extLst>
            </p:cNvPr>
            <p:cNvGrpSpPr/>
            <p:nvPr/>
          </p:nvGrpSpPr>
          <p:grpSpPr>
            <a:xfrm>
              <a:off x="8978893" y="1755647"/>
              <a:ext cx="2624072" cy="4548627"/>
              <a:chOff x="568136" y="1246559"/>
              <a:chExt cx="5318976" cy="2217328"/>
            </a:xfrm>
          </p:grpSpPr>
          <p:sp>
            <p:nvSpPr>
              <p:cNvPr id="79" name="Rectangle 78">
                <a:extLst>
                  <a:ext uri="{FF2B5EF4-FFF2-40B4-BE49-F238E27FC236}">
                    <a16:creationId xmlns:a16="http://schemas.microsoft.com/office/drawing/2014/main" id="{921BC1C9-3F00-E850-08E5-7F185B9E9BA1}"/>
                  </a:ext>
                </a:extLst>
              </p:cNvPr>
              <p:cNvSpPr/>
              <p:nvPr/>
            </p:nvSpPr>
            <p:spPr>
              <a:xfrm>
                <a:off x="568136" y="1348550"/>
                <a:ext cx="5318976" cy="2115337"/>
              </a:xfrm>
              <a:prstGeom prst="rect">
                <a:avLst/>
              </a:prstGeom>
              <a:solidFill>
                <a:schemeClr val="bg1"/>
              </a:solidFill>
              <a:ln w="12700">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6" indent="-285756" defTabSz="914418">
                  <a:lnSpc>
                    <a:spcPct val="90000"/>
                  </a:lnSpc>
                  <a:spcBef>
                    <a:spcPts val="400"/>
                  </a:spcBef>
                  <a:spcAft>
                    <a:spcPts val="400"/>
                  </a:spcAft>
                  <a:buClr>
                    <a:srgbClr val="0E2841"/>
                  </a:buClr>
                  <a:buFont typeface="Arial" panose="020B0604020202020204" pitchFamily="34" charset="0"/>
                  <a:buChar char="•"/>
                  <a:defRPr/>
                </a:pPr>
                <a:endParaRPr lang="en-US" sz="1200">
                  <a:solidFill>
                    <a:srgbClr val="000000"/>
                  </a:solidFill>
                  <a:latin typeface="Avenir"/>
                </a:endParaRPr>
              </a:p>
              <a:p>
                <a:pPr defTabSz="914418">
                  <a:lnSpc>
                    <a:spcPct val="90000"/>
                  </a:lnSpc>
                  <a:spcBef>
                    <a:spcPts val="400"/>
                  </a:spcBef>
                  <a:spcAft>
                    <a:spcPts val="400"/>
                  </a:spcAft>
                  <a:buClr>
                    <a:srgbClr val="0E2841"/>
                  </a:buClr>
                  <a:defRPr/>
                </a:pPr>
                <a:r>
                  <a:rPr lang="en-GB" sz="1200" b="1" u="sng">
                    <a:solidFill>
                      <a:srgbClr val="03769F"/>
                    </a:solidFill>
                    <a:latin typeface="Avenir"/>
                  </a:rPr>
                  <a:t>Purpose</a:t>
                </a:r>
              </a:p>
              <a:p>
                <a:pPr defTabSz="914418">
                  <a:lnSpc>
                    <a:spcPct val="90000"/>
                  </a:lnSpc>
                  <a:spcBef>
                    <a:spcPts val="400"/>
                  </a:spcBef>
                  <a:spcAft>
                    <a:spcPts val="400"/>
                  </a:spcAft>
                  <a:buClr>
                    <a:srgbClr val="0E2841"/>
                  </a:buClr>
                  <a:defRPr/>
                </a:pPr>
                <a:r>
                  <a:rPr lang="en-GB" sz="1200">
                    <a:solidFill>
                      <a:srgbClr val="000000"/>
                    </a:solidFill>
                    <a:latin typeface="Avenir"/>
                  </a:rPr>
                  <a:t>Acts as a strategic enabler that intersects all layers of the enterprise architecture.</a:t>
                </a:r>
              </a:p>
              <a:p>
                <a:pPr defTabSz="914418">
                  <a:lnSpc>
                    <a:spcPct val="90000"/>
                  </a:lnSpc>
                  <a:spcBef>
                    <a:spcPts val="400"/>
                  </a:spcBef>
                  <a:spcAft>
                    <a:spcPts val="400"/>
                  </a:spcAft>
                  <a:buClr>
                    <a:srgbClr val="0E2841"/>
                  </a:buClr>
                  <a:defRPr/>
                </a:pPr>
                <a:r>
                  <a:rPr lang="en-GB" sz="1200" b="1" u="sng">
                    <a:solidFill>
                      <a:srgbClr val="03769F"/>
                    </a:solidFill>
                    <a:latin typeface="Avenir"/>
                  </a:rPr>
                  <a:t>Function</a:t>
                </a:r>
              </a:p>
              <a:p>
                <a:pPr defTabSz="914418">
                  <a:lnSpc>
                    <a:spcPct val="90000"/>
                  </a:lnSpc>
                  <a:spcBef>
                    <a:spcPts val="400"/>
                  </a:spcBef>
                  <a:spcAft>
                    <a:spcPts val="400"/>
                  </a:spcAft>
                  <a:buClr>
                    <a:srgbClr val="0E2841"/>
                  </a:buClr>
                  <a:defRPr/>
                </a:pPr>
                <a:r>
                  <a:rPr lang="en-GB" sz="1200">
                    <a:solidFill>
                      <a:srgbClr val="000000"/>
                    </a:solidFill>
                    <a:latin typeface="Avenir"/>
                  </a:rPr>
                  <a:t>Ensures that security is not siloed but integrated into every aspect of </a:t>
                </a:r>
                <a:r>
                  <a:rPr lang="en-GB" sz="1200" err="1">
                    <a:solidFill>
                      <a:srgbClr val="000000"/>
                    </a:solidFill>
                    <a:latin typeface="Avenir"/>
                  </a:rPr>
                  <a:t>Cyberani</a:t>
                </a:r>
                <a:r>
                  <a:rPr lang="en-GB" sz="1200">
                    <a:solidFill>
                      <a:srgbClr val="000000"/>
                    </a:solidFill>
                    <a:latin typeface="Avenir"/>
                  </a:rPr>
                  <a:t> from business strategy to operations.</a:t>
                </a:r>
              </a:p>
              <a:p>
                <a:pPr defTabSz="914418">
                  <a:lnSpc>
                    <a:spcPct val="90000"/>
                  </a:lnSpc>
                  <a:spcBef>
                    <a:spcPts val="400"/>
                  </a:spcBef>
                  <a:spcAft>
                    <a:spcPts val="400"/>
                  </a:spcAft>
                  <a:buClr>
                    <a:srgbClr val="0E2841"/>
                  </a:buClr>
                  <a:defRPr/>
                </a:pPr>
                <a:r>
                  <a:rPr lang="en-GB" sz="1200" b="1" u="sng">
                    <a:solidFill>
                      <a:srgbClr val="03769F"/>
                    </a:solidFill>
                    <a:latin typeface="Avenir"/>
                  </a:rPr>
                  <a:t>Benefits</a:t>
                </a:r>
              </a:p>
              <a:p>
                <a:pPr marL="285756" indent="-285756" defTabSz="914418">
                  <a:lnSpc>
                    <a:spcPct val="80000"/>
                  </a:lnSpc>
                  <a:spcBef>
                    <a:spcPts val="400"/>
                  </a:spcBef>
                  <a:spcAft>
                    <a:spcPts val="400"/>
                  </a:spcAft>
                  <a:buClr>
                    <a:srgbClr val="0E2841"/>
                  </a:buClr>
                  <a:buFont typeface="Arial" panose="020B0604020202020204" pitchFamily="34" charset="0"/>
                  <a:buChar char="•"/>
                  <a:defRPr/>
                </a:pPr>
                <a:r>
                  <a:rPr lang="en-GB" sz="1200">
                    <a:solidFill>
                      <a:srgbClr val="000000"/>
                    </a:solidFill>
                    <a:latin typeface="Avenir"/>
                  </a:rPr>
                  <a:t>Promotes a "security by design" approach.</a:t>
                </a:r>
              </a:p>
              <a:p>
                <a:pPr marL="285756" indent="-285756" defTabSz="914418">
                  <a:lnSpc>
                    <a:spcPct val="80000"/>
                  </a:lnSpc>
                  <a:spcBef>
                    <a:spcPts val="400"/>
                  </a:spcBef>
                  <a:spcAft>
                    <a:spcPts val="400"/>
                  </a:spcAft>
                  <a:buClr>
                    <a:srgbClr val="0E2841"/>
                  </a:buClr>
                  <a:buFont typeface="Arial" panose="020B0604020202020204" pitchFamily="34" charset="0"/>
                  <a:buChar char="•"/>
                  <a:defRPr/>
                </a:pPr>
                <a:r>
                  <a:rPr lang="en-GB" sz="1200">
                    <a:solidFill>
                      <a:srgbClr val="000000"/>
                    </a:solidFill>
                    <a:latin typeface="Avenir"/>
                  </a:rPr>
                  <a:t>Align to security initiatives with business priorities.</a:t>
                </a:r>
              </a:p>
              <a:p>
                <a:pPr marL="285756" indent="-285756" defTabSz="914418">
                  <a:lnSpc>
                    <a:spcPct val="80000"/>
                  </a:lnSpc>
                  <a:spcBef>
                    <a:spcPts val="400"/>
                  </a:spcBef>
                  <a:spcAft>
                    <a:spcPts val="400"/>
                  </a:spcAft>
                  <a:buClr>
                    <a:srgbClr val="0E2841"/>
                  </a:buClr>
                  <a:buFont typeface="Arial" panose="020B0604020202020204" pitchFamily="34" charset="0"/>
                  <a:buChar char="•"/>
                  <a:defRPr/>
                </a:pPr>
                <a:r>
                  <a:rPr lang="en-GB" sz="1200">
                    <a:solidFill>
                      <a:srgbClr val="000000"/>
                    </a:solidFill>
                    <a:latin typeface="Avenir"/>
                  </a:rPr>
                  <a:t>Enhances resilience against evolving threats.</a:t>
                </a:r>
              </a:p>
              <a:p>
                <a:pPr marL="285756" indent="-285756" defTabSz="914418">
                  <a:lnSpc>
                    <a:spcPct val="80000"/>
                  </a:lnSpc>
                  <a:spcBef>
                    <a:spcPts val="400"/>
                  </a:spcBef>
                  <a:spcAft>
                    <a:spcPts val="400"/>
                  </a:spcAft>
                  <a:buClr>
                    <a:srgbClr val="0E2841"/>
                  </a:buClr>
                  <a:buFont typeface="Arial" panose="020B0604020202020204" pitchFamily="34" charset="0"/>
                  <a:buChar char="•"/>
                  <a:defRPr/>
                </a:pPr>
                <a:r>
                  <a:rPr lang="en-GB" sz="1200">
                    <a:solidFill>
                      <a:srgbClr val="000000"/>
                    </a:solidFill>
                    <a:latin typeface="Avenir"/>
                  </a:rPr>
                  <a:t>Encompass a wide spectrum of security functionalities.</a:t>
                </a:r>
              </a:p>
              <a:p>
                <a:pPr marL="285756" indent="-285756" defTabSz="914418">
                  <a:lnSpc>
                    <a:spcPct val="90000"/>
                  </a:lnSpc>
                  <a:spcBef>
                    <a:spcPts val="400"/>
                  </a:spcBef>
                  <a:spcAft>
                    <a:spcPts val="400"/>
                  </a:spcAft>
                  <a:buClr>
                    <a:srgbClr val="0E2841"/>
                  </a:buClr>
                  <a:buFont typeface="Arial" panose="020B0604020202020204" pitchFamily="34" charset="0"/>
                  <a:buChar char="•"/>
                  <a:defRPr/>
                </a:pPr>
                <a:endParaRPr lang="en-GB" sz="1400">
                  <a:solidFill>
                    <a:srgbClr val="000000"/>
                  </a:solidFill>
                  <a:latin typeface="Avenir"/>
                </a:endParaRPr>
              </a:p>
              <a:p>
                <a:pPr marL="285756" indent="-285756" defTabSz="914418">
                  <a:lnSpc>
                    <a:spcPct val="90000"/>
                  </a:lnSpc>
                  <a:spcBef>
                    <a:spcPts val="400"/>
                  </a:spcBef>
                  <a:spcAft>
                    <a:spcPts val="400"/>
                  </a:spcAft>
                  <a:buClr>
                    <a:srgbClr val="0E2841"/>
                  </a:buClr>
                  <a:buFont typeface="Arial" panose="020B0604020202020204" pitchFamily="34" charset="0"/>
                  <a:buChar char="•"/>
                  <a:defRPr/>
                </a:pPr>
                <a:endParaRPr lang="en-MU" sz="1400">
                  <a:solidFill>
                    <a:prstClr val="black"/>
                  </a:solidFill>
                  <a:latin typeface="Aptos Display" panose="02110004020202020204"/>
                </a:endParaRPr>
              </a:p>
            </p:txBody>
          </p:sp>
          <p:sp>
            <p:nvSpPr>
              <p:cNvPr id="83" name="Rectangle: Diagonal Corners Rounded 82">
                <a:extLst>
                  <a:ext uri="{FF2B5EF4-FFF2-40B4-BE49-F238E27FC236}">
                    <a16:creationId xmlns:a16="http://schemas.microsoft.com/office/drawing/2014/main" id="{F910070B-A06F-EB56-6F1A-1E778F90F243}"/>
                  </a:ext>
                </a:extLst>
              </p:cNvPr>
              <p:cNvSpPr/>
              <p:nvPr/>
            </p:nvSpPr>
            <p:spPr>
              <a:xfrm>
                <a:off x="848882" y="1246559"/>
                <a:ext cx="4794258" cy="221709"/>
              </a:xfrm>
              <a:prstGeom prst="round2DiagRect">
                <a:avLst/>
              </a:prstGeom>
              <a:gradFill>
                <a:gsLst>
                  <a:gs pos="0">
                    <a:srgbClr val="3985BA"/>
                  </a:gs>
                  <a:gs pos="100000">
                    <a:srgbClr val="50BA7E"/>
                  </a:gs>
                </a:gsLst>
                <a:lin ang="270000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418">
                  <a:spcBef>
                    <a:spcPts val="300"/>
                  </a:spcBef>
                  <a:spcAft>
                    <a:spcPts val="300"/>
                  </a:spcAft>
                  <a:buClr>
                    <a:srgbClr val="000000"/>
                  </a:buClr>
                  <a:defRPr/>
                </a:pPr>
                <a:r>
                  <a:rPr lang="en-GB" sz="1400" b="1">
                    <a:solidFill>
                      <a:srgbClr val="FFFFFF"/>
                    </a:solidFill>
                    <a:latin typeface="Avenir"/>
                  </a:rPr>
                  <a:t>Security as an Enabler Vertical Integration</a:t>
                </a:r>
              </a:p>
            </p:txBody>
          </p:sp>
        </p:grpSp>
        <p:sp>
          <p:nvSpPr>
            <p:cNvPr id="5" name="Rectangle 4">
              <a:extLst>
                <a:ext uri="{FF2B5EF4-FFF2-40B4-BE49-F238E27FC236}">
                  <a16:creationId xmlns:a16="http://schemas.microsoft.com/office/drawing/2014/main" id="{8EA1E19E-B8C2-6644-29F4-79B79BDBE1AE}"/>
                </a:ext>
              </a:extLst>
            </p:cNvPr>
            <p:cNvSpPr/>
            <p:nvPr/>
          </p:nvSpPr>
          <p:spPr>
            <a:xfrm>
              <a:off x="585906" y="1730520"/>
              <a:ext cx="3774715" cy="4594080"/>
            </a:xfrm>
            <a:prstGeom prst="rect">
              <a:avLst/>
            </a:prstGeom>
            <a:solidFill>
              <a:schemeClr val="bg2"/>
            </a:solidFill>
            <a:ln>
              <a:noFill/>
            </a:ln>
            <a:effectLst/>
            <a:scene3d>
              <a:camera prst="orthographicFront">
                <a:rot lat="0" lon="0" rev="0"/>
              </a:camera>
              <a:lightRig rig="chilly" dir="t">
                <a:rot lat="0" lon="0" rev="18480000"/>
              </a:lightRig>
            </a:scene3d>
            <a:sp3d prstMaterial="clear">
              <a:bevelT h="635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18">
                <a:defRPr/>
              </a:pPr>
              <a:endParaRPr lang="en-GB">
                <a:solidFill>
                  <a:prstClr val="white"/>
                </a:solidFill>
                <a:latin typeface="Aptos" panose="02110004020202020204"/>
              </a:endParaRPr>
            </a:p>
          </p:txBody>
        </p:sp>
        <p:grpSp>
          <p:nvGrpSpPr>
            <p:cNvPr id="12" name="Group 11">
              <a:extLst>
                <a:ext uri="{FF2B5EF4-FFF2-40B4-BE49-F238E27FC236}">
                  <a16:creationId xmlns:a16="http://schemas.microsoft.com/office/drawing/2014/main" id="{6435C62F-47E8-3AA1-5D11-2FCFB1C0471C}"/>
                </a:ext>
              </a:extLst>
            </p:cNvPr>
            <p:cNvGrpSpPr/>
            <p:nvPr/>
          </p:nvGrpSpPr>
          <p:grpSpPr>
            <a:xfrm>
              <a:off x="1937670" y="1509581"/>
              <a:ext cx="1997441" cy="4713057"/>
              <a:chOff x="1796152" y="1509581"/>
              <a:chExt cx="1997441" cy="4713057"/>
            </a:xfrm>
          </p:grpSpPr>
          <p:sp>
            <p:nvSpPr>
              <p:cNvPr id="17" name="Rectangle 16">
                <a:extLst>
                  <a:ext uri="{FF2B5EF4-FFF2-40B4-BE49-F238E27FC236}">
                    <a16:creationId xmlns:a16="http://schemas.microsoft.com/office/drawing/2014/main" id="{178BA3AE-0A06-72A7-6D0B-E7FE01FDCA94}"/>
                  </a:ext>
                </a:extLst>
              </p:cNvPr>
              <p:cNvSpPr/>
              <p:nvPr/>
            </p:nvSpPr>
            <p:spPr bwMode="auto">
              <a:xfrm>
                <a:off x="1796152" y="4314112"/>
                <a:ext cx="1997441" cy="1908526"/>
              </a:xfrm>
              <a:prstGeom prst="rect">
                <a:avLst/>
              </a:prstGeom>
              <a:solidFill>
                <a:srgbClr val="50BA85"/>
              </a:solidFill>
              <a:ln w="12700">
                <a:noFill/>
                <a:round/>
                <a:headEnd/>
                <a:tailEnd/>
              </a:ln>
              <a:scene3d>
                <a:camera prst="isometricTopUp">
                  <a:rot lat="19334319" lon="18553889" rev="3806096"/>
                </a:camera>
                <a:lightRig rig="threePt" dir="t"/>
              </a:scene3d>
              <a:sp3d prstMaterial="matte">
                <a:bevelT w="0" h="355600"/>
                <a:bevelB w="0" h="0"/>
              </a:sp3d>
            </p:spPr>
            <p:txBody>
              <a:bodyPr rtlCol="0" anchor="b"/>
              <a:lstStyle/>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Technology</a:t>
                </a:r>
                <a:r>
                  <a:rPr lang="en-US" sz="1200" b="1" kern="0">
                    <a:solidFill>
                      <a:prstClr val="white"/>
                    </a:solidFill>
                    <a:latin typeface="Avenir"/>
                    <a:ea typeface="Lato" panose="020F0502020204030203" pitchFamily="34" charset="0"/>
                    <a:cs typeface="Lato" panose="020F0502020204030203" pitchFamily="34" charset="0"/>
                  </a:rPr>
                  <a:t> </a:t>
                </a:r>
                <a:endParaRPr lang="en-US" sz="2400" b="1" kern="0">
                  <a:solidFill>
                    <a:prstClr val="white"/>
                  </a:solidFill>
                  <a:latin typeface="Avenir"/>
                  <a:ea typeface="Lato" panose="020F0502020204030203" pitchFamily="34" charset="0"/>
                  <a:cs typeface="Lato" panose="020F0502020204030203" pitchFamily="34" charset="0"/>
                </a:endParaRPr>
              </a:p>
              <a:p>
                <a:pPr algn="ctr" defTabSz="914418" rtl="1">
                  <a:defRPr/>
                </a:pPr>
                <a:r>
                  <a:rPr lang="en-US" sz="2200" b="1" kern="0">
                    <a:solidFill>
                      <a:prstClr val="white"/>
                    </a:solidFill>
                    <a:latin typeface="Avenir"/>
                    <a:ea typeface="Lato" panose="020F0502020204030203" pitchFamily="34" charset="0"/>
                    <a:cs typeface="Lato" panose="020F0502020204030203" pitchFamily="34" charset="0"/>
                  </a:rPr>
                  <a:t>(Infrastructure)</a:t>
                </a:r>
              </a:p>
            </p:txBody>
          </p:sp>
          <p:sp>
            <p:nvSpPr>
              <p:cNvPr id="18" name="Rectangle 17">
                <a:extLst>
                  <a:ext uri="{FF2B5EF4-FFF2-40B4-BE49-F238E27FC236}">
                    <a16:creationId xmlns:a16="http://schemas.microsoft.com/office/drawing/2014/main" id="{F334ADA8-57CB-9393-6307-7854179D14B6}"/>
                  </a:ext>
                </a:extLst>
              </p:cNvPr>
              <p:cNvSpPr/>
              <p:nvPr/>
            </p:nvSpPr>
            <p:spPr bwMode="auto">
              <a:xfrm>
                <a:off x="1796152" y="3359849"/>
                <a:ext cx="1997441" cy="1908526"/>
              </a:xfrm>
              <a:prstGeom prst="rect">
                <a:avLst/>
              </a:prstGeom>
              <a:solidFill>
                <a:srgbClr val="4DB49D"/>
              </a:solidFill>
              <a:ln w="12700">
                <a:noFill/>
                <a:round/>
                <a:headEnd/>
                <a:tailEnd/>
              </a:ln>
              <a:scene3d>
                <a:camera prst="isometricTopUp">
                  <a:rot lat="19334319" lon="18553889" rev="3806096"/>
                </a:camera>
                <a:lightRig rig="threePt" dir="t"/>
              </a:scene3d>
              <a:sp3d prstMaterial="matte">
                <a:bevelT w="0" h="355600"/>
                <a:bevelB w="0" h="0"/>
              </a:sp3d>
            </p:spPr>
            <p:txBody>
              <a:bodyPr rtlCol="0" anchor="b"/>
              <a:lstStyle/>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Application</a:t>
                </a:r>
              </a:p>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Software)</a:t>
                </a:r>
              </a:p>
            </p:txBody>
          </p:sp>
          <p:sp>
            <p:nvSpPr>
              <p:cNvPr id="21" name="Rectangle 20">
                <a:extLst>
                  <a:ext uri="{FF2B5EF4-FFF2-40B4-BE49-F238E27FC236}">
                    <a16:creationId xmlns:a16="http://schemas.microsoft.com/office/drawing/2014/main" id="{13F70123-897A-6D2E-9C13-D026A81A3712}"/>
                  </a:ext>
                </a:extLst>
              </p:cNvPr>
              <p:cNvSpPr/>
              <p:nvPr/>
            </p:nvSpPr>
            <p:spPr bwMode="auto">
              <a:xfrm>
                <a:off x="1796152" y="2434715"/>
                <a:ext cx="1997441" cy="1908526"/>
              </a:xfrm>
              <a:prstGeom prst="rect">
                <a:avLst/>
              </a:prstGeom>
              <a:solidFill>
                <a:srgbClr val="49A9AC"/>
              </a:solidFill>
              <a:ln w="12700">
                <a:noFill/>
                <a:round/>
                <a:headEnd/>
                <a:tailEnd/>
              </a:ln>
              <a:scene3d>
                <a:camera prst="isometricTopUp">
                  <a:rot lat="19334319" lon="18553889" rev="3806096"/>
                </a:camera>
                <a:lightRig rig="threePt" dir="t"/>
              </a:scene3d>
              <a:sp3d prstMaterial="matte">
                <a:bevelT w="0" h="355600"/>
                <a:bevelB w="0" h="0"/>
              </a:sp3d>
            </p:spPr>
            <p:txBody>
              <a:bodyPr rtlCol="0" anchor="b"/>
              <a:lstStyle/>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Information</a:t>
                </a:r>
              </a:p>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Data)</a:t>
                </a:r>
              </a:p>
            </p:txBody>
          </p:sp>
          <p:sp>
            <p:nvSpPr>
              <p:cNvPr id="22" name="Rectangle 21">
                <a:extLst>
                  <a:ext uri="{FF2B5EF4-FFF2-40B4-BE49-F238E27FC236}">
                    <a16:creationId xmlns:a16="http://schemas.microsoft.com/office/drawing/2014/main" id="{D1A1BA0D-535B-B8FA-1596-7B59AF99FD9A}"/>
                  </a:ext>
                </a:extLst>
              </p:cNvPr>
              <p:cNvSpPr/>
              <p:nvPr/>
            </p:nvSpPr>
            <p:spPr bwMode="auto">
              <a:xfrm>
                <a:off x="1796152" y="1509581"/>
                <a:ext cx="1997441" cy="1908526"/>
              </a:xfrm>
              <a:prstGeom prst="rect">
                <a:avLst/>
              </a:prstGeom>
              <a:solidFill>
                <a:srgbClr val="3F93B8"/>
              </a:solidFill>
              <a:ln w="12700">
                <a:noFill/>
                <a:round/>
                <a:headEnd/>
                <a:tailEnd/>
              </a:ln>
              <a:scene3d>
                <a:camera prst="isometricTopUp">
                  <a:rot lat="19334319" lon="18553889" rev="3806096"/>
                </a:camera>
                <a:lightRig rig="threePt" dir="t"/>
              </a:scene3d>
              <a:sp3d prstMaterial="matte">
                <a:bevelT w="0" h="355600"/>
                <a:bevelB w="0" h="0"/>
              </a:sp3d>
            </p:spPr>
            <p:txBody>
              <a:bodyPr rtlCol="0" anchor="b"/>
              <a:lstStyle/>
              <a:p>
                <a:pPr algn="ctr" defTabSz="914418" rtl="1">
                  <a:defRPr/>
                </a:pPr>
                <a:r>
                  <a:rPr lang="en-US" sz="2400" b="1" kern="0">
                    <a:solidFill>
                      <a:prstClr val="white"/>
                    </a:solidFill>
                    <a:latin typeface="Avenir"/>
                    <a:ea typeface="Lato" panose="020F0502020204030203" pitchFamily="34" charset="0"/>
                    <a:cs typeface="Lato" panose="020F0502020204030203" pitchFamily="34" charset="0"/>
                  </a:rPr>
                  <a:t>Business (Capabilities)</a:t>
                </a:r>
              </a:p>
              <a:p>
                <a:pPr algn="ctr" defTabSz="914418">
                  <a:defRPr/>
                </a:pPr>
                <a:endParaRPr lang="en-US" sz="2400">
                  <a:solidFill>
                    <a:prstClr val="black"/>
                  </a:solidFill>
                  <a:latin typeface="Avenir"/>
                </a:endParaRPr>
              </a:p>
            </p:txBody>
          </p:sp>
          <p:sp>
            <p:nvSpPr>
              <p:cNvPr id="23" name="Flowchart: Connector 22">
                <a:extLst>
                  <a:ext uri="{FF2B5EF4-FFF2-40B4-BE49-F238E27FC236}">
                    <a16:creationId xmlns:a16="http://schemas.microsoft.com/office/drawing/2014/main" id="{6C2C5326-3CA0-B7A1-F026-ED5500627EB4}"/>
                  </a:ext>
                </a:extLst>
              </p:cNvPr>
              <p:cNvSpPr/>
              <p:nvPr/>
            </p:nvSpPr>
            <p:spPr>
              <a:xfrm>
                <a:off x="3399889" y="5649216"/>
                <a:ext cx="224681" cy="204151"/>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4</a:t>
                </a:r>
              </a:p>
            </p:txBody>
          </p:sp>
          <p:sp>
            <p:nvSpPr>
              <p:cNvPr id="24" name="Flowchart: Connector 23">
                <a:extLst>
                  <a:ext uri="{FF2B5EF4-FFF2-40B4-BE49-F238E27FC236}">
                    <a16:creationId xmlns:a16="http://schemas.microsoft.com/office/drawing/2014/main" id="{7A7572FD-4DF4-A894-2A27-AB36201AB99B}"/>
                  </a:ext>
                </a:extLst>
              </p:cNvPr>
              <p:cNvSpPr/>
              <p:nvPr/>
            </p:nvSpPr>
            <p:spPr>
              <a:xfrm>
                <a:off x="3399889" y="4681047"/>
                <a:ext cx="224681" cy="204151"/>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3</a:t>
                </a:r>
              </a:p>
            </p:txBody>
          </p:sp>
          <p:sp>
            <p:nvSpPr>
              <p:cNvPr id="25" name="Flowchart: Connector 24">
                <a:extLst>
                  <a:ext uri="{FF2B5EF4-FFF2-40B4-BE49-F238E27FC236}">
                    <a16:creationId xmlns:a16="http://schemas.microsoft.com/office/drawing/2014/main" id="{229BB337-CEE2-056B-DF8D-F755716FFADD}"/>
                  </a:ext>
                </a:extLst>
              </p:cNvPr>
              <p:cNvSpPr/>
              <p:nvPr/>
            </p:nvSpPr>
            <p:spPr>
              <a:xfrm>
                <a:off x="3399889" y="3764034"/>
                <a:ext cx="224681" cy="204151"/>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2</a:t>
                </a:r>
              </a:p>
            </p:txBody>
          </p:sp>
          <p:sp>
            <p:nvSpPr>
              <p:cNvPr id="26" name="Flowchart: Connector 25">
                <a:extLst>
                  <a:ext uri="{FF2B5EF4-FFF2-40B4-BE49-F238E27FC236}">
                    <a16:creationId xmlns:a16="http://schemas.microsoft.com/office/drawing/2014/main" id="{12C50749-EC0C-F991-CA0A-DF8A81C87C70}"/>
                  </a:ext>
                </a:extLst>
              </p:cNvPr>
              <p:cNvSpPr/>
              <p:nvPr/>
            </p:nvSpPr>
            <p:spPr>
              <a:xfrm>
                <a:off x="3399890" y="2817892"/>
                <a:ext cx="224681" cy="204151"/>
              </a:xfrm>
              <a:prstGeom prst="flowChartConnector">
                <a:avLst/>
              </a:prstGeom>
              <a:solidFill>
                <a:srgbClr val="FFFFFF"/>
              </a:solidFill>
              <a:ln w="25400" cap="flat" cmpd="sng" algn="ctr">
                <a:solidFill>
                  <a:srgbClr val="03769F"/>
                </a:solidFill>
                <a:prstDash val="solid"/>
              </a:ln>
              <a:effectLst/>
            </p:spPr>
            <p:txBody>
              <a:bodyPr rtlCol="0" anchor="ctr"/>
              <a:lstStyle/>
              <a:p>
                <a:pPr algn="ctr" defTabSz="914418">
                  <a:buClr>
                    <a:srgbClr val="000000"/>
                  </a:buClr>
                  <a:defRPr/>
                </a:pPr>
                <a:r>
                  <a:rPr lang="en-GB" sz="1200" b="1" kern="0">
                    <a:solidFill>
                      <a:srgbClr val="13100D"/>
                    </a:solidFill>
                    <a:latin typeface="Avenir"/>
                    <a:sym typeface="Arial"/>
                  </a:rPr>
                  <a:t>1</a:t>
                </a:r>
              </a:p>
            </p:txBody>
          </p:sp>
        </p:grpSp>
        <p:sp>
          <p:nvSpPr>
            <p:cNvPr id="27" name="TextBox 26">
              <a:extLst>
                <a:ext uri="{FF2B5EF4-FFF2-40B4-BE49-F238E27FC236}">
                  <a16:creationId xmlns:a16="http://schemas.microsoft.com/office/drawing/2014/main" id="{3A8AAA35-ACF9-0CE9-09CF-91E7E2938B74}"/>
                </a:ext>
              </a:extLst>
            </p:cNvPr>
            <p:cNvSpPr txBox="1"/>
            <p:nvPr/>
          </p:nvSpPr>
          <p:spPr>
            <a:xfrm rot="16200000" flipH="1">
              <a:off x="-797362" y="3618501"/>
              <a:ext cx="3616845" cy="461794"/>
            </a:xfrm>
            <a:prstGeom prst="rect">
              <a:avLst/>
            </a:prstGeom>
            <a:noFill/>
          </p:spPr>
          <p:txBody>
            <a:bodyPr wrap="square">
              <a:spAutoFit/>
            </a:bodyPr>
            <a:lstStyle/>
            <a:p>
              <a:pPr defTabSz="914418">
                <a:defRPr/>
              </a:pPr>
              <a:r>
                <a:rPr lang="en-GB" sz="2400" b="1" kern="0">
                  <a:solidFill>
                    <a:prstClr val="black"/>
                  </a:solidFill>
                  <a:latin typeface="Avenir"/>
                  <a:ea typeface="Lato" panose="020F0502020204030203" pitchFamily="34" charset="0"/>
                  <a:cs typeface="Lato" panose="020F0502020204030203" pitchFamily="34" charset="0"/>
                </a:rPr>
                <a:t>Security as an Enabler</a:t>
              </a:r>
              <a:endParaRPr lang="en-GB" sz="2400">
                <a:solidFill>
                  <a:prstClr val="black"/>
                </a:solidFill>
                <a:latin typeface="Aptos" panose="02110004020202020204"/>
              </a:endParaRPr>
            </a:p>
          </p:txBody>
        </p:sp>
        <p:cxnSp>
          <p:nvCxnSpPr>
            <p:cNvPr id="28" name="Straight Connector 27">
              <a:extLst>
                <a:ext uri="{FF2B5EF4-FFF2-40B4-BE49-F238E27FC236}">
                  <a16:creationId xmlns:a16="http://schemas.microsoft.com/office/drawing/2014/main" id="{72A7B9D3-40A4-3641-CB7A-2BEE50A567D1}"/>
                </a:ext>
              </a:extLst>
            </p:cNvPr>
            <p:cNvCxnSpPr>
              <a:cxnSpLocks/>
            </p:cNvCxnSpPr>
            <p:nvPr/>
          </p:nvCxnSpPr>
          <p:spPr>
            <a:xfrm>
              <a:off x="1242292" y="2919967"/>
              <a:ext cx="0" cy="2069209"/>
            </a:xfrm>
            <a:prstGeom prst="line">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6483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5F54F-5F5B-C3B7-493C-91857A22F112}"/>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328F0E74-CA33-5E72-07DC-AC72C4A0B15A}"/>
              </a:ext>
            </a:extLst>
          </p:cNvPr>
          <p:cNvSpPr>
            <a:spLocks noChangeAspect="1"/>
          </p:cNvSpPr>
          <p:nvPr/>
        </p:nvSpPr>
        <p:spPr>
          <a:xfrm>
            <a:off x="3156676" y="1537875"/>
            <a:ext cx="999158" cy="999158"/>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 name="Oval 22">
            <a:extLst>
              <a:ext uri="{FF2B5EF4-FFF2-40B4-BE49-F238E27FC236}">
                <a16:creationId xmlns:a16="http://schemas.microsoft.com/office/drawing/2014/main" id="{E0267C2D-1926-DB7B-87D2-B8BA55129DEA}"/>
              </a:ext>
            </a:extLst>
          </p:cNvPr>
          <p:cNvSpPr>
            <a:spLocks noChangeAspect="1"/>
          </p:cNvSpPr>
          <p:nvPr/>
        </p:nvSpPr>
        <p:spPr>
          <a:xfrm>
            <a:off x="5850816" y="1537875"/>
            <a:ext cx="999158" cy="999158"/>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Oval 23">
            <a:extLst>
              <a:ext uri="{FF2B5EF4-FFF2-40B4-BE49-F238E27FC236}">
                <a16:creationId xmlns:a16="http://schemas.microsoft.com/office/drawing/2014/main" id="{8850E6DF-A217-B70D-8924-CF208EE5AF1E}"/>
              </a:ext>
            </a:extLst>
          </p:cNvPr>
          <p:cNvSpPr>
            <a:spLocks noChangeAspect="1"/>
          </p:cNvSpPr>
          <p:nvPr/>
        </p:nvSpPr>
        <p:spPr>
          <a:xfrm>
            <a:off x="8772686" y="1537875"/>
            <a:ext cx="999158" cy="999158"/>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6" name="Content Placeholder 2" descr="Progress Diagram.">
            <a:extLst>
              <a:ext uri="{FF2B5EF4-FFF2-40B4-BE49-F238E27FC236}">
                <a16:creationId xmlns:a16="http://schemas.microsoft.com/office/drawing/2014/main" id="{B5F1A198-93E7-F764-0409-D5E7D0196D41}"/>
              </a:ext>
            </a:extLst>
          </p:cNvPr>
          <p:cNvSpPr txBox="1">
            <a:spLocks/>
          </p:cNvSpPr>
          <p:nvPr/>
        </p:nvSpPr>
        <p:spPr>
          <a:xfrm>
            <a:off x="2338622" y="3398109"/>
            <a:ext cx="2628966" cy="1739287"/>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029">
              <a:buNone/>
              <a:defRPr/>
            </a:pPr>
            <a:r>
              <a:rPr lang="en-GB" sz="1099" b="1" kern="0">
                <a:solidFill>
                  <a:srgbClr val="FFE600"/>
                </a:solidFill>
                <a:latin typeface="EYInterstate Light"/>
              </a:rPr>
              <a:t>Phase 1: Project Mobilisation &amp; Programme development </a:t>
            </a:r>
          </a:p>
          <a:p>
            <a:pPr marL="0" indent="0" algn="ctr" defTabSz="913029">
              <a:buNone/>
              <a:defRPr/>
            </a:pPr>
            <a:endParaRPr lang="en-GB" sz="1099" b="1" kern="0">
              <a:latin typeface="EYInterstate Light"/>
            </a:endParaRPr>
          </a:p>
          <a:p>
            <a:pPr defTabSz="913029">
              <a:defRPr/>
            </a:pPr>
            <a:r>
              <a:rPr lang="en-GB" sz="1099"/>
              <a:t>Conduct a formal kick-off and align on the objectives</a:t>
            </a:r>
          </a:p>
          <a:p>
            <a:pPr defTabSz="913029">
              <a:defRPr/>
            </a:pPr>
            <a:r>
              <a:rPr lang="en-GB" sz="1099"/>
              <a:t>Set up a project governance committee</a:t>
            </a:r>
          </a:p>
          <a:p>
            <a:pPr defTabSz="913029">
              <a:defRPr/>
            </a:pPr>
            <a:r>
              <a:rPr lang="en-GB" sz="1099"/>
              <a:t>Create a Managed Services Framework</a:t>
            </a:r>
          </a:p>
          <a:p>
            <a:pPr defTabSz="913029">
              <a:defRPr/>
            </a:pPr>
            <a:r>
              <a:rPr lang="en-GB" sz="1099"/>
              <a:t>Initiate Resource Onboarding for Managed Services</a:t>
            </a:r>
          </a:p>
          <a:p>
            <a:pPr defTabSz="913029">
              <a:defRPr/>
            </a:pPr>
            <a:endParaRPr lang="en-GB" sz="1099"/>
          </a:p>
          <a:p>
            <a:pPr defTabSz="913029">
              <a:defRPr/>
            </a:pPr>
            <a:endParaRPr lang="en-GB" sz="1099"/>
          </a:p>
        </p:txBody>
      </p:sp>
      <p:sp>
        <p:nvSpPr>
          <p:cNvPr id="28" name="Freeform: Shape 27">
            <a:extLst>
              <a:ext uri="{FF2B5EF4-FFF2-40B4-BE49-F238E27FC236}">
                <a16:creationId xmlns:a16="http://schemas.microsoft.com/office/drawing/2014/main" id="{5EB843E2-F6FF-68E4-AD72-ED0CC64854B6}"/>
              </a:ext>
            </a:extLst>
          </p:cNvPr>
          <p:cNvSpPr>
            <a:spLocks/>
          </p:cNvSpPr>
          <p:nvPr/>
        </p:nvSpPr>
        <p:spPr>
          <a:xfrm>
            <a:off x="5610704" y="1082122"/>
            <a:ext cx="4857470" cy="2086913"/>
          </a:xfrm>
          <a:custGeom>
            <a:avLst/>
            <a:gdLst>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443800 w 7726630"/>
              <a:gd name="connsiteY24" fmla="*/ 1754240 h 3920548"/>
              <a:gd name="connsiteX25" fmla="*/ 3394038 w 7726630"/>
              <a:gd name="connsiteY25" fmla="*/ 1877596 h 3920548"/>
              <a:gd name="connsiteX26" fmla="*/ 3264524 w 7726630"/>
              <a:gd name="connsiteY26" fmla="*/ 1742934 h 3920548"/>
              <a:gd name="connsiteX27" fmla="*/ 2002166 w 7726630"/>
              <a:gd name="connsiteY27" fmla="*/ 626688 h 3920548"/>
              <a:gd name="connsiteX28" fmla="*/ 427389 w 7726630"/>
              <a:gd name="connsiteY28" fmla="*/ 900950 h 3920548"/>
              <a:gd name="connsiteX29" fmla="*/ 134002 w 7726630"/>
              <a:gd name="connsiteY29" fmla="*/ 942886 h 3920548"/>
              <a:gd name="connsiteX30" fmla="*/ 89597 w 7726630"/>
              <a:gd name="connsiteY30" fmla="*/ 526321 h 3920548"/>
              <a:gd name="connsiteX31" fmla="*/ 1501103 w 7726630"/>
              <a:gd name="connsiteY31"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463368 w 7726630"/>
              <a:gd name="connsiteY23" fmla="*/ 1729190 h 3920548"/>
              <a:gd name="connsiteX24" fmla="*/ 3394038 w 7726630"/>
              <a:gd name="connsiteY24" fmla="*/ 1877596 h 3920548"/>
              <a:gd name="connsiteX25" fmla="*/ 3264524 w 7726630"/>
              <a:gd name="connsiteY25" fmla="*/ 1742934 h 3920548"/>
              <a:gd name="connsiteX26" fmla="*/ 2002166 w 7726630"/>
              <a:gd name="connsiteY26" fmla="*/ 626688 h 3920548"/>
              <a:gd name="connsiteX27" fmla="*/ 427389 w 7726630"/>
              <a:gd name="connsiteY27" fmla="*/ 900950 h 3920548"/>
              <a:gd name="connsiteX28" fmla="*/ 134002 w 7726630"/>
              <a:gd name="connsiteY28" fmla="*/ 942886 h 3920548"/>
              <a:gd name="connsiteX29" fmla="*/ 89597 w 7726630"/>
              <a:gd name="connsiteY29" fmla="*/ 526321 h 3920548"/>
              <a:gd name="connsiteX30" fmla="*/ 1501103 w 7726630"/>
              <a:gd name="connsiteY30"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4131780 w 7726630"/>
              <a:gd name="connsiteY22" fmla="*/ 2376559 h 3920548"/>
              <a:gd name="connsiteX23" fmla="*/ 3394038 w 7726630"/>
              <a:gd name="connsiteY23" fmla="*/ 1877596 h 3920548"/>
              <a:gd name="connsiteX24" fmla="*/ 3264524 w 7726630"/>
              <a:gd name="connsiteY24" fmla="*/ 1742934 h 3920548"/>
              <a:gd name="connsiteX25" fmla="*/ 2002166 w 7726630"/>
              <a:gd name="connsiteY25" fmla="*/ 626688 h 3920548"/>
              <a:gd name="connsiteX26" fmla="*/ 427389 w 7726630"/>
              <a:gd name="connsiteY26" fmla="*/ 900950 h 3920548"/>
              <a:gd name="connsiteX27" fmla="*/ 134002 w 7726630"/>
              <a:gd name="connsiteY27" fmla="*/ 942886 h 3920548"/>
              <a:gd name="connsiteX28" fmla="*/ 89597 w 7726630"/>
              <a:gd name="connsiteY28" fmla="*/ 526321 h 3920548"/>
              <a:gd name="connsiteX29" fmla="*/ 1501103 w 7726630"/>
              <a:gd name="connsiteY29"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4131330 w 7726630"/>
              <a:gd name="connsiteY21" fmla="*/ 2376935 h 3920548"/>
              <a:gd name="connsiteX22" fmla="*/ 3394038 w 7726630"/>
              <a:gd name="connsiteY22" fmla="*/ 1877596 h 3920548"/>
              <a:gd name="connsiteX23" fmla="*/ 3264524 w 7726630"/>
              <a:gd name="connsiteY23" fmla="*/ 1742934 h 3920548"/>
              <a:gd name="connsiteX24" fmla="*/ 2002166 w 7726630"/>
              <a:gd name="connsiteY24" fmla="*/ 626688 h 3920548"/>
              <a:gd name="connsiteX25" fmla="*/ 427389 w 7726630"/>
              <a:gd name="connsiteY25" fmla="*/ 900950 h 3920548"/>
              <a:gd name="connsiteX26" fmla="*/ 134002 w 7726630"/>
              <a:gd name="connsiteY26" fmla="*/ 942886 h 3920548"/>
              <a:gd name="connsiteX27" fmla="*/ 89597 w 7726630"/>
              <a:gd name="connsiteY27" fmla="*/ 526321 h 3920548"/>
              <a:gd name="connsiteX28" fmla="*/ 1501103 w 7726630"/>
              <a:gd name="connsiteY28"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277470 w 7726630"/>
              <a:gd name="connsiteY6" fmla="*/ 2197353 h 3920548"/>
              <a:gd name="connsiteX7" fmla="*/ 4314136 w 7726630"/>
              <a:gd name="connsiteY7" fmla="*/ 2108176 h 3920548"/>
              <a:gd name="connsiteX8" fmla="*/ 4457569 w 7726630"/>
              <a:gd name="connsiteY8" fmla="*/ 2259327 h 3920548"/>
              <a:gd name="connsiteX9" fmla="*/ 6414726 w 7726630"/>
              <a:gd name="connsiteY9" fmla="*/ 3407390 h 3920548"/>
              <a:gd name="connsiteX10" fmla="*/ 7127167 w 7726630"/>
              <a:gd name="connsiteY10" fmla="*/ 3100088 h 3920548"/>
              <a:gd name="connsiteX11" fmla="*/ 7026764 w 7726630"/>
              <a:gd name="connsiteY11" fmla="*/ 2999730 h 3920548"/>
              <a:gd name="connsiteX12" fmla="*/ 7063672 w 7726630"/>
              <a:gd name="connsiteY12" fmla="*/ 2907004 h 3920548"/>
              <a:gd name="connsiteX13" fmla="*/ 7602070 w 7726630"/>
              <a:gd name="connsiteY13" fmla="*/ 2896828 h 3920548"/>
              <a:gd name="connsiteX14" fmla="*/ 7726611 w 7726630"/>
              <a:gd name="connsiteY14" fmla="*/ 3023854 h 3920548"/>
              <a:gd name="connsiteX15" fmla="*/ 7716466 w 7726630"/>
              <a:gd name="connsiteY15" fmla="*/ 3562313 h 3920548"/>
              <a:gd name="connsiteX16" fmla="*/ 7623759 w 7726630"/>
              <a:gd name="connsiteY16" fmla="*/ 3599158 h 3920548"/>
              <a:gd name="connsiteX17" fmla="*/ 7485224 w 7726630"/>
              <a:gd name="connsiteY17" fmla="*/ 3460727 h 3920548"/>
              <a:gd name="connsiteX18" fmla="*/ 6450234 w 7726630"/>
              <a:gd name="connsiteY18" fmla="*/ 3911636 h 3920548"/>
              <a:gd name="connsiteX19" fmla="*/ 4124875 w 7726630"/>
              <a:gd name="connsiteY19" fmla="*/ 2639003 h 3920548"/>
              <a:gd name="connsiteX20" fmla="*/ 3949607 w 7726630"/>
              <a:gd name="connsiteY20" fmla="*/ 2457411 h 3920548"/>
              <a:gd name="connsiteX21" fmla="*/ 3394038 w 7726630"/>
              <a:gd name="connsiteY21" fmla="*/ 1877596 h 3920548"/>
              <a:gd name="connsiteX22" fmla="*/ 3264524 w 7726630"/>
              <a:gd name="connsiteY22" fmla="*/ 1742934 h 3920548"/>
              <a:gd name="connsiteX23" fmla="*/ 2002166 w 7726630"/>
              <a:gd name="connsiteY23" fmla="*/ 626688 h 3920548"/>
              <a:gd name="connsiteX24" fmla="*/ 427389 w 7726630"/>
              <a:gd name="connsiteY24" fmla="*/ 900950 h 3920548"/>
              <a:gd name="connsiteX25" fmla="*/ 134002 w 7726630"/>
              <a:gd name="connsiteY25" fmla="*/ 942886 h 3920548"/>
              <a:gd name="connsiteX26" fmla="*/ 89597 w 7726630"/>
              <a:gd name="connsiteY26" fmla="*/ 526321 h 3920548"/>
              <a:gd name="connsiteX27" fmla="*/ 1501103 w 7726630"/>
              <a:gd name="connsiteY27"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3632288 w 7726630"/>
              <a:gd name="connsiteY5" fmla="*/ 1572482 h 3920548"/>
              <a:gd name="connsiteX6" fmla="*/ 4314136 w 7726630"/>
              <a:gd name="connsiteY6" fmla="*/ 2108176 h 3920548"/>
              <a:gd name="connsiteX7" fmla="*/ 4457569 w 7726630"/>
              <a:gd name="connsiteY7" fmla="*/ 2259327 h 3920548"/>
              <a:gd name="connsiteX8" fmla="*/ 6414726 w 7726630"/>
              <a:gd name="connsiteY8" fmla="*/ 3407390 h 3920548"/>
              <a:gd name="connsiteX9" fmla="*/ 7127167 w 7726630"/>
              <a:gd name="connsiteY9" fmla="*/ 3100088 h 3920548"/>
              <a:gd name="connsiteX10" fmla="*/ 7026764 w 7726630"/>
              <a:gd name="connsiteY10" fmla="*/ 2999730 h 3920548"/>
              <a:gd name="connsiteX11" fmla="*/ 7063672 w 7726630"/>
              <a:gd name="connsiteY11" fmla="*/ 2907004 h 3920548"/>
              <a:gd name="connsiteX12" fmla="*/ 7602070 w 7726630"/>
              <a:gd name="connsiteY12" fmla="*/ 2896828 h 3920548"/>
              <a:gd name="connsiteX13" fmla="*/ 7726611 w 7726630"/>
              <a:gd name="connsiteY13" fmla="*/ 3023854 h 3920548"/>
              <a:gd name="connsiteX14" fmla="*/ 7716466 w 7726630"/>
              <a:gd name="connsiteY14" fmla="*/ 3562313 h 3920548"/>
              <a:gd name="connsiteX15" fmla="*/ 7623759 w 7726630"/>
              <a:gd name="connsiteY15" fmla="*/ 3599158 h 3920548"/>
              <a:gd name="connsiteX16" fmla="*/ 7485224 w 7726630"/>
              <a:gd name="connsiteY16" fmla="*/ 3460727 h 3920548"/>
              <a:gd name="connsiteX17" fmla="*/ 6450234 w 7726630"/>
              <a:gd name="connsiteY17" fmla="*/ 3911636 h 3920548"/>
              <a:gd name="connsiteX18" fmla="*/ 4124875 w 7726630"/>
              <a:gd name="connsiteY18" fmla="*/ 2639003 h 3920548"/>
              <a:gd name="connsiteX19" fmla="*/ 3949607 w 7726630"/>
              <a:gd name="connsiteY19" fmla="*/ 2457411 h 3920548"/>
              <a:gd name="connsiteX20" fmla="*/ 3394038 w 7726630"/>
              <a:gd name="connsiteY20" fmla="*/ 1877596 h 3920548"/>
              <a:gd name="connsiteX21" fmla="*/ 3264524 w 7726630"/>
              <a:gd name="connsiteY21" fmla="*/ 1742934 h 3920548"/>
              <a:gd name="connsiteX22" fmla="*/ 2002166 w 7726630"/>
              <a:gd name="connsiteY22" fmla="*/ 626688 h 3920548"/>
              <a:gd name="connsiteX23" fmla="*/ 427389 w 7726630"/>
              <a:gd name="connsiteY23" fmla="*/ 900950 h 3920548"/>
              <a:gd name="connsiteX24" fmla="*/ 134002 w 7726630"/>
              <a:gd name="connsiteY24" fmla="*/ 942886 h 3920548"/>
              <a:gd name="connsiteX25" fmla="*/ 89597 w 7726630"/>
              <a:gd name="connsiteY25" fmla="*/ 526321 h 3920548"/>
              <a:gd name="connsiteX26" fmla="*/ 1501103 w 7726630"/>
              <a:gd name="connsiteY26"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3691143 w 7726630"/>
              <a:gd name="connsiteY4" fmla="*/ 1545917 h 3920548"/>
              <a:gd name="connsiteX5" fmla="*/ 4314136 w 7726630"/>
              <a:gd name="connsiteY5" fmla="*/ 2108176 h 3920548"/>
              <a:gd name="connsiteX6" fmla="*/ 4457569 w 7726630"/>
              <a:gd name="connsiteY6" fmla="*/ 2259327 h 3920548"/>
              <a:gd name="connsiteX7" fmla="*/ 6414726 w 7726630"/>
              <a:gd name="connsiteY7" fmla="*/ 3407390 h 3920548"/>
              <a:gd name="connsiteX8" fmla="*/ 7127167 w 7726630"/>
              <a:gd name="connsiteY8" fmla="*/ 3100088 h 3920548"/>
              <a:gd name="connsiteX9" fmla="*/ 7026764 w 7726630"/>
              <a:gd name="connsiteY9" fmla="*/ 2999730 h 3920548"/>
              <a:gd name="connsiteX10" fmla="*/ 7063672 w 7726630"/>
              <a:gd name="connsiteY10" fmla="*/ 2907004 h 3920548"/>
              <a:gd name="connsiteX11" fmla="*/ 7602070 w 7726630"/>
              <a:gd name="connsiteY11" fmla="*/ 2896828 h 3920548"/>
              <a:gd name="connsiteX12" fmla="*/ 7726611 w 7726630"/>
              <a:gd name="connsiteY12" fmla="*/ 3023854 h 3920548"/>
              <a:gd name="connsiteX13" fmla="*/ 7716466 w 7726630"/>
              <a:gd name="connsiteY13" fmla="*/ 3562313 h 3920548"/>
              <a:gd name="connsiteX14" fmla="*/ 7623759 w 7726630"/>
              <a:gd name="connsiteY14" fmla="*/ 3599158 h 3920548"/>
              <a:gd name="connsiteX15" fmla="*/ 7485224 w 7726630"/>
              <a:gd name="connsiteY15" fmla="*/ 3460727 h 3920548"/>
              <a:gd name="connsiteX16" fmla="*/ 6450234 w 7726630"/>
              <a:gd name="connsiteY16" fmla="*/ 3911636 h 3920548"/>
              <a:gd name="connsiteX17" fmla="*/ 4124875 w 7726630"/>
              <a:gd name="connsiteY17" fmla="*/ 2639003 h 3920548"/>
              <a:gd name="connsiteX18" fmla="*/ 3949607 w 7726630"/>
              <a:gd name="connsiteY18" fmla="*/ 2457411 h 3920548"/>
              <a:gd name="connsiteX19" fmla="*/ 3394038 w 7726630"/>
              <a:gd name="connsiteY19" fmla="*/ 1877596 h 3920548"/>
              <a:gd name="connsiteX20" fmla="*/ 3264524 w 7726630"/>
              <a:gd name="connsiteY20" fmla="*/ 1742934 h 3920548"/>
              <a:gd name="connsiteX21" fmla="*/ 2002166 w 7726630"/>
              <a:gd name="connsiteY21" fmla="*/ 626688 h 3920548"/>
              <a:gd name="connsiteX22" fmla="*/ 427389 w 7726630"/>
              <a:gd name="connsiteY22" fmla="*/ 900950 h 3920548"/>
              <a:gd name="connsiteX23" fmla="*/ 134002 w 7726630"/>
              <a:gd name="connsiteY23" fmla="*/ 942886 h 3920548"/>
              <a:gd name="connsiteX24" fmla="*/ 89597 w 7726630"/>
              <a:gd name="connsiteY24" fmla="*/ 526321 h 3920548"/>
              <a:gd name="connsiteX25" fmla="*/ 1501103 w 7726630"/>
              <a:gd name="connsiteY25" fmla="*/ 914 h 3920548"/>
              <a:gd name="connsiteX0" fmla="*/ 1501103 w 7726630"/>
              <a:gd name="connsiteY0" fmla="*/ 914 h 3920548"/>
              <a:gd name="connsiteX1" fmla="*/ 2022430 w 7726630"/>
              <a:gd name="connsiteY1" fmla="*/ 93260 h 3920548"/>
              <a:gd name="connsiteX2" fmla="*/ 3602316 w 7726630"/>
              <a:gd name="connsiteY2" fmla="*/ 1367093 h 3920548"/>
              <a:gd name="connsiteX3" fmla="*/ 3755970 w 7726630"/>
              <a:gd name="connsiteY3" fmla="*/ 1527103 h 3920548"/>
              <a:gd name="connsiteX4" fmla="*/ 4314136 w 7726630"/>
              <a:gd name="connsiteY4" fmla="*/ 2108176 h 3920548"/>
              <a:gd name="connsiteX5" fmla="*/ 4457569 w 7726630"/>
              <a:gd name="connsiteY5" fmla="*/ 2259327 h 3920548"/>
              <a:gd name="connsiteX6" fmla="*/ 6414726 w 7726630"/>
              <a:gd name="connsiteY6" fmla="*/ 3407390 h 3920548"/>
              <a:gd name="connsiteX7" fmla="*/ 7127167 w 7726630"/>
              <a:gd name="connsiteY7" fmla="*/ 3100088 h 3920548"/>
              <a:gd name="connsiteX8" fmla="*/ 7026764 w 7726630"/>
              <a:gd name="connsiteY8" fmla="*/ 2999730 h 3920548"/>
              <a:gd name="connsiteX9" fmla="*/ 7063672 w 7726630"/>
              <a:gd name="connsiteY9" fmla="*/ 2907004 h 3920548"/>
              <a:gd name="connsiteX10" fmla="*/ 7602070 w 7726630"/>
              <a:gd name="connsiteY10" fmla="*/ 2896828 h 3920548"/>
              <a:gd name="connsiteX11" fmla="*/ 7726611 w 7726630"/>
              <a:gd name="connsiteY11" fmla="*/ 3023854 h 3920548"/>
              <a:gd name="connsiteX12" fmla="*/ 7716466 w 7726630"/>
              <a:gd name="connsiteY12" fmla="*/ 3562313 h 3920548"/>
              <a:gd name="connsiteX13" fmla="*/ 7623759 w 7726630"/>
              <a:gd name="connsiteY13" fmla="*/ 3599158 h 3920548"/>
              <a:gd name="connsiteX14" fmla="*/ 7485224 w 7726630"/>
              <a:gd name="connsiteY14" fmla="*/ 3460727 h 3920548"/>
              <a:gd name="connsiteX15" fmla="*/ 6450234 w 7726630"/>
              <a:gd name="connsiteY15" fmla="*/ 3911636 h 3920548"/>
              <a:gd name="connsiteX16" fmla="*/ 4124875 w 7726630"/>
              <a:gd name="connsiteY16" fmla="*/ 2639003 h 3920548"/>
              <a:gd name="connsiteX17" fmla="*/ 3949607 w 7726630"/>
              <a:gd name="connsiteY17" fmla="*/ 2457411 h 3920548"/>
              <a:gd name="connsiteX18" fmla="*/ 3394038 w 7726630"/>
              <a:gd name="connsiteY18" fmla="*/ 1877596 h 3920548"/>
              <a:gd name="connsiteX19" fmla="*/ 3264524 w 7726630"/>
              <a:gd name="connsiteY19" fmla="*/ 1742934 h 3920548"/>
              <a:gd name="connsiteX20" fmla="*/ 2002166 w 7726630"/>
              <a:gd name="connsiteY20" fmla="*/ 626688 h 3920548"/>
              <a:gd name="connsiteX21" fmla="*/ 427389 w 7726630"/>
              <a:gd name="connsiteY21" fmla="*/ 900950 h 3920548"/>
              <a:gd name="connsiteX22" fmla="*/ 134002 w 7726630"/>
              <a:gd name="connsiteY22" fmla="*/ 942886 h 3920548"/>
              <a:gd name="connsiteX23" fmla="*/ 89597 w 7726630"/>
              <a:gd name="connsiteY23" fmla="*/ 526321 h 3920548"/>
              <a:gd name="connsiteX24" fmla="*/ 1501103 w 7726630"/>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30" h="3920548">
                <a:moveTo>
                  <a:pt x="1501103" y="914"/>
                </a:moveTo>
                <a:cubicBezTo>
                  <a:pt x="1679131" y="6348"/>
                  <a:pt x="1855737" y="36111"/>
                  <a:pt x="2022430" y="93260"/>
                </a:cubicBezTo>
                <a:cubicBezTo>
                  <a:pt x="2560923" y="277407"/>
                  <a:pt x="2874574" y="570773"/>
                  <a:pt x="3602316" y="1367093"/>
                </a:cubicBezTo>
                <a:cubicBezTo>
                  <a:pt x="3618880" y="1383588"/>
                  <a:pt x="3675971" y="1444535"/>
                  <a:pt x="3755970" y="1527103"/>
                </a:cubicBezTo>
                <a:lnTo>
                  <a:pt x="4314136" y="2108176"/>
                </a:lnTo>
                <a:lnTo>
                  <a:pt x="4457569" y="2259327"/>
                </a:lnTo>
                <a:cubicBezTo>
                  <a:pt x="5153568" y="3021310"/>
                  <a:pt x="5746714" y="3515380"/>
                  <a:pt x="6414726" y="3407390"/>
                </a:cubicBezTo>
                <a:cubicBezTo>
                  <a:pt x="6779080" y="3347737"/>
                  <a:pt x="6991256" y="3211850"/>
                  <a:pt x="7127167" y="3100088"/>
                </a:cubicBezTo>
                <a:lnTo>
                  <a:pt x="7026764" y="2999730"/>
                </a:lnTo>
                <a:cubicBezTo>
                  <a:pt x="6977262" y="2950165"/>
                  <a:pt x="6993705" y="2908320"/>
                  <a:pt x="7063672" y="2907004"/>
                </a:cubicBezTo>
                <a:lnTo>
                  <a:pt x="7602070" y="2896828"/>
                </a:lnTo>
                <a:cubicBezTo>
                  <a:pt x="7672036" y="2895600"/>
                  <a:pt x="7727836" y="2952709"/>
                  <a:pt x="7726611" y="3023854"/>
                </a:cubicBezTo>
                <a:lnTo>
                  <a:pt x="7716466" y="3562313"/>
                </a:lnTo>
                <a:cubicBezTo>
                  <a:pt x="7715066" y="3632230"/>
                  <a:pt x="7673261" y="3648723"/>
                  <a:pt x="7623759" y="3599158"/>
                </a:cubicBezTo>
                <a:lnTo>
                  <a:pt x="7485224" y="3460727"/>
                </a:lnTo>
                <a:cubicBezTo>
                  <a:pt x="7266752" y="3643635"/>
                  <a:pt x="6873186" y="3873475"/>
                  <a:pt x="6450234" y="3911636"/>
                </a:cubicBezTo>
                <a:cubicBezTo>
                  <a:pt x="5441832" y="4003046"/>
                  <a:pt x="4831019" y="3378177"/>
                  <a:pt x="4124875" y="2639003"/>
                </a:cubicBezTo>
                <a:cubicBezTo>
                  <a:pt x="4122251" y="2637775"/>
                  <a:pt x="4051234" y="2562857"/>
                  <a:pt x="3949607" y="2457411"/>
                </a:cubicBezTo>
                <a:lnTo>
                  <a:pt x="3394038" y="1877596"/>
                </a:lnTo>
                <a:lnTo>
                  <a:pt x="3264524" y="1742934"/>
                </a:lnTo>
                <a:cubicBezTo>
                  <a:pt x="2567267" y="981002"/>
                  <a:pt x="2356521" y="793035"/>
                  <a:pt x="2002166" y="626688"/>
                </a:cubicBezTo>
                <a:cubicBezTo>
                  <a:pt x="1498033" y="389143"/>
                  <a:pt x="826149" y="513647"/>
                  <a:pt x="427389" y="900950"/>
                </a:cubicBezTo>
                <a:cubicBezTo>
                  <a:pt x="349857" y="975876"/>
                  <a:pt x="229330" y="993676"/>
                  <a:pt x="134002" y="942886"/>
                </a:cubicBezTo>
                <a:cubicBezTo>
                  <a:pt x="-19652" y="861623"/>
                  <a:pt x="-50136" y="644394"/>
                  <a:pt x="89597" y="526321"/>
                </a:cubicBezTo>
                <a:cubicBezTo>
                  <a:pt x="420120" y="187267"/>
                  <a:pt x="967017" y="-15389"/>
                  <a:pt x="1501103" y="914"/>
                </a:cubicBezTo>
                <a:close/>
              </a:path>
            </a:pathLst>
          </a:custGeom>
          <a:solidFill>
            <a:srgbClr val="BCAA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29" name="Figure">
            <a:extLst>
              <a:ext uri="{FF2B5EF4-FFF2-40B4-BE49-F238E27FC236}">
                <a16:creationId xmlns:a16="http://schemas.microsoft.com/office/drawing/2014/main" id="{B0D9FD93-00F4-AD6C-CEAA-289338EAD68D}"/>
              </a:ext>
            </a:extLst>
          </p:cNvPr>
          <p:cNvSpPr>
            <a:spLocks/>
          </p:cNvSpPr>
          <p:nvPr/>
        </p:nvSpPr>
        <p:spPr>
          <a:xfrm>
            <a:off x="2825758" y="2534346"/>
            <a:ext cx="1835044" cy="634689"/>
          </a:xfrm>
          <a:custGeom>
            <a:avLst/>
            <a:gdLst/>
            <a:ahLst/>
            <a:cxnLst>
              <a:cxn ang="0">
                <a:pos x="wd2" y="hd2"/>
              </a:cxn>
              <a:cxn ang="5400000">
                <a:pos x="wd2" y="hd2"/>
              </a:cxn>
              <a:cxn ang="10800000">
                <a:pos x="wd2" y="hd2"/>
              </a:cxn>
              <a:cxn ang="16200000">
                <a:pos x="wd2" y="hd2"/>
              </a:cxn>
            </a:cxnLst>
            <a:rect l="0" t="0" r="r" b="b"/>
            <a:pathLst>
              <a:path w="21295" h="20880" extrusionOk="0">
                <a:moveTo>
                  <a:pt x="20692" y="15"/>
                </a:moveTo>
                <a:lnTo>
                  <a:pt x="15815" y="1777"/>
                </a:lnTo>
                <a:cubicBezTo>
                  <a:pt x="15486" y="1895"/>
                  <a:pt x="15413" y="2459"/>
                  <a:pt x="15669" y="3023"/>
                </a:cubicBezTo>
                <a:lnTo>
                  <a:pt x="16820" y="5608"/>
                </a:lnTo>
                <a:cubicBezTo>
                  <a:pt x="16089" y="6972"/>
                  <a:pt x="15039" y="8734"/>
                  <a:pt x="13897" y="9839"/>
                </a:cubicBezTo>
                <a:cubicBezTo>
                  <a:pt x="11541" y="12119"/>
                  <a:pt x="9011" y="12001"/>
                  <a:pt x="6910" y="10145"/>
                </a:cubicBezTo>
                <a:cubicBezTo>
                  <a:pt x="4061" y="7630"/>
                  <a:pt x="3239" y="4010"/>
                  <a:pt x="2481" y="3235"/>
                </a:cubicBezTo>
                <a:cubicBezTo>
                  <a:pt x="1960" y="2694"/>
                  <a:pt x="1348" y="2811"/>
                  <a:pt x="873" y="3564"/>
                </a:cubicBezTo>
                <a:cubicBezTo>
                  <a:pt x="-141" y="5138"/>
                  <a:pt x="-305" y="8852"/>
                  <a:pt x="554" y="10944"/>
                </a:cubicBezTo>
                <a:cubicBezTo>
                  <a:pt x="2188" y="15174"/>
                  <a:pt x="4974" y="18841"/>
                  <a:pt x="6865" y="19828"/>
                </a:cubicBezTo>
                <a:cubicBezTo>
                  <a:pt x="9605" y="21497"/>
                  <a:pt x="12262" y="21074"/>
                  <a:pt x="14363" y="19311"/>
                </a:cubicBezTo>
                <a:cubicBezTo>
                  <a:pt x="16555" y="17642"/>
                  <a:pt x="18646" y="13905"/>
                  <a:pt x="19614" y="11907"/>
                </a:cubicBezTo>
                <a:lnTo>
                  <a:pt x="20811" y="14587"/>
                </a:lnTo>
                <a:cubicBezTo>
                  <a:pt x="21067" y="15151"/>
                  <a:pt x="21277" y="14916"/>
                  <a:pt x="21277" y="14046"/>
                </a:cubicBezTo>
                <a:lnTo>
                  <a:pt x="21295" y="1378"/>
                </a:lnTo>
                <a:cubicBezTo>
                  <a:pt x="21295" y="508"/>
                  <a:pt x="21021" y="-103"/>
                  <a:pt x="20692" y="15"/>
                </a:cubicBezTo>
                <a:close/>
              </a:path>
            </a:pathLst>
          </a:custGeom>
          <a:solidFill>
            <a:srgbClr val="FFE6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30" name="Freeform: Shape 29">
            <a:extLst>
              <a:ext uri="{FF2B5EF4-FFF2-40B4-BE49-F238E27FC236}">
                <a16:creationId xmlns:a16="http://schemas.microsoft.com/office/drawing/2014/main" id="{744F3C5B-96E4-01B0-38D1-0A398306506F}"/>
              </a:ext>
            </a:extLst>
          </p:cNvPr>
          <p:cNvSpPr>
            <a:spLocks/>
          </p:cNvSpPr>
          <p:nvPr/>
        </p:nvSpPr>
        <p:spPr>
          <a:xfrm>
            <a:off x="2895865" y="1082122"/>
            <a:ext cx="4461676" cy="2086913"/>
          </a:xfrm>
          <a:custGeom>
            <a:avLst/>
            <a:gdLst>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4084467 w 7726629"/>
              <a:gd name="connsiteY23" fmla="*/ 2406216 h 3920548"/>
              <a:gd name="connsiteX24" fmla="*/ 3434669 w 7726629"/>
              <a:gd name="connsiteY24" fmla="*/ 1776874 h 3920548"/>
              <a:gd name="connsiteX25" fmla="*/ 3394037 w 7726629"/>
              <a:gd name="connsiteY25" fmla="*/ 1877596 h 3920548"/>
              <a:gd name="connsiteX26" fmla="*/ 3264524 w 7726629"/>
              <a:gd name="connsiteY26" fmla="*/ 1742934 h 3920548"/>
              <a:gd name="connsiteX27" fmla="*/ 2002166 w 7726629"/>
              <a:gd name="connsiteY27" fmla="*/ 626688 h 3920548"/>
              <a:gd name="connsiteX28" fmla="*/ 427389 w 7726629"/>
              <a:gd name="connsiteY28" fmla="*/ 900950 h 3920548"/>
              <a:gd name="connsiteX29" fmla="*/ 134002 w 7726629"/>
              <a:gd name="connsiteY29" fmla="*/ 942886 h 3920548"/>
              <a:gd name="connsiteX30" fmla="*/ 89597 w 7726629"/>
              <a:gd name="connsiteY30" fmla="*/ 526321 h 3920548"/>
              <a:gd name="connsiteX31" fmla="*/ 1501102 w 7726629"/>
              <a:gd name="connsiteY31"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434669 w 7726629"/>
              <a:gd name="connsiteY23" fmla="*/ 1776874 h 3920548"/>
              <a:gd name="connsiteX24" fmla="*/ 3394037 w 7726629"/>
              <a:gd name="connsiteY24" fmla="*/ 1877596 h 3920548"/>
              <a:gd name="connsiteX25" fmla="*/ 3264524 w 7726629"/>
              <a:gd name="connsiteY25" fmla="*/ 1742934 h 3920548"/>
              <a:gd name="connsiteX26" fmla="*/ 2002166 w 7726629"/>
              <a:gd name="connsiteY26" fmla="*/ 626688 h 3920548"/>
              <a:gd name="connsiteX27" fmla="*/ 427389 w 7726629"/>
              <a:gd name="connsiteY27" fmla="*/ 900950 h 3920548"/>
              <a:gd name="connsiteX28" fmla="*/ 134002 w 7726629"/>
              <a:gd name="connsiteY28" fmla="*/ 942886 h 3920548"/>
              <a:gd name="connsiteX29" fmla="*/ 89597 w 7726629"/>
              <a:gd name="connsiteY29" fmla="*/ 526321 h 3920548"/>
              <a:gd name="connsiteX30" fmla="*/ 1501102 w 7726629"/>
              <a:gd name="connsiteY30"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4075292 w 7726629"/>
              <a:gd name="connsiteY22" fmla="*/ 2411948 h 3920548"/>
              <a:gd name="connsiteX23" fmla="*/ 3394037 w 7726629"/>
              <a:gd name="connsiteY23" fmla="*/ 1877596 h 3920548"/>
              <a:gd name="connsiteX24" fmla="*/ 3264524 w 7726629"/>
              <a:gd name="connsiteY24" fmla="*/ 1742934 h 3920548"/>
              <a:gd name="connsiteX25" fmla="*/ 2002166 w 7726629"/>
              <a:gd name="connsiteY25" fmla="*/ 626688 h 3920548"/>
              <a:gd name="connsiteX26" fmla="*/ 427389 w 7726629"/>
              <a:gd name="connsiteY26" fmla="*/ 900950 h 3920548"/>
              <a:gd name="connsiteX27" fmla="*/ 134002 w 7726629"/>
              <a:gd name="connsiteY27" fmla="*/ 942886 h 3920548"/>
              <a:gd name="connsiteX28" fmla="*/ 89597 w 7726629"/>
              <a:gd name="connsiteY28" fmla="*/ 526321 h 3920548"/>
              <a:gd name="connsiteX29" fmla="*/ 1501102 w 7726629"/>
              <a:gd name="connsiteY29"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263428 w 7726629"/>
              <a:gd name="connsiteY7" fmla="*/ 2231508 h 3920548"/>
              <a:gd name="connsiteX8" fmla="*/ 4314137 w 7726629"/>
              <a:gd name="connsiteY8" fmla="*/ 2108176 h 3920548"/>
              <a:gd name="connsiteX9" fmla="*/ 4457570 w 7726629"/>
              <a:gd name="connsiteY9" fmla="*/ 2259327 h 3920548"/>
              <a:gd name="connsiteX10" fmla="*/ 6414726 w 7726629"/>
              <a:gd name="connsiteY10" fmla="*/ 3407390 h 3920548"/>
              <a:gd name="connsiteX11" fmla="*/ 7127166 w 7726629"/>
              <a:gd name="connsiteY11" fmla="*/ 3100088 h 3920548"/>
              <a:gd name="connsiteX12" fmla="*/ 7026764 w 7726629"/>
              <a:gd name="connsiteY12" fmla="*/ 2999730 h 3920548"/>
              <a:gd name="connsiteX13" fmla="*/ 7063671 w 7726629"/>
              <a:gd name="connsiteY13" fmla="*/ 2907004 h 3920548"/>
              <a:gd name="connsiteX14" fmla="*/ 7602068 w 7726629"/>
              <a:gd name="connsiteY14" fmla="*/ 2896828 h 3920548"/>
              <a:gd name="connsiteX15" fmla="*/ 7726610 w 7726629"/>
              <a:gd name="connsiteY15" fmla="*/ 3023854 h 3920548"/>
              <a:gd name="connsiteX16" fmla="*/ 7716465 w 7726629"/>
              <a:gd name="connsiteY16" fmla="*/ 3562313 h 3920548"/>
              <a:gd name="connsiteX17" fmla="*/ 7623758 w 7726629"/>
              <a:gd name="connsiteY17" fmla="*/ 3599158 h 3920548"/>
              <a:gd name="connsiteX18" fmla="*/ 7485223 w 7726629"/>
              <a:gd name="connsiteY18" fmla="*/ 3460727 h 3920548"/>
              <a:gd name="connsiteX19" fmla="*/ 6450234 w 7726629"/>
              <a:gd name="connsiteY19" fmla="*/ 3911636 h 3920548"/>
              <a:gd name="connsiteX20" fmla="*/ 4124876 w 7726629"/>
              <a:gd name="connsiteY20" fmla="*/ 2639003 h 3920548"/>
              <a:gd name="connsiteX21" fmla="*/ 3949608 w 7726629"/>
              <a:gd name="connsiteY21" fmla="*/ 2457411 h 3920548"/>
              <a:gd name="connsiteX22" fmla="*/ 3394037 w 7726629"/>
              <a:gd name="connsiteY22" fmla="*/ 1877596 h 3920548"/>
              <a:gd name="connsiteX23" fmla="*/ 3264524 w 7726629"/>
              <a:gd name="connsiteY23" fmla="*/ 1742934 h 3920548"/>
              <a:gd name="connsiteX24" fmla="*/ 2002166 w 7726629"/>
              <a:gd name="connsiteY24" fmla="*/ 626688 h 3920548"/>
              <a:gd name="connsiteX25" fmla="*/ 427389 w 7726629"/>
              <a:gd name="connsiteY25" fmla="*/ 900950 h 3920548"/>
              <a:gd name="connsiteX26" fmla="*/ 134002 w 7726629"/>
              <a:gd name="connsiteY26" fmla="*/ 942886 h 3920548"/>
              <a:gd name="connsiteX27" fmla="*/ 89597 w 7726629"/>
              <a:gd name="connsiteY27" fmla="*/ 526321 h 3920548"/>
              <a:gd name="connsiteX28" fmla="*/ 1501102 w 7726629"/>
              <a:gd name="connsiteY28"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251015 w 7726629"/>
              <a:gd name="connsiteY6" fmla="*/ 2247211 h 3920548"/>
              <a:gd name="connsiteX7" fmla="*/ 4314137 w 7726629"/>
              <a:gd name="connsiteY7" fmla="*/ 2108176 h 3920548"/>
              <a:gd name="connsiteX8" fmla="*/ 4457570 w 7726629"/>
              <a:gd name="connsiteY8" fmla="*/ 2259327 h 3920548"/>
              <a:gd name="connsiteX9" fmla="*/ 6414726 w 7726629"/>
              <a:gd name="connsiteY9" fmla="*/ 3407390 h 3920548"/>
              <a:gd name="connsiteX10" fmla="*/ 7127166 w 7726629"/>
              <a:gd name="connsiteY10" fmla="*/ 3100088 h 3920548"/>
              <a:gd name="connsiteX11" fmla="*/ 7026764 w 7726629"/>
              <a:gd name="connsiteY11" fmla="*/ 2999730 h 3920548"/>
              <a:gd name="connsiteX12" fmla="*/ 7063671 w 7726629"/>
              <a:gd name="connsiteY12" fmla="*/ 2907004 h 3920548"/>
              <a:gd name="connsiteX13" fmla="*/ 7602068 w 7726629"/>
              <a:gd name="connsiteY13" fmla="*/ 2896828 h 3920548"/>
              <a:gd name="connsiteX14" fmla="*/ 7726610 w 7726629"/>
              <a:gd name="connsiteY14" fmla="*/ 3023854 h 3920548"/>
              <a:gd name="connsiteX15" fmla="*/ 7716465 w 7726629"/>
              <a:gd name="connsiteY15" fmla="*/ 3562313 h 3920548"/>
              <a:gd name="connsiteX16" fmla="*/ 7623758 w 7726629"/>
              <a:gd name="connsiteY16" fmla="*/ 3599158 h 3920548"/>
              <a:gd name="connsiteX17" fmla="*/ 7485223 w 7726629"/>
              <a:gd name="connsiteY17" fmla="*/ 3460727 h 3920548"/>
              <a:gd name="connsiteX18" fmla="*/ 6450234 w 7726629"/>
              <a:gd name="connsiteY18" fmla="*/ 3911636 h 3920548"/>
              <a:gd name="connsiteX19" fmla="*/ 4124876 w 7726629"/>
              <a:gd name="connsiteY19" fmla="*/ 2639003 h 3920548"/>
              <a:gd name="connsiteX20" fmla="*/ 3949608 w 7726629"/>
              <a:gd name="connsiteY20" fmla="*/ 2457411 h 3920548"/>
              <a:gd name="connsiteX21" fmla="*/ 3394037 w 7726629"/>
              <a:gd name="connsiteY21" fmla="*/ 1877596 h 3920548"/>
              <a:gd name="connsiteX22" fmla="*/ 3264524 w 7726629"/>
              <a:gd name="connsiteY22" fmla="*/ 1742934 h 3920548"/>
              <a:gd name="connsiteX23" fmla="*/ 2002166 w 7726629"/>
              <a:gd name="connsiteY23" fmla="*/ 626688 h 3920548"/>
              <a:gd name="connsiteX24" fmla="*/ 427389 w 7726629"/>
              <a:gd name="connsiteY24" fmla="*/ 900950 h 3920548"/>
              <a:gd name="connsiteX25" fmla="*/ 134002 w 7726629"/>
              <a:gd name="connsiteY25" fmla="*/ 942886 h 3920548"/>
              <a:gd name="connsiteX26" fmla="*/ 89597 w 7726629"/>
              <a:gd name="connsiteY26" fmla="*/ 526321 h 3920548"/>
              <a:gd name="connsiteX27" fmla="*/ 1501102 w 7726629"/>
              <a:gd name="connsiteY27"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3584915 w 7726629"/>
              <a:gd name="connsiteY5" fmla="*/ 1602081 h 3920548"/>
              <a:gd name="connsiteX6" fmla="*/ 4314137 w 7726629"/>
              <a:gd name="connsiteY6" fmla="*/ 2108176 h 3920548"/>
              <a:gd name="connsiteX7" fmla="*/ 4457570 w 7726629"/>
              <a:gd name="connsiteY7" fmla="*/ 2259327 h 3920548"/>
              <a:gd name="connsiteX8" fmla="*/ 6414726 w 7726629"/>
              <a:gd name="connsiteY8" fmla="*/ 3407390 h 3920548"/>
              <a:gd name="connsiteX9" fmla="*/ 7127166 w 7726629"/>
              <a:gd name="connsiteY9" fmla="*/ 3100088 h 3920548"/>
              <a:gd name="connsiteX10" fmla="*/ 7026764 w 7726629"/>
              <a:gd name="connsiteY10" fmla="*/ 2999730 h 3920548"/>
              <a:gd name="connsiteX11" fmla="*/ 7063671 w 7726629"/>
              <a:gd name="connsiteY11" fmla="*/ 2907004 h 3920548"/>
              <a:gd name="connsiteX12" fmla="*/ 7602068 w 7726629"/>
              <a:gd name="connsiteY12" fmla="*/ 2896828 h 3920548"/>
              <a:gd name="connsiteX13" fmla="*/ 7726610 w 7726629"/>
              <a:gd name="connsiteY13" fmla="*/ 3023854 h 3920548"/>
              <a:gd name="connsiteX14" fmla="*/ 7716465 w 7726629"/>
              <a:gd name="connsiteY14" fmla="*/ 3562313 h 3920548"/>
              <a:gd name="connsiteX15" fmla="*/ 7623758 w 7726629"/>
              <a:gd name="connsiteY15" fmla="*/ 3599158 h 3920548"/>
              <a:gd name="connsiteX16" fmla="*/ 7485223 w 7726629"/>
              <a:gd name="connsiteY16" fmla="*/ 3460727 h 3920548"/>
              <a:gd name="connsiteX17" fmla="*/ 6450234 w 7726629"/>
              <a:gd name="connsiteY17" fmla="*/ 3911636 h 3920548"/>
              <a:gd name="connsiteX18" fmla="*/ 4124876 w 7726629"/>
              <a:gd name="connsiteY18" fmla="*/ 2639003 h 3920548"/>
              <a:gd name="connsiteX19" fmla="*/ 3949608 w 7726629"/>
              <a:gd name="connsiteY19" fmla="*/ 2457411 h 3920548"/>
              <a:gd name="connsiteX20" fmla="*/ 3394037 w 7726629"/>
              <a:gd name="connsiteY20" fmla="*/ 1877596 h 3920548"/>
              <a:gd name="connsiteX21" fmla="*/ 3264524 w 7726629"/>
              <a:gd name="connsiteY21" fmla="*/ 1742934 h 3920548"/>
              <a:gd name="connsiteX22" fmla="*/ 2002166 w 7726629"/>
              <a:gd name="connsiteY22" fmla="*/ 626688 h 3920548"/>
              <a:gd name="connsiteX23" fmla="*/ 427389 w 7726629"/>
              <a:gd name="connsiteY23" fmla="*/ 900950 h 3920548"/>
              <a:gd name="connsiteX24" fmla="*/ 134002 w 7726629"/>
              <a:gd name="connsiteY24" fmla="*/ 942886 h 3920548"/>
              <a:gd name="connsiteX25" fmla="*/ 89597 w 7726629"/>
              <a:gd name="connsiteY25" fmla="*/ 526321 h 3920548"/>
              <a:gd name="connsiteX26" fmla="*/ 1501102 w 7726629"/>
              <a:gd name="connsiteY26"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3630482 w 7726629"/>
              <a:gd name="connsiteY4" fmla="*/ 1573297 h 3920548"/>
              <a:gd name="connsiteX5" fmla="*/ 4314137 w 7726629"/>
              <a:gd name="connsiteY5" fmla="*/ 2108176 h 3920548"/>
              <a:gd name="connsiteX6" fmla="*/ 4457570 w 7726629"/>
              <a:gd name="connsiteY6" fmla="*/ 2259327 h 3920548"/>
              <a:gd name="connsiteX7" fmla="*/ 6414726 w 7726629"/>
              <a:gd name="connsiteY7" fmla="*/ 3407390 h 3920548"/>
              <a:gd name="connsiteX8" fmla="*/ 7127166 w 7726629"/>
              <a:gd name="connsiteY8" fmla="*/ 3100088 h 3920548"/>
              <a:gd name="connsiteX9" fmla="*/ 7026764 w 7726629"/>
              <a:gd name="connsiteY9" fmla="*/ 2999730 h 3920548"/>
              <a:gd name="connsiteX10" fmla="*/ 7063671 w 7726629"/>
              <a:gd name="connsiteY10" fmla="*/ 2907004 h 3920548"/>
              <a:gd name="connsiteX11" fmla="*/ 7602068 w 7726629"/>
              <a:gd name="connsiteY11" fmla="*/ 2896828 h 3920548"/>
              <a:gd name="connsiteX12" fmla="*/ 7726610 w 7726629"/>
              <a:gd name="connsiteY12" fmla="*/ 3023854 h 3920548"/>
              <a:gd name="connsiteX13" fmla="*/ 7716465 w 7726629"/>
              <a:gd name="connsiteY13" fmla="*/ 3562313 h 3920548"/>
              <a:gd name="connsiteX14" fmla="*/ 7623758 w 7726629"/>
              <a:gd name="connsiteY14" fmla="*/ 3599158 h 3920548"/>
              <a:gd name="connsiteX15" fmla="*/ 7485223 w 7726629"/>
              <a:gd name="connsiteY15" fmla="*/ 3460727 h 3920548"/>
              <a:gd name="connsiteX16" fmla="*/ 6450234 w 7726629"/>
              <a:gd name="connsiteY16" fmla="*/ 3911636 h 3920548"/>
              <a:gd name="connsiteX17" fmla="*/ 4124876 w 7726629"/>
              <a:gd name="connsiteY17" fmla="*/ 2639003 h 3920548"/>
              <a:gd name="connsiteX18" fmla="*/ 3949608 w 7726629"/>
              <a:gd name="connsiteY18" fmla="*/ 2457411 h 3920548"/>
              <a:gd name="connsiteX19" fmla="*/ 3394037 w 7726629"/>
              <a:gd name="connsiteY19" fmla="*/ 1877596 h 3920548"/>
              <a:gd name="connsiteX20" fmla="*/ 3264524 w 7726629"/>
              <a:gd name="connsiteY20" fmla="*/ 1742934 h 3920548"/>
              <a:gd name="connsiteX21" fmla="*/ 2002166 w 7726629"/>
              <a:gd name="connsiteY21" fmla="*/ 626688 h 3920548"/>
              <a:gd name="connsiteX22" fmla="*/ 427389 w 7726629"/>
              <a:gd name="connsiteY22" fmla="*/ 900950 h 3920548"/>
              <a:gd name="connsiteX23" fmla="*/ 134002 w 7726629"/>
              <a:gd name="connsiteY23" fmla="*/ 942886 h 3920548"/>
              <a:gd name="connsiteX24" fmla="*/ 89597 w 7726629"/>
              <a:gd name="connsiteY24" fmla="*/ 526321 h 3920548"/>
              <a:gd name="connsiteX25" fmla="*/ 1501102 w 7726629"/>
              <a:gd name="connsiteY25" fmla="*/ 914 h 3920548"/>
              <a:gd name="connsiteX0" fmla="*/ 1501102 w 7726629"/>
              <a:gd name="connsiteY0" fmla="*/ 914 h 3920548"/>
              <a:gd name="connsiteX1" fmla="*/ 2022430 w 7726629"/>
              <a:gd name="connsiteY1" fmla="*/ 93260 h 3920548"/>
              <a:gd name="connsiteX2" fmla="*/ 3602316 w 7726629"/>
              <a:gd name="connsiteY2" fmla="*/ 1367093 h 3920548"/>
              <a:gd name="connsiteX3" fmla="*/ 3755970 w 7726629"/>
              <a:gd name="connsiteY3" fmla="*/ 1527103 h 3920548"/>
              <a:gd name="connsiteX4" fmla="*/ 4314137 w 7726629"/>
              <a:gd name="connsiteY4" fmla="*/ 2108176 h 3920548"/>
              <a:gd name="connsiteX5" fmla="*/ 4457570 w 7726629"/>
              <a:gd name="connsiteY5" fmla="*/ 2259327 h 3920548"/>
              <a:gd name="connsiteX6" fmla="*/ 6414726 w 7726629"/>
              <a:gd name="connsiteY6" fmla="*/ 3407390 h 3920548"/>
              <a:gd name="connsiteX7" fmla="*/ 7127166 w 7726629"/>
              <a:gd name="connsiteY7" fmla="*/ 3100088 h 3920548"/>
              <a:gd name="connsiteX8" fmla="*/ 7026764 w 7726629"/>
              <a:gd name="connsiteY8" fmla="*/ 2999730 h 3920548"/>
              <a:gd name="connsiteX9" fmla="*/ 7063671 w 7726629"/>
              <a:gd name="connsiteY9" fmla="*/ 2907004 h 3920548"/>
              <a:gd name="connsiteX10" fmla="*/ 7602068 w 7726629"/>
              <a:gd name="connsiteY10" fmla="*/ 2896828 h 3920548"/>
              <a:gd name="connsiteX11" fmla="*/ 7726610 w 7726629"/>
              <a:gd name="connsiteY11" fmla="*/ 3023854 h 3920548"/>
              <a:gd name="connsiteX12" fmla="*/ 7716465 w 7726629"/>
              <a:gd name="connsiteY12" fmla="*/ 3562313 h 3920548"/>
              <a:gd name="connsiteX13" fmla="*/ 7623758 w 7726629"/>
              <a:gd name="connsiteY13" fmla="*/ 3599158 h 3920548"/>
              <a:gd name="connsiteX14" fmla="*/ 7485223 w 7726629"/>
              <a:gd name="connsiteY14" fmla="*/ 3460727 h 3920548"/>
              <a:gd name="connsiteX15" fmla="*/ 6450234 w 7726629"/>
              <a:gd name="connsiteY15" fmla="*/ 3911636 h 3920548"/>
              <a:gd name="connsiteX16" fmla="*/ 4124876 w 7726629"/>
              <a:gd name="connsiteY16" fmla="*/ 2639003 h 3920548"/>
              <a:gd name="connsiteX17" fmla="*/ 3949608 w 7726629"/>
              <a:gd name="connsiteY17" fmla="*/ 2457411 h 3920548"/>
              <a:gd name="connsiteX18" fmla="*/ 3394037 w 7726629"/>
              <a:gd name="connsiteY18" fmla="*/ 1877596 h 3920548"/>
              <a:gd name="connsiteX19" fmla="*/ 3264524 w 7726629"/>
              <a:gd name="connsiteY19" fmla="*/ 1742934 h 3920548"/>
              <a:gd name="connsiteX20" fmla="*/ 2002166 w 7726629"/>
              <a:gd name="connsiteY20" fmla="*/ 626688 h 3920548"/>
              <a:gd name="connsiteX21" fmla="*/ 427389 w 7726629"/>
              <a:gd name="connsiteY21" fmla="*/ 900950 h 3920548"/>
              <a:gd name="connsiteX22" fmla="*/ 134002 w 7726629"/>
              <a:gd name="connsiteY22" fmla="*/ 942886 h 3920548"/>
              <a:gd name="connsiteX23" fmla="*/ 89597 w 7726629"/>
              <a:gd name="connsiteY23" fmla="*/ 526321 h 3920548"/>
              <a:gd name="connsiteX24" fmla="*/ 1501102 w 7726629"/>
              <a:gd name="connsiteY24" fmla="*/ 914 h 392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26629" h="3920548">
                <a:moveTo>
                  <a:pt x="1501102" y="914"/>
                </a:moveTo>
                <a:cubicBezTo>
                  <a:pt x="1679131" y="6348"/>
                  <a:pt x="1855736" y="36111"/>
                  <a:pt x="2022430" y="93260"/>
                </a:cubicBezTo>
                <a:cubicBezTo>
                  <a:pt x="2559690" y="277407"/>
                  <a:pt x="2873341" y="570773"/>
                  <a:pt x="3602316" y="1367093"/>
                </a:cubicBezTo>
                <a:cubicBezTo>
                  <a:pt x="3617470" y="1383588"/>
                  <a:pt x="3675971" y="1444535"/>
                  <a:pt x="3755970" y="1527103"/>
                </a:cubicBezTo>
                <a:lnTo>
                  <a:pt x="4314137" y="2108176"/>
                </a:lnTo>
                <a:lnTo>
                  <a:pt x="4457570" y="2259327"/>
                </a:lnTo>
                <a:cubicBezTo>
                  <a:pt x="5153568" y="3021310"/>
                  <a:pt x="5746715" y="3515380"/>
                  <a:pt x="6414726" y="3407390"/>
                </a:cubicBezTo>
                <a:cubicBezTo>
                  <a:pt x="6779080" y="3347737"/>
                  <a:pt x="6991255" y="3211850"/>
                  <a:pt x="7127166" y="3100088"/>
                </a:cubicBezTo>
                <a:lnTo>
                  <a:pt x="7026764" y="2999730"/>
                </a:lnTo>
                <a:cubicBezTo>
                  <a:pt x="6977262" y="2950165"/>
                  <a:pt x="6993704" y="2908320"/>
                  <a:pt x="7063671" y="2907004"/>
                </a:cubicBezTo>
                <a:lnTo>
                  <a:pt x="7602068" y="2896828"/>
                </a:lnTo>
                <a:cubicBezTo>
                  <a:pt x="7672036" y="2895600"/>
                  <a:pt x="7727834" y="2952709"/>
                  <a:pt x="7726610" y="3023854"/>
                </a:cubicBezTo>
                <a:lnTo>
                  <a:pt x="7716465" y="3562313"/>
                </a:lnTo>
                <a:cubicBezTo>
                  <a:pt x="7715066" y="3632230"/>
                  <a:pt x="7673260" y="3648723"/>
                  <a:pt x="7623758" y="3599158"/>
                </a:cubicBezTo>
                <a:lnTo>
                  <a:pt x="7485223" y="3460727"/>
                </a:lnTo>
                <a:cubicBezTo>
                  <a:pt x="7266751" y="3643635"/>
                  <a:pt x="6873186" y="3873475"/>
                  <a:pt x="6450234" y="3911636"/>
                </a:cubicBezTo>
                <a:cubicBezTo>
                  <a:pt x="5440608" y="4003046"/>
                  <a:pt x="4829795" y="3378177"/>
                  <a:pt x="4124876" y="2639003"/>
                </a:cubicBezTo>
                <a:cubicBezTo>
                  <a:pt x="4122252" y="2637775"/>
                  <a:pt x="4051236" y="2562857"/>
                  <a:pt x="3949608" y="2457411"/>
                </a:cubicBezTo>
                <a:lnTo>
                  <a:pt x="3394037" y="1877596"/>
                </a:lnTo>
                <a:lnTo>
                  <a:pt x="3264524" y="1742934"/>
                </a:lnTo>
                <a:cubicBezTo>
                  <a:pt x="2567267" y="981002"/>
                  <a:pt x="2356521" y="793035"/>
                  <a:pt x="2002166" y="626688"/>
                </a:cubicBezTo>
                <a:cubicBezTo>
                  <a:pt x="1498033" y="389143"/>
                  <a:pt x="826149" y="513647"/>
                  <a:pt x="427389" y="900950"/>
                </a:cubicBezTo>
                <a:cubicBezTo>
                  <a:pt x="349857" y="975876"/>
                  <a:pt x="229331" y="993676"/>
                  <a:pt x="134002" y="942886"/>
                </a:cubicBezTo>
                <a:cubicBezTo>
                  <a:pt x="-19652" y="861623"/>
                  <a:pt x="-50136" y="644394"/>
                  <a:pt x="89597" y="526321"/>
                </a:cubicBezTo>
                <a:cubicBezTo>
                  <a:pt x="420121" y="187267"/>
                  <a:pt x="967017" y="-15389"/>
                  <a:pt x="1501102" y="914"/>
                </a:cubicBezTo>
                <a:close/>
              </a:path>
            </a:pathLst>
          </a:custGeom>
          <a:solidFill>
            <a:srgbClr val="E6D0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ZA" sz="2999" kern="0">
              <a:solidFill>
                <a:srgbClr val="FFFFFF"/>
              </a:solidFill>
              <a:latin typeface="EYInterstate Regular" panose="02000503020000020004" pitchFamily="2" charset="0"/>
            </a:endParaRPr>
          </a:p>
        </p:txBody>
      </p:sp>
      <p:sp>
        <p:nvSpPr>
          <p:cNvPr id="35" name="Oval 34">
            <a:extLst>
              <a:ext uri="{FF2B5EF4-FFF2-40B4-BE49-F238E27FC236}">
                <a16:creationId xmlns:a16="http://schemas.microsoft.com/office/drawing/2014/main" id="{4D9FCF22-0119-BC68-814A-4ACFC148CA14}"/>
              </a:ext>
            </a:extLst>
          </p:cNvPr>
          <p:cNvSpPr>
            <a:spLocks noChangeAspect="1"/>
          </p:cNvSpPr>
          <p:nvPr/>
        </p:nvSpPr>
        <p:spPr>
          <a:xfrm>
            <a:off x="4054347" y="1859664"/>
            <a:ext cx="455477" cy="455477"/>
          </a:xfrm>
          <a:prstGeom prst="ellipse">
            <a:avLst/>
          </a:prstGeom>
          <a:solidFill>
            <a:schemeClr val="bg1">
              <a:lumMod val="85000"/>
            </a:schemeClr>
          </a:solidFill>
          <a:ln w="12700" cap="flat" cmpd="sng" algn="ctr">
            <a:noFill/>
            <a:prstDash val="solid"/>
            <a:miter lim="800000"/>
          </a:ln>
          <a:effectLst/>
        </p:spPr>
        <p:txBody>
          <a:bodyPr lIns="0" rIns="0" rtlCol="0" anchor="ctr"/>
          <a:lstStyle/>
          <a:p>
            <a:pPr algn="ctr">
              <a:defRPr/>
            </a:pPr>
            <a:r>
              <a:rPr lang="en-US" sz="1399" b="1" kern="0">
                <a:solidFill>
                  <a:schemeClr val="bg2"/>
                </a:solidFill>
                <a:latin typeface="EYInterstate Regular" panose="02000503020000020004" pitchFamily="2" charset="0"/>
              </a:rPr>
              <a:t>01</a:t>
            </a:r>
          </a:p>
        </p:txBody>
      </p:sp>
      <p:sp>
        <p:nvSpPr>
          <p:cNvPr id="36" name="Oval 35">
            <a:extLst>
              <a:ext uri="{FF2B5EF4-FFF2-40B4-BE49-F238E27FC236}">
                <a16:creationId xmlns:a16="http://schemas.microsoft.com/office/drawing/2014/main" id="{61AC1993-6082-0009-9370-72E10272EEE9}"/>
              </a:ext>
            </a:extLst>
          </p:cNvPr>
          <p:cNvSpPr>
            <a:spLocks noChangeAspect="1"/>
          </p:cNvSpPr>
          <p:nvPr/>
        </p:nvSpPr>
        <p:spPr>
          <a:xfrm>
            <a:off x="6756552" y="1834979"/>
            <a:ext cx="455477" cy="455477"/>
          </a:xfrm>
          <a:prstGeom prst="ellipse">
            <a:avLst/>
          </a:prstGeom>
          <a:solidFill>
            <a:schemeClr val="bg1">
              <a:lumMod val="85000"/>
            </a:schemeClr>
          </a:solidFill>
          <a:ln w="12700" cap="flat" cmpd="sng" algn="ctr">
            <a:noFill/>
            <a:prstDash val="solid"/>
            <a:miter lim="800000"/>
          </a:ln>
          <a:effectLst/>
        </p:spPr>
        <p:txBody>
          <a:bodyPr lIns="0" rIns="0" rtlCol="0" anchor="ctr"/>
          <a:lstStyle/>
          <a:p>
            <a:pPr algn="ctr">
              <a:defRPr/>
            </a:pPr>
            <a:r>
              <a:rPr lang="en-US" sz="1399" b="1" kern="0">
                <a:solidFill>
                  <a:schemeClr val="bg2"/>
                </a:solidFill>
                <a:latin typeface="EYInterstate Regular" panose="02000503020000020004" pitchFamily="2" charset="0"/>
              </a:rPr>
              <a:t>02</a:t>
            </a:r>
          </a:p>
        </p:txBody>
      </p:sp>
      <p:sp>
        <p:nvSpPr>
          <p:cNvPr id="38" name="Oval 37">
            <a:extLst>
              <a:ext uri="{FF2B5EF4-FFF2-40B4-BE49-F238E27FC236}">
                <a16:creationId xmlns:a16="http://schemas.microsoft.com/office/drawing/2014/main" id="{17378607-B6A8-E0F8-97D3-6784D85F8DAB}"/>
              </a:ext>
            </a:extLst>
          </p:cNvPr>
          <p:cNvSpPr>
            <a:spLocks noChangeAspect="1"/>
          </p:cNvSpPr>
          <p:nvPr/>
        </p:nvSpPr>
        <p:spPr>
          <a:xfrm>
            <a:off x="9728849" y="1811564"/>
            <a:ext cx="455477" cy="455477"/>
          </a:xfrm>
          <a:prstGeom prst="ellipse">
            <a:avLst/>
          </a:prstGeom>
          <a:solidFill>
            <a:schemeClr val="bg1">
              <a:lumMod val="85000"/>
            </a:schemeClr>
          </a:solidFill>
          <a:ln w="12700" cap="flat" cmpd="sng" algn="ctr">
            <a:noFill/>
            <a:prstDash val="solid"/>
            <a:miter lim="800000"/>
          </a:ln>
          <a:effectLst/>
        </p:spPr>
        <p:txBody>
          <a:bodyPr lIns="0" rIns="0" rtlCol="0" anchor="ctr"/>
          <a:lstStyle/>
          <a:p>
            <a:pPr algn="ctr">
              <a:defRPr/>
            </a:pPr>
            <a:r>
              <a:rPr lang="en-US" sz="1399" b="1" kern="0">
                <a:solidFill>
                  <a:schemeClr val="bg2"/>
                </a:solidFill>
                <a:latin typeface="EYInterstate Regular" panose="02000503020000020004" pitchFamily="2" charset="0"/>
              </a:rPr>
              <a:t>03</a:t>
            </a:r>
          </a:p>
        </p:txBody>
      </p:sp>
      <p:sp>
        <p:nvSpPr>
          <p:cNvPr id="97" name="Content Placeholder 2" descr="Progress Diagram.">
            <a:extLst>
              <a:ext uri="{FF2B5EF4-FFF2-40B4-BE49-F238E27FC236}">
                <a16:creationId xmlns:a16="http://schemas.microsoft.com/office/drawing/2014/main" id="{95A80C10-CDC4-E3DF-114A-D499C4E20C09}"/>
              </a:ext>
            </a:extLst>
          </p:cNvPr>
          <p:cNvSpPr txBox="1">
            <a:spLocks/>
          </p:cNvSpPr>
          <p:nvPr/>
        </p:nvSpPr>
        <p:spPr>
          <a:xfrm>
            <a:off x="5184522" y="3398109"/>
            <a:ext cx="2750741" cy="1739287"/>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029">
              <a:spcAft>
                <a:spcPts val="300"/>
              </a:spcAft>
              <a:buNone/>
              <a:defRPr/>
            </a:pPr>
            <a:r>
              <a:rPr lang="en-GB" sz="1099" b="1" kern="0">
                <a:solidFill>
                  <a:srgbClr val="FFE600"/>
                </a:solidFill>
                <a:latin typeface="EYInterstate Light"/>
              </a:rPr>
              <a:t>Phase 2: Transition &amp; Operation handover</a:t>
            </a:r>
          </a:p>
          <a:p>
            <a:pPr marL="0" indent="0" algn="ctr">
              <a:spcAft>
                <a:spcPts val="300"/>
              </a:spcAft>
              <a:buClr>
                <a:srgbClr val="2E2E38"/>
              </a:buClr>
              <a:buSzPct val="100000"/>
              <a:buNone/>
            </a:pPr>
            <a:endParaRPr lang="en-GB" sz="1099"/>
          </a:p>
          <a:p>
            <a:pPr defTabSz="913029">
              <a:defRPr/>
            </a:pPr>
            <a:r>
              <a:rPr lang="en-GB" sz="1099"/>
              <a:t>Run discovery workshops and validate designs, access lists, and baselines.</a:t>
            </a:r>
          </a:p>
          <a:p>
            <a:pPr defTabSz="913029">
              <a:defRPr/>
            </a:pPr>
            <a:r>
              <a:rPr lang="en-GB" sz="1099"/>
              <a:t>Document IT/OT infrastructure, integrations, and critical systems.</a:t>
            </a:r>
          </a:p>
          <a:p>
            <a:pPr defTabSz="913029">
              <a:defRPr/>
            </a:pPr>
            <a:r>
              <a:rPr lang="en-GB" sz="1099"/>
              <a:t>Provision RBAC for ITSM, security, and monitoring platforms per policy.</a:t>
            </a:r>
          </a:p>
          <a:p>
            <a:pPr defTabSz="913029">
              <a:defRPr/>
            </a:pPr>
            <a:r>
              <a:rPr lang="en-GB" sz="1099"/>
              <a:t>Set performance baselines and finalize L2/L3 resource deployment.</a:t>
            </a:r>
          </a:p>
        </p:txBody>
      </p:sp>
      <p:sp>
        <p:nvSpPr>
          <p:cNvPr id="98" name="Freeform: Shape 97">
            <a:extLst>
              <a:ext uri="{FF2B5EF4-FFF2-40B4-BE49-F238E27FC236}">
                <a16:creationId xmlns:a16="http://schemas.microsoft.com/office/drawing/2014/main" id="{F37759AD-4793-D0CE-83B3-D6CCBFC3844A}"/>
              </a:ext>
            </a:extLst>
          </p:cNvPr>
          <p:cNvSpPr>
            <a:spLocks noChangeAspect="1"/>
          </p:cNvSpPr>
          <p:nvPr/>
        </p:nvSpPr>
        <p:spPr>
          <a:xfrm>
            <a:off x="8494244" y="982097"/>
            <a:ext cx="1667347" cy="633270"/>
          </a:xfrm>
          <a:custGeom>
            <a:avLst/>
            <a:gdLst>
              <a:gd name="connsiteX0" fmla="*/ 1169078 w 2517798"/>
              <a:gd name="connsiteY0" fmla="*/ 810 h 956275"/>
              <a:gd name="connsiteX1" fmla="*/ 1698218 w 2517798"/>
              <a:gd name="connsiteY1" fmla="*/ 71876 h 956275"/>
              <a:gd name="connsiteX2" fmla="*/ 2319051 w 2517798"/>
              <a:gd name="connsiteY2" fmla="*/ 410970 h 956275"/>
              <a:gd name="connsiteX3" fmla="*/ 2460574 w 2517798"/>
              <a:gd name="connsiteY3" fmla="*/ 288229 h 956275"/>
              <a:gd name="connsiteX4" fmla="*/ 2515670 w 2517798"/>
              <a:gd name="connsiteY4" fmla="*/ 313006 h 956275"/>
              <a:gd name="connsiteX5" fmla="*/ 2517798 w 2517798"/>
              <a:gd name="connsiteY5" fmla="*/ 893184 h 956275"/>
              <a:gd name="connsiteX6" fmla="*/ 2446504 w 2517798"/>
              <a:gd name="connsiteY6" fmla="*/ 955608 h 956275"/>
              <a:gd name="connsiteX7" fmla="*/ 1869890 w 2517798"/>
              <a:gd name="connsiteY7" fmla="*/ 874911 h 956275"/>
              <a:gd name="connsiteX8" fmla="*/ 1852628 w 2517798"/>
              <a:gd name="connsiteY8" fmla="*/ 817846 h 956275"/>
              <a:gd name="connsiteX9" fmla="*/ 1988713 w 2517798"/>
              <a:gd name="connsiteY9" fmla="*/ 699456 h 956275"/>
              <a:gd name="connsiteX10" fmla="*/ 1643122 w 2517798"/>
              <a:gd name="connsiteY10" fmla="*/ 505682 h 956275"/>
              <a:gd name="connsiteX11" fmla="*/ 817040 w 2517798"/>
              <a:gd name="connsiteY11" fmla="*/ 491667 h 956275"/>
              <a:gd name="connsiteX12" fmla="*/ 293393 w 2517798"/>
              <a:gd name="connsiteY12" fmla="*/ 808136 h 956275"/>
              <a:gd name="connsiteX13" fmla="*/ 103277 w 2517798"/>
              <a:gd name="connsiteY13" fmla="*/ 793068 h 956275"/>
              <a:gd name="connsiteX14" fmla="*/ 65561 w 2517798"/>
              <a:gd name="connsiteY14" fmla="*/ 455074 h 956275"/>
              <a:gd name="connsiteX15" fmla="*/ 811719 w 2517798"/>
              <a:gd name="connsiteY15" fmla="*/ 48198 h 956275"/>
              <a:gd name="connsiteX16" fmla="*/ 1169078 w 2517798"/>
              <a:gd name="connsiteY16" fmla="*/ 810 h 95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7798" h="956275">
                <a:moveTo>
                  <a:pt x="1169078" y="810"/>
                </a:moveTo>
                <a:cubicBezTo>
                  <a:pt x="1362035" y="-5080"/>
                  <a:pt x="1542966" y="21412"/>
                  <a:pt x="1698218" y="71876"/>
                </a:cubicBezTo>
                <a:cubicBezTo>
                  <a:pt x="1957381" y="148314"/>
                  <a:pt x="2204603" y="319464"/>
                  <a:pt x="2319051" y="410970"/>
                </a:cubicBezTo>
                <a:lnTo>
                  <a:pt x="2460574" y="288229"/>
                </a:lnTo>
                <a:cubicBezTo>
                  <a:pt x="2490841" y="262399"/>
                  <a:pt x="2515670" y="273162"/>
                  <a:pt x="2515670" y="313006"/>
                </a:cubicBezTo>
                <a:lnTo>
                  <a:pt x="2517798" y="893184"/>
                </a:lnTo>
                <a:cubicBezTo>
                  <a:pt x="2517798" y="933029"/>
                  <a:pt x="2485402" y="961012"/>
                  <a:pt x="2446504" y="955608"/>
                </a:cubicBezTo>
                <a:lnTo>
                  <a:pt x="1869890" y="874911"/>
                </a:lnTo>
                <a:cubicBezTo>
                  <a:pt x="1830992" y="869507"/>
                  <a:pt x="1822361" y="843676"/>
                  <a:pt x="1852628" y="817846"/>
                </a:cubicBezTo>
                <a:lnTo>
                  <a:pt x="1988713" y="699456"/>
                </a:lnTo>
                <a:cubicBezTo>
                  <a:pt x="1902286" y="636986"/>
                  <a:pt x="1778142" y="556289"/>
                  <a:pt x="1643122" y="505682"/>
                </a:cubicBezTo>
                <a:cubicBezTo>
                  <a:pt x="1364569" y="401261"/>
                  <a:pt x="1065444" y="406665"/>
                  <a:pt x="817040" y="491667"/>
                </a:cubicBezTo>
                <a:cubicBezTo>
                  <a:pt x="480199" y="606851"/>
                  <a:pt x="383012" y="772642"/>
                  <a:pt x="293393" y="808136"/>
                </a:cubicBezTo>
                <a:cubicBezTo>
                  <a:pt x="231794" y="832913"/>
                  <a:pt x="159437" y="827555"/>
                  <a:pt x="103277" y="793068"/>
                </a:cubicBezTo>
                <a:cubicBezTo>
                  <a:pt x="-16610" y="720981"/>
                  <a:pt x="-36000" y="550885"/>
                  <a:pt x="65561" y="455074"/>
                </a:cubicBezTo>
                <a:cubicBezTo>
                  <a:pt x="258751" y="261346"/>
                  <a:pt x="588144" y="93402"/>
                  <a:pt x="811719" y="48198"/>
                </a:cubicBezTo>
                <a:cubicBezTo>
                  <a:pt x="933202" y="19534"/>
                  <a:pt x="1053305" y="4343"/>
                  <a:pt x="1169078" y="810"/>
                </a:cubicBezTo>
                <a:close/>
              </a:path>
            </a:pathLst>
          </a:custGeom>
          <a:solidFill>
            <a:srgbClr val="AC9C00"/>
          </a:solidFill>
          <a:ln w="25400" cap="flat">
            <a:noFill/>
            <a:prstDash val="solid"/>
            <a:miter lim="400000"/>
          </a:ln>
          <a:effectLst/>
          <a:sp3d/>
        </p:spPr>
        <p:txBody>
          <a:bodyPr rot="0" spcFirstLastPara="1" vertOverflow="overflow" horzOverflow="overflow" vert="horz" wrap="square" lIns="38080" tIns="38080" rIns="38080" bIns="38080" numCol="1" spcCol="38100" rtlCol="0" fromWordArt="0" anchor="ctr" anchorCtr="0" forceAA="0" compatLnSpc="1">
            <a:prstTxWarp prst="textNoShape">
              <a:avLst/>
            </a:prstTxWarp>
            <a:noAutofit/>
          </a:bodyPr>
          <a:lstStyle/>
          <a:p>
            <a:pPr>
              <a:defRPr/>
            </a:pPr>
            <a:endParaRPr lang="en-US" sz="2999" kern="0">
              <a:solidFill>
                <a:srgbClr val="FFFFFF"/>
              </a:solidFill>
              <a:latin typeface="EYInterstate Regular" panose="02000503020000020004" pitchFamily="2" charset="0"/>
            </a:endParaRPr>
          </a:p>
        </p:txBody>
      </p:sp>
      <p:grpSp>
        <p:nvGrpSpPr>
          <p:cNvPr id="101" name="Group 108">
            <a:extLst>
              <a:ext uri="{FF2B5EF4-FFF2-40B4-BE49-F238E27FC236}">
                <a16:creationId xmlns:a16="http://schemas.microsoft.com/office/drawing/2014/main" id="{298D1690-536D-59A8-C955-7CF13842F9AF}"/>
              </a:ext>
            </a:extLst>
          </p:cNvPr>
          <p:cNvGrpSpPr>
            <a:grpSpLocks noChangeAspect="1"/>
          </p:cNvGrpSpPr>
          <p:nvPr/>
        </p:nvGrpSpPr>
        <p:grpSpPr bwMode="auto">
          <a:xfrm>
            <a:off x="9033455" y="1832349"/>
            <a:ext cx="493087" cy="458141"/>
            <a:chOff x="3164" y="3022"/>
            <a:chExt cx="762" cy="708"/>
          </a:xfrm>
          <a:solidFill>
            <a:schemeClr val="bg1"/>
          </a:solidFill>
        </p:grpSpPr>
        <p:sp>
          <p:nvSpPr>
            <p:cNvPr id="102" name="Freeform 109">
              <a:extLst>
                <a:ext uri="{FF2B5EF4-FFF2-40B4-BE49-F238E27FC236}">
                  <a16:creationId xmlns:a16="http://schemas.microsoft.com/office/drawing/2014/main" id="{641714A2-F2C3-73D9-8B15-2EC86B8D32C4}"/>
                </a:ext>
              </a:extLst>
            </p:cNvPr>
            <p:cNvSpPr>
              <a:spLocks noEditPoints="1"/>
            </p:cNvSpPr>
            <p:nvPr/>
          </p:nvSpPr>
          <p:spPr bwMode="auto">
            <a:xfrm>
              <a:off x="3164" y="3022"/>
              <a:ext cx="762" cy="506"/>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3" name="Freeform 110">
              <a:extLst>
                <a:ext uri="{FF2B5EF4-FFF2-40B4-BE49-F238E27FC236}">
                  <a16:creationId xmlns:a16="http://schemas.microsoft.com/office/drawing/2014/main" id="{5B4A7AB7-1FA0-E475-DB05-44B9B3B7802E}"/>
                </a:ext>
              </a:extLst>
            </p:cNvPr>
            <p:cNvSpPr>
              <a:spLocks noEditPoints="1"/>
            </p:cNvSpPr>
            <p:nvPr/>
          </p:nvSpPr>
          <p:spPr bwMode="auto">
            <a:xfrm>
              <a:off x="3164" y="3510"/>
              <a:ext cx="762" cy="116"/>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4" name="Rectangle 111">
              <a:extLst>
                <a:ext uri="{FF2B5EF4-FFF2-40B4-BE49-F238E27FC236}">
                  <a16:creationId xmlns:a16="http://schemas.microsoft.com/office/drawing/2014/main" id="{F5267C28-9059-9DA6-B702-0C750D164C10}"/>
                </a:ext>
              </a:extLst>
            </p:cNvPr>
            <p:cNvSpPr>
              <a:spLocks noChangeArrowheads="1"/>
            </p:cNvSpPr>
            <p:nvPr/>
          </p:nvSpPr>
          <p:spPr bwMode="auto">
            <a:xfrm>
              <a:off x="3500" y="3554"/>
              <a:ext cx="9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5" name="Freeform 112">
              <a:extLst>
                <a:ext uri="{FF2B5EF4-FFF2-40B4-BE49-F238E27FC236}">
                  <a16:creationId xmlns:a16="http://schemas.microsoft.com/office/drawing/2014/main" id="{D9FCA496-5110-3974-D96E-46482D95618F}"/>
                </a:ext>
              </a:extLst>
            </p:cNvPr>
            <p:cNvSpPr>
              <a:spLocks noEditPoints="1"/>
            </p:cNvSpPr>
            <p:nvPr/>
          </p:nvSpPr>
          <p:spPr bwMode="auto">
            <a:xfrm>
              <a:off x="3434" y="3608"/>
              <a:ext cx="222" cy="122"/>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6" name="Rectangle 113">
              <a:extLst>
                <a:ext uri="{FF2B5EF4-FFF2-40B4-BE49-F238E27FC236}">
                  <a16:creationId xmlns:a16="http://schemas.microsoft.com/office/drawing/2014/main" id="{C749F332-8895-C6D6-0405-80F8408C6816}"/>
                </a:ext>
              </a:extLst>
            </p:cNvPr>
            <p:cNvSpPr>
              <a:spLocks noChangeArrowheads="1"/>
            </p:cNvSpPr>
            <p:nvPr/>
          </p:nvSpPr>
          <p:spPr bwMode="auto">
            <a:xfrm>
              <a:off x="3352" y="37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7" name="Freeform 114">
              <a:extLst>
                <a:ext uri="{FF2B5EF4-FFF2-40B4-BE49-F238E27FC236}">
                  <a16:creationId xmlns:a16="http://schemas.microsoft.com/office/drawing/2014/main" id="{432C0950-83F8-1C2D-9401-E7C30987BE9D}"/>
                </a:ext>
              </a:extLst>
            </p:cNvPr>
            <p:cNvSpPr>
              <a:spLocks noEditPoints="1"/>
            </p:cNvSpPr>
            <p:nvPr/>
          </p:nvSpPr>
          <p:spPr bwMode="auto">
            <a:xfrm>
              <a:off x="3224"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8" name="Freeform 115">
              <a:extLst>
                <a:ext uri="{FF2B5EF4-FFF2-40B4-BE49-F238E27FC236}">
                  <a16:creationId xmlns:a16="http://schemas.microsoft.com/office/drawing/2014/main" id="{C0C6686D-EAAD-3AEC-E37B-4B111C9F1177}"/>
                </a:ext>
              </a:extLst>
            </p:cNvPr>
            <p:cNvSpPr>
              <a:spLocks noEditPoints="1"/>
            </p:cNvSpPr>
            <p:nvPr/>
          </p:nvSpPr>
          <p:spPr bwMode="auto">
            <a:xfrm>
              <a:off x="3430"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09" name="Rectangle 116">
              <a:extLst>
                <a:ext uri="{FF2B5EF4-FFF2-40B4-BE49-F238E27FC236}">
                  <a16:creationId xmlns:a16="http://schemas.microsoft.com/office/drawing/2014/main" id="{F16A2E5F-C437-E723-158F-50D1F798EB23}"/>
                </a:ext>
              </a:extLst>
            </p:cNvPr>
            <p:cNvSpPr>
              <a:spLocks noChangeArrowheads="1"/>
            </p:cNvSpPr>
            <p:nvPr/>
          </p:nvSpPr>
          <p:spPr bwMode="auto">
            <a:xfrm>
              <a:off x="3636" y="3088"/>
              <a:ext cx="2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0" name="Rectangle 117">
              <a:extLst>
                <a:ext uri="{FF2B5EF4-FFF2-40B4-BE49-F238E27FC236}">
                  <a16:creationId xmlns:a16="http://schemas.microsoft.com/office/drawing/2014/main" id="{654E776B-1538-6B39-E30B-0B27E14EDF38}"/>
                </a:ext>
              </a:extLst>
            </p:cNvPr>
            <p:cNvSpPr>
              <a:spLocks noChangeArrowheads="1"/>
            </p:cNvSpPr>
            <p:nvPr/>
          </p:nvSpPr>
          <p:spPr bwMode="auto">
            <a:xfrm>
              <a:off x="3236" y="3440"/>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1" name="Rectangle 118">
              <a:extLst>
                <a:ext uri="{FF2B5EF4-FFF2-40B4-BE49-F238E27FC236}">
                  <a16:creationId xmlns:a16="http://schemas.microsoft.com/office/drawing/2014/main" id="{8C7491AA-5ADD-2D36-1437-E5BE16CDFFB6}"/>
                </a:ext>
              </a:extLst>
            </p:cNvPr>
            <p:cNvSpPr>
              <a:spLocks noChangeArrowheads="1"/>
            </p:cNvSpPr>
            <p:nvPr/>
          </p:nvSpPr>
          <p:spPr bwMode="auto">
            <a:xfrm>
              <a:off x="3284" y="3422"/>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2" name="Rectangle 119">
              <a:extLst>
                <a:ext uri="{FF2B5EF4-FFF2-40B4-BE49-F238E27FC236}">
                  <a16:creationId xmlns:a16="http://schemas.microsoft.com/office/drawing/2014/main" id="{944498AC-FB6A-1482-82D8-79D9BA2ADF86}"/>
                </a:ext>
              </a:extLst>
            </p:cNvPr>
            <p:cNvSpPr>
              <a:spLocks noChangeArrowheads="1"/>
            </p:cNvSpPr>
            <p:nvPr/>
          </p:nvSpPr>
          <p:spPr bwMode="auto">
            <a:xfrm>
              <a:off x="3330" y="3374"/>
              <a:ext cx="18"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3" name="Rectangle 120">
              <a:extLst>
                <a:ext uri="{FF2B5EF4-FFF2-40B4-BE49-F238E27FC236}">
                  <a16:creationId xmlns:a16="http://schemas.microsoft.com/office/drawing/2014/main" id="{B17841F8-76FE-8C8B-4D97-CCC87B80B0B6}"/>
                </a:ext>
              </a:extLst>
            </p:cNvPr>
            <p:cNvSpPr>
              <a:spLocks noChangeArrowheads="1"/>
            </p:cNvSpPr>
            <p:nvPr/>
          </p:nvSpPr>
          <p:spPr bwMode="auto">
            <a:xfrm>
              <a:off x="337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4" name="Rectangle 121">
              <a:extLst>
                <a:ext uri="{FF2B5EF4-FFF2-40B4-BE49-F238E27FC236}">
                  <a16:creationId xmlns:a16="http://schemas.microsoft.com/office/drawing/2014/main" id="{ECF18720-BA02-0ECD-C119-21FE748D6649}"/>
                </a:ext>
              </a:extLst>
            </p:cNvPr>
            <p:cNvSpPr>
              <a:spLocks noChangeArrowheads="1"/>
            </p:cNvSpPr>
            <p:nvPr/>
          </p:nvSpPr>
          <p:spPr bwMode="auto">
            <a:xfrm>
              <a:off x="3422"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5" name="Rectangle 122">
              <a:extLst>
                <a:ext uri="{FF2B5EF4-FFF2-40B4-BE49-F238E27FC236}">
                  <a16:creationId xmlns:a16="http://schemas.microsoft.com/office/drawing/2014/main" id="{01BD0C3F-C0C4-1F0D-2CAC-54B59A1FB4FC}"/>
                </a:ext>
              </a:extLst>
            </p:cNvPr>
            <p:cNvSpPr>
              <a:spLocks noChangeArrowheads="1"/>
            </p:cNvSpPr>
            <p:nvPr/>
          </p:nvSpPr>
          <p:spPr bwMode="auto">
            <a:xfrm>
              <a:off x="3468"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6" name="Rectangle 123">
              <a:extLst>
                <a:ext uri="{FF2B5EF4-FFF2-40B4-BE49-F238E27FC236}">
                  <a16:creationId xmlns:a16="http://schemas.microsoft.com/office/drawing/2014/main" id="{7AC439CE-945D-2A31-0D0E-6EBFAC45BBAF}"/>
                </a:ext>
              </a:extLst>
            </p:cNvPr>
            <p:cNvSpPr>
              <a:spLocks noChangeArrowheads="1"/>
            </p:cNvSpPr>
            <p:nvPr/>
          </p:nvSpPr>
          <p:spPr bwMode="auto">
            <a:xfrm>
              <a:off x="3514" y="3332"/>
              <a:ext cx="18"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7" name="Rectangle 124">
              <a:extLst>
                <a:ext uri="{FF2B5EF4-FFF2-40B4-BE49-F238E27FC236}">
                  <a16:creationId xmlns:a16="http://schemas.microsoft.com/office/drawing/2014/main" id="{E573E7DF-ED38-52DD-FDEE-C7BDF4F6AD04}"/>
                </a:ext>
              </a:extLst>
            </p:cNvPr>
            <p:cNvSpPr>
              <a:spLocks noChangeArrowheads="1"/>
            </p:cNvSpPr>
            <p:nvPr/>
          </p:nvSpPr>
          <p:spPr bwMode="auto">
            <a:xfrm>
              <a:off x="3560" y="3370"/>
              <a:ext cx="18"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8" name="Rectangle 125">
              <a:extLst>
                <a:ext uri="{FF2B5EF4-FFF2-40B4-BE49-F238E27FC236}">
                  <a16:creationId xmlns:a16="http://schemas.microsoft.com/office/drawing/2014/main" id="{5415D09C-1F43-C8F0-0716-1018BF44A338}"/>
                </a:ext>
              </a:extLst>
            </p:cNvPr>
            <p:cNvSpPr>
              <a:spLocks noChangeArrowheads="1"/>
            </p:cNvSpPr>
            <p:nvPr/>
          </p:nvSpPr>
          <p:spPr bwMode="auto">
            <a:xfrm>
              <a:off x="3606"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19" name="Rectangle 126">
              <a:extLst>
                <a:ext uri="{FF2B5EF4-FFF2-40B4-BE49-F238E27FC236}">
                  <a16:creationId xmlns:a16="http://schemas.microsoft.com/office/drawing/2014/main" id="{37381F24-09E5-764F-2356-44F2C155B43F}"/>
                </a:ext>
              </a:extLst>
            </p:cNvPr>
            <p:cNvSpPr>
              <a:spLocks noChangeArrowheads="1"/>
            </p:cNvSpPr>
            <p:nvPr/>
          </p:nvSpPr>
          <p:spPr bwMode="auto">
            <a:xfrm>
              <a:off x="3652"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0" name="Rectangle 127">
              <a:extLst>
                <a:ext uri="{FF2B5EF4-FFF2-40B4-BE49-F238E27FC236}">
                  <a16:creationId xmlns:a16="http://schemas.microsoft.com/office/drawing/2014/main" id="{A768E0A8-4099-B94D-97FE-AAAFD047FC2E}"/>
                </a:ext>
              </a:extLst>
            </p:cNvPr>
            <p:cNvSpPr>
              <a:spLocks noChangeArrowheads="1"/>
            </p:cNvSpPr>
            <p:nvPr/>
          </p:nvSpPr>
          <p:spPr bwMode="auto">
            <a:xfrm>
              <a:off x="3698" y="3380"/>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1" name="Rectangle 128">
              <a:extLst>
                <a:ext uri="{FF2B5EF4-FFF2-40B4-BE49-F238E27FC236}">
                  <a16:creationId xmlns:a16="http://schemas.microsoft.com/office/drawing/2014/main" id="{0D159AEC-E481-87B1-2D93-B7BF6A7F7585}"/>
                </a:ext>
              </a:extLst>
            </p:cNvPr>
            <p:cNvSpPr>
              <a:spLocks noChangeArrowheads="1"/>
            </p:cNvSpPr>
            <p:nvPr/>
          </p:nvSpPr>
          <p:spPr bwMode="auto">
            <a:xfrm>
              <a:off x="3744" y="3274"/>
              <a:ext cx="18" cy="1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2" name="Rectangle 129">
              <a:extLst>
                <a:ext uri="{FF2B5EF4-FFF2-40B4-BE49-F238E27FC236}">
                  <a16:creationId xmlns:a16="http://schemas.microsoft.com/office/drawing/2014/main" id="{AC0F5CC8-E94B-06BD-1637-12A46EAE7A63}"/>
                </a:ext>
              </a:extLst>
            </p:cNvPr>
            <p:cNvSpPr>
              <a:spLocks noChangeArrowheads="1"/>
            </p:cNvSpPr>
            <p:nvPr/>
          </p:nvSpPr>
          <p:spPr bwMode="auto">
            <a:xfrm>
              <a:off x="3790"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3" name="Rectangle 130">
              <a:extLst>
                <a:ext uri="{FF2B5EF4-FFF2-40B4-BE49-F238E27FC236}">
                  <a16:creationId xmlns:a16="http://schemas.microsoft.com/office/drawing/2014/main" id="{D26FD36B-92D4-611B-4DED-7A049FEF92E5}"/>
                </a:ext>
              </a:extLst>
            </p:cNvPr>
            <p:cNvSpPr>
              <a:spLocks noChangeArrowheads="1"/>
            </p:cNvSpPr>
            <p:nvPr/>
          </p:nvSpPr>
          <p:spPr bwMode="auto">
            <a:xfrm>
              <a:off x="383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sp>
          <p:nvSpPr>
            <p:cNvPr id="125" name="Freeform 131">
              <a:extLst>
                <a:ext uri="{FF2B5EF4-FFF2-40B4-BE49-F238E27FC236}">
                  <a16:creationId xmlns:a16="http://schemas.microsoft.com/office/drawing/2014/main" id="{2E25153B-03A2-A6A9-54CE-2798988B1C70}"/>
                </a:ext>
              </a:extLst>
            </p:cNvPr>
            <p:cNvSpPr>
              <a:spLocks/>
            </p:cNvSpPr>
            <p:nvPr/>
          </p:nvSpPr>
          <p:spPr bwMode="auto">
            <a:xfrm>
              <a:off x="3224" y="3222"/>
              <a:ext cx="630" cy="192"/>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1799" kern="0">
                <a:solidFill>
                  <a:srgbClr val="FFFFFF"/>
                </a:solidFill>
                <a:latin typeface="EYInterstate Light"/>
              </a:endParaRPr>
            </a:p>
          </p:txBody>
        </p:sp>
      </p:grpSp>
      <p:grpSp>
        <p:nvGrpSpPr>
          <p:cNvPr id="127" name="Group 185">
            <a:extLst>
              <a:ext uri="{FF2B5EF4-FFF2-40B4-BE49-F238E27FC236}">
                <a16:creationId xmlns:a16="http://schemas.microsoft.com/office/drawing/2014/main" id="{A69A8DDE-AF5A-0833-42DC-324038E6C19C}"/>
              </a:ext>
            </a:extLst>
          </p:cNvPr>
          <p:cNvGrpSpPr>
            <a:grpSpLocks noChangeAspect="1"/>
          </p:cNvGrpSpPr>
          <p:nvPr/>
        </p:nvGrpSpPr>
        <p:grpSpPr bwMode="auto">
          <a:xfrm>
            <a:off x="6053644" y="1813749"/>
            <a:ext cx="554997" cy="491572"/>
            <a:chOff x="609" y="3064"/>
            <a:chExt cx="700" cy="620"/>
          </a:xfrm>
          <a:solidFill>
            <a:schemeClr val="bg1"/>
          </a:solidFill>
        </p:grpSpPr>
        <p:sp>
          <p:nvSpPr>
            <p:cNvPr id="128" name="Freeform 186">
              <a:extLst>
                <a:ext uri="{FF2B5EF4-FFF2-40B4-BE49-F238E27FC236}">
                  <a16:creationId xmlns:a16="http://schemas.microsoft.com/office/drawing/2014/main" id="{D8971F56-E7A9-986F-FE5D-52823B671DE1}"/>
                </a:ext>
              </a:extLst>
            </p:cNvPr>
            <p:cNvSpPr>
              <a:spLocks/>
            </p:cNvSpPr>
            <p:nvPr/>
          </p:nvSpPr>
          <p:spPr bwMode="auto">
            <a:xfrm>
              <a:off x="609" y="3064"/>
              <a:ext cx="394" cy="500"/>
            </a:xfrm>
            <a:custGeom>
              <a:avLst/>
              <a:gdLst>
                <a:gd name="T0" fmla="*/ 394 w 394"/>
                <a:gd name="T1" fmla="*/ 500 h 500"/>
                <a:gd name="T2" fmla="*/ 300 w 394"/>
                <a:gd name="T3" fmla="*/ 500 h 500"/>
                <a:gd name="T4" fmla="*/ 300 w 394"/>
                <a:gd name="T5" fmla="*/ 482 h 500"/>
                <a:gd name="T6" fmla="*/ 376 w 394"/>
                <a:gd name="T7" fmla="*/ 482 h 500"/>
                <a:gd name="T8" fmla="*/ 376 w 394"/>
                <a:gd name="T9" fmla="*/ 102 h 500"/>
                <a:gd name="T10" fmla="*/ 290 w 394"/>
                <a:gd name="T11" fmla="*/ 18 h 500"/>
                <a:gd name="T12" fmla="*/ 18 w 394"/>
                <a:gd name="T13" fmla="*/ 18 h 500"/>
                <a:gd name="T14" fmla="*/ 18 w 394"/>
                <a:gd name="T15" fmla="*/ 482 h 500"/>
                <a:gd name="T16" fmla="*/ 190 w 394"/>
                <a:gd name="T17" fmla="*/ 482 h 500"/>
                <a:gd name="T18" fmla="*/ 190 w 394"/>
                <a:gd name="T19" fmla="*/ 500 h 500"/>
                <a:gd name="T20" fmla="*/ 0 w 394"/>
                <a:gd name="T21" fmla="*/ 500 h 500"/>
                <a:gd name="T22" fmla="*/ 0 w 394"/>
                <a:gd name="T23" fmla="*/ 0 h 500"/>
                <a:gd name="T24" fmla="*/ 296 w 394"/>
                <a:gd name="T25" fmla="*/ 0 h 500"/>
                <a:gd name="T26" fmla="*/ 394 w 394"/>
                <a:gd name="T27" fmla="*/ 94 h 500"/>
                <a:gd name="T28" fmla="*/ 394 w 394"/>
                <a:gd name="T29"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4" h="500">
                  <a:moveTo>
                    <a:pt x="394" y="500"/>
                  </a:moveTo>
                  <a:lnTo>
                    <a:pt x="300" y="500"/>
                  </a:lnTo>
                  <a:lnTo>
                    <a:pt x="300" y="482"/>
                  </a:lnTo>
                  <a:lnTo>
                    <a:pt x="376" y="482"/>
                  </a:lnTo>
                  <a:lnTo>
                    <a:pt x="376" y="102"/>
                  </a:lnTo>
                  <a:lnTo>
                    <a:pt x="290" y="18"/>
                  </a:lnTo>
                  <a:lnTo>
                    <a:pt x="18" y="18"/>
                  </a:lnTo>
                  <a:lnTo>
                    <a:pt x="18" y="482"/>
                  </a:lnTo>
                  <a:lnTo>
                    <a:pt x="190" y="482"/>
                  </a:lnTo>
                  <a:lnTo>
                    <a:pt x="190" y="500"/>
                  </a:lnTo>
                  <a:lnTo>
                    <a:pt x="0" y="500"/>
                  </a:lnTo>
                  <a:lnTo>
                    <a:pt x="0" y="0"/>
                  </a:lnTo>
                  <a:lnTo>
                    <a:pt x="296" y="0"/>
                  </a:lnTo>
                  <a:lnTo>
                    <a:pt x="394" y="94"/>
                  </a:lnTo>
                  <a:lnTo>
                    <a:pt x="394"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29" name="Freeform 187">
              <a:extLst>
                <a:ext uri="{FF2B5EF4-FFF2-40B4-BE49-F238E27FC236}">
                  <a16:creationId xmlns:a16="http://schemas.microsoft.com/office/drawing/2014/main" id="{362773FE-24D3-9A88-BD73-F901FCD14647}"/>
                </a:ext>
              </a:extLst>
            </p:cNvPr>
            <p:cNvSpPr>
              <a:spLocks/>
            </p:cNvSpPr>
            <p:nvPr/>
          </p:nvSpPr>
          <p:spPr bwMode="auto">
            <a:xfrm>
              <a:off x="865" y="3506"/>
              <a:ext cx="66" cy="98"/>
            </a:xfrm>
            <a:custGeom>
              <a:avLst/>
              <a:gdLst>
                <a:gd name="T0" fmla="*/ 54 w 66"/>
                <a:gd name="T1" fmla="*/ 98 h 98"/>
                <a:gd name="T2" fmla="*/ 0 w 66"/>
                <a:gd name="T3" fmla="*/ 48 h 98"/>
                <a:gd name="T4" fmla="*/ 54 w 66"/>
                <a:gd name="T5" fmla="*/ 0 h 98"/>
                <a:gd name="T6" fmla="*/ 66 w 66"/>
                <a:gd name="T7" fmla="*/ 14 h 98"/>
                <a:gd name="T8" fmla="*/ 28 w 66"/>
                <a:gd name="T9" fmla="*/ 48 h 98"/>
                <a:gd name="T10" fmla="*/ 66 w 66"/>
                <a:gd name="T11" fmla="*/ 84 h 98"/>
                <a:gd name="T12" fmla="*/ 54 w 66"/>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66" h="98">
                  <a:moveTo>
                    <a:pt x="54" y="98"/>
                  </a:moveTo>
                  <a:lnTo>
                    <a:pt x="0" y="48"/>
                  </a:lnTo>
                  <a:lnTo>
                    <a:pt x="54" y="0"/>
                  </a:lnTo>
                  <a:lnTo>
                    <a:pt x="66" y="14"/>
                  </a:lnTo>
                  <a:lnTo>
                    <a:pt x="28" y="48"/>
                  </a:lnTo>
                  <a:lnTo>
                    <a:pt x="66" y="84"/>
                  </a:lnTo>
                  <a:lnTo>
                    <a:pt x="54"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0" name="Rectangle 188">
              <a:extLst>
                <a:ext uri="{FF2B5EF4-FFF2-40B4-BE49-F238E27FC236}">
                  <a16:creationId xmlns:a16="http://schemas.microsoft.com/office/drawing/2014/main" id="{2EFDE153-3F41-5CF9-7DCA-E976D3D5C24C}"/>
                </a:ext>
              </a:extLst>
            </p:cNvPr>
            <p:cNvSpPr>
              <a:spLocks noChangeArrowheads="1"/>
            </p:cNvSpPr>
            <p:nvPr/>
          </p:nvSpPr>
          <p:spPr bwMode="auto">
            <a:xfrm>
              <a:off x="895" y="3666"/>
              <a:ext cx="24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1" name="Freeform 189">
              <a:extLst>
                <a:ext uri="{FF2B5EF4-FFF2-40B4-BE49-F238E27FC236}">
                  <a16:creationId xmlns:a16="http://schemas.microsoft.com/office/drawing/2014/main" id="{3450FEBC-11E7-3FD4-9253-59895D5FC9FA}"/>
                </a:ext>
              </a:extLst>
            </p:cNvPr>
            <p:cNvSpPr>
              <a:spLocks/>
            </p:cNvSpPr>
            <p:nvPr/>
          </p:nvSpPr>
          <p:spPr bwMode="auto">
            <a:xfrm>
              <a:off x="1125" y="3646"/>
              <a:ext cx="94" cy="38"/>
            </a:xfrm>
            <a:custGeom>
              <a:avLst/>
              <a:gdLst>
                <a:gd name="T0" fmla="*/ 94 w 94"/>
                <a:gd name="T1" fmla="*/ 38 h 38"/>
                <a:gd name="T2" fmla="*/ 0 w 94"/>
                <a:gd name="T3" fmla="*/ 38 h 38"/>
                <a:gd name="T4" fmla="*/ 0 w 94"/>
                <a:gd name="T5" fmla="*/ 20 h 38"/>
                <a:gd name="T6" fmla="*/ 76 w 94"/>
                <a:gd name="T7" fmla="*/ 20 h 38"/>
                <a:gd name="T8" fmla="*/ 76 w 94"/>
                <a:gd name="T9" fmla="*/ 0 h 38"/>
                <a:gd name="T10" fmla="*/ 94 w 94"/>
                <a:gd name="T11" fmla="*/ 0 h 38"/>
                <a:gd name="T12" fmla="*/ 94 w 9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94" h="38">
                  <a:moveTo>
                    <a:pt x="94" y="38"/>
                  </a:moveTo>
                  <a:lnTo>
                    <a:pt x="0" y="38"/>
                  </a:lnTo>
                  <a:lnTo>
                    <a:pt x="0" y="20"/>
                  </a:lnTo>
                  <a:lnTo>
                    <a:pt x="76" y="20"/>
                  </a:lnTo>
                  <a:lnTo>
                    <a:pt x="76" y="0"/>
                  </a:lnTo>
                  <a:lnTo>
                    <a:pt x="94" y="0"/>
                  </a:lnTo>
                  <a:lnTo>
                    <a:pt x="9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2" name="Freeform 190">
              <a:extLst>
                <a:ext uri="{FF2B5EF4-FFF2-40B4-BE49-F238E27FC236}">
                  <a16:creationId xmlns:a16="http://schemas.microsoft.com/office/drawing/2014/main" id="{655CBF7B-15EF-2ED1-C955-1C4149E415EE}"/>
                </a:ext>
              </a:extLst>
            </p:cNvPr>
            <p:cNvSpPr>
              <a:spLocks/>
            </p:cNvSpPr>
            <p:nvPr/>
          </p:nvSpPr>
          <p:spPr bwMode="auto">
            <a:xfrm>
              <a:off x="1001" y="3186"/>
              <a:ext cx="218" cy="300"/>
            </a:xfrm>
            <a:custGeom>
              <a:avLst/>
              <a:gdLst>
                <a:gd name="T0" fmla="*/ 218 w 218"/>
                <a:gd name="T1" fmla="*/ 300 h 300"/>
                <a:gd name="T2" fmla="*/ 200 w 218"/>
                <a:gd name="T3" fmla="*/ 300 h 300"/>
                <a:gd name="T4" fmla="*/ 200 w 218"/>
                <a:gd name="T5" fmla="*/ 102 h 300"/>
                <a:gd name="T6" fmla="*/ 114 w 218"/>
                <a:gd name="T7" fmla="*/ 18 h 300"/>
                <a:gd name="T8" fmla="*/ 0 w 218"/>
                <a:gd name="T9" fmla="*/ 18 h 300"/>
                <a:gd name="T10" fmla="*/ 0 w 218"/>
                <a:gd name="T11" fmla="*/ 0 h 300"/>
                <a:gd name="T12" fmla="*/ 120 w 218"/>
                <a:gd name="T13" fmla="*/ 0 h 300"/>
                <a:gd name="T14" fmla="*/ 218 w 218"/>
                <a:gd name="T15" fmla="*/ 94 h 300"/>
                <a:gd name="T16" fmla="*/ 218 w 218"/>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00">
                  <a:moveTo>
                    <a:pt x="218" y="300"/>
                  </a:moveTo>
                  <a:lnTo>
                    <a:pt x="200" y="300"/>
                  </a:lnTo>
                  <a:lnTo>
                    <a:pt x="200" y="102"/>
                  </a:lnTo>
                  <a:lnTo>
                    <a:pt x="114" y="18"/>
                  </a:lnTo>
                  <a:lnTo>
                    <a:pt x="0" y="18"/>
                  </a:lnTo>
                  <a:lnTo>
                    <a:pt x="0" y="0"/>
                  </a:lnTo>
                  <a:lnTo>
                    <a:pt x="120" y="0"/>
                  </a:lnTo>
                  <a:lnTo>
                    <a:pt x="218" y="94"/>
                  </a:lnTo>
                  <a:lnTo>
                    <a:pt x="218"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3" name="Freeform 191">
              <a:extLst>
                <a:ext uri="{FF2B5EF4-FFF2-40B4-BE49-F238E27FC236}">
                  <a16:creationId xmlns:a16="http://schemas.microsoft.com/office/drawing/2014/main" id="{09B75185-B66C-A67E-D635-8085655B4201}"/>
                </a:ext>
              </a:extLst>
            </p:cNvPr>
            <p:cNvSpPr>
              <a:spLocks/>
            </p:cNvSpPr>
            <p:nvPr/>
          </p:nvSpPr>
          <p:spPr bwMode="auto">
            <a:xfrm>
              <a:off x="813" y="3210"/>
              <a:ext cx="100" cy="474"/>
            </a:xfrm>
            <a:custGeom>
              <a:avLst/>
              <a:gdLst>
                <a:gd name="T0" fmla="*/ 100 w 100"/>
                <a:gd name="T1" fmla="*/ 474 h 474"/>
                <a:gd name="T2" fmla="*/ 0 w 100"/>
                <a:gd name="T3" fmla="*/ 474 h 474"/>
                <a:gd name="T4" fmla="*/ 0 w 100"/>
                <a:gd name="T5" fmla="*/ 0 h 474"/>
                <a:gd name="T6" fmla="*/ 82 w 100"/>
                <a:gd name="T7" fmla="*/ 0 h 474"/>
                <a:gd name="T8" fmla="*/ 82 w 100"/>
                <a:gd name="T9" fmla="*/ 18 h 474"/>
                <a:gd name="T10" fmla="*/ 18 w 100"/>
                <a:gd name="T11" fmla="*/ 18 h 474"/>
                <a:gd name="T12" fmla="*/ 18 w 100"/>
                <a:gd name="T13" fmla="*/ 456 h 474"/>
                <a:gd name="T14" fmla="*/ 100 w 100"/>
                <a:gd name="T15" fmla="*/ 456 h 474"/>
                <a:gd name="T16" fmla="*/ 100 w 100"/>
                <a:gd name="T17"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74">
                  <a:moveTo>
                    <a:pt x="100" y="474"/>
                  </a:moveTo>
                  <a:lnTo>
                    <a:pt x="0" y="474"/>
                  </a:lnTo>
                  <a:lnTo>
                    <a:pt x="0" y="0"/>
                  </a:lnTo>
                  <a:lnTo>
                    <a:pt x="82" y="0"/>
                  </a:lnTo>
                  <a:lnTo>
                    <a:pt x="82" y="18"/>
                  </a:lnTo>
                  <a:lnTo>
                    <a:pt x="18" y="18"/>
                  </a:lnTo>
                  <a:lnTo>
                    <a:pt x="18" y="456"/>
                  </a:lnTo>
                  <a:lnTo>
                    <a:pt x="100" y="456"/>
                  </a:lnTo>
                  <a:lnTo>
                    <a:pt x="10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4" name="Freeform 192">
              <a:extLst>
                <a:ext uri="{FF2B5EF4-FFF2-40B4-BE49-F238E27FC236}">
                  <a16:creationId xmlns:a16="http://schemas.microsoft.com/office/drawing/2014/main" id="{C5285631-0E40-5AFC-A940-67631E545CF1}"/>
                </a:ext>
              </a:extLst>
            </p:cNvPr>
            <p:cNvSpPr>
              <a:spLocks/>
            </p:cNvSpPr>
            <p:nvPr/>
          </p:nvSpPr>
          <p:spPr bwMode="auto">
            <a:xfrm>
              <a:off x="875" y="3172"/>
              <a:ext cx="60" cy="94"/>
            </a:xfrm>
            <a:custGeom>
              <a:avLst/>
              <a:gdLst>
                <a:gd name="T0" fmla="*/ 12 w 60"/>
                <a:gd name="T1" fmla="*/ 94 h 94"/>
                <a:gd name="T2" fmla="*/ 0 w 60"/>
                <a:gd name="T3" fmla="*/ 80 h 94"/>
                <a:gd name="T4" fmla="*/ 34 w 60"/>
                <a:gd name="T5" fmla="*/ 46 h 94"/>
                <a:gd name="T6" fmla="*/ 0 w 60"/>
                <a:gd name="T7" fmla="*/ 12 h 94"/>
                <a:gd name="T8" fmla="*/ 12 w 60"/>
                <a:gd name="T9" fmla="*/ 0 h 94"/>
                <a:gd name="T10" fmla="*/ 60 w 60"/>
                <a:gd name="T11" fmla="*/ 46 h 94"/>
                <a:gd name="T12" fmla="*/ 12 w 60"/>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60" h="94">
                  <a:moveTo>
                    <a:pt x="12" y="94"/>
                  </a:moveTo>
                  <a:lnTo>
                    <a:pt x="0" y="80"/>
                  </a:lnTo>
                  <a:lnTo>
                    <a:pt x="34" y="46"/>
                  </a:lnTo>
                  <a:lnTo>
                    <a:pt x="0" y="12"/>
                  </a:lnTo>
                  <a:lnTo>
                    <a:pt x="12" y="0"/>
                  </a:lnTo>
                  <a:lnTo>
                    <a:pt x="60" y="46"/>
                  </a:lnTo>
                  <a:lnTo>
                    <a:pt x="1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5" name="Rectangle 193">
              <a:extLst>
                <a:ext uri="{FF2B5EF4-FFF2-40B4-BE49-F238E27FC236}">
                  <a16:creationId xmlns:a16="http://schemas.microsoft.com/office/drawing/2014/main" id="{4ECA006A-0627-A852-0E1A-3BA4649FDF0D}"/>
                </a:ext>
              </a:extLst>
            </p:cNvPr>
            <p:cNvSpPr>
              <a:spLocks noChangeArrowheads="1"/>
            </p:cNvSpPr>
            <p:nvPr/>
          </p:nvSpPr>
          <p:spPr bwMode="auto">
            <a:xfrm>
              <a:off x="665" y="3248"/>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6" name="Rectangle 194">
              <a:extLst>
                <a:ext uri="{FF2B5EF4-FFF2-40B4-BE49-F238E27FC236}">
                  <a16:creationId xmlns:a16="http://schemas.microsoft.com/office/drawing/2014/main" id="{E15BD953-F558-A636-F9FD-BD7E562E5656}"/>
                </a:ext>
              </a:extLst>
            </p:cNvPr>
            <p:cNvSpPr>
              <a:spLocks noChangeArrowheads="1"/>
            </p:cNvSpPr>
            <p:nvPr/>
          </p:nvSpPr>
          <p:spPr bwMode="auto">
            <a:xfrm>
              <a:off x="665" y="3286"/>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7" name="Rectangle 195">
              <a:extLst>
                <a:ext uri="{FF2B5EF4-FFF2-40B4-BE49-F238E27FC236}">
                  <a16:creationId xmlns:a16="http://schemas.microsoft.com/office/drawing/2014/main" id="{D6E0CE26-8661-1604-9028-555A65CD12C3}"/>
                </a:ext>
              </a:extLst>
            </p:cNvPr>
            <p:cNvSpPr>
              <a:spLocks noChangeArrowheads="1"/>
            </p:cNvSpPr>
            <p:nvPr/>
          </p:nvSpPr>
          <p:spPr bwMode="auto">
            <a:xfrm>
              <a:off x="665" y="3344"/>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8" name="Rectangle 196">
              <a:extLst>
                <a:ext uri="{FF2B5EF4-FFF2-40B4-BE49-F238E27FC236}">
                  <a16:creationId xmlns:a16="http://schemas.microsoft.com/office/drawing/2014/main" id="{DF4FD16D-AE91-2322-2FA4-845E78B4A514}"/>
                </a:ext>
              </a:extLst>
            </p:cNvPr>
            <p:cNvSpPr>
              <a:spLocks noChangeArrowheads="1"/>
            </p:cNvSpPr>
            <p:nvPr/>
          </p:nvSpPr>
          <p:spPr bwMode="auto">
            <a:xfrm>
              <a:off x="665" y="3382"/>
              <a:ext cx="1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9" name="Rectangle 197">
              <a:extLst>
                <a:ext uri="{FF2B5EF4-FFF2-40B4-BE49-F238E27FC236}">
                  <a16:creationId xmlns:a16="http://schemas.microsoft.com/office/drawing/2014/main" id="{1894F564-D898-3668-10D6-E18388C5FAD0}"/>
                </a:ext>
              </a:extLst>
            </p:cNvPr>
            <p:cNvSpPr>
              <a:spLocks noChangeArrowheads="1"/>
            </p:cNvSpPr>
            <p:nvPr/>
          </p:nvSpPr>
          <p:spPr bwMode="auto">
            <a:xfrm>
              <a:off x="1047" y="3376"/>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0" name="Rectangle 198">
              <a:extLst>
                <a:ext uri="{FF2B5EF4-FFF2-40B4-BE49-F238E27FC236}">
                  <a16:creationId xmlns:a16="http://schemas.microsoft.com/office/drawing/2014/main" id="{028907AE-5C9E-A8BA-0CF4-3A3E7DBC6FCA}"/>
                </a:ext>
              </a:extLst>
            </p:cNvPr>
            <p:cNvSpPr>
              <a:spLocks noChangeArrowheads="1"/>
            </p:cNvSpPr>
            <p:nvPr/>
          </p:nvSpPr>
          <p:spPr bwMode="auto">
            <a:xfrm>
              <a:off x="1047" y="3414"/>
              <a:ext cx="1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1" name="Freeform 199">
              <a:extLst>
                <a:ext uri="{FF2B5EF4-FFF2-40B4-BE49-F238E27FC236}">
                  <a16:creationId xmlns:a16="http://schemas.microsoft.com/office/drawing/2014/main" id="{94A7FBD2-418D-553C-6223-10B6976128DB}"/>
                </a:ext>
              </a:extLst>
            </p:cNvPr>
            <p:cNvSpPr>
              <a:spLocks/>
            </p:cNvSpPr>
            <p:nvPr/>
          </p:nvSpPr>
          <p:spPr bwMode="auto">
            <a:xfrm>
              <a:off x="1177" y="3516"/>
              <a:ext cx="132" cy="128"/>
            </a:xfrm>
            <a:custGeom>
              <a:avLst/>
              <a:gdLst>
                <a:gd name="T0" fmla="*/ 40 w 132"/>
                <a:gd name="T1" fmla="*/ 128 h 128"/>
                <a:gd name="T2" fmla="*/ 0 w 132"/>
                <a:gd name="T3" fmla="*/ 88 h 128"/>
                <a:gd name="T4" fmla="*/ 78 w 132"/>
                <a:gd name="T5" fmla="*/ 88 h 128"/>
                <a:gd name="T6" fmla="*/ 78 w 132"/>
                <a:gd name="T7" fmla="*/ 88 h 128"/>
                <a:gd name="T8" fmla="*/ 84 w 132"/>
                <a:gd name="T9" fmla="*/ 88 h 128"/>
                <a:gd name="T10" fmla="*/ 92 w 132"/>
                <a:gd name="T11" fmla="*/ 86 h 128"/>
                <a:gd name="T12" fmla="*/ 98 w 132"/>
                <a:gd name="T13" fmla="*/ 82 h 128"/>
                <a:gd name="T14" fmla="*/ 102 w 132"/>
                <a:gd name="T15" fmla="*/ 78 h 128"/>
                <a:gd name="T16" fmla="*/ 108 w 132"/>
                <a:gd name="T17" fmla="*/ 72 h 128"/>
                <a:gd name="T18" fmla="*/ 110 w 132"/>
                <a:gd name="T19" fmla="*/ 66 h 128"/>
                <a:gd name="T20" fmla="*/ 112 w 132"/>
                <a:gd name="T21" fmla="*/ 60 h 128"/>
                <a:gd name="T22" fmla="*/ 114 w 132"/>
                <a:gd name="T23" fmla="*/ 54 h 128"/>
                <a:gd name="T24" fmla="*/ 114 w 132"/>
                <a:gd name="T25" fmla="*/ 54 h 128"/>
                <a:gd name="T26" fmla="*/ 112 w 132"/>
                <a:gd name="T27" fmla="*/ 46 h 128"/>
                <a:gd name="T28" fmla="*/ 110 w 132"/>
                <a:gd name="T29" fmla="*/ 40 h 128"/>
                <a:gd name="T30" fmla="*/ 108 w 132"/>
                <a:gd name="T31" fmla="*/ 34 h 128"/>
                <a:gd name="T32" fmla="*/ 102 w 132"/>
                <a:gd name="T33" fmla="*/ 28 h 128"/>
                <a:gd name="T34" fmla="*/ 98 w 132"/>
                <a:gd name="T35" fmla="*/ 24 h 128"/>
                <a:gd name="T36" fmla="*/ 92 w 132"/>
                <a:gd name="T37" fmla="*/ 20 h 128"/>
                <a:gd name="T38" fmla="*/ 84 w 132"/>
                <a:gd name="T39" fmla="*/ 18 h 128"/>
                <a:gd name="T40" fmla="*/ 78 w 132"/>
                <a:gd name="T41" fmla="*/ 18 h 128"/>
                <a:gd name="T42" fmla="*/ 68 w 132"/>
                <a:gd name="T43" fmla="*/ 18 h 128"/>
                <a:gd name="T44" fmla="*/ 68 w 132"/>
                <a:gd name="T45" fmla="*/ 0 h 128"/>
                <a:gd name="T46" fmla="*/ 78 w 132"/>
                <a:gd name="T47" fmla="*/ 0 h 128"/>
                <a:gd name="T48" fmla="*/ 78 w 132"/>
                <a:gd name="T49" fmla="*/ 0 h 128"/>
                <a:gd name="T50" fmla="*/ 88 w 132"/>
                <a:gd name="T51" fmla="*/ 0 h 128"/>
                <a:gd name="T52" fmla="*/ 98 w 132"/>
                <a:gd name="T53" fmla="*/ 4 h 128"/>
                <a:gd name="T54" fmla="*/ 108 w 132"/>
                <a:gd name="T55" fmla="*/ 8 h 128"/>
                <a:gd name="T56" fmla="*/ 116 w 132"/>
                <a:gd name="T57" fmla="*/ 16 h 128"/>
                <a:gd name="T58" fmla="*/ 122 w 132"/>
                <a:gd name="T59" fmla="*/ 24 h 128"/>
                <a:gd name="T60" fmla="*/ 126 w 132"/>
                <a:gd name="T61" fmla="*/ 32 h 128"/>
                <a:gd name="T62" fmla="*/ 130 w 132"/>
                <a:gd name="T63" fmla="*/ 42 h 128"/>
                <a:gd name="T64" fmla="*/ 132 w 132"/>
                <a:gd name="T65" fmla="*/ 54 h 128"/>
                <a:gd name="T66" fmla="*/ 132 w 132"/>
                <a:gd name="T67" fmla="*/ 54 h 128"/>
                <a:gd name="T68" fmla="*/ 130 w 132"/>
                <a:gd name="T69" fmla="*/ 64 h 128"/>
                <a:gd name="T70" fmla="*/ 126 w 132"/>
                <a:gd name="T71" fmla="*/ 74 h 128"/>
                <a:gd name="T72" fmla="*/ 122 w 132"/>
                <a:gd name="T73" fmla="*/ 84 h 128"/>
                <a:gd name="T74" fmla="*/ 116 w 132"/>
                <a:gd name="T75" fmla="*/ 90 h 128"/>
                <a:gd name="T76" fmla="*/ 108 w 132"/>
                <a:gd name="T77" fmla="*/ 98 h 128"/>
                <a:gd name="T78" fmla="*/ 98 w 132"/>
                <a:gd name="T79" fmla="*/ 102 h 128"/>
                <a:gd name="T80" fmla="*/ 88 w 132"/>
                <a:gd name="T81" fmla="*/ 106 h 128"/>
                <a:gd name="T82" fmla="*/ 78 w 132"/>
                <a:gd name="T83" fmla="*/ 106 h 128"/>
                <a:gd name="T84" fmla="*/ 44 w 132"/>
                <a:gd name="T85" fmla="*/ 106 h 128"/>
                <a:gd name="T86" fmla="*/ 52 w 132"/>
                <a:gd name="T87" fmla="*/ 116 h 128"/>
                <a:gd name="T88" fmla="*/ 40 w 132"/>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8">
                  <a:moveTo>
                    <a:pt x="40" y="128"/>
                  </a:moveTo>
                  <a:lnTo>
                    <a:pt x="0" y="88"/>
                  </a:lnTo>
                  <a:lnTo>
                    <a:pt x="78" y="88"/>
                  </a:lnTo>
                  <a:lnTo>
                    <a:pt x="78" y="88"/>
                  </a:lnTo>
                  <a:lnTo>
                    <a:pt x="84" y="88"/>
                  </a:lnTo>
                  <a:lnTo>
                    <a:pt x="92" y="86"/>
                  </a:lnTo>
                  <a:lnTo>
                    <a:pt x="98" y="82"/>
                  </a:lnTo>
                  <a:lnTo>
                    <a:pt x="102" y="78"/>
                  </a:lnTo>
                  <a:lnTo>
                    <a:pt x="108" y="72"/>
                  </a:lnTo>
                  <a:lnTo>
                    <a:pt x="110" y="66"/>
                  </a:lnTo>
                  <a:lnTo>
                    <a:pt x="112" y="60"/>
                  </a:lnTo>
                  <a:lnTo>
                    <a:pt x="114" y="54"/>
                  </a:lnTo>
                  <a:lnTo>
                    <a:pt x="114" y="54"/>
                  </a:lnTo>
                  <a:lnTo>
                    <a:pt x="112" y="46"/>
                  </a:lnTo>
                  <a:lnTo>
                    <a:pt x="110" y="40"/>
                  </a:lnTo>
                  <a:lnTo>
                    <a:pt x="108" y="34"/>
                  </a:lnTo>
                  <a:lnTo>
                    <a:pt x="102" y="28"/>
                  </a:lnTo>
                  <a:lnTo>
                    <a:pt x="98" y="24"/>
                  </a:lnTo>
                  <a:lnTo>
                    <a:pt x="92" y="20"/>
                  </a:lnTo>
                  <a:lnTo>
                    <a:pt x="84" y="18"/>
                  </a:lnTo>
                  <a:lnTo>
                    <a:pt x="78" y="18"/>
                  </a:lnTo>
                  <a:lnTo>
                    <a:pt x="68" y="18"/>
                  </a:lnTo>
                  <a:lnTo>
                    <a:pt x="68" y="0"/>
                  </a:lnTo>
                  <a:lnTo>
                    <a:pt x="78" y="0"/>
                  </a:lnTo>
                  <a:lnTo>
                    <a:pt x="78" y="0"/>
                  </a:lnTo>
                  <a:lnTo>
                    <a:pt x="88" y="0"/>
                  </a:lnTo>
                  <a:lnTo>
                    <a:pt x="98" y="4"/>
                  </a:lnTo>
                  <a:lnTo>
                    <a:pt x="108" y="8"/>
                  </a:lnTo>
                  <a:lnTo>
                    <a:pt x="116" y="16"/>
                  </a:lnTo>
                  <a:lnTo>
                    <a:pt x="122" y="24"/>
                  </a:lnTo>
                  <a:lnTo>
                    <a:pt x="126" y="32"/>
                  </a:lnTo>
                  <a:lnTo>
                    <a:pt x="130" y="42"/>
                  </a:lnTo>
                  <a:lnTo>
                    <a:pt x="132" y="54"/>
                  </a:lnTo>
                  <a:lnTo>
                    <a:pt x="132" y="54"/>
                  </a:lnTo>
                  <a:lnTo>
                    <a:pt x="130" y="64"/>
                  </a:lnTo>
                  <a:lnTo>
                    <a:pt x="126" y="74"/>
                  </a:lnTo>
                  <a:lnTo>
                    <a:pt x="122" y="84"/>
                  </a:lnTo>
                  <a:lnTo>
                    <a:pt x="116" y="90"/>
                  </a:lnTo>
                  <a:lnTo>
                    <a:pt x="108" y="98"/>
                  </a:lnTo>
                  <a:lnTo>
                    <a:pt x="98" y="102"/>
                  </a:lnTo>
                  <a:lnTo>
                    <a:pt x="88" y="106"/>
                  </a:lnTo>
                  <a:lnTo>
                    <a:pt x="78" y="106"/>
                  </a:lnTo>
                  <a:lnTo>
                    <a:pt x="44" y="106"/>
                  </a:lnTo>
                  <a:lnTo>
                    <a:pt x="52" y="116"/>
                  </a:lnTo>
                  <a:lnTo>
                    <a:pt x="4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2" name="Freeform 200">
              <a:extLst>
                <a:ext uri="{FF2B5EF4-FFF2-40B4-BE49-F238E27FC236}">
                  <a16:creationId xmlns:a16="http://schemas.microsoft.com/office/drawing/2014/main" id="{CDE4C1AB-D297-2D06-2C2A-A130D3EF4BBA}"/>
                </a:ext>
              </a:extLst>
            </p:cNvPr>
            <p:cNvSpPr>
              <a:spLocks/>
            </p:cNvSpPr>
            <p:nvPr/>
          </p:nvSpPr>
          <p:spPr bwMode="auto">
            <a:xfrm>
              <a:off x="1109" y="3494"/>
              <a:ext cx="116" cy="128"/>
            </a:xfrm>
            <a:custGeom>
              <a:avLst/>
              <a:gdLst>
                <a:gd name="T0" fmla="*/ 62 w 116"/>
                <a:gd name="T1" fmla="*/ 128 h 128"/>
                <a:gd name="T2" fmla="*/ 54 w 116"/>
                <a:gd name="T3" fmla="*/ 128 h 128"/>
                <a:gd name="T4" fmla="*/ 54 w 116"/>
                <a:gd name="T5" fmla="*/ 128 h 128"/>
                <a:gd name="T6" fmla="*/ 42 w 116"/>
                <a:gd name="T7" fmla="*/ 128 h 128"/>
                <a:gd name="T8" fmla="*/ 32 w 116"/>
                <a:gd name="T9" fmla="*/ 124 h 128"/>
                <a:gd name="T10" fmla="*/ 24 w 116"/>
                <a:gd name="T11" fmla="*/ 120 h 128"/>
                <a:gd name="T12" fmla="*/ 16 w 116"/>
                <a:gd name="T13" fmla="*/ 112 h 128"/>
                <a:gd name="T14" fmla="*/ 8 w 116"/>
                <a:gd name="T15" fmla="*/ 106 h 128"/>
                <a:gd name="T16" fmla="*/ 4 w 116"/>
                <a:gd name="T17" fmla="*/ 96 h 128"/>
                <a:gd name="T18" fmla="*/ 0 w 116"/>
                <a:gd name="T19" fmla="*/ 86 h 128"/>
                <a:gd name="T20" fmla="*/ 0 w 116"/>
                <a:gd name="T21" fmla="*/ 76 h 128"/>
                <a:gd name="T22" fmla="*/ 0 w 116"/>
                <a:gd name="T23" fmla="*/ 76 h 128"/>
                <a:gd name="T24" fmla="*/ 0 w 116"/>
                <a:gd name="T25" fmla="*/ 64 h 128"/>
                <a:gd name="T26" fmla="*/ 4 w 116"/>
                <a:gd name="T27" fmla="*/ 54 h 128"/>
                <a:gd name="T28" fmla="*/ 8 w 116"/>
                <a:gd name="T29" fmla="*/ 46 h 128"/>
                <a:gd name="T30" fmla="*/ 16 w 116"/>
                <a:gd name="T31" fmla="*/ 38 h 128"/>
                <a:gd name="T32" fmla="*/ 24 w 116"/>
                <a:gd name="T33" fmla="*/ 30 h 128"/>
                <a:gd name="T34" fmla="*/ 32 w 116"/>
                <a:gd name="T35" fmla="*/ 26 h 128"/>
                <a:gd name="T36" fmla="*/ 42 w 116"/>
                <a:gd name="T37" fmla="*/ 22 h 128"/>
                <a:gd name="T38" fmla="*/ 54 w 116"/>
                <a:gd name="T39" fmla="*/ 22 h 128"/>
                <a:gd name="T40" fmla="*/ 74 w 116"/>
                <a:gd name="T41" fmla="*/ 22 h 128"/>
                <a:gd name="T42" fmla="*/ 64 w 116"/>
                <a:gd name="T43" fmla="*/ 14 h 128"/>
                <a:gd name="T44" fmla="*/ 78 w 116"/>
                <a:gd name="T45" fmla="*/ 0 h 128"/>
                <a:gd name="T46" fmla="*/ 116 w 116"/>
                <a:gd name="T47" fmla="*/ 40 h 128"/>
                <a:gd name="T48" fmla="*/ 54 w 116"/>
                <a:gd name="T49" fmla="*/ 40 h 128"/>
                <a:gd name="T50" fmla="*/ 54 w 116"/>
                <a:gd name="T51" fmla="*/ 40 h 128"/>
                <a:gd name="T52" fmla="*/ 46 w 116"/>
                <a:gd name="T53" fmla="*/ 40 h 128"/>
                <a:gd name="T54" fmla="*/ 40 w 116"/>
                <a:gd name="T55" fmla="*/ 42 h 128"/>
                <a:gd name="T56" fmla="*/ 34 w 116"/>
                <a:gd name="T57" fmla="*/ 46 h 128"/>
                <a:gd name="T58" fmla="*/ 28 w 116"/>
                <a:gd name="T59" fmla="*/ 50 h 128"/>
                <a:gd name="T60" fmla="*/ 24 w 116"/>
                <a:gd name="T61" fmla="*/ 56 h 128"/>
                <a:gd name="T62" fmla="*/ 20 w 116"/>
                <a:gd name="T63" fmla="*/ 62 h 128"/>
                <a:gd name="T64" fmla="*/ 18 w 116"/>
                <a:gd name="T65" fmla="*/ 68 h 128"/>
                <a:gd name="T66" fmla="*/ 18 w 116"/>
                <a:gd name="T67" fmla="*/ 76 h 128"/>
                <a:gd name="T68" fmla="*/ 18 w 116"/>
                <a:gd name="T69" fmla="*/ 76 h 128"/>
                <a:gd name="T70" fmla="*/ 18 w 116"/>
                <a:gd name="T71" fmla="*/ 82 h 128"/>
                <a:gd name="T72" fmla="*/ 20 w 116"/>
                <a:gd name="T73" fmla="*/ 88 h 128"/>
                <a:gd name="T74" fmla="*/ 24 w 116"/>
                <a:gd name="T75" fmla="*/ 94 h 128"/>
                <a:gd name="T76" fmla="*/ 28 w 116"/>
                <a:gd name="T77" fmla="*/ 100 h 128"/>
                <a:gd name="T78" fmla="*/ 34 w 116"/>
                <a:gd name="T79" fmla="*/ 104 h 128"/>
                <a:gd name="T80" fmla="*/ 40 w 116"/>
                <a:gd name="T81" fmla="*/ 108 h 128"/>
                <a:gd name="T82" fmla="*/ 46 w 116"/>
                <a:gd name="T83" fmla="*/ 110 h 128"/>
                <a:gd name="T84" fmla="*/ 54 w 116"/>
                <a:gd name="T85" fmla="*/ 110 h 128"/>
                <a:gd name="T86" fmla="*/ 62 w 116"/>
                <a:gd name="T87" fmla="*/ 110 h 128"/>
                <a:gd name="T88" fmla="*/ 62 w 116"/>
                <a:gd name="T8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8">
                  <a:moveTo>
                    <a:pt x="62" y="128"/>
                  </a:moveTo>
                  <a:lnTo>
                    <a:pt x="54" y="128"/>
                  </a:lnTo>
                  <a:lnTo>
                    <a:pt x="54" y="128"/>
                  </a:lnTo>
                  <a:lnTo>
                    <a:pt x="42" y="128"/>
                  </a:lnTo>
                  <a:lnTo>
                    <a:pt x="32" y="124"/>
                  </a:lnTo>
                  <a:lnTo>
                    <a:pt x="24" y="120"/>
                  </a:lnTo>
                  <a:lnTo>
                    <a:pt x="16" y="112"/>
                  </a:lnTo>
                  <a:lnTo>
                    <a:pt x="8" y="106"/>
                  </a:lnTo>
                  <a:lnTo>
                    <a:pt x="4" y="96"/>
                  </a:lnTo>
                  <a:lnTo>
                    <a:pt x="0" y="86"/>
                  </a:lnTo>
                  <a:lnTo>
                    <a:pt x="0" y="76"/>
                  </a:lnTo>
                  <a:lnTo>
                    <a:pt x="0" y="76"/>
                  </a:lnTo>
                  <a:lnTo>
                    <a:pt x="0" y="64"/>
                  </a:lnTo>
                  <a:lnTo>
                    <a:pt x="4" y="54"/>
                  </a:lnTo>
                  <a:lnTo>
                    <a:pt x="8" y="46"/>
                  </a:lnTo>
                  <a:lnTo>
                    <a:pt x="16" y="38"/>
                  </a:lnTo>
                  <a:lnTo>
                    <a:pt x="24" y="30"/>
                  </a:lnTo>
                  <a:lnTo>
                    <a:pt x="32" y="26"/>
                  </a:lnTo>
                  <a:lnTo>
                    <a:pt x="42" y="22"/>
                  </a:lnTo>
                  <a:lnTo>
                    <a:pt x="54" y="22"/>
                  </a:lnTo>
                  <a:lnTo>
                    <a:pt x="74" y="22"/>
                  </a:lnTo>
                  <a:lnTo>
                    <a:pt x="64" y="14"/>
                  </a:lnTo>
                  <a:lnTo>
                    <a:pt x="78" y="0"/>
                  </a:lnTo>
                  <a:lnTo>
                    <a:pt x="116" y="40"/>
                  </a:lnTo>
                  <a:lnTo>
                    <a:pt x="54" y="40"/>
                  </a:lnTo>
                  <a:lnTo>
                    <a:pt x="54" y="40"/>
                  </a:lnTo>
                  <a:lnTo>
                    <a:pt x="46" y="40"/>
                  </a:lnTo>
                  <a:lnTo>
                    <a:pt x="40" y="42"/>
                  </a:lnTo>
                  <a:lnTo>
                    <a:pt x="34" y="46"/>
                  </a:lnTo>
                  <a:lnTo>
                    <a:pt x="28" y="50"/>
                  </a:lnTo>
                  <a:lnTo>
                    <a:pt x="24" y="56"/>
                  </a:lnTo>
                  <a:lnTo>
                    <a:pt x="20" y="62"/>
                  </a:lnTo>
                  <a:lnTo>
                    <a:pt x="18" y="68"/>
                  </a:lnTo>
                  <a:lnTo>
                    <a:pt x="18" y="76"/>
                  </a:lnTo>
                  <a:lnTo>
                    <a:pt x="18" y="76"/>
                  </a:lnTo>
                  <a:lnTo>
                    <a:pt x="18" y="82"/>
                  </a:lnTo>
                  <a:lnTo>
                    <a:pt x="20" y="88"/>
                  </a:lnTo>
                  <a:lnTo>
                    <a:pt x="24" y="94"/>
                  </a:lnTo>
                  <a:lnTo>
                    <a:pt x="28" y="100"/>
                  </a:lnTo>
                  <a:lnTo>
                    <a:pt x="34" y="104"/>
                  </a:lnTo>
                  <a:lnTo>
                    <a:pt x="40" y="108"/>
                  </a:lnTo>
                  <a:lnTo>
                    <a:pt x="46" y="110"/>
                  </a:lnTo>
                  <a:lnTo>
                    <a:pt x="54" y="110"/>
                  </a:lnTo>
                  <a:lnTo>
                    <a:pt x="62" y="110"/>
                  </a:lnTo>
                  <a:lnTo>
                    <a:pt x="6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3" name="Line 201">
              <a:extLst>
                <a:ext uri="{FF2B5EF4-FFF2-40B4-BE49-F238E27FC236}">
                  <a16:creationId xmlns:a16="http://schemas.microsoft.com/office/drawing/2014/main" id="{A239023C-E4D2-9834-EF4A-A5BBB36E97F3}"/>
                </a:ext>
              </a:extLst>
            </p:cNvPr>
            <p:cNvSpPr>
              <a:spLocks noChangeShapeType="1"/>
            </p:cNvSpPr>
            <p:nvPr/>
          </p:nvSpPr>
          <p:spPr bwMode="auto">
            <a:xfrm>
              <a:off x="991" y="31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4" name="Line 202">
              <a:extLst>
                <a:ext uri="{FF2B5EF4-FFF2-40B4-BE49-F238E27FC236}">
                  <a16:creationId xmlns:a16="http://schemas.microsoft.com/office/drawing/2014/main" id="{6C90115B-DECD-7CE6-311C-8B30D86F0A68}"/>
                </a:ext>
              </a:extLst>
            </p:cNvPr>
            <p:cNvSpPr>
              <a:spLocks noChangeShapeType="1"/>
            </p:cNvSpPr>
            <p:nvPr/>
          </p:nvSpPr>
          <p:spPr bwMode="auto">
            <a:xfrm>
              <a:off x="991" y="3162"/>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US" sz="1799"/>
            </a:p>
          </p:txBody>
        </p:sp>
        <p:sp>
          <p:nvSpPr>
            <p:cNvPr id="145" name="Line 203">
              <a:extLst>
                <a:ext uri="{FF2B5EF4-FFF2-40B4-BE49-F238E27FC236}">
                  <a16:creationId xmlns:a16="http://schemas.microsoft.com/office/drawing/2014/main" id="{87C6010F-B1A0-FE28-D99E-5095AC377168}"/>
                </a:ext>
              </a:extLst>
            </p:cNvPr>
            <p:cNvSpPr>
              <a:spLocks noChangeShapeType="1"/>
            </p:cNvSpPr>
            <p:nvPr/>
          </p:nvSpPr>
          <p:spPr bwMode="auto">
            <a:xfrm>
              <a:off x="899" y="3074"/>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46" name="Line 204">
              <a:extLst>
                <a:ext uri="{FF2B5EF4-FFF2-40B4-BE49-F238E27FC236}">
                  <a16:creationId xmlns:a16="http://schemas.microsoft.com/office/drawing/2014/main" id="{815B593B-F10A-218D-20C6-6C3701040F98}"/>
                </a:ext>
              </a:extLst>
            </p:cNvPr>
            <p:cNvSpPr>
              <a:spLocks noChangeShapeType="1"/>
            </p:cNvSpPr>
            <p:nvPr/>
          </p:nvSpPr>
          <p:spPr bwMode="auto">
            <a:xfrm>
              <a:off x="899" y="3074"/>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US" sz="1799"/>
            </a:p>
          </p:txBody>
        </p:sp>
      </p:grpSp>
      <p:sp>
        <p:nvSpPr>
          <p:cNvPr id="9" name="Content Placeholder 2" descr="Progress Diagram.">
            <a:extLst>
              <a:ext uri="{FF2B5EF4-FFF2-40B4-BE49-F238E27FC236}">
                <a16:creationId xmlns:a16="http://schemas.microsoft.com/office/drawing/2014/main" id="{3911ED87-AEE4-6E39-4334-3D421DDED78E}"/>
              </a:ext>
            </a:extLst>
          </p:cNvPr>
          <p:cNvSpPr txBox="1">
            <a:spLocks/>
          </p:cNvSpPr>
          <p:nvPr/>
        </p:nvSpPr>
        <p:spPr>
          <a:xfrm>
            <a:off x="1193569" y="1192037"/>
            <a:ext cx="565593" cy="1976999"/>
          </a:xfrm>
          <a:prstGeom prst="roundRect">
            <a:avLst>
              <a:gd name="adj" fmla="val 50000"/>
            </a:avLst>
          </a:prstGeom>
          <a:solidFill>
            <a:schemeClr val="bg1">
              <a:lumMod val="85000"/>
            </a:schemeClr>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943">
              <a:buNone/>
              <a:defRPr/>
            </a:pPr>
            <a:r>
              <a:rPr lang="en-US" sz="1199" b="1">
                <a:solidFill>
                  <a:schemeClr val="bg2"/>
                </a:solidFill>
              </a:rPr>
              <a:t>Phases:</a:t>
            </a:r>
          </a:p>
        </p:txBody>
      </p:sp>
      <p:sp>
        <p:nvSpPr>
          <p:cNvPr id="11" name="Content Placeholder 2" descr="Progress Diagram.">
            <a:extLst>
              <a:ext uri="{FF2B5EF4-FFF2-40B4-BE49-F238E27FC236}">
                <a16:creationId xmlns:a16="http://schemas.microsoft.com/office/drawing/2014/main" id="{42945354-CB94-B7D7-6A36-1136295D41A4}"/>
              </a:ext>
            </a:extLst>
          </p:cNvPr>
          <p:cNvSpPr txBox="1">
            <a:spLocks/>
          </p:cNvSpPr>
          <p:nvPr/>
        </p:nvSpPr>
        <p:spPr>
          <a:xfrm>
            <a:off x="1193569" y="3287173"/>
            <a:ext cx="565593" cy="2260314"/>
          </a:xfrm>
          <a:prstGeom prst="roundRect">
            <a:avLst>
              <a:gd name="adj" fmla="val 50000"/>
            </a:avLst>
          </a:prstGeom>
          <a:solidFill>
            <a:schemeClr val="bg1">
              <a:lumMod val="85000"/>
            </a:schemeClr>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943">
              <a:buNone/>
              <a:defRPr/>
            </a:pPr>
            <a:r>
              <a:rPr lang="en-US" sz="1199" b="1">
                <a:solidFill>
                  <a:schemeClr val="bg2"/>
                </a:solidFill>
              </a:rPr>
              <a:t>Approach description:</a:t>
            </a:r>
          </a:p>
        </p:txBody>
      </p:sp>
      <p:sp>
        <p:nvSpPr>
          <p:cNvPr id="12" name="Content Placeholder 2" descr="Progress Diagram.">
            <a:extLst>
              <a:ext uri="{FF2B5EF4-FFF2-40B4-BE49-F238E27FC236}">
                <a16:creationId xmlns:a16="http://schemas.microsoft.com/office/drawing/2014/main" id="{A487BC59-8D19-77A3-5FBA-6AAFD70B54F4}"/>
              </a:ext>
            </a:extLst>
          </p:cNvPr>
          <p:cNvSpPr txBox="1">
            <a:spLocks/>
          </p:cNvSpPr>
          <p:nvPr/>
        </p:nvSpPr>
        <p:spPr>
          <a:xfrm>
            <a:off x="1193569" y="5618522"/>
            <a:ext cx="565593" cy="848479"/>
          </a:xfrm>
          <a:prstGeom prst="roundRect">
            <a:avLst>
              <a:gd name="adj" fmla="val 50000"/>
            </a:avLst>
          </a:prstGeom>
          <a:solidFill>
            <a:schemeClr val="bg1">
              <a:lumMod val="85000"/>
            </a:schemeClr>
          </a:solidFill>
        </p:spPr>
        <p:txBody>
          <a:bodyPr vert="vert270"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943">
              <a:buNone/>
              <a:defRPr/>
            </a:pPr>
            <a:r>
              <a:rPr lang="en-US" sz="1199" b="1">
                <a:solidFill>
                  <a:schemeClr val="bg2"/>
                </a:solidFill>
              </a:rPr>
              <a:t>Timeline:</a:t>
            </a:r>
          </a:p>
        </p:txBody>
      </p:sp>
      <p:sp>
        <p:nvSpPr>
          <p:cNvPr id="17" name="AutoShape 27">
            <a:extLst>
              <a:ext uri="{FF2B5EF4-FFF2-40B4-BE49-F238E27FC236}">
                <a16:creationId xmlns:a16="http://schemas.microsoft.com/office/drawing/2014/main" id="{34464E87-1577-D340-184A-89BC3D2800BB}"/>
              </a:ext>
            </a:extLst>
          </p:cNvPr>
          <p:cNvSpPr>
            <a:spLocks noChangeArrowheads="1"/>
          </p:cNvSpPr>
          <p:nvPr/>
        </p:nvSpPr>
        <p:spPr bwMode="auto">
          <a:xfrm>
            <a:off x="5184522" y="5759078"/>
            <a:ext cx="2750742" cy="580907"/>
          </a:xfrm>
          <a:prstGeom prst="chevron">
            <a:avLst>
              <a:gd name="adj" fmla="val 32113"/>
            </a:avLst>
          </a:prstGeom>
          <a:solidFill>
            <a:srgbClr val="E6D000"/>
          </a:solidFill>
          <a:ln w="12700" cap="flat" cmpd="sng" algn="ctr">
            <a:noFill/>
            <a:prstDash val="dash"/>
          </a:ln>
          <a:effectLst/>
        </p:spPr>
        <p:txBody>
          <a:bodyPr rtlCol="0" anchor="ctr"/>
          <a:lstStyle/>
          <a:p>
            <a:pPr algn="ctr" defTabSz="913029">
              <a:defRPr/>
            </a:pPr>
            <a:r>
              <a:rPr lang="en-GB" sz="1099" b="1" kern="0">
                <a:solidFill>
                  <a:srgbClr val="000000"/>
                </a:solidFill>
                <a:latin typeface="EYInterstate Light"/>
                <a:cs typeface="Arial"/>
              </a:rPr>
              <a:t>Week 4-9</a:t>
            </a:r>
          </a:p>
        </p:txBody>
      </p:sp>
      <p:sp>
        <p:nvSpPr>
          <p:cNvPr id="18" name="AutoShape 33">
            <a:extLst>
              <a:ext uri="{FF2B5EF4-FFF2-40B4-BE49-F238E27FC236}">
                <a16:creationId xmlns:a16="http://schemas.microsoft.com/office/drawing/2014/main" id="{ADE85525-0436-9B8D-8717-9EF581C04171}"/>
              </a:ext>
            </a:extLst>
          </p:cNvPr>
          <p:cNvSpPr>
            <a:spLocks noChangeArrowheads="1"/>
          </p:cNvSpPr>
          <p:nvPr/>
        </p:nvSpPr>
        <p:spPr bwMode="auto">
          <a:xfrm>
            <a:off x="2338623" y="5759078"/>
            <a:ext cx="2628967" cy="580907"/>
          </a:xfrm>
          <a:prstGeom prst="chevron">
            <a:avLst>
              <a:gd name="adj" fmla="val 32456"/>
            </a:avLst>
          </a:prstGeom>
          <a:solidFill>
            <a:srgbClr val="FFE600"/>
          </a:solidFill>
          <a:ln w="12700" cap="flat" cmpd="sng" algn="ctr">
            <a:noFill/>
            <a:prstDash val="dash"/>
          </a:ln>
          <a:effectLst/>
        </p:spPr>
        <p:txBody>
          <a:bodyPr rtlCol="0" anchor="ctr"/>
          <a:lstStyle/>
          <a:p>
            <a:pPr algn="ctr" defTabSz="913029">
              <a:defRPr/>
            </a:pPr>
            <a:r>
              <a:rPr lang="en-GB" sz="1099" b="1" kern="0">
                <a:solidFill>
                  <a:srgbClr val="2E2E38"/>
                </a:solidFill>
                <a:latin typeface="EYInterstate Light"/>
                <a:cs typeface="Arial"/>
              </a:rPr>
              <a:t>Week 1-6</a:t>
            </a:r>
          </a:p>
        </p:txBody>
      </p:sp>
      <p:sp>
        <p:nvSpPr>
          <p:cNvPr id="19" name="AutoShape 33">
            <a:extLst>
              <a:ext uri="{FF2B5EF4-FFF2-40B4-BE49-F238E27FC236}">
                <a16:creationId xmlns:a16="http://schemas.microsoft.com/office/drawing/2014/main" id="{B9993BB8-C8D0-E047-D379-654F7B8AA661}"/>
              </a:ext>
            </a:extLst>
          </p:cNvPr>
          <p:cNvSpPr>
            <a:spLocks noChangeArrowheads="1"/>
          </p:cNvSpPr>
          <p:nvPr/>
        </p:nvSpPr>
        <p:spPr bwMode="auto">
          <a:xfrm>
            <a:off x="8152196" y="5759078"/>
            <a:ext cx="2628967" cy="580907"/>
          </a:xfrm>
          <a:prstGeom prst="chevron">
            <a:avLst>
              <a:gd name="adj" fmla="val 32456"/>
            </a:avLst>
          </a:prstGeom>
          <a:solidFill>
            <a:srgbClr val="BCAA00"/>
          </a:solidFill>
          <a:ln w="12700" cap="flat" cmpd="sng" algn="ctr">
            <a:noFill/>
            <a:prstDash val="dash"/>
          </a:ln>
          <a:effectLst/>
        </p:spPr>
        <p:txBody>
          <a:bodyPr rtlCol="0" anchor="ctr"/>
          <a:lstStyle/>
          <a:p>
            <a:pPr algn="ctr" defTabSz="913029">
              <a:defRPr/>
            </a:pPr>
            <a:r>
              <a:rPr lang="en-GB" sz="1049" b="1" kern="0">
                <a:solidFill>
                  <a:srgbClr val="2E2E38"/>
                </a:solidFill>
                <a:latin typeface="EYInterstate Light"/>
                <a:cs typeface="Arial"/>
              </a:rPr>
              <a:t>Week 10 onwards</a:t>
            </a:r>
          </a:p>
        </p:txBody>
      </p:sp>
      <p:grpSp>
        <p:nvGrpSpPr>
          <p:cNvPr id="3" name="Group 2">
            <a:extLst>
              <a:ext uri="{FF2B5EF4-FFF2-40B4-BE49-F238E27FC236}">
                <a16:creationId xmlns:a16="http://schemas.microsoft.com/office/drawing/2014/main" id="{7D34DFAD-4577-2CDF-C74A-BDA25985ECE0}"/>
              </a:ext>
            </a:extLst>
          </p:cNvPr>
          <p:cNvGrpSpPr>
            <a:grpSpLocks noChangeAspect="1"/>
          </p:cNvGrpSpPr>
          <p:nvPr/>
        </p:nvGrpSpPr>
        <p:grpSpPr>
          <a:xfrm>
            <a:off x="3436275" y="1788307"/>
            <a:ext cx="429566" cy="537282"/>
            <a:chOff x="8878888" y="1539875"/>
            <a:chExt cx="173038" cy="233363"/>
          </a:xfrm>
          <a:solidFill>
            <a:schemeClr val="bg1"/>
          </a:solidFill>
        </p:grpSpPr>
        <p:sp>
          <p:nvSpPr>
            <p:cNvPr id="4" name="Freeform 5">
              <a:extLst>
                <a:ext uri="{FF2B5EF4-FFF2-40B4-BE49-F238E27FC236}">
                  <a16:creationId xmlns:a16="http://schemas.microsoft.com/office/drawing/2014/main" id="{1D93DF88-CA76-227D-AA0C-E346269FB849}"/>
                </a:ext>
              </a:extLst>
            </p:cNvPr>
            <p:cNvSpPr>
              <a:spLocks noEditPoints="1"/>
            </p:cNvSpPr>
            <p:nvPr/>
          </p:nvSpPr>
          <p:spPr bwMode="auto">
            <a:xfrm>
              <a:off x="8891588" y="1554163"/>
              <a:ext cx="146050" cy="204788"/>
            </a:xfrm>
            <a:custGeom>
              <a:avLst/>
              <a:gdLst>
                <a:gd name="T0" fmla="*/ 28 w 92"/>
                <a:gd name="T1" fmla="*/ 87 h 129"/>
                <a:gd name="T2" fmla="*/ 22 w 92"/>
                <a:gd name="T3" fmla="*/ 84 h 129"/>
                <a:gd name="T4" fmla="*/ 14 w 92"/>
                <a:gd name="T5" fmla="*/ 78 h 129"/>
                <a:gd name="T6" fmla="*/ 8 w 92"/>
                <a:gd name="T7" fmla="*/ 71 h 129"/>
                <a:gd name="T8" fmla="*/ 3 w 92"/>
                <a:gd name="T9" fmla="*/ 62 h 129"/>
                <a:gd name="T10" fmla="*/ 1 w 92"/>
                <a:gd name="T11" fmla="*/ 52 h 129"/>
                <a:gd name="T12" fmla="*/ 0 w 92"/>
                <a:gd name="T13" fmla="*/ 46 h 129"/>
                <a:gd name="T14" fmla="*/ 3 w 92"/>
                <a:gd name="T15" fmla="*/ 32 h 129"/>
                <a:gd name="T16" fmla="*/ 8 w 92"/>
                <a:gd name="T17" fmla="*/ 20 h 129"/>
                <a:gd name="T18" fmla="*/ 17 w 92"/>
                <a:gd name="T19" fmla="*/ 10 h 129"/>
                <a:gd name="T20" fmla="*/ 28 w 92"/>
                <a:gd name="T21" fmla="*/ 4 h 129"/>
                <a:gd name="T22" fmla="*/ 41 w 92"/>
                <a:gd name="T23" fmla="*/ 0 h 129"/>
                <a:gd name="T24" fmla="*/ 51 w 92"/>
                <a:gd name="T25" fmla="*/ 0 h 129"/>
                <a:gd name="T26" fmla="*/ 64 w 92"/>
                <a:gd name="T27" fmla="*/ 4 h 129"/>
                <a:gd name="T28" fmla="*/ 75 w 92"/>
                <a:gd name="T29" fmla="*/ 10 h 129"/>
                <a:gd name="T30" fmla="*/ 84 w 92"/>
                <a:gd name="T31" fmla="*/ 20 h 129"/>
                <a:gd name="T32" fmla="*/ 90 w 92"/>
                <a:gd name="T33" fmla="*/ 32 h 129"/>
                <a:gd name="T34" fmla="*/ 92 w 92"/>
                <a:gd name="T35" fmla="*/ 46 h 129"/>
                <a:gd name="T36" fmla="*/ 91 w 92"/>
                <a:gd name="T37" fmla="*/ 52 h 129"/>
                <a:gd name="T38" fmla="*/ 89 w 92"/>
                <a:gd name="T39" fmla="*/ 62 h 129"/>
                <a:gd name="T40" fmla="*/ 84 w 92"/>
                <a:gd name="T41" fmla="*/ 71 h 129"/>
                <a:gd name="T42" fmla="*/ 78 w 92"/>
                <a:gd name="T43" fmla="*/ 79 h 129"/>
                <a:gd name="T44" fmla="*/ 70 w 92"/>
                <a:gd name="T45" fmla="*/ 85 h 129"/>
                <a:gd name="T46" fmla="*/ 64 w 92"/>
                <a:gd name="T47" fmla="*/ 129 h 129"/>
                <a:gd name="T48" fmla="*/ 60 w 92"/>
                <a:gd name="T49" fmla="*/ 85 h 129"/>
                <a:gd name="T50" fmla="*/ 64 w 92"/>
                <a:gd name="T51" fmla="*/ 83 h 129"/>
                <a:gd name="T52" fmla="*/ 72 w 92"/>
                <a:gd name="T53" fmla="*/ 79 h 129"/>
                <a:gd name="T54" fmla="*/ 79 w 92"/>
                <a:gd name="T55" fmla="*/ 72 h 129"/>
                <a:gd name="T56" fmla="*/ 84 w 92"/>
                <a:gd name="T57" fmla="*/ 64 h 129"/>
                <a:gd name="T58" fmla="*/ 87 w 92"/>
                <a:gd name="T59" fmla="*/ 55 h 129"/>
                <a:gd name="T60" fmla="*/ 88 w 92"/>
                <a:gd name="T61" fmla="*/ 46 h 129"/>
                <a:gd name="T62" fmla="*/ 88 w 92"/>
                <a:gd name="T63" fmla="*/ 37 h 129"/>
                <a:gd name="T64" fmla="*/ 84 w 92"/>
                <a:gd name="T65" fmla="*/ 26 h 129"/>
                <a:gd name="T66" fmla="*/ 76 w 92"/>
                <a:gd name="T67" fmla="*/ 16 h 129"/>
                <a:gd name="T68" fmla="*/ 66 w 92"/>
                <a:gd name="T69" fmla="*/ 9 h 129"/>
                <a:gd name="T70" fmla="*/ 55 w 92"/>
                <a:gd name="T71" fmla="*/ 4 h 129"/>
                <a:gd name="T72" fmla="*/ 46 w 92"/>
                <a:gd name="T73" fmla="*/ 4 h 129"/>
                <a:gd name="T74" fmla="*/ 33 w 92"/>
                <a:gd name="T75" fmla="*/ 6 h 129"/>
                <a:gd name="T76" fmla="*/ 22 w 92"/>
                <a:gd name="T77" fmla="*/ 11 h 129"/>
                <a:gd name="T78" fmla="*/ 14 w 92"/>
                <a:gd name="T79" fmla="*/ 19 h 129"/>
                <a:gd name="T80" fmla="*/ 7 w 92"/>
                <a:gd name="T81" fmla="*/ 29 h 129"/>
                <a:gd name="T82" fmla="*/ 4 w 92"/>
                <a:gd name="T83" fmla="*/ 42 h 129"/>
                <a:gd name="T84" fmla="*/ 4 w 92"/>
                <a:gd name="T85" fmla="*/ 49 h 129"/>
                <a:gd name="T86" fmla="*/ 6 w 92"/>
                <a:gd name="T87" fmla="*/ 58 h 129"/>
                <a:gd name="T88" fmla="*/ 11 w 92"/>
                <a:gd name="T89" fmla="*/ 69 h 129"/>
                <a:gd name="T90" fmla="*/ 19 w 92"/>
                <a:gd name="T91" fmla="*/ 78 h 129"/>
                <a:gd name="T92" fmla="*/ 27 w 92"/>
                <a:gd name="T93" fmla="*/ 83 h 129"/>
                <a:gd name="T94" fmla="*/ 31 w 92"/>
                <a:gd name="T95" fmla="*/ 12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129">
                  <a:moveTo>
                    <a:pt x="64" y="129"/>
                  </a:moveTo>
                  <a:lnTo>
                    <a:pt x="28" y="129"/>
                  </a:lnTo>
                  <a:lnTo>
                    <a:pt x="28" y="87"/>
                  </a:lnTo>
                  <a:lnTo>
                    <a:pt x="28" y="87"/>
                  </a:lnTo>
                  <a:lnTo>
                    <a:pt x="25" y="86"/>
                  </a:lnTo>
                  <a:lnTo>
                    <a:pt x="22" y="84"/>
                  </a:lnTo>
                  <a:lnTo>
                    <a:pt x="19" y="82"/>
                  </a:lnTo>
                  <a:lnTo>
                    <a:pt x="17" y="81"/>
                  </a:lnTo>
                  <a:lnTo>
                    <a:pt x="14" y="78"/>
                  </a:lnTo>
                  <a:lnTo>
                    <a:pt x="12" y="76"/>
                  </a:lnTo>
                  <a:lnTo>
                    <a:pt x="10" y="73"/>
                  </a:lnTo>
                  <a:lnTo>
                    <a:pt x="8" y="71"/>
                  </a:lnTo>
                  <a:lnTo>
                    <a:pt x="6" y="68"/>
                  </a:lnTo>
                  <a:lnTo>
                    <a:pt x="4" y="65"/>
                  </a:lnTo>
                  <a:lnTo>
                    <a:pt x="3" y="62"/>
                  </a:lnTo>
                  <a:lnTo>
                    <a:pt x="2" y="59"/>
                  </a:lnTo>
                  <a:lnTo>
                    <a:pt x="1" y="55"/>
                  </a:lnTo>
                  <a:lnTo>
                    <a:pt x="1" y="52"/>
                  </a:lnTo>
                  <a:lnTo>
                    <a:pt x="0" y="49"/>
                  </a:lnTo>
                  <a:lnTo>
                    <a:pt x="0" y="46"/>
                  </a:lnTo>
                  <a:lnTo>
                    <a:pt x="0" y="46"/>
                  </a:lnTo>
                  <a:lnTo>
                    <a:pt x="1" y="41"/>
                  </a:lnTo>
                  <a:lnTo>
                    <a:pt x="1" y="37"/>
                  </a:lnTo>
                  <a:lnTo>
                    <a:pt x="3" y="32"/>
                  </a:lnTo>
                  <a:lnTo>
                    <a:pt x="4" y="28"/>
                  </a:lnTo>
                  <a:lnTo>
                    <a:pt x="6" y="24"/>
                  </a:lnTo>
                  <a:lnTo>
                    <a:pt x="8" y="20"/>
                  </a:lnTo>
                  <a:lnTo>
                    <a:pt x="11" y="16"/>
                  </a:lnTo>
                  <a:lnTo>
                    <a:pt x="14" y="13"/>
                  </a:lnTo>
                  <a:lnTo>
                    <a:pt x="17" y="10"/>
                  </a:lnTo>
                  <a:lnTo>
                    <a:pt x="20" y="8"/>
                  </a:lnTo>
                  <a:lnTo>
                    <a:pt x="24" y="6"/>
                  </a:lnTo>
                  <a:lnTo>
                    <a:pt x="28" y="4"/>
                  </a:lnTo>
                  <a:lnTo>
                    <a:pt x="33" y="2"/>
                  </a:lnTo>
                  <a:lnTo>
                    <a:pt x="37" y="1"/>
                  </a:lnTo>
                  <a:lnTo>
                    <a:pt x="41" y="0"/>
                  </a:lnTo>
                  <a:lnTo>
                    <a:pt x="46" y="0"/>
                  </a:lnTo>
                  <a:lnTo>
                    <a:pt x="46" y="0"/>
                  </a:lnTo>
                  <a:lnTo>
                    <a:pt x="51" y="0"/>
                  </a:lnTo>
                  <a:lnTo>
                    <a:pt x="55" y="1"/>
                  </a:lnTo>
                  <a:lnTo>
                    <a:pt x="60" y="2"/>
                  </a:lnTo>
                  <a:lnTo>
                    <a:pt x="64" y="4"/>
                  </a:lnTo>
                  <a:lnTo>
                    <a:pt x="68" y="6"/>
                  </a:lnTo>
                  <a:lnTo>
                    <a:pt x="72" y="8"/>
                  </a:lnTo>
                  <a:lnTo>
                    <a:pt x="75" y="10"/>
                  </a:lnTo>
                  <a:lnTo>
                    <a:pt x="79" y="13"/>
                  </a:lnTo>
                  <a:lnTo>
                    <a:pt x="81" y="16"/>
                  </a:lnTo>
                  <a:lnTo>
                    <a:pt x="84" y="20"/>
                  </a:lnTo>
                  <a:lnTo>
                    <a:pt x="86" y="24"/>
                  </a:lnTo>
                  <a:lnTo>
                    <a:pt x="88" y="28"/>
                  </a:lnTo>
                  <a:lnTo>
                    <a:pt x="90" y="32"/>
                  </a:lnTo>
                  <a:lnTo>
                    <a:pt x="91" y="37"/>
                  </a:lnTo>
                  <a:lnTo>
                    <a:pt x="91" y="41"/>
                  </a:lnTo>
                  <a:lnTo>
                    <a:pt x="92" y="46"/>
                  </a:lnTo>
                  <a:lnTo>
                    <a:pt x="92" y="46"/>
                  </a:lnTo>
                  <a:lnTo>
                    <a:pt x="92" y="49"/>
                  </a:lnTo>
                  <a:lnTo>
                    <a:pt x="91" y="52"/>
                  </a:lnTo>
                  <a:lnTo>
                    <a:pt x="91" y="56"/>
                  </a:lnTo>
                  <a:lnTo>
                    <a:pt x="90" y="59"/>
                  </a:lnTo>
                  <a:lnTo>
                    <a:pt x="89" y="62"/>
                  </a:lnTo>
                  <a:lnTo>
                    <a:pt x="88" y="65"/>
                  </a:lnTo>
                  <a:lnTo>
                    <a:pt x="86" y="68"/>
                  </a:lnTo>
                  <a:lnTo>
                    <a:pt x="84" y="71"/>
                  </a:lnTo>
                  <a:lnTo>
                    <a:pt x="82" y="74"/>
                  </a:lnTo>
                  <a:lnTo>
                    <a:pt x="80" y="76"/>
                  </a:lnTo>
                  <a:lnTo>
                    <a:pt x="78" y="79"/>
                  </a:lnTo>
                  <a:lnTo>
                    <a:pt x="76" y="81"/>
                  </a:lnTo>
                  <a:lnTo>
                    <a:pt x="73" y="83"/>
                  </a:lnTo>
                  <a:lnTo>
                    <a:pt x="70" y="85"/>
                  </a:lnTo>
                  <a:lnTo>
                    <a:pt x="67" y="86"/>
                  </a:lnTo>
                  <a:lnTo>
                    <a:pt x="64" y="88"/>
                  </a:lnTo>
                  <a:lnTo>
                    <a:pt x="64" y="129"/>
                  </a:lnTo>
                  <a:close/>
                  <a:moveTo>
                    <a:pt x="31" y="126"/>
                  </a:moveTo>
                  <a:lnTo>
                    <a:pt x="60" y="126"/>
                  </a:lnTo>
                  <a:lnTo>
                    <a:pt x="60" y="85"/>
                  </a:lnTo>
                  <a:lnTo>
                    <a:pt x="61" y="85"/>
                  </a:lnTo>
                  <a:lnTo>
                    <a:pt x="61" y="85"/>
                  </a:lnTo>
                  <a:lnTo>
                    <a:pt x="64" y="83"/>
                  </a:lnTo>
                  <a:lnTo>
                    <a:pt x="68" y="82"/>
                  </a:lnTo>
                  <a:lnTo>
                    <a:pt x="70" y="81"/>
                  </a:lnTo>
                  <a:lnTo>
                    <a:pt x="72" y="79"/>
                  </a:lnTo>
                  <a:lnTo>
                    <a:pt x="75" y="76"/>
                  </a:lnTo>
                  <a:lnTo>
                    <a:pt x="77" y="74"/>
                  </a:lnTo>
                  <a:lnTo>
                    <a:pt x="79" y="72"/>
                  </a:lnTo>
                  <a:lnTo>
                    <a:pt x="81" y="69"/>
                  </a:lnTo>
                  <a:lnTo>
                    <a:pt x="83" y="67"/>
                  </a:lnTo>
                  <a:lnTo>
                    <a:pt x="84" y="64"/>
                  </a:lnTo>
                  <a:lnTo>
                    <a:pt x="85" y="61"/>
                  </a:lnTo>
                  <a:lnTo>
                    <a:pt x="87" y="58"/>
                  </a:lnTo>
                  <a:lnTo>
                    <a:pt x="87" y="55"/>
                  </a:lnTo>
                  <a:lnTo>
                    <a:pt x="88" y="52"/>
                  </a:lnTo>
                  <a:lnTo>
                    <a:pt x="88" y="49"/>
                  </a:lnTo>
                  <a:lnTo>
                    <a:pt x="88" y="46"/>
                  </a:lnTo>
                  <a:lnTo>
                    <a:pt x="88" y="46"/>
                  </a:lnTo>
                  <a:lnTo>
                    <a:pt x="88" y="42"/>
                  </a:lnTo>
                  <a:lnTo>
                    <a:pt x="88" y="37"/>
                  </a:lnTo>
                  <a:lnTo>
                    <a:pt x="87" y="33"/>
                  </a:lnTo>
                  <a:lnTo>
                    <a:pt x="85" y="29"/>
                  </a:lnTo>
                  <a:lnTo>
                    <a:pt x="84" y="26"/>
                  </a:lnTo>
                  <a:lnTo>
                    <a:pt x="81" y="22"/>
                  </a:lnTo>
                  <a:lnTo>
                    <a:pt x="79" y="19"/>
                  </a:lnTo>
                  <a:lnTo>
                    <a:pt x="76" y="16"/>
                  </a:lnTo>
                  <a:lnTo>
                    <a:pt x="73" y="13"/>
                  </a:lnTo>
                  <a:lnTo>
                    <a:pt x="70" y="11"/>
                  </a:lnTo>
                  <a:lnTo>
                    <a:pt x="66" y="9"/>
                  </a:lnTo>
                  <a:lnTo>
                    <a:pt x="63" y="7"/>
                  </a:lnTo>
                  <a:lnTo>
                    <a:pt x="59" y="6"/>
                  </a:lnTo>
                  <a:lnTo>
                    <a:pt x="55" y="4"/>
                  </a:lnTo>
                  <a:lnTo>
                    <a:pt x="50" y="4"/>
                  </a:lnTo>
                  <a:lnTo>
                    <a:pt x="46" y="4"/>
                  </a:lnTo>
                  <a:lnTo>
                    <a:pt x="46" y="4"/>
                  </a:lnTo>
                  <a:lnTo>
                    <a:pt x="42" y="4"/>
                  </a:lnTo>
                  <a:lnTo>
                    <a:pt x="37" y="4"/>
                  </a:lnTo>
                  <a:lnTo>
                    <a:pt x="33" y="6"/>
                  </a:lnTo>
                  <a:lnTo>
                    <a:pt x="30" y="7"/>
                  </a:lnTo>
                  <a:lnTo>
                    <a:pt x="26" y="9"/>
                  </a:lnTo>
                  <a:lnTo>
                    <a:pt x="22" y="11"/>
                  </a:lnTo>
                  <a:lnTo>
                    <a:pt x="19" y="13"/>
                  </a:lnTo>
                  <a:lnTo>
                    <a:pt x="16" y="16"/>
                  </a:lnTo>
                  <a:lnTo>
                    <a:pt x="14" y="19"/>
                  </a:lnTo>
                  <a:lnTo>
                    <a:pt x="11" y="22"/>
                  </a:lnTo>
                  <a:lnTo>
                    <a:pt x="9" y="26"/>
                  </a:lnTo>
                  <a:lnTo>
                    <a:pt x="7" y="29"/>
                  </a:lnTo>
                  <a:lnTo>
                    <a:pt x="6" y="33"/>
                  </a:lnTo>
                  <a:lnTo>
                    <a:pt x="4" y="37"/>
                  </a:lnTo>
                  <a:lnTo>
                    <a:pt x="4" y="42"/>
                  </a:lnTo>
                  <a:lnTo>
                    <a:pt x="4" y="46"/>
                  </a:lnTo>
                  <a:lnTo>
                    <a:pt x="4" y="46"/>
                  </a:lnTo>
                  <a:lnTo>
                    <a:pt x="4" y="49"/>
                  </a:lnTo>
                  <a:lnTo>
                    <a:pt x="4" y="52"/>
                  </a:lnTo>
                  <a:lnTo>
                    <a:pt x="5" y="55"/>
                  </a:lnTo>
                  <a:lnTo>
                    <a:pt x="6" y="58"/>
                  </a:lnTo>
                  <a:lnTo>
                    <a:pt x="7" y="61"/>
                  </a:lnTo>
                  <a:lnTo>
                    <a:pt x="8" y="64"/>
                  </a:lnTo>
                  <a:lnTo>
                    <a:pt x="11" y="69"/>
                  </a:lnTo>
                  <a:lnTo>
                    <a:pt x="15" y="74"/>
                  </a:lnTo>
                  <a:lnTo>
                    <a:pt x="17" y="76"/>
                  </a:lnTo>
                  <a:lnTo>
                    <a:pt x="19" y="78"/>
                  </a:lnTo>
                  <a:lnTo>
                    <a:pt x="22" y="80"/>
                  </a:lnTo>
                  <a:lnTo>
                    <a:pt x="25" y="82"/>
                  </a:lnTo>
                  <a:lnTo>
                    <a:pt x="27" y="83"/>
                  </a:lnTo>
                  <a:lnTo>
                    <a:pt x="30" y="85"/>
                  </a:lnTo>
                  <a:lnTo>
                    <a:pt x="31" y="85"/>
                  </a:lnTo>
                  <a:lnTo>
                    <a:pt x="31" y="126"/>
                  </a:lnTo>
                  <a:close/>
                </a:path>
              </a:pathLst>
            </a:cu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6" name="Freeform 6">
              <a:extLst>
                <a:ext uri="{FF2B5EF4-FFF2-40B4-BE49-F238E27FC236}">
                  <a16:creationId xmlns:a16="http://schemas.microsoft.com/office/drawing/2014/main" id="{3BD3C0DF-C006-82AC-EE76-ED401A334B7D}"/>
                </a:ext>
              </a:extLst>
            </p:cNvPr>
            <p:cNvSpPr>
              <a:spLocks noEditPoints="1"/>
            </p:cNvSpPr>
            <p:nvPr/>
          </p:nvSpPr>
          <p:spPr bwMode="auto">
            <a:xfrm>
              <a:off x="8948738" y="1754188"/>
              <a:ext cx="31750" cy="19050"/>
            </a:xfrm>
            <a:custGeom>
              <a:avLst/>
              <a:gdLst>
                <a:gd name="T0" fmla="*/ 15 w 20"/>
                <a:gd name="T1" fmla="*/ 12 h 12"/>
                <a:gd name="T2" fmla="*/ 5 w 20"/>
                <a:gd name="T3" fmla="*/ 12 h 12"/>
                <a:gd name="T4" fmla="*/ 0 w 20"/>
                <a:gd name="T5" fmla="*/ 0 h 12"/>
                <a:gd name="T6" fmla="*/ 20 w 20"/>
                <a:gd name="T7" fmla="*/ 0 h 12"/>
                <a:gd name="T8" fmla="*/ 15 w 20"/>
                <a:gd name="T9" fmla="*/ 12 h 12"/>
                <a:gd name="T10" fmla="*/ 8 w 20"/>
                <a:gd name="T11" fmla="*/ 8 h 12"/>
                <a:gd name="T12" fmla="*/ 13 w 20"/>
                <a:gd name="T13" fmla="*/ 8 h 12"/>
                <a:gd name="T14" fmla="*/ 14 w 20"/>
                <a:gd name="T15" fmla="*/ 3 h 12"/>
                <a:gd name="T16" fmla="*/ 6 w 20"/>
                <a:gd name="T17" fmla="*/ 3 h 12"/>
                <a:gd name="T18" fmla="*/ 8 w 20"/>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5" y="12"/>
                  </a:moveTo>
                  <a:lnTo>
                    <a:pt x="5" y="12"/>
                  </a:lnTo>
                  <a:lnTo>
                    <a:pt x="0" y="0"/>
                  </a:lnTo>
                  <a:lnTo>
                    <a:pt x="20" y="0"/>
                  </a:lnTo>
                  <a:lnTo>
                    <a:pt x="15" y="12"/>
                  </a:lnTo>
                  <a:close/>
                  <a:moveTo>
                    <a:pt x="8" y="8"/>
                  </a:moveTo>
                  <a:lnTo>
                    <a:pt x="13" y="8"/>
                  </a:lnTo>
                  <a:lnTo>
                    <a:pt x="14" y="3"/>
                  </a:lnTo>
                  <a:lnTo>
                    <a:pt x="6" y="3"/>
                  </a:lnTo>
                  <a:lnTo>
                    <a:pt x="8" y="8"/>
                  </a:lnTo>
                  <a:close/>
                </a:path>
              </a:pathLst>
            </a:cu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7" name="Rectangle 7">
              <a:extLst>
                <a:ext uri="{FF2B5EF4-FFF2-40B4-BE49-F238E27FC236}">
                  <a16:creationId xmlns:a16="http://schemas.microsoft.com/office/drawing/2014/main" id="{275D0284-1676-76A1-8D58-D654D5845021}"/>
                </a:ext>
              </a:extLst>
            </p:cNvPr>
            <p:cNvSpPr>
              <a:spLocks noChangeArrowheads="1"/>
            </p:cNvSpPr>
            <p:nvPr/>
          </p:nvSpPr>
          <p:spPr bwMode="auto">
            <a:xfrm>
              <a:off x="8923338" y="1712913"/>
              <a:ext cx="82550" cy="4763"/>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13" name="Rectangle 9">
              <a:extLst>
                <a:ext uri="{FF2B5EF4-FFF2-40B4-BE49-F238E27FC236}">
                  <a16:creationId xmlns:a16="http://schemas.microsoft.com/office/drawing/2014/main" id="{D0F8DA43-05F2-507C-3CEA-0E189EE2EA5D}"/>
                </a:ext>
              </a:extLst>
            </p:cNvPr>
            <p:cNvSpPr>
              <a:spLocks noChangeArrowheads="1"/>
            </p:cNvSpPr>
            <p:nvPr/>
          </p:nvSpPr>
          <p:spPr bwMode="auto">
            <a:xfrm>
              <a:off x="8923338" y="1738313"/>
              <a:ext cx="82550" cy="4763"/>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14" name="Rectangle 10">
              <a:extLst>
                <a:ext uri="{FF2B5EF4-FFF2-40B4-BE49-F238E27FC236}">
                  <a16:creationId xmlns:a16="http://schemas.microsoft.com/office/drawing/2014/main" id="{F92C184F-8612-6D45-83EB-EBF5CD242E4E}"/>
                </a:ext>
              </a:extLst>
            </p:cNvPr>
            <p:cNvSpPr>
              <a:spLocks noChangeArrowheads="1"/>
            </p:cNvSpPr>
            <p:nvPr/>
          </p:nvSpPr>
          <p:spPr bwMode="auto">
            <a:xfrm>
              <a:off x="8918576" y="1550988"/>
              <a:ext cx="4763"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15" name="Rectangle 11">
              <a:extLst>
                <a:ext uri="{FF2B5EF4-FFF2-40B4-BE49-F238E27FC236}">
                  <a16:creationId xmlns:a16="http://schemas.microsoft.com/office/drawing/2014/main" id="{DFAD19AF-73E9-5854-4AC2-2ED81131F5EE}"/>
                </a:ext>
              </a:extLst>
            </p:cNvPr>
            <p:cNvSpPr>
              <a:spLocks noChangeArrowheads="1"/>
            </p:cNvSpPr>
            <p:nvPr/>
          </p:nvSpPr>
          <p:spPr bwMode="auto">
            <a:xfrm>
              <a:off x="8888413" y="1577975"/>
              <a:ext cx="4763" cy="9525"/>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16" name="Rectangle 12">
              <a:extLst>
                <a:ext uri="{FF2B5EF4-FFF2-40B4-BE49-F238E27FC236}">
                  <a16:creationId xmlns:a16="http://schemas.microsoft.com/office/drawing/2014/main" id="{5E61EE95-C7CB-026A-5B30-B7BE472CF53D}"/>
                </a:ext>
              </a:extLst>
            </p:cNvPr>
            <p:cNvSpPr>
              <a:spLocks noChangeArrowheads="1"/>
            </p:cNvSpPr>
            <p:nvPr/>
          </p:nvSpPr>
          <p:spPr bwMode="auto">
            <a:xfrm>
              <a:off x="8961438" y="1539875"/>
              <a:ext cx="6350"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21" name="Rectangle 13">
              <a:extLst>
                <a:ext uri="{FF2B5EF4-FFF2-40B4-BE49-F238E27FC236}">
                  <a16:creationId xmlns:a16="http://schemas.microsoft.com/office/drawing/2014/main" id="{46DF4743-3438-D267-1501-0E2EA9CCEF21}"/>
                </a:ext>
              </a:extLst>
            </p:cNvPr>
            <p:cNvSpPr>
              <a:spLocks noChangeArrowheads="1"/>
            </p:cNvSpPr>
            <p:nvPr/>
          </p:nvSpPr>
          <p:spPr bwMode="auto">
            <a:xfrm>
              <a:off x="9005888" y="1550988"/>
              <a:ext cx="4763"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22" name="Rectangle 14">
              <a:extLst>
                <a:ext uri="{FF2B5EF4-FFF2-40B4-BE49-F238E27FC236}">
                  <a16:creationId xmlns:a16="http://schemas.microsoft.com/office/drawing/2014/main" id="{5330D432-3C71-7299-DF77-3ED0E28A1E5E}"/>
                </a:ext>
              </a:extLst>
            </p:cNvPr>
            <p:cNvSpPr>
              <a:spLocks noChangeArrowheads="1"/>
            </p:cNvSpPr>
            <p:nvPr/>
          </p:nvSpPr>
          <p:spPr bwMode="auto">
            <a:xfrm>
              <a:off x="9034463" y="1577975"/>
              <a:ext cx="4763" cy="9525"/>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25" name="Rectangle 15">
              <a:extLst>
                <a:ext uri="{FF2B5EF4-FFF2-40B4-BE49-F238E27FC236}">
                  <a16:creationId xmlns:a16="http://schemas.microsoft.com/office/drawing/2014/main" id="{2AD94348-D87D-A1C8-E1B2-011BD5F0DE85}"/>
                </a:ext>
              </a:extLst>
            </p:cNvPr>
            <p:cNvSpPr>
              <a:spLocks noChangeArrowheads="1"/>
            </p:cNvSpPr>
            <p:nvPr/>
          </p:nvSpPr>
          <p:spPr bwMode="auto">
            <a:xfrm>
              <a:off x="8888413" y="1666875"/>
              <a:ext cx="4763"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27" name="Rectangle 16">
              <a:extLst>
                <a:ext uri="{FF2B5EF4-FFF2-40B4-BE49-F238E27FC236}">
                  <a16:creationId xmlns:a16="http://schemas.microsoft.com/office/drawing/2014/main" id="{F96E72CB-68AA-2E96-04B4-1E09EDCE4FC3}"/>
                </a:ext>
              </a:extLst>
            </p:cNvPr>
            <p:cNvSpPr>
              <a:spLocks noChangeArrowheads="1"/>
            </p:cNvSpPr>
            <p:nvPr/>
          </p:nvSpPr>
          <p:spPr bwMode="auto">
            <a:xfrm>
              <a:off x="9034463" y="1666875"/>
              <a:ext cx="4763"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1" name="Rectangle 17">
              <a:extLst>
                <a:ext uri="{FF2B5EF4-FFF2-40B4-BE49-F238E27FC236}">
                  <a16:creationId xmlns:a16="http://schemas.microsoft.com/office/drawing/2014/main" id="{4F28934E-C453-321C-8CD4-67F7E10EB14E}"/>
                </a:ext>
              </a:extLst>
            </p:cNvPr>
            <p:cNvSpPr>
              <a:spLocks noChangeArrowheads="1"/>
            </p:cNvSpPr>
            <p:nvPr/>
          </p:nvSpPr>
          <p:spPr bwMode="auto">
            <a:xfrm>
              <a:off x="9045576" y="1619250"/>
              <a:ext cx="6350" cy="9525"/>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2" name="Rectangle 18">
              <a:extLst>
                <a:ext uri="{FF2B5EF4-FFF2-40B4-BE49-F238E27FC236}">
                  <a16:creationId xmlns:a16="http://schemas.microsoft.com/office/drawing/2014/main" id="{64B047CC-D3A2-9E0A-27BA-23C718BA7413}"/>
                </a:ext>
              </a:extLst>
            </p:cNvPr>
            <p:cNvSpPr>
              <a:spLocks noChangeArrowheads="1"/>
            </p:cNvSpPr>
            <p:nvPr/>
          </p:nvSpPr>
          <p:spPr bwMode="auto">
            <a:xfrm>
              <a:off x="8878888" y="1619250"/>
              <a:ext cx="6350" cy="9525"/>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3" name="Freeform 19">
              <a:extLst>
                <a:ext uri="{FF2B5EF4-FFF2-40B4-BE49-F238E27FC236}">
                  <a16:creationId xmlns:a16="http://schemas.microsoft.com/office/drawing/2014/main" id="{24CEAD6B-86C8-4A30-F9C8-15BBFB81E399}"/>
                </a:ext>
              </a:extLst>
            </p:cNvPr>
            <p:cNvSpPr>
              <a:spLocks/>
            </p:cNvSpPr>
            <p:nvPr/>
          </p:nvSpPr>
          <p:spPr bwMode="auto">
            <a:xfrm>
              <a:off x="8910638" y="1573213"/>
              <a:ext cx="107950" cy="144463"/>
            </a:xfrm>
            <a:custGeom>
              <a:avLst/>
              <a:gdLst>
                <a:gd name="T0" fmla="*/ 25 w 68"/>
                <a:gd name="T1" fmla="*/ 66 h 91"/>
                <a:gd name="T2" fmla="*/ 20 w 68"/>
                <a:gd name="T3" fmla="*/ 64 h 91"/>
                <a:gd name="T4" fmla="*/ 11 w 68"/>
                <a:gd name="T5" fmla="*/ 58 h 91"/>
                <a:gd name="T6" fmla="*/ 2 w 68"/>
                <a:gd name="T7" fmla="*/ 45 h 91"/>
                <a:gd name="T8" fmla="*/ 0 w 68"/>
                <a:gd name="T9" fmla="*/ 36 h 91"/>
                <a:gd name="T10" fmla="*/ 0 w 68"/>
                <a:gd name="T11" fmla="*/ 30 h 91"/>
                <a:gd name="T12" fmla="*/ 3 w 68"/>
                <a:gd name="T13" fmla="*/ 21 h 91"/>
                <a:gd name="T14" fmla="*/ 8 w 68"/>
                <a:gd name="T15" fmla="*/ 12 h 91"/>
                <a:gd name="T16" fmla="*/ 15 w 68"/>
                <a:gd name="T17" fmla="*/ 6 h 91"/>
                <a:gd name="T18" fmla="*/ 24 w 68"/>
                <a:gd name="T19" fmla="*/ 2 h 91"/>
                <a:gd name="T20" fmla="*/ 34 w 68"/>
                <a:gd name="T21" fmla="*/ 0 h 91"/>
                <a:gd name="T22" fmla="*/ 41 w 68"/>
                <a:gd name="T23" fmla="*/ 1 h 91"/>
                <a:gd name="T24" fmla="*/ 50 w 68"/>
                <a:gd name="T25" fmla="*/ 4 h 91"/>
                <a:gd name="T26" fmla="*/ 58 w 68"/>
                <a:gd name="T27" fmla="*/ 10 h 91"/>
                <a:gd name="T28" fmla="*/ 64 w 68"/>
                <a:gd name="T29" fmla="*/ 18 h 91"/>
                <a:gd name="T30" fmla="*/ 67 w 68"/>
                <a:gd name="T31" fmla="*/ 27 h 91"/>
                <a:gd name="T32" fmla="*/ 68 w 68"/>
                <a:gd name="T33" fmla="*/ 34 h 91"/>
                <a:gd name="T34" fmla="*/ 67 w 68"/>
                <a:gd name="T35" fmla="*/ 42 h 91"/>
                <a:gd name="T36" fmla="*/ 61 w 68"/>
                <a:gd name="T37" fmla="*/ 54 h 91"/>
                <a:gd name="T38" fmla="*/ 51 w 68"/>
                <a:gd name="T39" fmla="*/ 63 h 91"/>
                <a:gd name="T40" fmla="*/ 43 w 68"/>
                <a:gd name="T41" fmla="*/ 66 h 91"/>
                <a:gd name="T42" fmla="*/ 39 w 68"/>
                <a:gd name="T43" fmla="*/ 65 h 91"/>
                <a:gd name="T44" fmla="*/ 41 w 68"/>
                <a:gd name="T45" fmla="*/ 63 h 91"/>
                <a:gd name="T46" fmla="*/ 46 w 68"/>
                <a:gd name="T47" fmla="*/ 61 h 91"/>
                <a:gd name="T48" fmla="*/ 58 w 68"/>
                <a:gd name="T49" fmla="*/ 53 h 91"/>
                <a:gd name="T50" fmla="*/ 64 w 68"/>
                <a:gd name="T51" fmla="*/ 39 h 91"/>
                <a:gd name="T52" fmla="*/ 64 w 68"/>
                <a:gd name="T53" fmla="*/ 34 h 91"/>
                <a:gd name="T54" fmla="*/ 63 w 68"/>
                <a:gd name="T55" fmla="*/ 25 h 91"/>
                <a:gd name="T56" fmla="*/ 59 w 68"/>
                <a:gd name="T57" fmla="*/ 17 h 91"/>
                <a:gd name="T58" fmla="*/ 53 w 68"/>
                <a:gd name="T59" fmla="*/ 10 h 91"/>
                <a:gd name="T60" fmla="*/ 46 w 68"/>
                <a:gd name="T61" fmla="*/ 6 h 91"/>
                <a:gd name="T62" fmla="*/ 37 w 68"/>
                <a:gd name="T63" fmla="*/ 4 h 91"/>
                <a:gd name="T64" fmla="*/ 31 w 68"/>
                <a:gd name="T65" fmla="*/ 4 h 91"/>
                <a:gd name="T66" fmla="*/ 22 w 68"/>
                <a:gd name="T67" fmla="*/ 6 h 91"/>
                <a:gd name="T68" fmla="*/ 15 w 68"/>
                <a:gd name="T69" fmla="*/ 10 h 91"/>
                <a:gd name="T70" fmla="*/ 9 w 68"/>
                <a:gd name="T71" fmla="*/ 17 h 91"/>
                <a:gd name="T72" fmla="*/ 5 w 68"/>
                <a:gd name="T73" fmla="*/ 25 h 91"/>
                <a:gd name="T74" fmla="*/ 4 w 68"/>
                <a:gd name="T75" fmla="*/ 34 h 91"/>
                <a:gd name="T76" fmla="*/ 4 w 68"/>
                <a:gd name="T77" fmla="*/ 39 h 91"/>
                <a:gd name="T78" fmla="*/ 10 w 68"/>
                <a:gd name="T79" fmla="*/ 53 h 91"/>
                <a:gd name="T80" fmla="*/ 22 w 68"/>
                <a:gd name="T81" fmla="*/ 61 h 91"/>
                <a:gd name="T82" fmla="*/ 27 w 68"/>
                <a:gd name="T83" fmla="*/ 63 h 91"/>
                <a:gd name="T84" fmla="*/ 29 w 68"/>
                <a:gd name="T8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1">
                  <a:moveTo>
                    <a:pt x="29" y="91"/>
                  </a:moveTo>
                  <a:lnTo>
                    <a:pt x="25" y="91"/>
                  </a:lnTo>
                  <a:lnTo>
                    <a:pt x="25" y="66"/>
                  </a:lnTo>
                  <a:lnTo>
                    <a:pt x="25" y="66"/>
                  </a:lnTo>
                  <a:lnTo>
                    <a:pt x="23" y="65"/>
                  </a:lnTo>
                  <a:lnTo>
                    <a:pt x="20" y="64"/>
                  </a:lnTo>
                  <a:lnTo>
                    <a:pt x="18" y="63"/>
                  </a:lnTo>
                  <a:lnTo>
                    <a:pt x="15" y="61"/>
                  </a:lnTo>
                  <a:lnTo>
                    <a:pt x="11" y="58"/>
                  </a:lnTo>
                  <a:lnTo>
                    <a:pt x="7" y="54"/>
                  </a:lnTo>
                  <a:lnTo>
                    <a:pt x="4" y="50"/>
                  </a:lnTo>
                  <a:lnTo>
                    <a:pt x="2" y="45"/>
                  </a:lnTo>
                  <a:lnTo>
                    <a:pt x="1" y="42"/>
                  </a:lnTo>
                  <a:lnTo>
                    <a:pt x="1" y="39"/>
                  </a:lnTo>
                  <a:lnTo>
                    <a:pt x="0" y="36"/>
                  </a:lnTo>
                  <a:lnTo>
                    <a:pt x="0" y="34"/>
                  </a:lnTo>
                  <a:lnTo>
                    <a:pt x="0" y="34"/>
                  </a:lnTo>
                  <a:lnTo>
                    <a:pt x="0" y="30"/>
                  </a:lnTo>
                  <a:lnTo>
                    <a:pt x="1" y="27"/>
                  </a:lnTo>
                  <a:lnTo>
                    <a:pt x="2" y="24"/>
                  </a:lnTo>
                  <a:lnTo>
                    <a:pt x="3" y="21"/>
                  </a:lnTo>
                  <a:lnTo>
                    <a:pt x="4" y="18"/>
                  </a:lnTo>
                  <a:lnTo>
                    <a:pt x="6" y="15"/>
                  </a:lnTo>
                  <a:lnTo>
                    <a:pt x="8" y="12"/>
                  </a:lnTo>
                  <a:lnTo>
                    <a:pt x="10" y="10"/>
                  </a:lnTo>
                  <a:lnTo>
                    <a:pt x="12" y="8"/>
                  </a:lnTo>
                  <a:lnTo>
                    <a:pt x="15" y="6"/>
                  </a:lnTo>
                  <a:lnTo>
                    <a:pt x="18" y="4"/>
                  </a:lnTo>
                  <a:lnTo>
                    <a:pt x="21" y="3"/>
                  </a:lnTo>
                  <a:lnTo>
                    <a:pt x="24" y="2"/>
                  </a:lnTo>
                  <a:lnTo>
                    <a:pt x="27" y="1"/>
                  </a:lnTo>
                  <a:lnTo>
                    <a:pt x="31" y="0"/>
                  </a:lnTo>
                  <a:lnTo>
                    <a:pt x="34" y="0"/>
                  </a:lnTo>
                  <a:lnTo>
                    <a:pt x="34" y="0"/>
                  </a:lnTo>
                  <a:lnTo>
                    <a:pt x="38" y="0"/>
                  </a:lnTo>
                  <a:lnTo>
                    <a:pt x="41" y="1"/>
                  </a:lnTo>
                  <a:lnTo>
                    <a:pt x="44" y="2"/>
                  </a:lnTo>
                  <a:lnTo>
                    <a:pt x="47" y="3"/>
                  </a:lnTo>
                  <a:lnTo>
                    <a:pt x="50" y="4"/>
                  </a:lnTo>
                  <a:lnTo>
                    <a:pt x="53" y="6"/>
                  </a:lnTo>
                  <a:lnTo>
                    <a:pt x="56" y="8"/>
                  </a:lnTo>
                  <a:lnTo>
                    <a:pt x="58" y="10"/>
                  </a:lnTo>
                  <a:lnTo>
                    <a:pt x="60" y="12"/>
                  </a:lnTo>
                  <a:lnTo>
                    <a:pt x="62" y="15"/>
                  </a:lnTo>
                  <a:lnTo>
                    <a:pt x="64" y="18"/>
                  </a:lnTo>
                  <a:lnTo>
                    <a:pt x="65" y="21"/>
                  </a:lnTo>
                  <a:lnTo>
                    <a:pt x="66" y="24"/>
                  </a:lnTo>
                  <a:lnTo>
                    <a:pt x="67" y="27"/>
                  </a:lnTo>
                  <a:lnTo>
                    <a:pt x="68" y="30"/>
                  </a:lnTo>
                  <a:lnTo>
                    <a:pt x="68" y="34"/>
                  </a:lnTo>
                  <a:lnTo>
                    <a:pt x="68" y="34"/>
                  </a:lnTo>
                  <a:lnTo>
                    <a:pt x="68" y="36"/>
                  </a:lnTo>
                  <a:lnTo>
                    <a:pt x="67" y="39"/>
                  </a:lnTo>
                  <a:lnTo>
                    <a:pt x="67" y="42"/>
                  </a:lnTo>
                  <a:lnTo>
                    <a:pt x="66" y="45"/>
                  </a:lnTo>
                  <a:lnTo>
                    <a:pt x="64" y="50"/>
                  </a:lnTo>
                  <a:lnTo>
                    <a:pt x="61" y="54"/>
                  </a:lnTo>
                  <a:lnTo>
                    <a:pt x="57" y="58"/>
                  </a:lnTo>
                  <a:lnTo>
                    <a:pt x="53" y="61"/>
                  </a:lnTo>
                  <a:lnTo>
                    <a:pt x="51" y="63"/>
                  </a:lnTo>
                  <a:lnTo>
                    <a:pt x="48" y="64"/>
                  </a:lnTo>
                  <a:lnTo>
                    <a:pt x="45" y="65"/>
                  </a:lnTo>
                  <a:lnTo>
                    <a:pt x="43" y="66"/>
                  </a:lnTo>
                  <a:lnTo>
                    <a:pt x="43" y="91"/>
                  </a:lnTo>
                  <a:lnTo>
                    <a:pt x="39" y="91"/>
                  </a:lnTo>
                  <a:lnTo>
                    <a:pt x="39" y="65"/>
                  </a:lnTo>
                  <a:lnTo>
                    <a:pt x="39" y="65"/>
                  </a:lnTo>
                  <a:lnTo>
                    <a:pt x="40" y="64"/>
                  </a:lnTo>
                  <a:lnTo>
                    <a:pt x="41" y="63"/>
                  </a:lnTo>
                  <a:lnTo>
                    <a:pt x="41" y="63"/>
                  </a:lnTo>
                  <a:lnTo>
                    <a:pt x="43" y="63"/>
                  </a:lnTo>
                  <a:lnTo>
                    <a:pt x="46" y="61"/>
                  </a:lnTo>
                  <a:lnTo>
                    <a:pt x="50" y="59"/>
                  </a:lnTo>
                  <a:lnTo>
                    <a:pt x="54" y="56"/>
                  </a:lnTo>
                  <a:lnTo>
                    <a:pt x="58" y="53"/>
                  </a:lnTo>
                  <a:lnTo>
                    <a:pt x="61" y="49"/>
                  </a:lnTo>
                  <a:lnTo>
                    <a:pt x="63" y="44"/>
                  </a:lnTo>
                  <a:lnTo>
                    <a:pt x="64" y="39"/>
                  </a:lnTo>
                  <a:lnTo>
                    <a:pt x="64" y="36"/>
                  </a:lnTo>
                  <a:lnTo>
                    <a:pt x="64" y="34"/>
                  </a:lnTo>
                  <a:lnTo>
                    <a:pt x="64" y="34"/>
                  </a:lnTo>
                  <a:lnTo>
                    <a:pt x="64" y="30"/>
                  </a:lnTo>
                  <a:lnTo>
                    <a:pt x="64" y="28"/>
                  </a:lnTo>
                  <a:lnTo>
                    <a:pt x="63" y="25"/>
                  </a:lnTo>
                  <a:lnTo>
                    <a:pt x="62" y="22"/>
                  </a:lnTo>
                  <a:lnTo>
                    <a:pt x="61" y="19"/>
                  </a:lnTo>
                  <a:lnTo>
                    <a:pt x="59" y="17"/>
                  </a:lnTo>
                  <a:lnTo>
                    <a:pt x="58" y="14"/>
                  </a:lnTo>
                  <a:lnTo>
                    <a:pt x="56" y="12"/>
                  </a:lnTo>
                  <a:lnTo>
                    <a:pt x="53" y="10"/>
                  </a:lnTo>
                  <a:lnTo>
                    <a:pt x="51" y="8"/>
                  </a:lnTo>
                  <a:lnTo>
                    <a:pt x="49" y="7"/>
                  </a:lnTo>
                  <a:lnTo>
                    <a:pt x="46" y="6"/>
                  </a:lnTo>
                  <a:lnTo>
                    <a:pt x="43" y="5"/>
                  </a:lnTo>
                  <a:lnTo>
                    <a:pt x="40" y="4"/>
                  </a:lnTo>
                  <a:lnTo>
                    <a:pt x="37" y="4"/>
                  </a:lnTo>
                  <a:lnTo>
                    <a:pt x="34" y="4"/>
                  </a:lnTo>
                  <a:lnTo>
                    <a:pt x="34" y="4"/>
                  </a:lnTo>
                  <a:lnTo>
                    <a:pt x="31" y="4"/>
                  </a:lnTo>
                  <a:lnTo>
                    <a:pt x="28" y="4"/>
                  </a:lnTo>
                  <a:lnTo>
                    <a:pt x="25" y="5"/>
                  </a:lnTo>
                  <a:lnTo>
                    <a:pt x="22" y="6"/>
                  </a:lnTo>
                  <a:lnTo>
                    <a:pt x="20" y="7"/>
                  </a:lnTo>
                  <a:lnTo>
                    <a:pt x="17" y="8"/>
                  </a:lnTo>
                  <a:lnTo>
                    <a:pt x="15" y="10"/>
                  </a:lnTo>
                  <a:lnTo>
                    <a:pt x="12" y="12"/>
                  </a:lnTo>
                  <a:lnTo>
                    <a:pt x="11" y="14"/>
                  </a:lnTo>
                  <a:lnTo>
                    <a:pt x="9" y="17"/>
                  </a:lnTo>
                  <a:lnTo>
                    <a:pt x="7" y="19"/>
                  </a:lnTo>
                  <a:lnTo>
                    <a:pt x="6" y="22"/>
                  </a:lnTo>
                  <a:lnTo>
                    <a:pt x="5" y="25"/>
                  </a:lnTo>
                  <a:lnTo>
                    <a:pt x="4" y="28"/>
                  </a:lnTo>
                  <a:lnTo>
                    <a:pt x="4" y="30"/>
                  </a:lnTo>
                  <a:lnTo>
                    <a:pt x="4" y="34"/>
                  </a:lnTo>
                  <a:lnTo>
                    <a:pt x="4" y="34"/>
                  </a:lnTo>
                  <a:lnTo>
                    <a:pt x="4" y="36"/>
                  </a:lnTo>
                  <a:lnTo>
                    <a:pt x="4" y="39"/>
                  </a:lnTo>
                  <a:lnTo>
                    <a:pt x="5" y="44"/>
                  </a:lnTo>
                  <a:lnTo>
                    <a:pt x="7" y="49"/>
                  </a:lnTo>
                  <a:lnTo>
                    <a:pt x="10" y="53"/>
                  </a:lnTo>
                  <a:lnTo>
                    <a:pt x="14" y="56"/>
                  </a:lnTo>
                  <a:lnTo>
                    <a:pt x="18" y="59"/>
                  </a:lnTo>
                  <a:lnTo>
                    <a:pt x="22" y="61"/>
                  </a:lnTo>
                  <a:lnTo>
                    <a:pt x="25" y="63"/>
                  </a:lnTo>
                  <a:lnTo>
                    <a:pt x="27" y="63"/>
                  </a:lnTo>
                  <a:lnTo>
                    <a:pt x="27" y="63"/>
                  </a:lnTo>
                  <a:lnTo>
                    <a:pt x="28" y="64"/>
                  </a:lnTo>
                  <a:lnTo>
                    <a:pt x="29" y="65"/>
                  </a:lnTo>
                  <a:lnTo>
                    <a:pt x="29" y="91"/>
                  </a:lnTo>
                  <a:close/>
                </a:path>
              </a:pathLst>
            </a:cu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4" name="Rectangle 20">
              <a:extLst>
                <a:ext uri="{FF2B5EF4-FFF2-40B4-BE49-F238E27FC236}">
                  <a16:creationId xmlns:a16="http://schemas.microsoft.com/office/drawing/2014/main" id="{72DEA3E4-C953-72B0-C612-612138EBA291}"/>
                </a:ext>
              </a:extLst>
            </p:cNvPr>
            <p:cNvSpPr>
              <a:spLocks noChangeArrowheads="1"/>
            </p:cNvSpPr>
            <p:nvPr/>
          </p:nvSpPr>
          <p:spPr bwMode="auto">
            <a:xfrm>
              <a:off x="8947151" y="1619250"/>
              <a:ext cx="4763"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7" name="Rectangle 21">
              <a:extLst>
                <a:ext uri="{FF2B5EF4-FFF2-40B4-BE49-F238E27FC236}">
                  <a16:creationId xmlns:a16="http://schemas.microsoft.com/office/drawing/2014/main" id="{A7F8B523-0C1A-5E09-53AD-4D070167750C}"/>
                </a:ext>
              </a:extLst>
            </p:cNvPr>
            <p:cNvSpPr>
              <a:spLocks noChangeArrowheads="1"/>
            </p:cNvSpPr>
            <p:nvPr/>
          </p:nvSpPr>
          <p:spPr bwMode="auto">
            <a:xfrm>
              <a:off x="8961438" y="1619250"/>
              <a:ext cx="6350"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sp>
          <p:nvSpPr>
            <p:cNvPr id="39" name="Rectangle 22">
              <a:extLst>
                <a:ext uri="{FF2B5EF4-FFF2-40B4-BE49-F238E27FC236}">
                  <a16:creationId xmlns:a16="http://schemas.microsoft.com/office/drawing/2014/main" id="{E8C9B893-39E0-BA35-D03F-43622ECB346A}"/>
                </a:ext>
              </a:extLst>
            </p:cNvPr>
            <p:cNvSpPr>
              <a:spLocks noChangeArrowheads="1"/>
            </p:cNvSpPr>
            <p:nvPr/>
          </p:nvSpPr>
          <p:spPr bwMode="auto">
            <a:xfrm>
              <a:off x="8977313" y="1619250"/>
              <a:ext cx="6350" cy="7938"/>
            </a:xfrm>
            <a:prstGeom prst="rect">
              <a:avLst/>
            </a:prstGeom>
            <a:grpFill/>
            <a:ln w="3175">
              <a:noFill/>
            </a:ln>
          </p:spPr>
          <p:txBody>
            <a:bodyPr vert="horz" wrap="square" lIns="91344" tIns="45672" rIns="91344" bIns="45672" numCol="1" anchor="t" anchorCtr="0" compatLnSpc="1">
              <a:prstTxWarp prst="textNoShape">
                <a:avLst/>
              </a:prstTxWarp>
            </a:bodyPr>
            <a:lstStyle/>
            <a:p>
              <a:pPr defTabSz="913486">
                <a:defRPr/>
              </a:pPr>
              <a:endParaRPr lang="en-GB" sz="1798" kern="0">
                <a:solidFill>
                  <a:srgbClr val="000000"/>
                </a:solidFill>
                <a:latin typeface="EYInterstate Light"/>
                <a:cs typeface="Arial"/>
              </a:endParaRPr>
            </a:p>
          </p:txBody>
        </p:sp>
      </p:grpSp>
      <p:sp>
        <p:nvSpPr>
          <p:cNvPr id="158" name="Content Placeholder 2" descr="Progress Diagram.">
            <a:extLst>
              <a:ext uri="{FF2B5EF4-FFF2-40B4-BE49-F238E27FC236}">
                <a16:creationId xmlns:a16="http://schemas.microsoft.com/office/drawing/2014/main" id="{8DC636D5-59A8-70C1-617E-7F5379451B4B}"/>
              </a:ext>
            </a:extLst>
          </p:cNvPr>
          <p:cNvSpPr txBox="1">
            <a:spLocks/>
          </p:cNvSpPr>
          <p:nvPr/>
        </p:nvSpPr>
        <p:spPr>
          <a:xfrm>
            <a:off x="8152196" y="3398109"/>
            <a:ext cx="2628967" cy="1739287"/>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029">
              <a:spcAft>
                <a:spcPts val="300"/>
              </a:spcAft>
              <a:buNone/>
              <a:defRPr/>
            </a:pPr>
            <a:r>
              <a:rPr lang="en-GB" sz="1099" b="1" kern="0">
                <a:solidFill>
                  <a:srgbClr val="FFE600"/>
                </a:solidFill>
                <a:latin typeface="EYInterstate Light"/>
              </a:rPr>
              <a:t>Phase 3: Steady-State Managed Services Operations</a:t>
            </a:r>
          </a:p>
          <a:p>
            <a:pPr defTabSz="913029">
              <a:defRPr/>
            </a:pPr>
            <a:endParaRPr lang="en-GB" sz="1099" kern="0">
              <a:latin typeface="EYInterstate Light"/>
            </a:endParaRPr>
          </a:p>
          <a:p>
            <a:pPr defTabSz="913029">
              <a:defRPr/>
            </a:pPr>
            <a:r>
              <a:rPr lang="en-GB" sz="1099" kern="0">
                <a:latin typeface="EYInterstate Light"/>
              </a:rPr>
              <a:t>Deliver L2/L3 monitoring, incident response, patching, remediation, and OEM coordination.</a:t>
            </a:r>
          </a:p>
          <a:p>
            <a:pPr defTabSz="913029">
              <a:defRPr/>
            </a:pPr>
            <a:r>
              <a:rPr lang="en-GB" sz="1099" kern="0">
                <a:latin typeface="EYInterstate Light"/>
              </a:rPr>
              <a:t>Maintain on-call coverage for critical incidents outside business hours.</a:t>
            </a:r>
          </a:p>
          <a:p>
            <a:pPr defTabSz="913029">
              <a:defRPr/>
            </a:pPr>
            <a:r>
              <a:rPr lang="en-GB" sz="1099" kern="0">
                <a:latin typeface="EYInterstate Light"/>
              </a:rPr>
              <a:t>Operate under SLAs, KPIs, escalation paths, and ITIL processes.</a:t>
            </a:r>
          </a:p>
        </p:txBody>
      </p:sp>
      <p:sp>
        <p:nvSpPr>
          <p:cNvPr id="8" name="Title 255">
            <a:extLst>
              <a:ext uri="{FF2B5EF4-FFF2-40B4-BE49-F238E27FC236}">
                <a16:creationId xmlns:a16="http://schemas.microsoft.com/office/drawing/2014/main" id="{6F67A4AA-58AB-DD2F-0BE4-ADD821837F1A}"/>
              </a:ext>
            </a:extLst>
          </p:cNvPr>
          <p:cNvSpPr>
            <a:spLocks noGrp="1"/>
          </p:cNvSpPr>
          <p:nvPr>
            <p:ph type="title" idx="4294967295"/>
          </p:nvPr>
        </p:nvSpPr>
        <p:spPr>
          <a:xfrm>
            <a:off x="250372" y="253423"/>
            <a:ext cx="10972800" cy="863600"/>
          </a:xfrm>
        </p:spPr>
        <p:txBody>
          <a:bodyPr/>
          <a:lstStyle/>
          <a:p>
            <a:pPr defTabSz="913900">
              <a:defRPr/>
            </a:pPr>
            <a:r>
              <a:rPr lang="en-GB" b="1">
                <a:latin typeface="EYInterstate Light"/>
                <a:cs typeface="Arial"/>
              </a:rPr>
              <a:t>An overview to the EY approach and project timelines</a:t>
            </a:r>
          </a:p>
        </p:txBody>
      </p:sp>
    </p:spTree>
    <p:extLst>
      <p:ext uri="{BB962C8B-B14F-4D97-AF65-F5344CB8AC3E}">
        <p14:creationId xmlns:p14="http://schemas.microsoft.com/office/powerpoint/2010/main" val="11624974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1CE5A-99D4-C6DB-D121-3E86F2AE55C9}"/>
            </a:ext>
          </a:extLst>
        </p:cNvPr>
        <p:cNvGrpSpPr/>
        <p:nvPr/>
      </p:nvGrpSpPr>
      <p:grpSpPr>
        <a:xfrm>
          <a:off x="0" y="0"/>
          <a:ext cx="0" cy="0"/>
          <a:chOff x="0" y="0"/>
          <a:chExt cx="0" cy="0"/>
        </a:xfrm>
      </p:grpSpPr>
      <p:sp>
        <p:nvSpPr>
          <p:cNvPr id="8" name="Title 255">
            <a:extLst>
              <a:ext uri="{FF2B5EF4-FFF2-40B4-BE49-F238E27FC236}">
                <a16:creationId xmlns:a16="http://schemas.microsoft.com/office/drawing/2014/main" id="{D182F201-E294-FBC1-93BD-9F7544625387}"/>
              </a:ext>
            </a:extLst>
          </p:cNvPr>
          <p:cNvSpPr>
            <a:spLocks noGrp="1"/>
          </p:cNvSpPr>
          <p:nvPr>
            <p:ph type="title" idx="4294967295"/>
          </p:nvPr>
        </p:nvSpPr>
        <p:spPr>
          <a:xfrm>
            <a:off x="0" y="274638"/>
            <a:ext cx="10972800" cy="863600"/>
          </a:xfrm>
        </p:spPr>
        <p:txBody>
          <a:bodyPr/>
          <a:lstStyle/>
          <a:p>
            <a:pPr defTabSz="913900">
              <a:defRPr/>
            </a:pPr>
            <a:r>
              <a:rPr lang="en-GB" b="1">
                <a:latin typeface="EYInterstate Light"/>
                <a:cs typeface="Arial"/>
              </a:rPr>
              <a:t>Phase 1 – Project Mobilization &amp; Program development </a:t>
            </a:r>
          </a:p>
        </p:txBody>
      </p:sp>
      <p:sp>
        <p:nvSpPr>
          <p:cNvPr id="2" name="Shape">
            <a:extLst>
              <a:ext uri="{FF2B5EF4-FFF2-40B4-BE49-F238E27FC236}">
                <a16:creationId xmlns:a16="http://schemas.microsoft.com/office/drawing/2014/main" id="{A1AB52D2-792A-83FE-55AF-7B0BF6D8C912}"/>
              </a:ext>
            </a:extLst>
          </p:cNvPr>
          <p:cNvSpPr/>
          <p:nvPr/>
        </p:nvSpPr>
        <p:spPr>
          <a:xfrm>
            <a:off x="1026942" y="3451224"/>
            <a:ext cx="1551850" cy="1551847"/>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FE600"/>
          </a:solidFill>
          <a:ln w="12700">
            <a:miter lim="400000"/>
          </a:ln>
          <a:effectLst/>
        </p:spPr>
        <p:txBody>
          <a:bodyPr lIns="28545" tIns="28545" rIns="28545" bIns="2854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86">
              <a:defRPr/>
            </a:pPr>
            <a:endParaRPr sz="2098">
              <a:solidFill>
                <a:srgbClr val="FFFFFF"/>
              </a:solidFill>
              <a:latin typeface="Calibri" panose="020F0502020204030204"/>
            </a:endParaRPr>
          </a:p>
        </p:txBody>
      </p:sp>
      <p:sp>
        <p:nvSpPr>
          <p:cNvPr id="10" name="Shape">
            <a:extLst>
              <a:ext uri="{FF2B5EF4-FFF2-40B4-BE49-F238E27FC236}">
                <a16:creationId xmlns:a16="http://schemas.microsoft.com/office/drawing/2014/main" id="{D82CACB5-CC54-36A5-2AF0-48191E9F90F4}"/>
              </a:ext>
            </a:extLst>
          </p:cNvPr>
          <p:cNvSpPr/>
          <p:nvPr/>
        </p:nvSpPr>
        <p:spPr>
          <a:xfrm>
            <a:off x="3927473" y="3451224"/>
            <a:ext cx="1551850" cy="1551847"/>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797991"/>
          </a:solidFill>
          <a:ln w="12700">
            <a:miter lim="400000"/>
          </a:ln>
          <a:effectLst/>
        </p:spPr>
        <p:txBody>
          <a:bodyPr lIns="28545" tIns="28545" rIns="28545" bIns="2854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86">
              <a:defRPr/>
            </a:pPr>
            <a:endParaRPr sz="2098">
              <a:solidFill>
                <a:srgbClr val="FFFFFF"/>
              </a:solidFill>
              <a:latin typeface="Calibri" panose="020F0502020204030204"/>
            </a:endParaRPr>
          </a:p>
        </p:txBody>
      </p:sp>
      <p:sp>
        <p:nvSpPr>
          <p:cNvPr id="20" name="Shape">
            <a:extLst>
              <a:ext uri="{FF2B5EF4-FFF2-40B4-BE49-F238E27FC236}">
                <a16:creationId xmlns:a16="http://schemas.microsoft.com/office/drawing/2014/main" id="{4B23AB03-BEC5-CAA7-C0A3-C86F5A749AC9}"/>
              </a:ext>
            </a:extLst>
          </p:cNvPr>
          <p:cNvSpPr/>
          <p:nvPr/>
        </p:nvSpPr>
        <p:spPr>
          <a:xfrm>
            <a:off x="2477207" y="2510432"/>
            <a:ext cx="1551849" cy="1551850"/>
          </a:xfrm>
          <a:custGeom>
            <a:avLst/>
            <a:gdLst/>
            <a:ahLst/>
            <a:cxnLst>
              <a:cxn ang="0">
                <a:pos x="wd2" y="hd2"/>
              </a:cxn>
              <a:cxn ang="5400000">
                <a:pos x="wd2" y="hd2"/>
              </a:cxn>
              <a:cxn ang="10800000">
                <a:pos x="wd2" y="hd2"/>
              </a:cxn>
              <a:cxn ang="16200000">
                <a:pos x="wd2" y="hd2"/>
              </a:cxn>
            </a:cxnLst>
            <a:rect l="0" t="0" r="r" b="b"/>
            <a:pathLst>
              <a:path w="21156" h="21156" extrusionOk="0">
                <a:moveTo>
                  <a:pt x="20490" y="8962"/>
                </a:moveTo>
                <a:lnTo>
                  <a:pt x="12194" y="666"/>
                </a:ln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close/>
              </a:path>
            </a:pathLst>
          </a:custGeom>
          <a:solidFill>
            <a:srgbClr val="A6A6A6"/>
          </a:solidFill>
          <a:ln w="12700">
            <a:miter lim="400000"/>
          </a:ln>
          <a:effectLst/>
        </p:spPr>
        <p:txBody>
          <a:bodyPr lIns="28545" tIns="28545" rIns="28545" bIns="2854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86">
              <a:defRPr/>
            </a:pPr>
            <a:endParaRPr sz="2098">
              <a:solidFill>
                <a:srgbClr val="FFFFFF"/>
              </a:solidFill>
              <a:latin typeface="Calibri" panose="020F0502020204030204"/>
            </a:endParaRPr>
          </a:p>
        </p:txBody>
      </p:sp>
      <p:grpSp>
        <p:nvGrpSpPr>
          <p:cNvPr id="40" name="Group 39">
            <a:extLst>
              <a:ext uri="{FF2B5EF4-FFF2-40B4-BE49-F238E27FC236}">
                <a16:creationId xmlns:a16="http://schemas.microsoft.com/office/drawing/2014/main" id="{DE16A9CC-723E-AC78-96D5-BA5FC68988E9}"/>
              </a:ext>
            </a:extLst>
          </p:cNvPr>
          <p:cNvGrpSpPr/>
          <p:nvPr/>
        </p:nvGrpSpPr>
        <p:grpSpPr>
          <a:xfrm>
            <a:off x="609856" y="1292341"/>
            <a:ext cx="2397192" cy="1514682"/>
            <a:chOff x="319755" y="4165761"/>
            <a:chExt cx="2088994" cy="2021681"/>
          </a:xfrm>
        </p:grpSpPr>
        <p:sp>
          <p:nvSpPr>
            <p:cNvPr id="41" name="TextBox 20">
              <a:extLst>
                <a:ext uri="{FF2B5EF4-FFF2-40B4-BE49-F238E27FC236}">
                  <a16:creationId xmlns:a16="http://schemas.microsoft.com/office/drawing/2014/main" id="{54368D60-2D9B-0502-DB9B-5C6F498988A4}"/>
                </a:ext>
              </a:extLst>
            </p:cNvPr>
            <p:cNvSpPr txBox="1"/>
            <p:nvPr/>
          </p:nvSpPr>
          <p:spPr>
            <a:xfrm>
              <a:off x="319755" y="4165761"/>
              <a:ext cx="2088992" cy="61587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300"/>
                </a:spcAft>
                <a:buClr>
                  <a:srgbClr val="000000"/>
                </a:buClr>
                <a:buSzPct val="100000"/>
                <a:defRPr/>
              </a:pPr>
              <a:r>
                <a:rPr lang="en-GB" sz="1199" b="1" kern="0">
                  <a:solidFill>
                    <a:srgbClr val="FFE600"/>
                  </a:solidFill>
                  <a:cs typeface="Arial"/>
                </a:rPr>
                <a:t>Programme Initiation &amp; Governance Setup</a:t>
              </a:r>
            </a:p>
          </p:txBody>
        </p:sp>
        <p:sp>
          <p:nvSpPr>
            <p:cNvPr id="42" name="Rectangle 41">
              <a:extLst>
                <a:ext uri="{FF2B5EF4-FFF2-40B4-BE49-F238E27FC236}">
                  <a16:creationId xmlns:a16="http://schemas.microsoft.com/office/drawing/2014/main" id="{71E09546-B59B-7B32-A6D7-8574AFEFFA3D}"/>
                </a:ext>
              </a:extLst>
            </p:cNvPr>
            <p:cNvSpPr/>
            <p:nvPr/>
          </p:nvSpPr>
          <p:spPr>
            <a:xfrm>
              <a:off x="319757" y="4765116"/>
              <a:ext cx="2088992" cy="1422326"/>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200"/>
                </a:spcBef>
                <a:buClr>
                  <a:srgbClr val="FFE600"/>
                </a:buClr>
                <a:buFont typeface="Wingdings" panose="05000000000000000000" pitchFamily="2" charset="2"/>
                <a:buChar char="Ø"/>
              </a:pPr>
              <a:r>
                <a:rPr lang="en-GB" sz="999">
                  <a:solidFill>
                    <a:schemeClr val="bg1"/>
                  </a:solidFill>
                </a:rPr>
                <a:t>Appoint Programme Manager &amp; key leads (Security, Compliance, PMO)</a:t>
              </a:r>
            </a:p>
            <a:p>
              <a:pPr marL="171364" indent="-171364">
                <a:spcBef>
                  <a:spcPts val="200"/>
                </a:spcBef>
                <a:buClr>
                  <a:srgbClr val="FFE600"/>
                </a:buClr>
                <a:buFont typeface="Wingdings" panose="05000000000000000000" pitchFamily="2" charset="2"/>
                <a:buChar char="Ø"/>
              </a:pPr>
              <a:r>
                <a:rPr lang="en-GB" sz="999">
                  <a:solidFill>
                    <a:schemeClr val="bg1"/>
                  </a:solidFill>
                </a:rPr>
                <a:t>Conduct formal kick-off with NWC stakeholders</a:t>
              </a:r>
            </a:p>
            <a:p>
              <a:pPr marL="171364" indent="-171364">
                <a:spcBef>
                  <a:spcPts val="200"/>
                </a:spcBef>
                <a:buClr>
                  <a:srgbClr val="FFE600"/>
                </a:buClr>
                <a:buFont typeface="Wingdings" panose="05000000000000000000" pitchFamily="2" charset="2"/>
                <a:buChar char="Ø"/>
              </a:pPr>
              <a:r>
                <a:rPr lang="en-GB" sz="999">
                  <a:solidFill>
                    <a:schemeClr val="bg1"/>
                  </a:solidFill>
                </a:rPr>
                <a:t>Define governance: steering committees, working groups, escalation </a:t>
              </a:r>
            </a:p>
          </p:txBody>
        </p:sp>
      </p:grpSp>
      <p:grpSp>
        <p:nvGrpSpPr>
          <p:cNvPr id="43" name="Group 42">
            <a:extLst>
              <a:ext uri="{FF2B5EF4-FFF2-40B4-BE49-F238E27FC236}">
                <a16:creationId xmlns:a16="http://schemas.microsoft.com/office/drawing/2014/main" id="{0748E33A-393C-C8D0-CB6A-09C43909EB80}"/>
              </a:ext>
            </a:extLst>
          </p:cNvPr>
          <p:cNvGrpSpPr/>
          <p:nvPr/>
        </p:nvGrpSpPr>
        <p:grpSpPr>
          <a:xfrm>
            <a:off x="3803788" y="1192428"/>
            <a:ext cx="2620721" cy="1662369"/>
            <a:chOff x="319755" y="3599829"/>
            <a:chExt cx="2088994" cy="4257674"/>
          </a:xfrm>
        </p:grpSpPr>
        <p:sp>
          <p:nvSpPr>
            <p:cNvPr id="44" name="TextBox 23">
              <a:extLst>
                <a:ext uri="{FF2B5EF4-FFF2-40B4-BE49-F238E27FC236}">
                  <a16:creationId xmlns:a16="http://schemas.microsoft.com/office/drawing/2014/main" id="{A3CD052C-BC69-4102-8D8A-D3504A2114C4}"/>
                </a:ext>
              </a:extLst>
            </p:cNvPr>
            <p:cNvSpPr txBox="1"/>
            <p:nvPr/>
          </p:nvSpPr>
          <p:spPr>
            <a:xfrm>
              <a:off x="319755" y="3599829"/>
              <a:ext cx="2088992" cy="11818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300"/>
                </a:spcAft>
                <a:buClr>
                  <a:srgbClr val="000000"/>
                </a:buClr>
                <a:buSzPct val="100000"/>
                <a:defRPr/>
              </a:pPr>
              <a:r>
                <a:rPr lang="en-GB" sz="1199" b="1" kern="0">
                  <a:solidFill>
                    <a:srgbClr val="797991"/>
                  </a:solidFill>
                  <a:cs typeface="Arial"/>
                </a:rPr>
                <a:t>Operational Readiness &amp; Compliance Alignment</a:t>
              </a:r>
            </a:p>
          </p:txBody>
        </p:sp>
        <p:sp>
          <p:nvSpPr>
            <p:cNvPr id="45" name="Rectangle 44">
              <a:extLst>
                <a:ext uri="{FF2B5EF4-FFF2-40B4-BE49-F238E27FC236}">
                  <a16:creationId xmlns:a16="http://schemas.microsoft.com/office/drawing/2014/main" id="{8D4CEB7D-C7E5-214C-2FFF-46C8B9318EF1}"/>
                </a:ext>
              </a:extLst>
            </p:cNvPr>
            <p:cNvSpPr/>
            <p:nvPr/>
          </p:nvSpPr>
          <p:spPr>
            <a:xfrm>
              <a:off x="319757" y="4765115"/>
              <a:ext cx="2088992" cy="3092388"/>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100"/>
                </a:spcBef>
                <a:buClr>
                  <a:srgbClr val="FFE600"/>
                </a:buClr>
                <a:buFont typeface="Wingdings" panose="05000000000000000000" pitchFamily="2" charset="2"/>
                <a:buChar char="Ø"/>
              </a:pPr>
              <a:r>
                <a:rPr lang="en-GB" sz="999">
                  <a:solidFill>
                    <a:schemeClr val="bg1"/>
                  </a:solidFill>
                </a:rPr>
                <a:t>Setup collaboration &amp; reporting tools</a:t>
              </a:r>
            </a:p>
            <a:p>
              <a:pPr marL="171364" indent="-171364">
                <a:spcBef>
                  <a:spcPts val="100"/>
                </a:spcBef>
                <a:buClr>
                  <a:srgbClr val="FFE600"/>
                </a:buClr>
                <a:buFont typeface="Wingdings" panose="05000000000000000000" pitchFamily="2" charset="2"/>
                <a:buChar char="Ø"/>
              </a:pPr>
              <a:r>
                <a:rPr lang="en-GB" sz="999">
                  <a:solidFill>
                    <a:schemeClr val="bg1"/>
                  </a:solidFill>
                </a:rPr>
                <a:t>Conduct compliance workshops (NCA, ISO/IEC 27001, NWC policies)</a:t>
              </a:r>
            </a:p>
            <a:p>
              <a:pPr marL="171364" indent="-171364">
                <a:spcBef>
                  <a:spcPts val="100"/>
                </a:spcBef>
                <a:buClr>
                  <a:srgbClr val="FFE600"/>
                </a:buClr>
                <a:buFont typeface="Wingdings" panose="05000000000000000000" pitchFamily="2" charset="2"/>
                <a:buChar char="Ø"/>
              </a:pPr>
              <a:r>
                <a:rPr lang="en-GB" sz="999">
                  <a:solidFill>
                    <a:schemeClr val="bg1"/>
                  </a:solidFill>
                </a:rPr>
                <a:t>Risk identification, dependencies &amp; mitigation</a:t>
              </a:r>
            </a:p>
            <a:p>
              <a:pPr marL="171364" indent="-171364">
                <a:spcBef>
                  <a:spcPts val="100"/>
                </a:spcBef>
                <a:buClr>
                  <a:srgbClr val="FFE600"/>
                </a:buClr>
                <a:buFont typeface="Wingdings" panose="05000000000000000000" pitchFamily="2" charset="2"/>
                <a:buChar char="Ø"/>
              </a:pPr>
              <a:r>
                <a:rPr lang="en-GB" sz="999">
                  <a:solidFill>
                    <a:schemeClr val="bg1"/>
                  </a:solidFill>
                </a:rPr>
                <a:t>Onboard team: Leads, L2/L3 Engineers, remote support</a:t>
              </a:r>
            </a:p>
          </p:txBody>
        </p:sp>
      </p:grpSp>
      <p:grpSp>
        <p:nvGrpSpPr>
          <p:cNvPr id="46" name="Group 45">
            <a:extLst>
              <a:ext uri="{FF2B5EF4-FFF2-40B4-BE49-F238E27FC236}">
                <a16:creationId xmlns:a16="http://schemas.microsoft.com/office/drawing/2014/main" id="{485BE88A-2B8D-5034-F9D1-A68C95C06B7B}"/>
              </a:ext>
            </a:extLst>
          </p:cNvPr>
          <p:cNvGrpSpPr/>
          <p:nvPr/>
        </p:nvGrpSpPr>
        <p:grpSpPr>
          <a:xfrm>
            <a:off x="2096121" y="4831329"/>
            <a:ext cx="2314019" cy="1694896"/>
            <a:chOff x="319755" y="4165760"/>
            <a:chExt cx="2088994" cy="2262216"/>
          </a:xfrm>
        </p:grpSpPr>
        <p:sp>
          <p:nvSpPr>
            <p:cNvPr id="47" name="TextBox 29">
              <a:extLst>
                <a:ext uri="{FF2B5EF4-FFF2-40B4-BE49-F238E27FC236}">
                  <a16:creationId xmlns:a16="http://schemas.microsoft.com/office/drawing/2014/main" id="{E0DCC931-185D-BA7E-207A-1EA833D8365E}"/>
                </a:ext>
              </a:extLst>
            </p:cNvPr>
            <p:cNvSpPr txBox="1"/>
            <p:nvPr/>
          </p:nvSpPr>
          <p:spPr>
            <a:xfrm>
              <a:off x="319755" y="4165760"/>
              <a:ext cx="2088992" cy="61587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300"/>
                </a:spcAft>
                <a:buClr>
                  <a:srgbClr val="000000"/>
                </a:buClr>
                <a:buSzPct val="100000"/>
                <a:defRPr/>
              </a:pPr>
              <a:r>
                <a:rPr lang="en-GB" sz="1199" b="1" kern="0">
                  <a:solidFill>
                    <a:srgbClr val="A6A6A6"/>
                  </a:solidFill>
                  <a:cs typeface="Arial"/>
                </a:rPr>
                <a:t>Devise the Managed Services Framework</a:t>
              </a:r>
            </a:p>
          </p:txBody>
        </p:sp>
        <p:sp>
          <p:nvSpPr>
            <p:cNvPr id="48" name="Rectangle 47">
              <a:extLst>
                <a:ext uri="{FF2B5EF4-FFF2-40B4-BE49-F238E27FC236}">
                  <a16:creationId xmlns:a16="http://schemas.microsoft.com/office/drawing/2014/main" id="{0F23B523-7240-FD6F-2F20-FA1C5769653F}"/>
                </a:ext>
              </a:extLst>
            </p:cNvPr>
            <p:cNvSpPr/>
            <p:nvPr/>
          </p:nvSpPr>
          <p:spPr>
            <a:xfrm>
              <a:off x="319757" y="4765116"/>
              <a:ext cx="2088992" cy="1662860"/>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364" indent="-171364">
                <a:spcBef>
                  <a:spcPts val="200"/>
                </a:spcBef>
                <a:buClr>
                  <a:srgbClr val="FFE600"/>
                </a:buClr>
                <a:buFont typeface="Wingdings" panose="05000000000000000000" pitchFamily="2" charset="2"/>
                <a:buChar char="Ø"/>
              </a:pPr>
              <a:r>
                <a:rPr lang="en-GB" sz="999">
                  <a:solidFill>
                    <a:schemeClr val="bg1"/>
                  </a:solidFill>
                </a:rPr>
                <a:t>Define service scope, SLAs &amp; KPIs (incl. high-demand periods)</a:t>
              </a:r>
            </a:p>
            <a:p>
              <a:pPr marL="171364" indent="-171364">
                <a:spcBef>
                  <a:spcPts val="200"/>
                </a:spcBef>
                <a:buClr>
                  <a:srgbClr val="FFE600"/>
                </a:buClr>
                <a:buFont typeface="Wingdings" panose="05000000000000000000" pitchFamily="2" charset="2"/>
                <a:buChar char="Ø"/>
              </a:pPr>
              <a:r>
                <a:rPr lang="en-GB" sz="999">
                  <a:solidFill>
                    <a:schemeClr val="bg1"/>
                  </a:solidFill>
                </a:rPr>
                <a:t>RACI matrix, escalation &amp; severity classification</a:t>
              </a:r>
            </a:p>
            <a:p>
              <a:pPr marL="171364" indent="-171364">
                <a:spcBef>
                  <a:spcPts val="200"/>
                </a:spcBef>
                <a:buClr>
                  <a:srgbClr val="FFE600"/>
                </a:buClr>
                <a:buFont typeface="Wingdings" panose="05000000000000000000" pitchFamily="2" charset="2"/>
                <a:buChar char="Ø"/>
              </a:pPr>
              <a:r>
                <a:rPr lang="en-GB" sz="999">
                  <a:solidFill>
                    <a:schemeClr val="bg1"/>
                  </a:solidFill>
                </a:rPr>
                <a:t>ITIL workflows for incident, problem, change mgmt.</a:t>
              </a:r>
            </a:p>
            <a:p>
              <a:pPr marL="171364" indent="-171364">
                <a:spcBef>
                  <a:spcPts val="200"/>
                </a:spcBef>
                <a:buClr>
                  <a:srgbClr val="FFE600"/>
                </a:buClr>
                <a:buFont typeface="Wingdings" panose="05000000000000000000" pitchFamily="2" charset="2"/>
                <a:buChar char="Ø"/>
              </a:pPr>
              <a:r>
                <a:rPr lang="en-GB" sz="999">
                  <a:solidFill>
                    <a:schemeClr val="bg1"/>
                  </a:solidFill>
                </a:rPr>
                <a:t>Reporting cadence &amp; formats</a:t>
              </a:r>
            </a:p>
          </p:txBody>
        </p:sp>
      </p:grpSp>
      <p:pic>
        <p:nvPicPr>
          <p:cNvPr id="49" name="Picture 48">
            <a:extLst>
              <a:ext uri="{FF2B5EF4-FFF2-40B4-BE49-F238E27FC236}">
                <a16:creationId xmlns:a16="http://schemas.microsoft.com/office/drawing/2014/main" id="{264A7AC6-2877-A1D0-CDF7-152942DCFE3E}"/>
              </a:ext>
            </a:extLst>
          </p:cNvPr>
          <p:cNvPicPr>
            <a:picLocks noChangeAspect="1"/>
          </p:cNvPicPr>
          <p:nvPr/>
        </p:nvPicPr>
        <p:blipFill>
          <a:blip r:embed="rId3"/>
          <a:srcRect r="38761"/>
          <a:stretch>
            <a:fillRect/>
          </a:stretch>
        </p:blipFill>
        <p:spPr>
          <a:xfrm>
            <a:off x="891910" y="3038836"/>
            <a:ext cx="4680585" cy="1419013"/>
          </a:xfrm>
          <a:prstGeom prst="rect">
            <a:avLst/>
          </a:prstGeom>
        </p:spPr>
      </p:pic>
      <p:pic>
        <p:nvPicPr>
          <p:cNvPr id="50" name="Graphic 49" descr="Puzzle">
            <a:extLst>
              <a:ext uri="{FF2B5EF4-FFF2-40B4-BE49-F238E27FC236}">
                <a16:creationId xmlns:a16="http://schemas.microsoft.com/office/drawing/2014/main" id="{B34F3993-9925-80F5-DCE5-DFE7F56AA7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31968" y="2965192"/>
            <a:ext cx="642330" cy="642330"/>
          </a:xfrm>
          <a:prstGeom prst="rect">
            <a:avLst/>
          </a:prstGeom>
        </p:spPr>
      </p:pic>
      <p:pic>
        <p:nvPicPr>
          <p:cNvPr id="51" name="Graphic 50" descr="Users">
            <a:extLst>
              <a:ext uri="{FF2B5EF4-FFF2-40B4-BE49-F238E27FC236}">
                <a16:creationId xmlns:a16="http://schemas.microsoft.com/office/drawing/2014/main" id="{FA63C102-2C35-00AD-58CB-E31400F675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82232" y="3905981"/>
            <a:ext cx="642330" cy="642330"/>
          </a:xfrm>
          <a:prstGeom prst="rect">
            <a:avLst/>
          </a:prstGeom>
        </p:spPr>
      </p:pic>
      <p:pic>
        <p:nvPicPr>
          <p:cNvPr id="52" name="Graphic 51" descr="Light bulb">
            <a:extLst>
              <a:ext uri="{FF2B5EF4-FFF2-40B4-BE49-F238E27FC236}">
                <a16:creationId xmlns:a16="http://schemas.microsoft.com/office/drawing/2014/main" id="{E1440168-C822-057B-25DC-797A332BAB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81700" y="3905981"/>
            <a:ext cx="642330" cy="642330"/>
          </a:xfrm>
          <a:prstGeom prst="rect">
            <a:avLst/>
          </a:prstGeom>
        </p:spPr>
      </p:pic>
      <p:sp>
        <p:nvSpPr>
          <p:cNvPr id="81" name="Rectangle 80">
            <a:extLst>
              <a:ext uri="{FF2B5EF4-FFF2-40B4-BE49-F238E27FC236}">
                <a16:creationId xmlns:a16="http://schemas.microsoft.com/office/drawing/2014/main" id="{D095C87B-B052-4496-EEFF-AD84F645F408}"/>
              </a:ext>
            </a:extLst>
          </p:cNvPr>
          <p:cNvSpPr/>
          <p:nvPr/>
        </p:nvSpPr>
        <p:spPr>
          <a:xfrm>
            <a:off x="8425556" y="1409708"/>
            <a:ext cx="3250959" cy="2031849"/>
          </a:xfrm>
          <a:prstGeom prst="rect">
            <a:avLst/>
          </a:prstGeom>
          <a:solidFill>
            <a:schemeClr val="bg1"/>
          </a:solidFill>
          <a:ln w="9525" cap="flat" cmpd="sng" algn="ctr">
            <a:solidFill>
              <a:srgbClr val="7096AC"/>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84" name="Rounded Rectangle 3">
            <a:extLst>
              <a:ext uri="{FF2B5EF4-FFF2-40B4-BE49-F238E27FC236}">
                <a16:creationId xmlns:a16="http://schemas.microsoft.com/office/drawing/2014/main" id="{9478AA21-8C7B-760C-EF29-C8F709CF8754}"/>
              </a:ext>
            </a:extLst>
          </p:cNvPr>
          <p:cNvSpPr>
            <a:spLocks/>
          </p:cNvSpPr>
          <p:nvPr/>
        </p:nvSpPr>
        <p:spPr>
          <a:xfrm>
            <a:off x="8246474" y="1061640"/>
            <a:ext cx="3534490" cy="461404"/>
          </a:xfrm>
          <a:prstGeom prst="roundRect">
            <a:avLst>
              <a:gd name="adj" fmla="val 50000"/>
            </a:avLst>
          </a:prstGeom>
          <a:solidFill>
            <a:srgbClr val="FFE6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5700" rtlCol="0" anchor="ctr" anchorCtr="0"/>
          <a:lstStyle/>
          <a:p>
            <a:pPr lvl="0"/>
            <a:r>
              <a:rPr lang="en-GB" sz="1099" b="1">
                <a:solidFill>
                  <a:schemeClr val="bg2"/>
                </a:solidFill>
              </a:rPr>
              <a:t>Strategic Transition Excellence</a:t>
            </a:r>
          </a:p>
        </p:txBody>
      </p:sp>
      <p:sp>
        <p:nvSpPr>
          <p:cNvPr id="87" name="TextBox 86">
            <a:extLst>
              <a:ext uri="{FF2B5EF4-FFF2-40B4-BE49-F238E27FC236}">
                <a16:creationId xmlns:a16="http://schemas.microsoft.com/office/drawing/2014/main" id="{CC327949-A86A-A84E-2A3A-3EABB4DABF36}"/>
              </a:ext>
            </a:extLst>
          </p:cNvPr>
          <p:cNvSpPr txBox="1"/>
          <p:nvPr/>
        </p:nvSpPr>
        <p:spPr>
          <a:xfrm>
            <a:off x="8581760" y="1643773"/>
            <a:ext cx="2878501" cy="1764555"/>
          </a:xfrm>
          <a:prstGeom prst="rect">
            <a:avLst/>
          </a:prstGeom>
          <a:noFill/>
        </p:spPr>
        <p:txBody>
          <a:bodyPr wrap="square" lIns="35981" tIns="35981" rIns="35981" bIns="35981">
            <a:spAutoFit/>
          </a:bodyPr>
          <a:lstStyle/>
          <a:p>
            <a:pPr lvl="0"/>
            <a:r>
              <a:rPr lang="en-GB" sz="999"/>
              <a:t>EY will employ a phased Transition approach to ensure a smooth and comprehensive transition, minimizing disruptions to NWC's operations. This principle involves meticulous planning, robust risk management, and a clear communication strategy to achieve a seamless 'lift and shift' of the in-scope security services. EY's transition framework will be tailored to NWC's operational landscape, ensuring that all systems, processes, and technologies are transitioned efficiently and are fully operational from day one.</a:t>
            </a:r>
          </a:p>
        </p:txBody>
      </p:sp>
      <p:grpSp>
        <p:nvGrpSpPr>
          <p:cNvPr id="90" name="Group 4">
            <a:extLst>
              <a:ext uri="{FF2B5EF4-FFF2-40B4-BE49-F238E27FC236}">
                <a16:creationId xmlns:a16="http://schemas.microsoft.com/office/drawing/2014/main" id="{41E38A4A-804D-C3A0-2790-BBE1F66046EC}"/>
              </a:ext>
            </a:extLst>
          </p:cNvPr>
          <p:cNvGrpSpPr>
            <a:grpSpLocks noChangeAspect="1"/>
          </p:cNvGrpSpPr>
          <p:nvPr/>
        </p:nvGrpSpPr>
        <p:grpSpPr bwMode="auto">
          <a:xfrm>
            <a:off x="8525688" y="1126848"/>
            <a:ext cx="213973" cy="292601"/>
            <a:chOff x="3212" y="1827"/>
            <a:chExt cx="664" cy="908"/>
          </a:xfrm>
          <a:solidFill>
            <a:schemeClr val="bg2"/>
          </a:solidFill>
        </p:grpSpPr>
        <p:sp>
          <p:nvSpPr>
            <p:cNvPr id="91" name="Freeform 5">
              <a:extLst>
                <a:ext uri="{FF2B5EF4-FFF2-40B4-BE49-F238E27FC236}">
                  <a16:creationId xmlns:a16="http://schemas.microsoft.com/office/drawing/2014/main" id="{D552E04D-2B54-B853-0EB3-1A3EAB57DE1E}"/>
                </a:ext>
              </a:extLst>
            </p:cNvPr>
            <p:cNvSpPr>
              <a:spLocks noEditPoints="1"/>
            </p:cNvSpPr>
            <p:nvPr/>
          </p:nvSpPr>
          <p:spPr bwMode="auto">
            <a:xfrm>
              <a:off x="3262" y="1887"/>
              <a:ext cx="564" cy="796"/>
            </a:xfrm>
            <a:custGeom>
              <a:avLst/>
              <a:gdLst>
                <a:gd name="T0" fmla="*/ 170 w 564"/>
                <a:gd name="T1" fmla="*/ 540 h 796"/>
                <a:gd name="T2" fmla="*/ 134 w 564"/>
                <a:gd name="T3" fmla="*/ 520 h 796"/>
                <a:gd name="T4" fmla="*/ 84 w 564"/>
                <a:gd name="T5" fmla="*/ 482 h 796"/>
                <a:gd name="T6" fmla="*/ 46 w 564"/>
                <a:gd name="T7" fmla="*/ 436 h 796"/>
                <a:gd name="T8" fmla="*/ 18 w 564"/>
                <a:gd name="T9" fmla="*/ 382 h 796"/>
                <a:gd name="T10" fmla="*/ 4 w 564"/>
                <a:gd name="T11" fmla="*/ 322 h 796"/>
                <a:gd name="T12" fmla="*/ 0 w 564"/>
                <a:gd name="T13" fmla="*/ 282 h 796"/>
                <a:gd name="T14" fmla="*/ 12 w 564"/>
                <a:gd name="T15" fmla="*/ 198 h 796"/>
                <a:gd name="T16" fmla="*/ 48 w 564"/>
                <a:gd name="T17" fmla="*/ 124 h 796"/>
                <a:gd name="T18" fmla="*/ 102 w 564"/>
                <a:gd name="T19" fmla="*/ 64 h 796"/>
                <a:gd name="T20" fmla="*/ 172 w 564"/>
                <a:gd name="T21" fmla="*/ 22 h 796"/>
                <a:gd name="T22" fmla="*/ 252 w 564"/>
                <a:gd name="T23" fmla="*/ 0 h 796"/>
                <a:gd name="T24" fmla="*/ 310 w 564"/>
                <a:gd name="T25" fmla="*/ 0 h 796"/>
                <a:gd name="T26" fmla="*/ 392 w 564"/>
                <a:gd name="T27" fmla="*/ 22 h 796"/>
                <a:gd name="T28" fmla="*/ 460 w 564"/>
                <a:gd name="T29" fmla="*/ 64 h 796"/>
                <a:gd name="T30" fmla="*/ 514 w 564"/>
                <a:gd name="T31" fmla="*/ 124 h 796"/>
                <a:gd name="T32" fmla="*/ 550 w 564"/>
                <a:gd name="T33" fmla="*/ 198 h 796"/>
                <a:gd name="T34" fmla="*/ 564 w 564"/>
                <a:gd name="T35" fmla="*/ 282 h 796"/>
                <a:gd name="T36" fmla="*/ 560 w 564"/>
                <a:gd name="T37" fmla="*/ 324 h 796"/>
                <a:gd name="T38" fmla="*/ 544 w 564"/>
                <a:gd name="T39" fmla="*/ 384 h 796"/>
                <a:gd name="T40" fmla="*/ 516 w 564"/>
                <a:gd name="T41" fmla="*/ 438 h 796"/>
                <a:gd name="T42" fmla="*/ 476 w 564"/>
                <a:gd name="T43" fmla="*/ 484 h 796"/>
                <a:gd name="T44" fmla="*/ 428 w 564"/>
                <a:gd name="T45" fmla="*/ 522 h 796"/>
                <a:gd name="T46" fmla="*/ 390 w 564"/>
                <a:gd name="T47" fmla="*/ 796 h 796"/>
                <a:gd name="T48" fmla="*/ 372 w 564"/>
                <a:gd name="T49" fmla="*/ 528 h 796"/>
                <a:gd name="T50" fmla="*/ 396 w 564"/>
                <a:gd name="T51" fmla="*/ 518 h 796"/>
                <a:gd name="T52" fmla="*/ 446 w 564"/>
                <a:gd name="T53" fmla="*/ 486 h 796"/>
                <a:gd name="T54" fmla="*/ 488 w 564"/>
                <a:gd name="T55" fmla="*/ 446 h 796"/>
                <a:gd name="T56" fmla="*/ 518 w 564"/>
                <a:gd name="T57" fmla="*/ 396 h 796"/>
                <a:gd name="T58" fmla="*/ 538 w 564"/>
                <a:gd name="T59" fmla="*/ 340 h 796"/>
                <a:gd name="T60" fmla="*/ 546 w 564"/>
                <a:gd name="T61" fmla="*/ 282 h 796"/>
                <a:gd name="T62" fmla="*/ 540 w 564"/>
                <a:gd name="T63" fmla="*/ 228 h 796"/>
                <a:gd name="T64" fmla="*/ 514 w 564"/>
                <a:gd name="T65" fmla="*/ 156 h 796"/>
                <a:gd name="T66" fmla="*/ 468 w 564"/>
                <a:gd name="T67" fmla="*/ 94 h 796"/>
                <a:gd name="T68" fmla="*/ 408 w 564"/>
                <a:gd name="T69" fmla="*/ 50 h 796"/>
                <a:gd name="T70" fmla="*/ 334 w 564"/>
                <a:gd name="T71" fmla="*/ 22 h 796"/>
                <a:gd name="T72" fmla="*/ 282 w 564"/>
                <a:gd name="T73" fmla="*/ 18 h 796"/>
                <a:gd name="T74" fmla="*/ 204 w 564"/>
                <a:gd name="T75" fmla="*/ 30 h 796"/>
                <a:gd name="T76" fmla="*/ 134 w 564"/>
                <a:gd name="T77" fmla="*/ 62 h 796"/>
                <a:gd name="T78" fmla="*/ 78 w 564"/>
                <a:gd name="T79" fmla="*/ 114 h 796"/>
                <a:gd name="T80" fmla="*/ 38 w 564"/>
                <a:gd name="T81" fmla="*/ 178 h 796"/>
                <a:gd name="T82" fmla="*/ 20 w 564"/>
                <a:gd name="T83" fmla="*/ 254 h 796"/>
                <a:gd name="T84" fmla="*/ 18 w 564"/>
                <a:gd name="T85" fmla="*/ 302 h 796"/>
                <a:gd name="T86" fmla="*/ 30 w 564"/>
                <a:gd name="T87" fmla="*/ 358 h 796"/>
                <a:gd name="T88" fmla="*/ 52 w 564"/>
                <a:gd name="T89" fmla="*/ 412 h 796"/>
                <a:gd name="T90" fmla="*/ 86 w 564"/>
                <a:gd name="T91" fmla="*/ 458 h 796"/>
                <a:gd name="T92" fmla="*/ 130 w 564"/>
                <a:gd name="T93" fmla="*/ 496 h 796"/>
                <a:gd name="T94" fmla="*/ 182 w 564"/>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6">
                  <a:moveTo>
                    <a:pt x="390" y="796"/>
                  </a:moveTo>
                  <a:lnTo>
                    <a:pt x="170" y="796"/>
                  </a:lnTo>
                  <a:lnTo>
                    <a:pt x="170" y="540"/>
                  </a:lnTo>
                  <a:lnTo>
                    <a:pt x="170" y="540"/>
                  </a:lnTo>
                  <a:lnTo>
                    <a:pt x="152" y="530"/>
                  </a:lnTo>
                  <a:lnTo>
                    <a:pt x="134"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4" y="322"/>
                  </a:lnTo>
                  <a:lnTo>
                    <a:pt x="0" y="302"/>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4" y="6"/>
                  </a:lnTo>
                  <a:lnTo>
                    <a:pt x="252" y="0"/>
                  </a:lnTo>
                  <a:lnTo>
                    <a:pt x="282" y="0"/>
                  </a:lnTo>
                  <a:lnTo>
                    <a:pt x="282" y="0"/>
                  </a:lnTo>
                  <a:lnTo>
                    <a:pt x="310" y="0"/>
                  </a:lnTo>
                  <a:lnTo>
                    <a:pt x="338" y="6"/>
                  </a:lnTo>
                  <a:lnTo>
                    <a:pt x="366" y="12"/>
                  </a:lnTo>
                  <a:lnTo>
                    <a:pt x="392" y="22"/>
                  </a:lnTo>
                  <a:lnTo>
                    <a:pt x="416" y="34"/>
                  </a:lnTo>
                  <a:lnTo>
                    <a:pt x="438" y="48"/>
                  </a:lnTo>
                  <a:lnTo>
                    <a:pt x="460" y="64"/>
                  </a:lnTo>
                  <a:lnTo>
                    <a:pt x="480" y="82"/>
                  </a:lnTo>
                  <a:lnTo>
                    <a:pt x="498" y="102"/>
                  </a:lnTo>
                  <a:lnTo>
                    <a:pt x="514" y="124"/>
                  </a:lnTo>
                  <a:lnTo>
                    <a:pt x="530" y="146"/>
                  </a:lnTo>
                  <a:lnTo>
                    <a:pt x="540" y="172"/>
                  </a:lnTo>
                  <a:lnTo>
                    <a:pt x="550" y="198"/>
                  </a:lnTo>
                  <a:lnTo>
                    <a:pt x="558" y="224"/>
                  </a:lnTo>
                  <a:lnTo>
                    <a:pt x="562" y="252"/>
                  </a:lnTo>
                  <a:lnTo>
                    <a:pt x="564" y="282"/>
                  </a:lnTo>
                  <a:lnTo>
                    <a:pt x="564" y="282"/>
                  </a:lnTo>
                  <a:lnTo>
                    <a:pt x="562" y="302"/>
                  </a:lnTo>
                  <a:lnTo>
                    <a:pt x="560" y="324"/>
                  </a:lnTo>
                  <a:lnTo>
                    <a:pt x="556" y="344"/>
                  </a:lnTo>
                  <a:lnTo>
                    <a:pt x="550" y="364"/>
                  </a:lnTo>
                  <a:lnTo>
                    <a:pt x="544" y="384"/>
                  </a:lnTo>
                  <a:lnTo>
                    <a:pt x="536" y="402"/>
                  </a:lnTo>
                  <a:lnTo>
                    <a:pt x="526" y="420"/>
                  </a:lnTo>
                  <a:lnTo>
                    <a:pt x="516" y="438"/>
                  </a:lnTo>
                  <a:lnTo>
                    <a:pt x="504" y="454"/>
                  </a:lnTo>
                  <a:lnTo>
                    <a:pt x="492" y="470"/>
                  </a:lnTo>
                  <a:lnTo>
                    <a:pt x="476" y="484"/>
                  </a:lnTo>
                  <a:lnTo>
                    <a:pt x="462" y="498"/>
                  </a:lnTo>
                  <a:lnTo>
                    <a:pt x="446" y="510"/>
                  </a:lnTo>
                  <a:lnTo>
                    <a:pt x="428" y="522"/>
                  </a:lnTo>
                  <a:lnTo>
                    <a:pt x="410"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6" y="460"/>
                  </a:lnTo>
                  <a:lnTo>
                    <a:pt x="488" y="446"/>
                  </a:lnTo>
                  <a:lnTo>
                    <a:pt x="500" y="430"/>
                  </a:lnTo>
                  <a:lnTo>
                    <a:pt x="510" y="414"/>
                  </a:lnTo>
                  <a:lnTo>
                    <a:pt x="518" y="396"/>
                  </a:lnTo>
                  <a:lnTo>
                    <a:pt x="526" y="378"/>
                  </a:lnTo>
                  <a:lnTo>
                    <a:pt x="534" y="360"/>
                  </a:lnTo>
                  <a:lnTo>
                    <a:pt x="538" y="340"/>
                  </a:lnTo>
                  <a:lnTo>
                    <a:pt x="542" y="322"/>
                  </a:lnTo>
                  <a:lnTo>
                    <a:pt x="544" y="302"/>
                  </a:lnTo>
                  <a:lnTo>
                    <a:pt x="546" y="282"/>
                  </a:lnTo>
                  <a:lnTo>
                    <a:pt x="546" y="282"/>
                  </a:lnTo>
                  <a:lnTo>
                    <a:pt x="544" y="254"/>
                  </a:lnTo>
                  <a:lnTo>
                    <a:pt x="540" y="228"/>
                  </a:lnTo>
                  <a:lnTo>
                    <a:pt x="534" y="202"/>
                  </a:lnTo>
                  <a:lnTo>
                    <a:pt x="524" y="178"/>
                  </a:lnTo>
                  <a:lnTo>
                    <a:pt x="514" y="156"/>
                  </a:lnTo>
                  <a:lnTo>
                    <a:pt x="500" y="134"/>
                  </a:lnTo>
                  <a:lnTo>
                    <a:pt x="484" y="114"/>
                  </a:lnTo>
                  <a:lnTo>
                    <a:pt x="468" y="94"/>
                  </a:lnTo>
                  <a:lnTo>
                    <a:pt x="450" y="78"/>
                  </a:lnTo>
                  <a:lnTo>
                    <a:pt x="428" y="62"/>
                  </a:lnTo>
                  <a:lnTo>
                    <a:pt x="408" y="50"/>
                  </a:lnTo>
                  <a:lnTo>
                    <a:pt x="384" y="38"/>
                  </a:lnTo>
                  <a:lnTo>
                    <a:pt x="360" y="30"/>
                  </a:lnTo>
                  <a:lnTo>
                    <a:pt x="334" y="22"/>
                  </a:lnTo>
                  <a:lnTo>
                    <a:pt x="308" y="18"/>
                  </a:lnTo>
                  <a:lnTo>
                    <a:pt x="282" y="18"/>
                  </a:ln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2" name="Freeform 6">
              <a:extLst>
                <a:ext uri="{FF2B5EF4-FFF2-40B4-BE49-F238E27FC236}">
                  <a16:creationId xmlns:a16="http://schemas.microsoft.com/office/drawing/2014/main" id="{D554F86E-5EB4-C88E-B01E-0BA0D221B37E}"/>
                </a:ext>
              </a:extLst>
            </p:cNvPr>
            <p:cNvSpPr>
              <a:spLocks noEditPoints="1"/>
            </p:cNvSpPr>
            <p:nvPr/>
          </p:nvSpPr>
          <p:spPr bwMode="auto">
            <a:xfrm>
              <a:off x="3486" y="2665"/>
              <a:ext cx="114" cy="70"/>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3" name="Rectangle 7">
              <a:extLst>
                <a:ext uri="{FF2B5EF4-FFF2-40B4-BE49-F238E27FC236}">
                  <a16:creationId xmlns:a16="http://schemas.microsoft.com/office/drawing/2014/main" id="{7159B321-8DD6-9B15-4C4E-AC1C7FF16772}"/>
                </a:ext>
              </a:extLst>
            </p:cNvPr>
            <p:cNvSpPr>
              <a:spLocks noChangeArrowheads="1"/>
            </p:cNvSpPr>
            <p:nvPr/>
          </p:nvSpPr>
          <p:spPr bwMode="auto">
            <a:xfrm>
              <a:off x="3386" y="2501"/>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4" name="Rectangle 8">
              <a:extLst>
                <a:ext uri="{FF2B5EF4-FFF2-40B4-BE49-F238E27FC236}">
                  <a16:creationId xmlns:a16="http://schemas.microsoft.com/office/drawing/2014/main" id="{CD2EB854-2808-36DA-6C7F-700D82B75BCE}"/>
                </a:ext>
              </a:extLst>
            </p:cNvPr>
            <p:cNvSpPr>
              <a:spLocks noChangeArrowheads="1"/>
            </p:cNvSpPr>
            <p:nvPr/>
          </p:nvSpPr>
          <p:spPr bwMode="auto">
            <a:xfrm>
              <a:off x="3386" y="2551"/>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5" name="Rectangle 9">
              <a:extLst>
                <a:ext uri="{FF2B5EF4-FFF2-40B4-BE49-F238E27FC236}">
                  <a16:creationId xmlns:a16="http://schemas.microsoft.com/office/drawing/2014/main" id="{D191418E-4646-A1C3-9FB9-CF4CF0D5571F}"/>
                </a:ext>
              </a:extLst>
            </p:cNvPr>
            <p:cNvSpPr>
              <a:spLocks noChangeArrowheads="1"/>
            </p:cNvSpPr>
            <p:nvPr/>
          </p:nvSpPr>
          <p:spPr bwMode="auto">
            <a:xfrm>
              <a:off x="3386" y="2603"/>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6" name="Rectangle 10">
              <a:extLst>
                <a:ext uri="{FF2B5EF4-FFF2-40B4-BE49-F238E27FC236}">
                  <a16:creationId xmlns:a16="http://schemas.microsoft.com/office/drawing/2014/main" id="{B3BD11A1-8DE3-642F-7172-5A23621F74BD}"/>
                </a:ext>
              </a:extLst>
            </p:cNvPr>
            <p:cNvSpPr>
              <a:spLocks noChangeArrowheads="1"/>
            </p:cNvSpPr>
            <p:nvPr/>
          </p:nvSpPr>
          <p:spPr bwMode="auto">
            <a:xfrm>
              <a:off x="3366" y="1875"/>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3" name="Rectangle 11">
              <a:extLst>
                <a:ext uri="{FF2B5EF4-FFF2-40B4-BE49-F238E27FC236}">
                  <a16:creationId xmlns:a16="http://schemas.microsoft.com/office/drawing/2014/main" id="{E9133249-0FF5-359D-1D49-52F1E2130CA4}"/>
                </a:ext>
              </a:extLst>
            </p:cNvPr>
            <p:cNvSpPr>
              <a:spLocks noChangeArrowheads="1"/>
            </p:cNvSpPr>
            <p:nvPr/>
          </p:nvSpPr>
          <p:spPr bwMode="auto">
            <a:xfrm>
              <a:off x="3248" y="1981"/>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4" name="Rectangle 12">
              <a:extLst>
                <a:ext uri="{FF2B5EF4-FFF2-40B4-BE49-F238E27FC236}">
                  <a16:creationId xmlns:a16="http://schemas.microsoft.com/office/drawing/2014/main" id="{B78E3A8F-5234-595B-FC97-42608FB762C6}"/>
                </a:ext>
              </a:extLst>
            </p:cNvPr>
            <p:cNvSpPr>
              <a:spLocks noChangeArrowheads="1"/>
            </p:cNvSpPr>
            <p:nvPr/>
          </p:nvSpPr>
          <p:spPr bwMode="auto">
            <a:xfrm>
              <a:off x="3534" y="1827"/>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99" name="Rectangle 13">
              <a:extLst>
                <a:ext uri="{FF2B5EF4-FFF2-40B4-BE49-F238E27FC236}">
                  <a16:creationId xmlns:a16="http://schemas.microsoft.com/office/drawing/2014/main" id="{385F97F1-D8C3-0FCA-0052-D1BD9EAE5E14}"/>
                </a:ext>
              </a:extLst>
            </p:cNvPr>
            <p:cNvSpPr>
              <a:spLocks noChangeArrowheads="1"/>
            </p:cNvSpPr>
            <p:nvPr/>
          </p:nvSpPr>
          <p:spPr bwMode="auto">
            <a:xfrm>
              <a:off x="3706" y="1875"/>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00" name="Rectangle 14">
              <a:extLst>
                <a:ext uri="{FF2B5EF4-FFF2-40B4-BE49-F238E27FC236}">
                  <a16:creationId xmlns:a16="http://schemas.microsoft.com/office/drawing/2014/main" id="{4DCC7D2E-5160-593E-8F52-4BE85AD10A12}"/>
                </a:ext>
              </a:extLst>
            </p:cNvPr>
            <p:cNvSpPr>
              <a:spLocks noChangeArrowheads="1"/>
            </p:cNvSpPr>
            <p:nvPr/>
          </p:nvSpPr>
          <p:spPr bwMode="auto">
            <a:xfrm>
              <a:off x="3810" y="1981"/>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5" name="Rectangle 15">
              <a:extLst>
                <a:ext uri="{FF2B5EF4-FFF2-40B4-BE49-F238E27FC236}">
                  <a16:creationId xmlns:a16="http://schemas.microsoft.com/office/drawing/2014/main" id="{9EBDEDAF-21CE-ED59-1DC3-59557765E8E8}"/>
                </a:ext>
              </a:extLst>
            </p:cNvPr>
            <p:cNvSpPr>
              <a:spLocks noChangeArrowheads="1"/>
            </p:cNvSpPr>
            <p:nvPr/>
          </p:nvSpPr>
          <p:spPr bwMode="auto">
            <a:xfrm>
              <a:off x="3248" y="2321"/>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6" name="Rectangle 16">
              <a:extLst>
                <a:ext uri="{FF2B5EF4-FFF2-40B4-BE49-F238E27FC236}">
                  <a16:creationId xmlns:a16="http://schemas.microsoft.com/office/drawing/2014/main" id="{FBAFEAFA-5449-2CD1-6C92-0A42024EFF02}"/>
                </a:ext>
              </a:extLst>
            </p:cNvPr>
            <p:cNvSpPr>
              <a:spLocks noChangeArrowheads="1"/>
            </p:cNvSpPr>
            <p:nvPr/>
          </p:nvSpPr>
          <p:spPr bwMode="auto">
            <a:xfrm>
              <a:off x="3810" y="2321"/>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7" name="Rectangle 17">
              <a:extLst>
                <a:ext uri="{FF2B5EF4-FFF2-40B4-BE49-F238E27FC236}">
                  <a16:creationId xmlns:a16="http://schemas.microsoft.com/office/drawing/2014/main" id="{A96EF821-55D0-8FA2-86DC-085FCCAEF503}"/>
                </a:ext>
              </a:extLst>
            </p:cNvPr>
            <p:cNvSpPr>
              <a:spLocks noChangeArrowheads="1"/>
            </p:cNvSpPr>
            <p:nvPr/>
          </p:nvSpPr>
          <p:spPr bwMode="auto">
            <a:xfrm>
              <a:off x="3858" y="2143"/>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8" name="Rectangle 18">
              <a:extLst>
                <a:ext uri="{FF2B5EF4-FFF2-40B4-BE49-F238E27FC236}">
                  <a16:creationId xmlns:a16="http://schemas.microsoft.com/office/drawing/2014/main" id="{4CB697AD-7779-01B7-360F-206DB573BCE8}"/>
                </a:ext>
              </a:extLst>
            </p:cNvPr>
            <p:cNvSpPr>
              <a:spLocks noChangeArrowheads="1"/>
            </p:cNvSpPr>
            <p:nvPr/>
          </p:nvSpPr>
          <p:spPr bwMode="auto">
            <a:xfrm>
              <a:off x="3212" y="2143"/>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9" name="Rectangle 19">
              <a:extLst>
                <a:ext uri="{FF2B5EF4-FFF2-40B4-BE49-F238E27FC236}">
                  <a16:creationId xmlns:a16="http://schemas.microsoft.com/office/drawing/2014/main" id="{B9E1E4AB-B4B5-AA69-3C0A-09CA10B0B2F9}"/>
                </a:ext>
              </a:extLst>
            </p:cNvPr>
            <p:cNvSpPr>
              <a:spLocks noChangeArrowheads="1"/>
            </p:cNvSpPr>
            <p:nvPr/>
          </p:nvSpPr>
          <p:spPr bwMode="auto">
            <a:xfrm>
              <a:off x="3504" y="2423"/>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0" name="Rectangle 20">
              <a:extLst>
                <a:ext uri="{FF2B5EF4-FFF2-40B4-BE49-F238E27FC236}">
                  <a16:creationId xmlns:a16="http://schemas.microsoft.com/office/drawing/2014/main" id="{4D175FA8-F977-560E-CCA9-341436A0839F}"/>
                </a:ext>
              </a:extLst>
            </p:cNvPr>
            <p:cNvSpPr>
              <a:spLocks noChangeArrowheads="1"/>
            </p:cNvSpPr>
            <p:nvPr/>
          </p:nvSpPr>
          <p:spPr bwMode="auto">
            <a:xfrm>
              <a:off x="3564" y="2423"/>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1" name="Freeform 21">
              <a:extLst>
                <a:ext uri="{FF2B5EF4-FFF2-40B4-BE49-F238E27FC236}">
                  <a16:creationId xmlns:a16="http://schemas.microsoft.com/office/drawing/2014/main" id="{69F0D256-B71D-623E-30F9-963B8DADE364}"/>
                </a:ext>
              </a:extLst>
            </p:cNvPr>
            <p:cNvSpPr>
              <a:spLocks noEditPoints="1"/>
            </p:cNvSpPr>
            <p:nvPr/>
          </p:nvSpPr>
          <p:spPr bwMode="auto">
            <a:xfrm>
              <a:off x="3334" y="1955"/>
              <a:ext cx="420" cy="420"/>
            </a:xfrm>
            <a:custGeom>
              <a:avLst/>
              <a:gdLst>
                <a:gd name="T0" fmla="*/ 170 w 420"/>
                <a:gd name="T1" fmla="*/ 372 h 420"/>
                <a:gd name="T2" fmla="*/ 122 w 420"/>
                <a:gd name="T3" fmla="*/ 352 h 420"/>
                <a:gd name="T4" fmla="*/ 68 w 420"/>
                <a:gd name="T5" fmla="*/ 298 h 420"/>
                <a:gd name="T6" fmla="*/ 48 w 420"/>
                <a:gd name="T7" fmla="*/ 248 h 420"/>
                <a:gd name="T8" fmla="*/ 48 w 420"/>
                <a:gd name="T9" fmla="*/ 170 h 420"/>
                <a:gd name="T10" fmla="*/ 68 w 420"/>
                <a:gd name="T11" fmla="*/ 122 h 420"/>
                <a:gd name="T12" fmla="*/ 122 w 420"/>
                <a:gd name="T13" fmla="*/ 68 h 420"/>
                <a:gd name="T14" fmla="*/ 170 w 420"/>
                <a:gd name="T15" fmla="*/ 48 h 420"/>
                <a:gd name="T16" fmla="*/ 248 w 420"/>
                <a:gd name="T17" fmla="*/ 48 h 420"/>
                <a:gd name="T18" fmla="*/ 296 w 420"/>
                <a:gd name="T19" fmla="*/ 68 h 420"/>
                <a:gd name="T20" fmla="*/ 352 w 420"/>
                <a:gd name="T21" fmla="*/ 122 h 420"/>
                <a:gd name="T22" fmla="*/ 372 w 420"/>
                <a:gd name="T23" fmla="*/ 170 h 420"/>
                <a:gd name="T24" fmla="*/ 372 w 420"/>
                <a:gd name="T25" fmla="*/ 248 h 420"/>
                <a:gd name="T26" fmla="*/ 352 w 420"/>
                <a:gd name="T27" fmla="*/ 298 h 420"/>
                <a:gd name="T28" fmla="*/ 296 w 420"/>
                <a:gd name="T29" fmla="*/ 352 h 420"/>
                <a:gd name="T30" fmla="*/ 248 w 420"/>
                <a:gd name="T31" fmla="*/ 372 h 420"/>
                <a:gd name="T32" fmla="*/ 230 w 420"/>
                <a:gd name="T33" fmla="*/ 402 h 420"/>
                <a:gd name="T34" fmla="*/ 238 w 420"/>
                <a:gd name="T35" fmla="*/ 356 h 420"/>
                <a:gd name="T36" fmla="*/ 280 w 420"/>
                <a:gd name="T37" fmla="*/ 340 h 420"/>
                <a:gd name="T38" fmla="*/ 330 w 420"/>
                <a:gd name="T39" fmla="*/ 360 h 420"/>
                <a:gd name="T40" fmla="*/ 332 w 420"/>
                <a:gd name="T41" fmla="*/ 294 h 420"/>
                <a:gd name="T42" fmla="*/ 348 w 420"/>
                <a:gd name="T43" fmla="*/ 266 h 420"/>
                <a:gd name="T44" fmla="*/ 358 w 420"/>
                <a:gd name="T45" fmla="*/ 230 h 420"/>
                <a:gd name="T46" fmla="*/ 358 w 420"/>
                <a:gd name="T47" fmla="*/ 188 h 420"/>
                <a:gd name="T48" fmla="*/ 352 w 420"/>
                <a:gd name="T49" fmla="*/ 166 h 420"/>
                <a:gd name="T50" fmla="*/ 332 w 420"/>
                <a:gd name="T51" fmla="*/ 126 h 420"/>
                <a:gd name="T52" fmla="*/ 330 w 420"/>
                <a:gd name="T53" fmla="*/ 60 h 420"/>
                <a:gd name="T54" fmla="*/ 294 w 420"/>
                <a:gd name="T55" fmla="*/ 86 h 420"/>
                <a:gd name="T56" fmla="*/ 252 w 420"/>
                <a:gd name="T57" fmla="*/ 68 h 420"/>
                <a:gd name="T58" fmla="*/ 230 w 420"/>
                <a:gd name="T59" fmla="*/ 18 h 420"/>
                <a:gd name="T60" fmla="*/ 182 w 420"/>
                <a:gd name="T61" fmla="*/ 64 h 420"/>
                <a:gd name="T62" fmla="*/ 152 w 420"/>
                <a:gd name="T63" fmla="*/ 72 h 420"/>
                <a:gd name="T64" fmla="*/ 120 w 420"/>
                <a:gd name="T65" fmla="*/ 90 h 420"/>
                <a:gd name="T66" fmla="*/ 90 w 420"/>
                <a:gd name="T67" fmla="*/ 120 h 420"/>
                <a:gd name="T68" fmla="*/ 78 w 420"/>
                <a:gd name="T69" fmla="*/ 140 h 420"/>
                <a:gd name="T70" fmla="*/ 64 w 420"/>
                <a:gd name="T71" fmla="*/ 182 h 420"/>
                <a:gd name="T72" fmla="*/ 18 w 420"/>
                <a:gd name="T73" fmla="*/ 230 h 420"/>
                <a:gd name="T74" fmla="*/ 64 w 420"/>
                <a:gd name="T75" fmla="*/ 238 h 420"/>
                <a:gd name="T76" fmla="*/ 78 w 420"/>
                <a:gd name="T77" fmla="*/ 280 h 420"/>
                <a:gd name="T78" fmla="*/ 58 w 420"/>
                <a:gd name="T79" fmla="*/ 330 h 420"/>
                <a:gd name="T80" fmla="*/ 126 w 420"/>
                <a:gd name="T81" fmla="*/ 332 h 420"/>
                <a:gd name="T82" fmla="*/ 152 w 420"/>
                <a:gd name="T83" fmla="*/ 348 h 420"/>
                <a:gd name="T84" fmla="*/ 188 w 420"/>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0">
                  <a:moveTo>
                    <a:pt x="248" y="420"/>
                  </a:moveTo>
                  <a:lnTo>
                    <a:pt x="170" y="420"/>
                  </a:lnTo>
                  <a:lnTo>
                    <a:pt x="170" y="372"/>
                  </a:lnTo>
                  <a:lnTo>
                    <a:pt x="170" y="372"/>
                  </a:lnTo>
                  <a:lnTo>
                    <a:pt x="146" y="364"/>
                  </a:lnTo>
                  <a:lnTo>
                    <a:pt x="122" y="352"/>
                  </a:lnTo>
                  <a:lnTo>
                    <a:pt x="88"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88"/>
                  </a:lnTo>
                  <a:lnTo>
                    <a:pt x="352" y="122"/>
                  </a:lnTo>
                  <a:lnTo>
                    <a:pt x="352" y="122"/>
                  </a:lnTo>
                  <a:lnTo>
                    <a:pt x="364" y="146"/>
                  </a:lnTo>
                  <a:lnTo>
                    <a:pt x="372" y="170"/>
                  </a:lnTo>
                  <a:lnTo>
                    <a:pt x="420" y="170"/>
                  </a:lnTo>
                  <a:lnTo>
                    <a:pt x="420" y="248"/>
                  </a:lnTo>
                  <a:lnTo>
                    <a:pt x="372" y="248"/>
                  </a:lnTo>
                  <a:lnTo>
                    <a:pt x="372" y="248"/>
                  </a:lnTo>
                  <a:lnTo>
                    <a:pt x="364" y="274"/>
                  </a:lnTo>
                  <a:lnTo>
                    <a:pt x="352" y="298"/>
                  </a:lnTo>
                  <a:lnTo>
                    <a:pt x="386" y="330"/>
                  </a:lnTo>
                  <a:lnTo>
                    <a:pt x="330" y="386"/>
                  </a:lnTo>
                  <a:lnTo>
                    <a:pt x="296" y="352"/>
                  </a:lnTo>
                  <a:lnTo>
                    <a:pt x="296" y="352"/>
                  </a:lnTo>
                  <a:lnTo>
                    <a:pt x="274" y="364"/>
                  </a:lnTo>
                  <a:lnTo>
                    <a:pt x="248" y="372"/>
                  </a:lnTo>
                  <a:lnTo>
                    <a:pt x="248" y="420"/>
                  </a:lnTo>
                  <a:close/>
                  <a:moveTo>
                    <a:pt x="188" y="402"/>
                  </a:moveTo>
                  <a:lnTo>
                    <a:pt x="230" y="402"/>
                  </a:lnTo>
                  <a:lnTo>
                    <a:pt x="230" y="358"/>
                  </a:lnTo>
                  <a:lnTo>
                    <a:pt x="238" y="356"/>
                  </a:lnTo>
                  <a:lnTo>
                    <a:pt x="238" y="356"/>
                  </a:lnTo>
                  <a:lnTo>
                    <a:pt x="252" y="352"/>
                  </a:lnTo>
                  <a:lnTo>
                    <a:pt x="266" y="348"/>
                  </a:lnTo>
                  <a:lnTo>
                    <a:pt x="280" y="340"/>
                  </a:lnTo>
                  <a:lnTo>
                    <a:pt x="294" y="332"/>
                  </a:lnTo>
                  <a:lnTo>
                    <a:pt x="300" y="328"/>
                  </a:lnTo>
                  <a:lnTo>
                    <a:pt x="330" y="360"/>
                  </a:lnTo>
                  <a:lnTo>
                    <a:pt x="360" y="330"/>
                  </a:lnTo>
                  <a:lnTo>
                    <a:pt x="328" y="300"/>
                  </a:lnTo>
                  <a:lnTo>
                    <a:pt x="332" y="294"/>
                  </a:lnTo>
                  <a:lnTo>
                    <a:pt x="332" y="294"/>
                  </a:lnTo>
                  <a:lnTo>
                    <a:pt x="340" y="280"/>
                  </a:lnTo>
                  <a:lnTo>
                    <a:pt x="348" y="266"/>
                  </a:lnTo>
                  <a:lnTo>
                    <a:pt x="352" y="252"/>
                  </a:lnTo>
                  <a:lnTo>
                    <a:pt x="356" y="238"/>
                  </a:lnTo>
                  <a:lnTo>
                    <a:pt x="358" y="230"/>
                  </a:lnTo>
                  <a:lnTo>
                    <a:pt x="402" y="230"/>
                  </a:lnTo>
                  <a:lnTo>
                    <a:pt x="402" y="188"/>
                  </a:lnTo>
                  <a:lnTo>
                    <a:pt x="358" y="188"/>
                  </a:lnTo>
                  <a:lnTo>
                    <a:pt x="356" y="182"/>
                  </a:lnTo>
                  <a:lnTo>
                    <a:pt x="356" y="182"/>
                  </a:lnTo>
                  <a:lnTo>
                    <a:pt x="352" y="166"/>
                  </a:lnTo>
                  <a:lnTo>
                    <a:pt x="348" y="152"/>
                  </a:lnTo>
                  <a:lnTo>
                    <a:pt x="340" y="140"/>
                  </a:lnTo>
                  <a:lnTo>
                    <a:pt x="332" y="126"/>
                  </a:lnTo>
                  <a:lnTo>
                    <a:pt x="328" y="120"/>
                  </a:lnTo>
                  <a:lnTo>
                    <a:pt x="360" y="88"/>
                  </a:lnTo>
                  <a:lnTo>
                    <a:pt x="330" y="60"/>
                  </a:lnTo>
                  <a:lnTo>
                    <a:pt x="300" y="90"/>
                  </a:lnTo>
                  <a:lnTo>
                    <a:pt x="294" y="86"/>
                  </a:lnTo>
                  <a:lnTo>
                    <a:pt x="294" y="86"/>
                  </a:lnTo>
                  <a:lnTo>
                    <a:pt x="280" y="78"/>
                  </a:lnTo>
                  <a:lnTo>
                    <a:pt x="266" y="72"/>
                  </a:lnTo>
                  <a:lnTo>
                    <a:pt x="252" y="68"/>
                  </a:lnTo>
                  <a:lnTo>
                    <a:pt x="238" y="64"/>
                  </a:lnTo>
                  <a:lnTo>
                    <a:pt x="230" y="62"/>
                  </a:lnTo>
                  <a:lnTo>
                    <a:pt x="230" y="18"/>
                  </a:lnTo>
                  <a:lnTo>
                    <a:pt x="188" y="18"/>
                  </a:lnTo>
                  <a:lnTo>
                    <a:pt x="188" y="62"/>
                  </a:lnTo>
                  <a:lnTo>
                    <a:pt x="182" y="64"/>
                  </a:lnTo>
                  <a:lnTo>
                    <a:pt x="182" y="64"/>
                  </a:lnTo>
                  <a:lnTo>
                    <a:pt x="166" y="68"/>
                  </a:lnTo>
                  <a:lnTo>
                    <a:pt x="152" y="72"/>
                  </a:lnTo>
                  <a:lnTo>
                    <a:pt x="138" y="78"/>
                  </a:lnTo>
                  <a:lnTo>
                    <a:pt x="126" y="86"/>
                  </a:lnTo>
                  <a:lnTo>
                    <a:pt x="120" y="90"/>
                  </a:lnTo>
                  <a:lnTo>
                    <a:pt x="88" y="60"/>
                  </a:lnTo>
                  <a:lnTo>
                    <a:pt x="58" y="88"/>
                  </a:lnTo>
                  <a:lnTo>
                    <a:pt x="90" y="120"/>
                  </a:lnTo>
                  <a:lnTo>
                    <a:pt x="86" y="126"/>
                  </a:lnTo>
                  <a:lnTo>
                    <a:pt x="86" y="126"/>
                  </a:lnTo>
                  <a:lnTo>
                    <a:pt x="78" y="140"/>
                  </a:lnTo>
                  <a:lnTo>
                    <a:pt x="72" y="152"/>
                  </a:lnTo>
                  <a:lnTo>
                    <a:pt x="66" y="166"/>
                  </a:lnTo>
                  <a:lnTo>
                    <a:pt x="64" y="182"/>
                  </a:lnTo>
                  <a:lnTo>
                    <a:pt x="62" y="188"/>
                  </a:lnTo>
                  <a:lnTo>
                    <a:pt x="18" y="188"/>
                  </a:lnTo>
                  <a:lnTo>
                    <a:pt x="18" y="230"/>
                  </a:lnTo>
                  <a:lnTo>
                    <a:pt x="62" y="230"/>
                  </a:lnTo>
                  <a:lnTo>
                    <a:pt x="64" y="238"/>
                  </a:lnTo>
                  <a:lnTo>
                    <a:pt x="64" y="238"/>
                  </a:lnTo>
                  <a:lnTo>
                    <a:pt x="66" y="252"/>
                  </a:lnTo>
                  <a:lnTo>
                    <a:pt x="72" y="266"/>
                  </a:lnTo>
                  <a:lnTo>
                    <a:pt x="78" y="280"/>
                  </a:lnTo>
                  <a:lnTo>
                    <a:pt x="86" y="294"/>
                  </a:lnTo>
                  <a:lnTo>
                    <a:pt x="90" y="300"/>
                  </a:lnTo>
                  <a:lnTo>
                    <a:pt x="58" y="330"/>
                  </a:lnTo>
                  <a:lnTo>
                    <a:pt x="88" y="360"/>
                  </a:lnTo>
                  <a:lnTo>
                    <a:pt x="120" y="328"/>
                  </a:lnTo>
                  <a:lnTo>
                    <a:pt x="126" y="332"/>
                  </a:lnTo>
                  <a:lnTo>
                    <a:pt x="126" y="332"/>
                  </a:lnTo>
                  <a:lnTo>
                    <a:pt x="138" y="340"/>
                  </a:lnTo>
                  <a:lnTo>
                    <a:pt x="152" y="348"/>
                  </a:lnTo>
                  <a:lnTo>
                    <a:pt x="166" y="352"/>
                  </a:lnTo>
                  <a:lnTo>
                    <a:pt x="182" y="356"/>
                  </a:lnTo>
                  <a:lnTo>
                    <a:pt x="188" y="358"/>
                  </a:lnTo>
                  <a:lnTo>
                    <a:pt x="188"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2" name="Freeform 22">
              <a:extLst>
                <a:ext uri="{FF2B5EF4-FFF2-40B4-BE49-F238E27FC236}">
                  <a16:creationId xmlns:a16="http://schemas.microsoft.com/office/drawing/2014/main" id="{D8A775D7-DB8D-304C-C3C5-5825401E4B49}"/>
                </a:ext>
              </a:extLst>
            </p:cNvPr>
            <p:cNvSpPr>
              <a:spLocks noEditPoints="1"/>
            </p:cNvSpPr>
            <p:nvPr/>
          </p:nvSpPr>
          <p:spPr bwMode="auto">
            <a:xfrm>
              <a:off x="3432" y="2053"/>
              <a:ext cx="222" cy="224"/>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20 w 222"/>
                <a:gd name="T13" fmla="*/ 50 h 224"/>
                <a:gd name="T14" fmla="*/ 50 w 222"/>
                <a:gd name="T15" fmla="*/ 20 h 224"/>
                <a:gd name="T16" fmla="*/ 90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6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60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4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90" y="220"/>
                  </a:lnTo>
                  <a:lnTo>
                    <a:pt x="68" y="214"/>
                  </a:lnTo>
                  <a:lnTo>
                    <a:pt x="50" y="204"/>
                  </a:lnTo>
                  <a:lnTo>
                    <a:pt x="32" y="190"/>
                  </a:lnTo>
                  <a:lnTo>
                    <a:pt x="20" y="174"/>
                  </a:lnTo>
                  <a:lnTo>
                    <a:pt x="8" y="156"/>
                  </a:lnTo>
                  <a:lnTo>
                    <a:pt x="2" y="134"/>
                  </a:lnTo>
                  <a:lnTo>
                    <a:pt x="0" y="112"/>
                  </a:lnTo>
                  <a:lnTo>
                    <a:pt x="0" y="112"/>
                  </a:lnTo>
                  <a:lnTo>
                    <a:pt x="2" y="90"/>
                  </a:lnTo>
                  <a:lnTo>
                    <a:pt x="8" y="68"/>
                  </a:lnTo>
                  <a:lnTo>
                    <a:pt x="20" y="50"/>
                  </a:lnTo>
                  <a:lnTo>
                    <a:pt x="32" y="34"/>
                  </a:lnTo>
                  <a:lnTo>
                    <a:pt x="50" y="20"/>
                  </a:lnTo>
                  <a:lnTo>
                    <a:pt x="68" y="10"/>
                  </a:lnTo>
                  <a:lnTo>
                    <a:pt x="90"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6" y="26"/>
                  </a:lnTo>
                  <a:lnTo>
                    <a:pt x="60" y="34"/>
                  </a:lnTo>
                  <a:lnTo>
                    <a:pt x="46" y="46"/>
                  </a:lnTo>
                  <a:lnTo>
                    <a:pt x="34" y="60"/>
                  </a:lnTo>
                  <a:lnTo>
                    <a:pt x="26" y="76"/>
                  </a:lnTo>
                  <a:lnTo>
                    <a:pt x="20" y="92"/>
                  </a:lnTo>
                  <a:lnTo>
                    <a:pt x="18" y="112"/>
                  </a:lnTo>
                  <a:lnTo>
                    <a:pt x="18" y="112"/>
                  </a:lnTo>
                  <a:lnTo>
                    <a:pt x="20" y="130"/>
                  </a:lnTo>
                  <a:lnTo>
                    <a:pt x="26" y="148"/>
                  </a:lnTo>
                  <a:lnTo>
                    <a:pt x="34" y="164"/>
                  </a:lnTo>
                  <a:lnTo>
                    <a:pt x="46" y="178"/>
                  </a:lnTo>
                  <a:lnTo>
                    <a:pt x="60" y="190"/>
                  </a:lnTo>
                  <a:lnTo>
                    <a:pt x="76" y="198"/>
                  </a:lnTo>
                  <a:lnTo>
                    <a:pt x="92" y="204"/>
                  </a:lnTo>
                  <a:lnTo>
                    <a:pt x="112" y="206"/>
                  </a:lnTo>
                  <a:lnTo>
                    <a:pt x="112" y="206"/>
                  </a:lnTo>
                  <a:lnTo>
                    <a:pt x="130" y="204"/>
                  </a:lnTo>
                  <a:lnTo>
                    <a:pt x="148" y="198"/>
                  </a:lnTo>
                  <a:lnTo>
                    <a:pt x="164" y="190"/>
                  </a:lnTo>
                  <a:lnTo>
                    <a:pt x="178" y="178"/>
                  </a:lnTo>
                  <a:lnTo>
                    <a:pt x="188" y="164"/>
                  </a:lnTo>
                  <a:lnTo>
                    <a:pt x="198" y="148"/>
                  </a:lnTo>
                  <a:lnTo>
                    <a:pt x="204" y="130"/>
                  </a:lnTo>
                  <a:lnTo>
                    <a:pt x="204" y="112"/>
                  </a:lnTo>
                  <a:lnTo>
                    <a:pt x="204" y="112"/>
                  </a:lnTo>
                  <a:lnTo>
                    <a:pt x="204" y="92"/>
                  </a:lnTo>
                  <a:lnTo>
                    <a:pt x="198" y="76"/>
                  </a:lnTo>
                  <a:lnTo>
                    <a:pt x="188" y="60"/>
                  </a:lnTo>
                  <a:lnTo>
                    <a:pt x="178" y="46"/>
                  </a:lnTo>
                  <a:lnTo>
                    <a:pt x="164" y="34"/>
                  </a:lnTo>
                  <a:lnTo>
                    <a:pt x="148" y="26"/>
                  </a:lnTo>
                  <a:lnTo>
                    <a:pt x="130" y="20"/>
                  </a:lnTo>
                  <a:lnTo>
                    <a:pt x="112" y="18"/>
                  </a:lnTo>
                  <a:lnTo>
                    <a:pt x="1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sp>
        <p:nvSpPr>
          <p:cNvPr id="63" name="Arrow: Chevron 62">
            <a:extLst>
              <a:ext uri="{FF2B5EF4-FFF2-40B4-BE49-F238E27FC236}">
                <a16:creationId xmlns:a16="http://schemas.microsoft.com/office/drawing/2014/main" id="{6333961A-A7B2-7FD4-CFA7-1A0B667B17D6}"/>
              </a:ext>
            </a:extLst>
          </p:cNvPr>
          <p:cNvSpPr/>
          <p:nvPr/>
        </p:nvSpPr>
        <p:spPr>
          <a:xfrm>
            <a:off x="7157793" y="3038837"/>
            <a:ext cx="604668" cy="721333"/>
          </a:xfrm>
          <a:prstGeom prst="chevron">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64" name="Arrow: Chevron 63">
            <a:extLst>
              <a:ext uri="{FF2B5EF4-FFF2-40B4-BE49-F238E27FC236}">
                <a16:creationId xmlns:a16="http://schemas.microsoft.com/office/drawing/2014/main" id="{F51F2580-FC90-11C2-F0EF-462AF81D8919}"/>
              </a:ext>
            </a:extLst>
          </p:cNvPr>
          <p:cNvSpPr/>
          <p:nvPr/>
        </p:nvSpPr>
        <p:spPr>
          <a:xfrm>
            <a:off x="6673780" y="3038836"/>
            <a:ext cx="604668" cy="721333"/>
          </a:xfrm>
          <a:prstGeom prst="chevron">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82" name="Rectangle 81">
            <a:extLst>
              <a:ext uri="{FF2B5EF4-FFF2-40B4-BE49-F238E27FC236}">
                <a16:creationId xmlns:a16="http://schemas.microsoft.com/office/drawing/2014/main" id="{110B69A7-F399-592B-446B-2FC42D8E41A4}"/>
              </a:ext>
            </a:extLst>
          </p:cNvPr>
          <p:cNvSpPr/>
          <p:nvPr/>
        </p:nvSpPr>
        <p:spPr>
          <a:xfrm>
            <a:off x="8425556" y="4108236"/>
            <a:ext cx="3250959" cy="2032941"/>
          </a:xfrm>
          <a:prstGeom prst="rect">
            <a:avLst/>
          </a:prstGeom>
          <a:solidFill>
            <a:schemeClr val="bg1"/>
          </a:solidFill>
          <a:ln w="9525" cap="flat" cmpd="sng" algn="ctr">
            <a:solidFill>
              <a:srgbClr val="7096AC"/>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85" name="Rounded Rectangle 5">
            <a:extLst>
              <a:ext uri="{FF2B5EF4-FFF2-40B4-BE49-F238E27FC236}">
                <a16:creationId xmlns:a16="http://schemas.microsoft.com/office/drawing/2014/main" id="{F78D3B3B-E16F-9FCE-EE6A-824496B33D61}"/>
              </a:ext>
            </a:extLst>
          </p:cNvPr>
          <p:cNvSpPr>
            <a:spLocks/>
          </p:cNvSpPr>
          <p:nvPr/>
        </p:nvSpPr>
        <p:spPr>
          <a:xfrm>
            <a:off x="8246474" y="3760168"/>
            <a:ext cx="3534490" cy="461404"/>
          </a:xfrm>
          <a:prstGeom prst="roundRect">
            <a:avLst>
              <a:gd name="adj" fmla="val 50000"/>
            </a:avLst>
          </a:prstGeom>
          <a:solidFill>
            <a:srgbClr val="CA43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75700" rtlCol="0" anchor="ctr" anchorCtr="0"/>
          <a:lstStyle/>
          <a:p>
            <a:r>
              <a:rPr lang="en-GB" sz="1099" b="1">
                <a:solidFill>
                  <a:srgbClr val="F6F6FA"/>
                </a:solidFill>
              </a:rPr>
              <a:t>Operational Integrity and Continuity</a:t>
            </a:r>
          </a:p>
        </p:txBody>
      </p:sp>
      <p:sp>
        <p:nvSpPr>
          <p:cNvPr id="88" name="TextBox 87">
            <a:extLst>
              <a:ext uri="{FF2B5EF4-FFF2-40B4-BE49-F238E27FC236}">
                <a16:creationId xmlns:a16="http://schemas.microsoft.com/office/drawing/2014/main" id="{631C4429-681F-0CBC-1E99-A5A0CD59BA5C}"/>
              </a:ext>
            </a:extLst>
          </p:cNvPr>
          <p:cNvSpPr txBox="1"/>
          <p:nvPr/>
        </p:nvSpPr>
        <p:spPr>
          <a:xfrm>
            <a:off x="8632670" y="4255142"/>
            <a:ext cx="2878501" cy="1456939"/>
          </a:xfrm>
          <a:prstGeom prst="rect">
            <a:avLst/>
          </a:prstGeom>
          <a:noFill/>
        </p:spPr>
        <p:txBody>
          <a:bodyPr wrap="square" lIns="35981" tIns="35981" rIns="35981" bIns="35981">
            <a:spAutoFit/>
          </a:bodyPr>
          <a:lstStyle/>
          <a:p>
            <a:pPr lvl="0"/>
            <a:r>
              <a:rPr lang="en-GB" sz="999"/>
              <a:t>During the Operate phase, EY will ensure the integrity and continuity of NWC’s managed security services by applying its global expertise in IT/OT environments. EY will implement proven methodologies for incident management, threat detection, and response, while enhancing NWC’s SOC with advanced security analytics and threat intelligence to maintain the highest operational standards.</a:t>
            </a:r>
          </a:p>
        </p:txBody>
      </p:sp>
      <p:grpSp>
        <p:nvGrpSpPr>
          <p:cNvPr id="65" name="Group 4">
            <a:extLst>
              <a:ext uri="{FF2B5EF4-FFF2-40B4-BE49-F238E27FC236}">
                <a16:creationId xmlns:a16="http://schemas.microsoft.com/office/drawing/2014/main" id="{EF257FA5-6B8B-8AF4-FBE3-3E9949DB8924}"/>
              </a:ext>
            </a:extLst>
          </p:cNvPr>
          <p:cNvGrpSpPr>
            <a:grpSpLocks noChangeAspect="1"/>
          </p:cNvGrpSpPr>
          <p:nvPr/>
        </p:nvGrpSpPr>
        <p:grpSpPr bwMode="auto">
          <a:xfrm>
            <a:off x="8467259" y="3774793"/>
            <a:ext cx="312446" cy="388596"/>
            <a:chOff x="3200" y="847"/>
            <a:chExt cx="640" cy="796"/>
          </a:xfrm>
          <a:solidFill>
            <a:schemeClr val="bg1"/>
          </a:solidFill>
        </p:grpSpPr>
        <p:sp>
          <p:nvSpPr>
            <p:cNvPr id="66" name="Freeform 5">
              <a:extLst>
                <a:ext uri="{FF2B5EF4-FFF2-40B4-BE49-F238E27FC236}">
                  <a16:creationId xmlns:a16="http://schemas.microsoft.com/office/drawing/2014/main" id="{B1DACF6C-8624-7D26-2C7C-EC6FD9792C5A}"/>
                </a:ext>
              </a:extLst>
            </p:cNvPr>
            <p:cNvSpPr>
              <a:spLocks/>
            </p:cNvSpPr>
            <p:nvPr/>
          </p:nvSpPr>
          <p:spPr bwMode="auto">
            <a:xfrm>
              <a:off x="3454" y="1147"/>
              <a:ext cx="130" cy="214"/>
            </a:xfrm>
            <a:custGeom>
              <a:avLst/>
              <a:gdLst>
                <a:gd name="T0" fmla="*/ 130 w 130"/>
                <a:gd name="T1" fmla="*/ 214 h 214"/>
                <a:gd name="T2" fmla="*/ 0 w 130"/>
                <a:gd name="T3" fmla="*/ 214 h 214"/>
                <a:gd name="T4" fmla="*/ 0 w 130"/>
                <a:gd name="T5" fmla="*/ 0 h 214"/>
                <a:gd name="T6" fmla="*/ 18 w 130"/>
                <a:gd name="T7" fmla="*/ 0 h 214"/>
                <a:gd name="T8" fmla="*/ 18 w 130"/>
                <a:gd name="T9" fmla="*/ 196 h 214"/>
                <a:gd name="T10" fmla="*/ 112 w 130"/>
                <a:gd name="T11" fmla="*/ 196 h 214"/>
                <a:gd name="T12" fmla="*/ 112 w 130"/>
                <a:gd name="T13" fmla="*/ 0 h 214"/>
                <a:gd name="T14" fmla="*/ 130 w 130"/>
                <a:gd name="T15" fmla="*/ 0 h 214"/>
                <a:gd name="T16" fmla="*/ 130 w 130"/>
                <a:gd name="T17"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214">
                  <a:moveTo>
                    <a:pt x="130" y="214"/>
                  </a:moveTo>
                  <a:lnTo>
                    <a:pt x="0" y="214"/>
                  </a:lnTo>
                  <a:lnTo>
                    <a:pt x="0" y="0"/>
                  </a:lnTo>
                  <a:lnTo>
                    <a:pt x="18" y="0"/>
                  </a:lnTo>
                  <a:lnTo>
                    <a:pt x="18" y="196"/>
                  </a:lnTo>
                  <a:lnTo>
                    <a:pt x="112" y="196"/>
                  </a:lnTo>
                  <a:lnTo>
                    <a:pt x="112" y="0"/>
                  </a:lnTo>
                  <a:lnTo>
                    <a:pt x="130" y="0"/>
                  </a:lnTo>
                  <a:lnTo>
                    <a:pt x="130"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7" name="Rectangle 6">
              <a:extLst>
                <a:ext uri="{FF2B5EF4-FFF2-40B4-BE49-F238E27FC236}">
                  <a16:creationId xmlns:a16="http://schemas.microsoft.com/office/drawing/2014/main" id="{A5C69F2F-7EBC-229C-CF3A-178F6D861374}"/>
                </a:ext>
              </a:extLst>
            </p:cNvPr>
            <p:cNvSpPr>
              <a:spLocks noChangeArrowheads="1"/>
            </p:cNvSpPr>
            <p:nvPr/>
          </p:nvSpPr>
          <p:spPr bwMode="auto">
            <a:xfrm>
              <a:off x="3510" y="1193"/>
              <a:ext cx="18" cy="1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8" name="Freeform 7">
              <a:extLst>
                <a:ext uri="{FF2B5EF4-FFF2-40B4-BE49-F238E27FC236}">
                  <a16:creationId xmlns:a16="http://schemas.microsoft.com/office/drawing/2014/main" id="{3C548318-8E33-7262-6E08-326AC6D3991F}"/>
                </a:ext>
              </a:extLst>
            </p:cNvPr>
            <p:cNvSpPr>
              <a:spLocks/>
            </p:cNvSpPr>
            <p:nvPr/>
          </p:nvSpPr>
          <p:spPr bwMode="auto">
            <a:xfrm>
              <a:off x="3418" y="967"/>
              <a:ext cx="142" cy="218"/>
            </a:xfrm>
            <a:custGeom>
              <a:avLst/>
              <a:gdLst>
                <a:gd name="T0" fmla="*/ 50 w 142"/>
                <a:gd name="T1" fmla="*/ 218 h 218"/>
                <a:gd name="T2" fmla="*/ 0 w 142"/>
                <a:gd name="T3" fmla="*/ 218 h 218"/>
                <a:gd name="T4" fmla="*/ 0 w 142"/>
                <a:gd name="T5" fmla="*/ 54 h 218"/>
                <a:gd name="T6" fmla="*/ 0 w 142"/>
                <a:gd name="T7" fmla="*/ 54 h 218"/>
                <a:gd name="T8" fmla="*/ 2 w 142"/>
                <a:gd name="T9" fmla="*/ 42 h 218"/>
                <a:gd name="T10" fmla="*/ 4 w 142"/>
                <a:gd name="T11" fmla="*/ 32 h 218"/>
                <a:gd name="T12" fmla="*/ 10 w 142"/>
                <a:gd name="T13" fmla="*/ 24 h 218"/>
                <a:gd name="T14" fmla="*/ 16 w 142"/>
                <a:gd name="T15" fmla="*/ 16 h 218"/>
                <a:gd name="T16" fmla="*/ 24 w 142"/>
                <a:gd name="T17" fmla="*/ 10 h 218"/>
                <a:gd name="T18" fmla="*/ 32 w 142"/>
                <a:gd name="T19" fmla="*/ 4 h 218"/>
                <a:gd name="T20" fmla="*/ 42 w 142"/>
                <a:gd name="T21" fmla="*/ 2 h 218"/>
                <a:gd name="T22" fmla="*/ 52 w 142"/>
                <a:gd name="T23" fmla="*/ 0 h 218"/>
                <a:gd name="T24" fmla="*/ 142 w 142"/>
                <a:gd name="T25" fmla="*/ 0 h 218"/>
                <a:gd name="T26" fmla="*/ 142 w 142"/>
                <a:gd name="T27" fmla="*/ 18 h 218"/>
                <a:gd name="T28" fmla="*/ 52 w 142"/>
                <a:gd name="T29" fmla="*/ 18 h 218"/>
                <a:gd name="T30" fmla="*/ 52 w 142"/>
                <a:gd name="T31" fmla="*/ 18 h 218"/>
                <a:gd name="T32" fmla="*/ 46 w 142"/>
                <a:gd name="T33" fmla="*/ 20 h 218"/>
                <a:gd name="T34" fmla="*/ 40 w 142"/>
                <a:gd name="T35" fmla="*/ 22 h 218"/>
                <a:gd name="T36" fmla="*/ 34 w 142"/>
                <a:gd name="T37" fmla="*/ 24 h 218"/>
                <a:gd name="T38" fmla="*/ 28 w 142"/>
                <a:gd name="T39" fmla="*/ 28 h 218"/>
                <a:gd name="T40" fmla="*/ 24 w 142"/>
                <a:gd name="T41" fmla="*/ 34 h 218"/>
                <a:gd name="T42" fmla="*/ 20 w 142"/>
                <a:gd name="T43" fmla="*/ 40 h 218"/>
                <a:gd name="T44" fmla="*/ 18 w 142"/>
                <a:gd name="T45" fmla="*/ 46 h 218"/>
                <a:gd name="T46" fmla="*/ 18 w 142"/>
                <a:gd name="T47" fmla="*/ 54 h 218"/>
                <a:gd name="T48" fmla="*/ 18 w 142"/>
                <a:gd name="T49" fmla="*/ 200 h 218"/>
                <a:gd name="T50" fmla="*/ 50 w 142"/>
                <a:gd name="T51" fmla="*/ 200 h 218"/>
                <a:gd name="T52" fmla="*/ 50 w 142"/>
                <a:gd name="T5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 h="218">
                  <a:moveTo>
                    <a:pt x="50" y="218"/>
                  </a:moveTo>
                  <a:lnTo>
                    <a:pt x="0" y="218"/>
                  </a:lnTo>
                  <a:lnTo>
                    <a:pt x="0" y="54"/>
                  </a:lnTo>
                  <a:lnTo>
                    <a:pt x="0" y="54"/>
                  </a:lnTo>
                  <a:lnTo>
                    <a:pt x="2" y="42"/>
                  </a:lnTo>
                  <a:lnTo>
                    <a:pt x="4" y="32"/>
                  </a:lnTo>
                  <a:lnTo>
                    <a:pt x="10" y="24"/>
                  </a:lnTo>
                  <a:lnTo>
                    <a:pt x="16" y="16"/>
                  </a:lnTo>
                  <a:lnTo>
                    <a:pt x="24" y="10"/>
                  </a:lnTo>
                  <a:lnTo>
                    <a:pt x="32" y="4"/>
                  </a:lnTo>
                  <a:lnTo>
                    <a:pt x="42" y="2"/>
                  </a:lnTo>
                  <a:lnTo>
                    <a:pt x="52" y="0"/>
                  </a:lnTo>
                  <a:lnTo>
                    <a:pt x="142" y="0"/>
                  </a:lnTo>
                  <a:lnTo>
                    <a:pt x="142" y="18"/>
                  </a:lnTo>
                  <a:lnTo>
                    <a:pt x="52" y="18"/>
                  </a:lnTo>
                  <a:lnTo>
                    <a:pt x="52" y="18"/>
                  </a:lnTo>
                  <a:lnTo>
                    <a:pt x="46" y="20"/>
                  </a:lnTo>
                  <a:lnTo>
                    <a:pt x="40" y="22"/>
                  </a:lnTo>
                  <a:lnTo>
                    <a:pt x="34" y="24"/>
                  </a:lnTo>
                  <a:lnTo>
                    <a:pt x="28" y="28"/>
                  </a:lnTo>
                  <a:lnTo>
                    <a:pt x="24" y="34"/>
                  </a:lnTo>
                  <a:lnTo>
                    <a:pt x="20" y="40"/>
                  </a:lnTo>
                  <a:lnTo>
                    <a:pt x="18" y="46"/>
                  </a:lnTo>
                  <a:lnTo>
                    <a:pt x="18" y="54"/>
                  </a:lnTo>
                  <a:lnTo>
                    <a:pt x="18" y="200"/>
                  </a:lnTo>
                  <a:lnTo>
                    <a:pt x="50" y="200"/>
                  </a:lnTo>
                  <a:lnTo>
                    <a:pt x="5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69" name="Freeform 8">
              <a:extLst>
                <a:ext uri="{FF2B5EF4-FFF2-40B4-BE49-F238E27FC236}">
                  <a16:creationId xmlns:a16="http://schemas.microsoft.com/office/drawing/2014/main" id="{335DB680-D385-2104-1C61-E04C32FDB7D7}"/>
                </a:ext>
              </a:extLst>
            </p:cNvPr>
            <p:cNvSpPr>
              <a:spLocks/>
            </p:cNvSpPr>
            <p:nvPr/>
          </p:nvSpPr>
          <p:spPr bwMode="auto">
            <a:xfrm>
              <a:off x="3476" y="967"/>
              <a:ext cx="144" cy="218"/>
            </a:xfrm>
            <a:custGeom>
              <a:avLst/>
              <a:gdLst>
                <a:gd name="T0" fmla="*/ 144 w 144"/>
                <a:gd name="T1" fmla="*/ 218 h 218"/>
                <a:gd name="T2" fmla="*/ 94 w 144"/>
                <a:gd name="T3" fmla="*/ 218 h 218"/>
                <a:gd name="T4" fmla="*/ 94 w 144"/>
                <a:gd name="T5" fmla="*/ 200 h 218"/>
                <a:gd name="T6" fmla="*/ 126 w 144"/>
                <a:gd name="T7" fmla="*/ 200 h 218"/>
                <a:gd name="T8" fmla="*/ 126 w 144"/>
                <a:gd name="T9" fmla="*/ 54 h 218"/>
                <a:gd name="T10" fmla="*/ 126 w 144"/>
                <a:gd name="T11" fmla="*/ 54 h 218"/>
                <a:gd name="T12" fmla="*/ 126 w 144"/>
                <a:gd name="T13" fmla="*/ 46 h 218"/>
                <a:gd name="T14" fmla="*/ 124 w 144"/>
                <a:gd name="T15" fmla="*/ 40 h 218"/>
                <a:gd name="T16" fmla="*/ 120 w 144"/>
                <a:gd name="T17" fmla="*/ 34 h 218"/>
                <a:gd name="T18" fmla="*/ 116 w 144"/>
                <a:gd name="T19" fmla="*/ 28 h 218"/>
                <a:gd name="T20" fmla="*/ 112 w 144"/>
                <a:gd name="T21" fmla="*/ 24 h 218"/>
                <a:gd name="T22" fmla="*/ 106 w 144"/>
                <a:gd name="T23" fmla="*/ 22 h 218"/>
                <a:gd name="T24" fmla="*/ 98 w 144"/>
                <a:gd name="T25" fmla="*/ 20 h 218"/>
                <a:gd name="T26" fmla="*/ 92 w 144"/>
                <a:gd name="T27" fmla="*/ 18 h 218"/>
                <a:gd name="T28" fmla="*/ 0 w 144"/>
                <a:gd name="T29" fmla="*/ 18 h 218"/>
                <a:gd name="T30" fmla="*/ 0 w 144"/>
                <a:gd name="T31" fmla="*/ 0 h 218"/>
                <a:gd name="T32" fmla="*/ 92 w 144"/>
                <a:gd name="T33" fmla="*/ 0 h 218"/>
                <a:gd name="T34" fmla="*/ 92 w 144"/>
                <a:gd name="T35" fmla="*/ 0 h 218"/>
                <a:gd name="T36" fmla="*/ 102 w 144"/>
                <a:gd name="T37" fmla="*/ 2 h 218"/>
                <a:gd name="T38" fmla="*/ 112 w 144"/>
                <a:gd name="T39" fmla="*/ 4 h 218"/>
                <a:gd name="T40" fmla="*/ 122 w 144"/>
                <a:gd name="T41" fmla="*/ 10 h 218"/>
                <a:gd name="T42" fmla="*/ 130 w 144"/>
                <a:gd name="T43" fmla="*/ 16 h 218"/>
                <a:gd name="T44" fmla="*/ 136 w 144"/>
                <a:gd name="T45" fmla="*/ 24 h 218"/>
                <a:gd name="T46" fmla="*/ 140 w 144"/>
                <a:gd name="T47" fmla="*/ 32 h 218"/>
                <a:gd name="T48" fmla="*/ 144 w 144"/>
                <a:gd name="T49" fmla="*/ 42 h 218"/>
                <a:gd name="T50" fmla="*/ 144 w 144"/>
                <a:gd name="T51" fmla="*/ 54 h 218"/>
                <a:gd name="T52" fmla="*/ 144 w 144"/>
                <a:gd name="T53"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 h="218">
                  <a:moveTo>
                    <a:pt x="144" y="218"/>
                  </a:moveTo>
                  <a:lnTo>
                    <a:pt x="94" y="218"/>
                  </a:lnTo>
                  <a:lnTo>
                    <a:pt x="94" y="200"/>
                  </a:lnTo>
                  <a:lnTo>
                    <a:pt x="126" y="200"/>
                  </a:lnTo>
                  <a:lnTo>
                    <a:pt x="126" y="54"/>
                  </a:lnTo>
                  <a:lnTo>
                    <a:pt x="126" y="54"/>
                  </a:lnTo>
                  <a:lnTo>
                    <a:pt x="126" y="46"/>
                  </a:lnTo>
                  <a:lnTo>
                    <a:pt x="124" y="40"/>
                  </a:lnTo>
                  <a:lnTo>
                    <a:pt x="120" y="34"/>
                  </a:lnTo>
                  <a:lnTo>
                    <a:pt x="116" y="28"/>
                  </a:lnTo>
                  <a:lnTo>
                    <a:pt x="112" y="24"/>
                  </a:lnTo>
                  <a:lnTo>
                    <a:pt x="106" y="22"/>
                  </a:lnTo>
                  <a:lnTo>
                    <a:pt x="98" y="20"/>
                  </a:lnTo>
                  <a:lnTo>
                    <a:pt x="92" y="18"/>
                  </a:lnTo>
                  <a:lnTo>
                    <a:pt x="0" y="18"/>
                  </a:lnTo>
                  <a:lnTo>
                    <a:pt x="0" y="0"/>
                  </a:lnTo>
                  <a:lnTo>
                    <a:pt x="92" y="0"/>
                  </a:lnTo>
                  <a:lnTo>
                    <a:pt x="92" y="0"/>
                  </a:lnTo>
                  <a:lnTo>
                    <a:pt x="102" y="2"/>
                  </a:lnTo>
                  <a:lnTo>
                    <a:pt x="112" y="4"/>
                  </a:lnTo>
                  <a:lnTo>
                    <a:pt x="122" y="10"/>
                  </a:lnTo>
                  <a:lnTo>
                    <a:pt x="130" y="16"/>
                  </a:lnTo>
                  <a:lnTo>
                    <a:pt x="136" y="24"/>
                  </a:lnTo>
                  <a:lnTo>
                    <a:pt x="140" y="32"/>
                  </a:lnTo>
                  <a:lnTo>
                    <a:pt x="144" y="42"/>
                  </a:lnTo>
                  <a:lnTo>
                    <a:pt x="144" y="54"/>
                  </a:lnTo>
                  <a:lnTo>
                    <a:pt x="144"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0" name="Freeform 9">
              <a:extLst>
                <a:ext uri="{FF2B5EF4-FFF2-40B4-BE49-F238E27FC236}">
                  <a16:creationId xmlns:a16="http://schemas.microsoft.com/office/drawing/2014/main" id="{78A8B543-81FB-6F60-9D4D-63450C7484EE}"/>
                </a:ext>
              </a:extLst>
            </p:cNvPr>
            <p:cNvSpPr>
              <a:spLocks noEditPoints="1"/>
            </p:cNvSpPr>
            <p:nvPr/>
          </p:nvSpPr>
          <p:spPr bwMode="auto">
            <a:xfrm>
              <a:off x="3464" y="847"/>
              <a:ext cx="110" cy="110"/>
            </a:xfrm>
            <a:custGeom>
              <a:avLst/>
              <a:gdLst>
                <a:gd name="T0" fmla="*/ 56 w 110"/>
                <a:gd name="T1" fmla="*/ 110 h 110"/>
                <a:gd name="T2" fmla="*/ 34 w 110"/>
                <a:gd name="T3" fmla="*/ 106 h 110"/>
                <a:gd name="T4" fmla="*/ 16 w 110"/>
                <a:gd name="T5" fmla="*/ 94 h 110"/>
                <a:gd name="T6" fmla="*/ 4 w 110"/>
                <a:gd name="T7" fmla="*/ 76 h 110"/>
                <a:gd name="T8" fmla="*/ 0 w 110"/>
                <a:gd name="T9" fmla="*/ 56 h 110"/>
                <a:gd name="T10" fmla="*/ 2 w 110"/>
                <a:gd name="T11" fmla="*/ 44 h 110"/>
                <a:gd name="T12" fmla="*/ 10 w 110"/>
                <a:gd name="T13" fmla="*/ 24 h 110"/>
                <a:gd name="T14" fmla="*/ 24 w 110"/>
                <a:gd name="T15" fmla="*/ 10 h 110"/>
                <a:gd name="T16" fmla="*/ 44 w 110"/>
                <a:gd name="T17" fmla="*/ 2 h 110"/>
                <a:gd name="T18" fmla="*/ 56 w 110"/>
                <a:gd name="T19" fmla="*/ 0 h 110"/>
                <a:gd name="T20" fmla="*/ 76 w 110"/>
                <a:gd name="T21" fmla="*/ 4 h 110"/>
                <a:gd name="T22" fmla="*/ 94 w 110"/>
                <a:gd name="T23" fmla="*/ 16 h 110"/>
                <a:gd name="T24" fmla="*/ 106 w 110"/>
                <a:gd name="T25" fmla="*/ 34 h 110"/>
                <a:gd name="T26" fmla="*/ 110 w 110"/>
                <a:gd name="T27" fmla="*/ 56 h 110"/>
                <a:gd name="T28" fmla="*/ 110 w 110"/>
                <a:gd name="T29" fmla="*/ 66 h 110"/>
                <a:gd name="T30" fmla="*/ 102 w 110"/>
                <a:gd name="T31" fmla="*/ 86 h 110"/>
                <a:gd name="T32" fmla="*/ 86 w 110"/>
                <a:gd name="T33" fmla="*/ 102 h 110"/>
                <a:gd name="T34" fmla="*/ 66 w 110"/>
                <a:gd name="T35" fmla="*/ 110 h 110"/>
                <a:gd name="T36" fmla="*/ 56 w 110"/>
                <a:gd name="T37" fmla="*/ 110 h 110"/>
                <a:gd name="T38" fmla="*/ 56 w 110"/>
                <a:gd name="T39" fmla="*/ 18 h 110"/>
                <a:gd name="T40" fmla="*/ 40 w 110"/>
                <a:gd name="T41" fmla="*/ 22 h 110"/>
                <a:gd name="T42" fmla="*/ 30 w 110"/>
                <a:gd name="T43" fmla="*/ 30 h 110"/>
                <a:gd name="T44" fmla="*/ 22 w 110"/>
                <a:gd name="T45" fmla="*/ 40 h 110"/>
                <a:gd name="T46" fmla="*/ 18 w 110"/>
                <a:gd name="T47" fmla="*/ 56 h 110"/>
                <a:gd name="T48" fmla="*/ 18 w 110"/>
                <a:gd name="T49" fmla="*/ 62 h 110"/>
                <a:gd name="T50" fmla="*/ 24 w 110"/>
                <a:gd name="T51" fmla="*/ 76 h 110"/>
                <a:gd name="T52" fmla="*/ 34 w 110"/>
                <a:gd name="T53" fmla="*/ 86 h 110"/>
                <a:gd name="T54" fmla="*/ 48 w 110"/>
                <a:gd name="T55" fmla="*/ 92 h 110"/>
                <a:gd name="T56" fmla="*/ 56 w 110"/>
                <a:gd name="T57" fmla="*/ 92 h 110"/>
                <a:gd name="T58" fmla="*/ 70 w 110"/>
                <a:gd name="T59" fmla="*/ 90 h 110"/>
                <a:gd name="T60" fmla="*/ 82 w 110"/>
                <a:gd name="T61" fmla="*/ 82 h 110"/>
                <a:gd name="T62" fmla="*/ 90 w 110"/>
                <a:gd name="T63" fmla="*/ 70 h 110"/>
                <a:gd name="T64" fmla="*/ 92 w 110"/>
                <a:gd name="T65" fmla="*/ 56 h 110"/>
                <a:gd name="T66" fmla="*/ 92 w 110"/>
                <a:gd name="T67" fmla="*/ 48 h 110"/>
                <a:gd name="T68" fmla="*/ 86 w 110"/>
                <a:gd name="T69" fmla="*/ 34 h 110"/>
                <a:gd name="T70" fmla="*/ 76 w 110"/>
                <a:gd name="T71" fmla="*/ 24 h 110"/>
                <a:gd name="T72" fmla="*/ 62 w 110"/>
                <a:gd name="T73" fmla="*/ 18 h 110"/>
                <a:gd name="T74" fmla="*/ 56 w 110"/>
                <a:gd name="T75"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10">
                  <a:moveTo>
                    <a:pt x="56" y="110"/>
                  </a:moveTo>
                  <a:lnTo>
                    <a:pt x="56" y="110"/>
                  </a:lnTo>
                  <a:lnTo>
                    <a:pt x="44" y="110"/>
                  </a:lnTo>
                  <a:lnTo>
                    <a:pt x="34" y="106"/>
                  </a:lnTo>
                  <a:lnTo>
                    <a:pt x="24" y="102"/>
                  </a:lnTo>
                  <a:lnTo>
                    <a:pt x="16" y="94"/>
                  </a:lnTo>
                  <a:lnTo>
                    <a:pt x="10" y="86"/>
                  </a:lnTo>
                  <a:lnTo>
                    <a:pt x="4" y="76"/>
                  </a:lnTo>
                  <a:lnTo>
                    <a:pt x="2" y="66"/>
                  </a:lnTo>
                  <a:lnTo>
                    <a:pt x="0" y="56"/>
                  </a:lnTo>
                  <a:lnTo>
                    <a:pt x="0" y="56"/>
                  </a:lnTo>
                  <a:lnTo>
                    <a:pt x="2" y="44"/>
                  </a:lnTo>
                  <a:lnTo>
                    <a:pt x="4"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2" y="24"/>
                  </a:lnTo>
                  <a:lnTo>
                    <a:pt x="106" y="34"/>
                  </a:lnTo>
                  <a:lnTo>
                    <a:pt x="110" y="44"/>
                  </a:lnTo>
                  <a:lnTo>
                    <a:pt x="110" y="56"/>
                  </a:lnTo>
                  <a:lnTo>
                    <a:pt x="110" y="56"/>
                  </a:lnTo>
                  <a:lnTo>
                    <a:pt x="110" y="66"/>
                  </a:lnTo>
                  <a:lnTo>
                    <a:pt x="106" y="76"/>
                  </a:lnTo>
                  <a:lnTo>
                    <a:pt x="102" y="86"/>
                  </a:lnTo>
                  <a:lnTo>
                    <a:pt x="94" y="94"/>
                  </a:lnTo>
                  <a:lnTo>
                    <a:pt x="86" y="102"/>
                  </a:lnTo>
                  <a:lnTo>
                    <a:pt x="76" y="106"/>
                  </a:lnTo>
                  <a:lnTo>
                    <a:pt x="66" y="110"/>
                  </a:lnTo>
                  <a:lnTo>
                    <a:pt x="56" y="110"/>
                  </a:lnTo>
                  <a:lnTo>
                    <a:pt x="56" y="110"/>
                  </a:lnTo>
                  <a:close/>
                  <a:moveTo>
                    <a:pt x="56" y="18"/>
                  </a:moveTo>
                  <a:lnTo>
                    <a:pt x="56" y="18"/>
                  </a:lnTo>
                  <a:lnTo>
                    <a:pt x="48" y="18"/>
                  </a:lnTo>
                  <a:lnTo>
                    <a:pt x="40" y="22"/>
                  </a:lnTo>
                  <a:lnTo>
                    <a:pt x="34" y="24"/>
                  </a:lnTo>
                  <a:lnTo>
                    <a:pt x="30" y="30"/>
                  </a:lnTo>
                  <a:lnTo>
                    <a:pt x="24" y="34"/>
                  </a:lnTo>
                  <a:lnTo>
                    <a:pt x="22" y="40"/>
                  </a:lnTo>
                  <a:lnTo>
                    <a:pt x="18" y="48"/>
                  </a:lnTo>
                  <a:lnTo>
                    <a:pt x="18" y="56"/>
                  </a:lnTo>
                  <a:lnTo>
                    <a:pt x="18" y="56"/>
                  </a:lnTo>
                  <a:lnTo>
                    <a:pt x="18" y="62"/>
                  </a:lnTo>
                  <a:lnTo>
                    <a:pt x="22" y="70"/>
                  </a:lnTo>
                  <a:lnTo>
                    <a:pt x="24" y="76"/>
                  </a:lnTo>
                  <a:lnTo>
                    <a:pt x="30" y="82"/>
                  </a:lnTo>
                  <a:lnTo>
                    <a:pt x="34" y="86"/>
                  </a:lnTo>
                  <a:lnTo>
                    <a:pt x="40" y="90"/>
                  </a:lnTo>
                  <a:lnTo>
                    <a:pt x="48" y="92"/>
                  </a:lnTo>
                  <a:lnTo>
                    <a:pt x="56" y="92"/>
                  </a:lnTo>
                  <a:lnTo>
                    <a:pt x="56" y="92"/>
                  </a:lnTo>
                  <a:lnTo>
                    <a:pt x="62" y="92"/>
                  </a:lnTo>
                  <a:lnTo>
                    <a:pt x="70" y="90"/>
                  </a:lnTo>
                  <a:lnTo>
                    <a:pt x="76" y="86"/>
                  </a:lnTo>
                  <a:lnTo>
                    <a:pt x="82" y="82"/>
                  </a:lnTo>
                  <a:lnTo>
                    <a:pt x="86" y="76"/>
                  </a:lnTo>
                  <a:lnTo>
                    <a:pt x="90" y="70"/>
                  </a:lnTo>
                  <a:lnTo>
                    <a:pt x="92" y="62"/>
                  </a:lnTo>
                  <a:lnTo>
                    <a:pt x="92" y="56"/>
                  </a:lnTo>
                  <a:lnTo>
                    <a:pt x="92" y="56"/>
                  </a:lnTo>
                  <a:lnTo>
                    <a:pt x="92" y="48"/>
                  </a:lnTo>
                  <a:lnTo>
                    <a:pt x="90" y="40"/>
                  </a:lnTo>
                  <a:lnTo>
                    <a:pt x="86" y="34"/>
                  </a:lnTo>
                  <a:lnTo>
                    <a:pt x="82" y="30"/>
                  </a:lnTo>
                  <a:lnTo>
                    <a:pt x="76" y="24"/>
                  </a:lnTo>
                  <a:lnTo>
                    <a:pt x="70" y="22"/>
                  </a:lnTo>
                  <a:lnTo>
                    <a:pt x="62" y="18"/>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1" name="Rectangle 10">
              <a:extLst>
                <a:ext uri="{FF2B5EF4-FFF2-40B4-BE49-F238E27FC236}">
                  <a16:creationId xmlns:a16="http://schemas.microsoft.com/office/drawing/2014/main" id="{B609179A-7E8E-6BE7-39B6-418D7DF55936}"/>
                </a:ext>
              </a:extLst>
            </p:cNvPr>
            <p:cNvSpPr>
              <a:spLocks noChangeArrowheads="1"/>
            </p:cNvSpPr>
            <p:nvPr/>
          </p:nvSpPr>
          <p:spPr bwMode="auto">
            <a:xfrm>
              <a:off x="3510" y="1013"/>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2" name="Rectangle 11">
              <a:extLst>
                <a:ext uri="{FF2B5EF4-FFF2-40B4-BE49-F238E27FC236}">
                  <a16:creationId xmlns:a16="http://schemas.microsoft.com/office/drawing/2014/main" id="{0883EE35-9949-E199-6C44-B03D1425C283}"/>
                </a:ext>
              </a:extLst>
            </p:cNvPr>
            <p:cNvSpPr>
              <a:spLocks noChangeArrowheads="1"/>
            </p:cNvSpPr>
            <p:nvPr/>
          </p:nvSpPr>
          <p:spPr bwMode="auto">
            <a:xfrm>
              <a:off x="3662" y="1013"/>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3" name="Rectangle 12">
              <a:extLst>
                <a:ext uri="{FF2B5EF4-FFF2-40B4-BE49-F238E27FC236}">
                  <a16:creationId xmlns:a16="http://schemas.microsoft.com/office/drawing/2014/main" id="{DE0DB2E4-0421-9FC0-39DC-A97A33D784B6}"/>
                </a:ext>
              </a:extLst>
            </p:cNvPr>
            <p:cNvSpPr>
              <a:spLocks noChangeArrowheads="1"/>
            </p:cNvSpPr>
            <p:nvPr/>
          </p:nvSpPr>
          <p:spPr bwMode="auto">
            <a:xfrm>
              <a:off x="3360" y="1013"/>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4" name="Rectangle 13">
              <a:extLst>
                <a:ext uri="{FF2B5EF4-FFF2-40B4-BE49-F238E27FC236}">
                  <a16:creationId xmlns:a16="http://schemas.microsoft.com/office/drawing/2014/main" id="{BB98756A-914C-ABB2-1C28-E1374585C707}"/>
                </a:ext>
              </a:extLst>
            </p:cNvPr>
            <p:cNvSpPr>
              <a:spLocks noChangeArrowheads="1"/>
            </p:cNvSpPr>
            <p:nvPr/>
          </p:nvSpPr>
          <p:spPr bwMode="auto">
            <a:xfrm>
              <a:off x="3510" y="1045"/>
              <a:ext cx="1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5" name="Rectangle 14">
              <a:extLst>
                <a:ext uri="{FF2B5EF4-FFF2-40B4-BE49-F238E27FC236}">
                  <a16:creationId xmlns:a16="http://schemas.microsoft.com/office/drawing/2014/main" id="{A7D03C99-ABEF-9D37-DC65-C29631528B45}"/>
                </a:ext>
              </a:extLst>
            </p:cNvPr>
            <p:cNvSpPr>
              <a:spLocks noChangeArrowheads="1"/>
            </p:cNvSpPr>
            <p:nvPr/>
          </p:nvSpPr>
          <p:spPr bwMode="auto">
            <a:xfrm>
              <a:off x="3510" y="1075"/>
              <a:ext cx="1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6" name="Freeform 15">
              <a:extLst>
                <a:ext uri="{FF2B5EF4-FFF2-40B4-BE49-F238E27FC236}">
                  <a16:creationId xmlns:a16="http://schemas.microsoft.com/office/drawing/2014/main" id="{61A4FA1A-EE60-3BCC-D4E0-633D383D4B77}"/>
                </a:ext>
              </a:extLst>
            </p:cNvPr>
            <p:cNvSpPr>
              <a:spLocks/>
            </p:cNvSpPr>
            <p:nvPr/>
          </p:nvSpPr>
          <p:spPr bwMode="auto">
            <a:xfrm>
              <a:off x="3618" y="1103"/>
              <a:ext cx="104" cy="152"/>
            </a:xfrm>
            <a:custGeom>
              <a:avLst/>
              <a:gdLst>
                <a:gd name="T0" fmla="*/ 104 w 104"/>
                <a:gd name="T1" fmla="*/ 152 h 152"/>
                <a:gd name="T2" fmla="*/ 0 w 104"/>
                <a:gd name="T3" fmla="*/ 152 h 152"/>
                <a:gd name="T4" fmla="*/ 0 w 104"/>
                <a:gd name="T5" fmla="*/ 134 h 152"/>
                <a:gd name="T6" fmla="*/ 86 w 104"/>
                <a:gd name="T7" fmla="*/ 134 h 152"/>
                <a:gd name="T8" fmla="*/ 86 w 104"/>
                <a:gd name="T9" fmla="*/ 0 h 152"/>
                <a:gd name="T10" fmla="*/ 104 w 104"/>
                <a:gd name="T11" fmla="*/ 0 h 152"/>
                <a:gd name="T12" fmla="*/ 104 w 1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104" h="152">
                  <a:moveTo>
                    <a:pt x="104" y="152"/>
                  </a:moveTo>
                  <a:lnTo>
                    <a:pt x="0" y="152"/>
                  </a:lnTo>
                  <a:lnTo>
                    <a:pt x="0" y="134"/>
                  </a:lnTo>
                  <a:lnTo>
                    <a:pt x="86" y="134"/>
                  </a:lnTo>
                  <a:lnTo>
                    <a:pt x="86" y="0"/>
                  </a:lnTo>
                  <a:lnTo>
                    <a:pt x="104" y="0"/>
                  </a:lnTo>
                  <a:lnTo>
                    <a:pt x="10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7" name="Freeform 16">
              <a:extLst>
                <a:ext uri="{FF2B5EF4-FFF2-40B4-BE49-F238E27FC236}">
                  <a16:creationId xmlns:a16="http://schemas.microsoft.com/office/drawing/2014/main" id="{C6CBA7E2-EBA1-D563-43E6-E0F9595016F7}"/>
                </a:ext>
              </a:extLst>
            </p:cNvPr>
            <p:cNvSpPr>
              <a:spLocks/>
            </p:cNvSpPr>
            <p:nvPr/>
          </p:nvSpPr>
          <p:spPr bwMode="auto">
            <a:xfrm>
              <a:off x="3590" y="949"/>
              <a:ext cx="114" cy="48"/>
            </a:xfrm>
            <a:custGeom>
              <a:avLst/>
              <a:gdLst>
                <a:gd name="T0" fmla="*/ 18 w 114"/>
                <a:gd name="T1" fmla="*/ 48 h 48"/>
                <a:gd name="T2" fmla="*/ 0 w 114"/>
                <a:gd name="T3" fmla="*/ 44 h 48"/>
                <a:gd name="T4" fmla="*/ 2 w 114"/>
                <a:gd name="T5" fmla="*/ 36 h 48"/>
                <a:gd name="T6" fmla="*/ 2 w 114"/>
                <a:gd name="T7" fmla="*/ 36 h 48"/>
                <a:gd name="T8" fmla="*/ 4 w 114"/>
                <a:gd name="T9" fmla="*/ 28 h 48"/>
                <a:gd name="T10" fmla="*/ 6 w 114"/>
                <a:gd name="T11" fmla="*/ 22 h 48"/>
                <a:gd name="T12" fmla="*/ 10 w 114"/>
                <a:gd name="T13" fmla="*/ 16 h 48"/>
                <a:gd name="T14" fmla="*/ 16 w 114"/>
                <a:gd name="T15" fmla="*/ 10 h 48"/>
                <a:gd name="T16" fmla="*/ 22 w 114"/>
                <a:gd name="T17" fmla="*/ 6 h 48"/>
                <a:gd name="T18" fmla="*/ 28 w 114"/>
                <a:gd name="T19" fmla="*/ 4 h 48"/>
                <a:gd name="T20" fmla="*/ 36 w 114"/>
                <a:gd name="T21" fmla="*/ 2 h 48"/>
                <a:gd name="T22" fmla="*/ 42 w 114"/>
                <a:gd name="T23" fmla="*/ 0 h 48"/>
                <a:gd name="T24" fmla="*/ 114 w 114"/>
                <a:gd name="T25" fmla="*/ 0 h 48"/>
                <a:gd name="T26" fmla="*/ 114 w 114"/>
                <a:gd name="T27" fmla="*/ 18 h 48"/>
                <a:gd name="T28" fmla="*/ 42 w 114"/>
                <a:gd name="T29" fmla="*/ 18 h 48"/>
                <a:gd name="T30" fmla="*/ 42 w 114"/>
                <a:gd name="T31" fmla="*/ 18 h 48"/>
                <a:gd name="T32" fmla="*/ 34 w 114"/>
                <a:gd name="T33" fmla="*/ 20 h 48"/>
                <a:gd name="T34" fmla="*/ 28 w 114"/>
                <a:gd name="T35" fmla="*/ 24 h 48"/>
                <a:gd name="T36" fmla="*/ 22 w 114"/>
                <a:gd name="T37" fmla="*/ 30 h 48"/>
                <a:gd name="T38" fmla="*/ 20 w 114"/>
                <a:gd name="T39" fmla="*/ 38 h 48"/>
                <a:gd name="T40" fmla="*/ 18 w 114"/>
                <a:gd name="T4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48">
                  <a:moveTo>
                    <a:pt x="18" y="48"/>
                  </a:moveTo>
                  <a:lnTo>
                    <a:pt x="0" y="44"/>
                  </a:lnTo>
                  <a:lnTo>
                    <a:pt x="2" y="36"/>
                  </a:lnTo>
                  <a:lnTo>
                    <a:pt x="2" y="36"/>
                  </a:lnTo>
                  <a:lnTo>
                    <a:pt x="4" y="28"/>
                  </a:lnTo>
                  <a:lnTo>
                    <a:pt x="6" y="22"/>
                  </a:lnTo>
                  <a:lnTo>
                    <a:pt x="10" y="16"/>
                  </a:lnTo>
                  <a:lnTo>
                    <a:pt x="16" y="10"/>
                  </a:lnTo>
                  <a:lnTo>
                    <a:pt x="22" y="6"/>
                  </a:lnTo>
                  <a:lnTo>
                    <a:pt x="28" y="4"/>
                  </a:lnTo>
                  <a:lnTo>
                    <a:pt x="36" y="2"/>
                  </a:lnTo>
                  <a:lnTo>
                    <a:pt x="42" y="0"/>
                  </a:lnTo>
                  <a:lnTo>
                    <a:pt x="114" y="0"/>
                  </a:lnTo>
                  <a:lnTo>
                    <a:pt x="114" y="18"/>
                  </a:lnTo>
                  <a:lnTo>
                    <a:pt x="42" y="18"/>
                  </a:lnTo>
                  <a:lnTo>
                    <a:pt x="42" y="18"/>
                  </a:lnTo>
                  <a:lnTo>
                    <a:pt x="34" y="20"/>
                  </a:lnTo>
                  <a:lnTo>
                    <a:pt x="28" y="24"/>
                  </a:lnTo>
                  <a:lnTo>
                    <a:pt x="22" y="30"/>
                  </a:lnTo>
                  <a:lnTo>
                    <a:pt x="20" y="38"/>
                  </a:lnTo>
                  <a:lnTo>
                    <a:pt x="1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8" name="Freeform 17">
              <a:extLst>
                <a:ext uri="{FF2B5EF4-FFF2-40B4-BE49-F238E27FC236}">
                  <a16:creationId xmlns:a16="http://schemas.microsoft.com/office/drawing/2014/main" id="{7BE46E8E-8E77-D76E-DB01-1B4BB4C0D733}"/>
                </a:ext>
              </a:extLst>
            </p:cNvPr>
            <p:cNvSpPr>
              <a:spLocks/>
            </p:cNvSpPr>
            <p:nvPr/>
          </p:nvSpPr>
          <p:spPr bwMode="auto">
            <a:xfrm>
              <a:off x="3634" y="949"/>
              <a:ext cx="116" cy="172"/>
            </a:xfrm>
            <a:custGeom>
              <a:avLst/>
              <a:gdLst>
                <a:gd name="T0" fmla="*/ 116 w 116"/>
                <a:gd name="T1" fmla="*/ 172 h 172"/>
                <a:gd name="T2" fmla="*/ 72 w 116"/>
                <a:gd name="T3" fmla="*/ 172 h 172"/>
                <a:gd name="T4" fmla="*/ 72 w 116"/>
                <a:gd name="T5" fmla="*/ 154 h 172"/>
                <a:gd name="T6" fmla="*/ 98 w 116"/>
                <a:gd name="T7" fmla="*/ 154 h 172"/>
                <a:gd name="T8" fmla="*/ 98 w 116"/>
                <a:gd name="T9" fmla="*/ 44 h 172"/>
                <a:gd name="T10" fmla="*/ 98 w 116"/>
                <a:gd name="T11" fmla="*/ 44 h 172"/>
                <a:gd name="T12" fmla="*/ 96 w 116"/>
                <a:gd name="T13" fmla="*/ 34 h 172"/>
                <a:gd name="T14" fmla="*/ 90 w 116"/>
                <a:gd name="T15" fmla="*/ 26 h 172"/>
                <a:gd name="T16" fmla="*/ 82 w 116"/>
                <a:gd name="T17" fmla="*/ 20 h 172"/>
                <a:gd name="T18" fmla="*/ 74 w 116"/>
                <a:gd name="T19" fmla="*/ 18 h 172"/>
                <a:gd name="T20" fmla="*/ 0 w 116"/>
                <a:gd name="T21" fmla="*/ 18 h 172"/>
                <a:gd name="T22" fmla="*/ 0 w 116"/>
                <a:gd name="T23" fmla="*/ 0 h 172"/>
                <a:gd name="T24" fmla="*/ 74 w 116"/>
                <a:gd name="T25" fmla="*/ 0 h 172"/>
                <a:gd name="T26" fmla="*/ 74 w 116"/>
                <a:gd name="T27" fmla="*/ 0 h 172"/>
                <a:gd name="T28" fmla="*/ 82 w 116"/>
                <a:gd name="T29" fmla="*/ 2 h 172"/>
                <a:gd name="T30" fmla="*/ 90 w 116"/>
                <a:gd name="T31" fmla="*/ 4 h 172"/>
                <a:gd name="T32" fmla="*/ 96 w 116"/>
                <a:gd name="T33" fmla="*/ 8 h 172"/>
                <a:gd name="T34" fmla="*/ 104 w 116"/>
                <a:gd name="T35" fmla="*/ 14 h 172"/>
                <a:gd name="T36" fmla="*/ 108 w 116"/>
                <a:gd name="T37" fmla="*/ 20 h 172"/>
                <a:gd name="T38" fmla="*/ 112 w 116"/>
                <a:gd name="T39" fmla="*/ 26 h 172"/>
                <a:gd name="T40" fmla="*/ 114 w 116"/>
                <a:gd name="T41" fmla="*/ 34 h 172"/>
                <a:gd name="T42" fmla="*/ 116 w 116"/>
                <a:gd name="T43" fmla="*/ 44 h 172"/>
                <a:gd name="T44" fmla="*/ 116 w 116"/>
                <a:gd name="T4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72">
                  <a:moveTo>
                    <a:pt x="116" y="172"/>
                  </a:moveTo>
                  <a:lnTo>
                    <a:pt x="72" y="172"/>
                  </a:lnTo>
                  <a:lnTo>
                    <a:pt x="72" y="154"/>
                  </a:lnTo>
                  <a:lnTo>
                    <a:pt x="98" y="154"/>
                  </a:lnTo>
                  <a:lnTo>
                    <a:pt x="98" y="44"/>
                  </a:lnTo>
                  <a:lnTo>
                    <a:pt x="98" y="44"/>
                  </a:lnTo>
                  <a:lnTo>
                    <a:pt x="96" y="34"/>
                  </a:lnTo>
                  <a:lnTo>
                    <a:pt x="90" y="26"/>
                  </a:lnTo>
                  <a:lnTo>
                    <a:pt x="82" y="20"/>
                  </a:lnTo>
                  <a:lnTo>
                    <a:pt x="74" y="18"/>
                  </a:lnTo>
                  <a:lnTo>
                    <a:pt x="0" y="18"/>
                  </a:lnTo>
                  <a:lnTo>
                    <a:pt x="0" y="0"/>
                  </a:lnTo>
                  <a:lnTo>
                    <a:pt x="74" y="0"/>
                  </a:lnTo>
                  <a:lnTo>
                    <a:pt x="74" y="0"/>
                  </a:lnTo>
                  <a:lnTo>
                    <a:pt x="82" y="2"/>
                  </a:lnTo>
                  <a:lnTo>
                    <a:pt x="90" y="4"/>
                  </a:lnTo>
                  <a:lnTo>
                    <a:pt x="96" y="8"/>
                  </a:lnTo>
                  <a:lnTo>
                    <a:pt x="104" y="14"/>
                  </a:lnTo>
                  <a:lnTo>
                    <a:pt x="108" y="20"/>
                  </a:lnTo>
                  <a:lnTo>
                    <a:pt x="112" y="26"/>
                  </a:lnTo>
                  <a:lnTo>
                    <a:pt x="114" y="34"/>
                  </a:lnTo>
                  <a:lnTo>
                    <a:pt x="116" y="44"/>
                  </a:lnTo>
                  <a:lnTo>
                    <a:pt x="116"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79" name="Freeform 18">
              <a:extLst>
                <a:ext uri="{FF2B5EF4-FFF2-40B4-BE49-F238E27FC236}">
                  <a16:creationId xmlns:a16="http://schemas.microsoft.com/office/drawing/2014/main" id="{CB230E9B-2408-9DA6-88C0-F3E578EA775C}"/>
                </a:ext>
              </a:extLst>
            </p:cNvPr>
            <p:cNvSpPr>
              <a:spLocks noEditPoints="1"/>
            </p:cNvSpPr>
            <p:nvPr/>
          </p:nvSpPr>
          <p:spPr bwMode="auto">
            <a:xfrm>
              <a:off x="3626" y="859"/>
              <a:ext cx="88" cy="88"/>
            </a:xfrm>
            <a:custGeom>
              <a:avLst/>
              <a:gdLst>
                <a:gd name="T0" fmla="*/ 44 w 88"/>
                <a:gd name="T1" fmla="*/ 88 h 88"/>
                <a:gd name="T2" fmla="*/ 44 w 88"/>
                <a:gd name="T3" fmla="*/ 88 h 88"/>
                <a:gd name="T4" fmla="*/ 36 w 88"/>
                <a:gd name="T5" fmla="*/ 86 h 88"/>
                <a:gd name="T6" fmla="*/ 26 w 88"/>
                <a:gd name="T7" fmla="*/ 84 h 88"/>
                <a:gd name="T8" fmla="*/ 20 w 88"/>
                <a:gd name="T9" fmla="*/ 80 h 88"/>
                <a:gd name="T10" fmla="*/ 12 w 88"/>
                <a:gd name="T11" fmla="*/ 74 h 88"/>
                <a:gd name="T12" fmla="*/ 8 w 88"/>
                <a:gd name="T13" fmla="*/ 68 h 88"/>
                <a:gd name="T14" fmla="*/ 4 w 88"/>
                <a:gd name="T15" fmla="*/ 60 h 88"/>
                <a:gd name="T16" fmla="*/ 0 w 88"/>
                <a:gd name="T17" fmla="*/ 52 h 88"/>
                <a:gd name="T18" fmla="*/ 0 w 88"/>
                <a:gd name="T19" fmla="*/ 44 h 88"/>
                <a:gd name="T20" fmla="*/ 0 w 88"/>
                <a:gd name="T21" fmla="*/ 44 h 88"/>
                <a:gd name="T22" fmla="*/ 0 w 88"/>
                <a:gd name="T23" fmla="*/ 34 h 88"/>
                <a:gd name="T24" fmla="*/ 4 w 88"/>
                <a:gd name="T25" fmla="*/ 26 h 88"/>
                <a:gd name="T26" fmla="*/ 8 w 88"/>
                <a:gd name="T27" fmla="*/ 18 h 88"/>
                <a:gd name="T28" fmla="*/ 12 w 88"/>
                <a:gd name="T29" fmla="*/ 12 h 88"/>
                <a:gd name="T30" fmla="*/ 20 w 88"/>
                <a:gd name="T31" fmla="*/ 6 h 88"/>
                <a:gd name="T32" fmla="*/ 26 w 88"/>
                <a:gd name="T33" fmla="*/ 2 h 88"/>
                <a:gd name="T34" fmla="*/ 36 w 88"/>
                <a:gd name="T35" fmla="*/ 0 h 88"/>
                <a:gd name="T36" fmla="*/ 44 w 88"/>
                <a:gd name="T37" fmla="*/ 0 h 88"/>
                <a:gd name="T38" fmla="*/ 44 w 88"/>
                <a:gd name="T39" fmla="*/ 0 h 88"/>
                <a:gd name="T40" fmla="*/ 52 w 88"/>
                <a:gd name="T41" fmla="*/ 0 h 88"/>
                <a:gd name="T42" fmla="*/ 62 w 88"/>
                <a:gd name="T43" fmla="*/ 2 h 88"/>
                <a:gd name="T44" fmla="*/ 68 w 88"/>
                <a:gd name="T45" fmla="*/ 6 h 88"/>
                <a:gd name="T46" fmla="*/ 76 w 88"/>
                <a:gd name="T47" fmla="*/ 12 h 88"/>
                <a:gd name="T48" fmla="*/ 80 w 88"/>
                <a:gd name="T49" fmla="*/ 18 h 88"/>
                <a:gd name="T50" fmla="*/ 84 w 88"/>
                <a:gd name="T51" fmla="*/ 26 h 88"/>
                <a:gd name="T52" fmla="*/ 88 w 88"/>
                <a:gd name="T53" fmla="*/ 34 h 88"/>
                <a:gd name="T54" fmla="*/ 88 w 88"/>
                <a:gd name="T55" fmla="*/ 44 h 88"/>
                <a:gd name="T56" fmla="*/ 88 w 88"/>
                <a:gd name="T57" fmla="*/ 44 h 88"/>
                <a:gd name="T58" fmla="*/ 88 w 88"/>
                <a:gd name="T59" fmla="*/ 52 h 88"/>
                <a:gd name="T60" fmla="*/ 84 w 88"/>
                <a:gd name="T61" fmla="*/ 60 h 88"/>
                <a:gd name="T62" fmla="*/ 80 w 88"/>
                <a:gd name="T63" fmla="*/ 68 h 88"/>
                <a:gd name="T64" fmla="*/ 76 w 88"/>
                <a:gd name="T65" fmla="*/ 74 h 88"/>
                <a:gd name="T66" fmla="*/ 68 w 88"/>
                <a:gd name="T67" fmla="*/ 80 h 88"/>
                <a:gd name="T68" fmla="*/ 62 w 88"/>
                <a:gd name="T69" fmla="*/ 84 h 88"/>
                <a:gd name="T70" fmla="*/ 52 w 88"/>
                <a:gd name="T71" fmla="*/ 86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4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4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6"/>
                  </a:lnTo>
                  <a:lnTo>
                    <a:pt x="26" y="84"/>
                  </a:lnTo>
                  <a:lnTo>
                    <a:pt x="20" y="80"/>
                  </a:lnTo>
                  <a:lnTo>
                    <a:pt x="12" y="74"/>
                  </a:lnTo>
                  <a:lnTo>
                    <a:pt x="8" y="68"/>
                  </a:lnTo>
                  <a:lnTo>
                    <a:pt x="4" y="60"/>
                  </a:lnTo>
                  <a:lnTo>
                    <a:pt x="0" y="52"/>
                  </a:lnTo>
                  <a:lnTo>
                    <a:pt x="0" y="44"/>
                  </a:lnTo>
                  <a:lnTo>
                    <a:pt x="0" y="44"/>
                  </a:lnTo>
                  <a:lnTo>
                    <a:pt x="0" y="34"/>
                  </a:lnTo>
                  <a:lnTo>
                    <a:pt x="4" y="26"/>
                  </a:lnTo>
                  <a:lnTo>
                    <a:pt x="8" y="18"/>
                  </a:lnTo>
                  <a:lnTo>
                    <a:pt x="12" y="12"/>
                  </a:lnTo>
                  <a:lnTo>
                    <a:pt x="20" y="6"/>
                  </a:lnTo>
                  <a:lnTo>
                    <a:pt x="26" y="2"/>
                  </a:lnTo>
                  <a:lnTo>
                    <a:pt x="36" y="0"/>
                  </a:lnTo>
                  <a:lnTo>
                    <a:pt x="44" y="0"/>
                  </a:lnTo>
                  <a:lnTo>
                    <a:pt x="44" y="0"/>
                  </a:lnTo>
                  <a:lnTo>
                    <a:pt x="52" y="0"/>
                  </a:lnTo>
                  <a:lnTo>
                    <a:pt x="62" y="2"/>
                  </a:lnTo>
                  <a:lnTo>
                    <a:pt x="68" y="6"/>
                  </a:lnTo>
                  <a:lnTo>
                    <a:pt x="76" y="12"/>
                  </a:lnTo>
                  <a:lnTo>
                    <a:pt x="80" y="18"/>
                  </a:lnTo>
                  <a:lnTo>
                    <a:pt x="84" y="26"/>
                  </a:lnTo>
                  <a:lnTo>
                    <a:pt x="88" y="34"/>
                  </a:lnTo>
                  <a:lnTo>
                    <a:pt x="88" y="44"/>
                  </a:lnTo>
                  <a:lnTo>
                    <a:pt x="88" y="44"/>
                  </a:lnTo>
                  <a:lnTo>
                    <a:pt x="88" y="52"/>
                  </a:lnTo>
                  <a:lnTo>
                    <a:pt x="84" y="60"/>
                  </a:lnTo>
                  <a:lnTo>
                    <a:pt x="80" y="68"/>
                  </a:lnTo>
                  <a:lnTo>
                    <a:pt x="76" y="74"/>
                  </a:lnTo>
                  <a:lnTo>
                    <a:pt x="68" y="80"/>
                  </a:lnTo>
                  <a:lnTo>
                    <a:pt x="62" y="84"/>
                  </a:lnTo>
                  <a:lnTo>
                    <a:pt x="52"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24" name="Freeform 19">
              <a:extLst>
                <a:ext uri="{FF2B5EF4-FFF2-40B4-BE49-F238E27FC236}">
                  <a16:creationId xmlns:a16="http://schemas.microsoft.com/office/drawing/2014/main" id="{F4DDE5A6-45AF-C254-D60F-8AF294E991BD}"/>
                </a:ext>
              </a:extLst>
            </p:cNvPr>
            <p:cNvSpPr>
              <a:spLocks/>
            </p:cNvSpPr>
            <p:nvPr/>
          </p:nvSpPr>
          <p:spPr bwMode="auto">
            <a:xfrm>
              <a:off x="3316" y="1103"/>
              <a:ext cx="104" cy="152"/>
            </a:xfrm>
            <a:custGeom>
              <a:avLst/>
              <a:gdLst>
                <a:gd name="T0" fmla="*/ 104 w 104"/>
                <a:gd name="T1" fmla="*/ 152 h 152"/>
                <a:gd name="T2" fmla="*/ 0 w 104"/>
                <a:gd name="T3" fmla="*/ 152 h 152"/>
                <a:gd name="T4" fmla="*/ 0 w 104"/>
                <a:gd name="T5" fmla="*/ 0 h 152"/>
                <a:gd name="T6" fmla="*/ 18 w 104"/>
                <a:gd name="T7" fmla="*/ 0 h 152"/>
                <a:gd name="T8" fmla="*/ 18 w 104"/>
                <a:gd name="T9" fmla="*/ 134 h 152"/>
                <a:gd name="T10" fmla="*/ 104 w 104"/>
                <a:gd name="T11" fmla="*/ 134 h 152"/>
                <a:gd name="T12" fmla="*/ 104 w 1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104" h="152">
                  <a:moveTo>
                    <a:pt x="104" y="152"/>
                  </a:moveTo>
                  <a:lnTo>
                    <a:pt x="0" y="152"/>
                  </a:lnTo>
                  <a:lnTo>
                    <a:pt x="0" y="0"/>
                  </a:lnTo>
                  <a:lnTo>
                    <a:pt x="18" y="0"/>
                  </a:lnTo>
                  <a:lnTo>
                    <a:pt x="18" y="134"/>
                  </a:lnTo>
                  <a:lnTo>
                    <a:pt x="104" y="134"/>
                  </a:lnTo>
                  <a:lnTo>
                    <a:pt x="10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80" name="Freeform 20">
              <a:extLst>
                <a:ext uri="{FF2B5EF4-FFF2-40B4-BE49-F238E27FC236}">
                  <a16:creationId xmlns:a16="http://schemas.microsoft.com/office/drawing/2014/main" id="{B10DECAD-0F62-9DC2-6D94-DDEB21353D70}"/>
                </a:ext>
              </a:extLst>
            </p:cNvPr>
            <p:cNvSpPr>
              <a:spLocks/>
            </p:cNvSpPr>
            <p:nvPr/>
          </p:nvSpPr>
          <p:spPr bwMode="auto">
            <a:xfrm>
              <a:off x="3290" y="949"/>
              <a:ext cx="112" cy="172"/>
            </a:xfrm>
            <a:custGeom>
              <a:avLst/>
              <a:gdLst>
                <a:gd name="T0" fmla="*/ 42 w 112"/>
                <a:gd name="T1" fmla="*/ 172 h 172"/>
                <a:gd name="T2" fmla="*/ 0 w 112"/>
                <a:gd name="T3" fmla="*/ 172 h 172"/>
                <a:gd name="T4" fmla="*/ 0 w 112"/>
                <a:gd name="T5" fmla="*/ 44 h 172"/>
                <a:gd name="T6" fmla="*/ 0 w 112"/>
                <a:gd name="T7" fmla="*/ 44 h 172"/>
                <a:gd name="T8" fmla="*/ 0 w 112"/>
                <a:gd name="T9" fmla="*/ 34 h 172"/>
                <a:gd name="T10" fmla="*/ 2 w 112"/>
                <a:gd name="T11" fmla="*/ 26 h 172"/>
                <a:gd name="T12" fmla="*/ 6 w 112"/>
                <a:gd name="T13" fmla="*/ 20 h 172"/>
                <a:gd name="T14" fmla="*/ 12 w 112"/>
                <a:gd name="T15" fmla="*/ 14 h 172"/>
                <a:gd name="T16" fmla="*/ 18 w 112"/>
                <a:gd name="T17" fmla="*/ 8 h 172"/>
                <a:gd name="T18" fmla="*/ 26 w 112"/>
                <a:gd name="T19" fmla="*/ 4 h 172"/>
                <a:gd name="T20" fmla="*/ 34 w 112"/>
                <a:gd name="T21" fmla="*/ 2 h 172"/>
                <a:gd name="T22" fmla="*/ 42 w 112"/>
                <a:gd name="T23" fmla="*/ 0 h 172"/>
                <a:gd name="T24" fmla="*/ 112 w 112"/>
                <a:gd name="T25" fmla="*/ 0 h 172"/>
                <a:gd name="T26" fmla="*/ 112 w 112"/>
                <a:gd name="T27" fmla="*/ 18 h 172"/>
                <a:gd name="T28" fmla="*/ 42 w 112"/>
                <a:gd name="T29" fmla="*/ 18 h 172"/>
                <a:gd name="T30" fmla="*/ 42 w 112"/>
                <a:gd name="T31" fmla="*/ 18 h 172"/>
                <a:gd name="T32" fmla="*/ 32 w 112"/>
                <a:gd name="T33" fmla="*/ 20 h 172"/>
                <a:gd name="T34" fmla="*/ 24 w 112"/>
                <a:gd name="T35" fmla="*/ 26 h 172"/>
                <a:gd name="T36" fmla="*/ 20 w 112"/>
                <a:gd name="T37" fmla="*/ 34 h 172"/>
                <a:gd name="T38" fmla="*/ 18 w 112"/>
                <a:gd name="T39" fmla="*/ 44 h 172"/>
                <a:gd name="T40" fmla="*/ 18 w 112"/>
                <a:gd name="T41" fmla="*/ 154 h 172"/>
                <a:gd name="T42" fmla="*/ 42 w 112"/>
                <a:gd name="T43" fmla="*/ 154 h 172"/>
                <a:gd name="T44" fmla="*/ 42 w 112"/>
                <a:gd name="T4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72">
                  <a:moveTo>
                    <a:pt x="42" y="172"/>
                  </a:moveTo>
                  <a:lnTo>
                    <a:pt x="0" y="172"/>
                  </a:lnTo>
                  <a:lnTo>
                    <a:pt x="0" y="44"/>
                  </a:lnTo>
                  <a:lnTo>
                    <a:pt x="0" y="44"/>
                  </a:lnTo>
                  <a:lnTo>
                    <a:pt x="0" y="34"/>
                  </a:lnTo>
                  <a:lnTo>
                    <a:pt x="2" y="26"/>
                  </a:lnTo>
                  <a:lnTo>
                    <a:pt x="6" y="20"/>
                  </a:lnTo>
                  <a:lnTo>
                    <a:pt x="12" y="14"/>
                  </a:lnTo>
                  <a:lnTo>
                    <a:pt x="18" y="8"/>
                  </a:lnTo>
                  <a:lnTo>
                    <a:pt x="26" y="4"/>
                  </a:lnTo>
                  <a:lnTo>
                    <a:pt x="34" y="2"/>
                  </a:lnTo>
                  <a:lnTo>
                    <a:pt x="42" y="0"/>
                  </a:lnTo>
                  <a:lnTo>
                    <a:pt x="112" y="0"/>
                  </a:lnTo>
                  <a:lnTo>
                    <a:pt x="112" y="18"/>
                  </a:lnTo>
                  <a:lnTo>
                    <a:pt x="42" y="18"/>
                  </a:lnTo>
                  <a:lnTo>
                    <a:pt x="42" y="18"/>
                  </a:lnTo>
                  <a:lnTo>
                    <a:pt x="32" y="20"/>
                  </a:lnTo>
                  <a:lnTo>
                    <a:pt x="24" y="26"/>
                  </a:lnTo>
                  <a:lnTo>
                    <a:pt x="20" y="34"/>
                  </a:lnTo>
                  <a:lnTo>
                    <a:pt x="18" y="44"/>
                  </a:lnTo>
                  <a:lnTo>
                    <a:pt x="18" y="154"/>
                  </a:lnTo>
                  <a:lnTo>
                    <a:pt x="42" y="154"/>
                  </a:lnTo>
                  <a:lnTo>
                    <a:pt x="42"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26" name="Freeform 21">
              <a:extLst>
                <a:ext uri="{FF2B5EF4-FFF2-40B4-BE49-F238E27FC236}">
                  <a16:creationId xmlns:a16="http://schemas.microsoft.com/office/drawing/2014/main" id="{385ACCBB-CA60-9185-39C1-54B87EBBA863}"/>
                </a:ext>
              </a:extLst>
            </p:cNvPr>
            <p:cNvSpPr>
              <a:spLocks/>
            </p:cNvSpPr>
            <p:nvPr/>
          </p:nvSpPr>
          <p:spPr bwMode="auto">
            <a:xfrm>
              <a:off x="3334" y="949"/>
              <a:ext cx="116" cy="48"/>
            </a:xfrm>
            <a:custGeom>
              <a:avLst/>
              <a:gdLst>
                <a:gd name="T0" fmla="*/ 98 w 116"/>
                <a:gd name="T1" fmla="*/ 48 h 48"/>
                <a:gd name="T2" fmla="*/ 96 w 116"/>
                <a:gd name="T3" fmla="*/ 40 h 48"/>
                <a:gd name="T4" fmla="*/ 96 w 116"/>
                <a:gd name="T5" fmla="*/ 40 h 48"/>
                <a:gd name="T6" fmla="*/ 92 w 116"/>
                <a:gd name="T7" fmla="*/ 32 h 48"/>
                <a:gd name="T8" fmla="*/ 88 w 116"/>
                <a:gd name="T9" fmla="*/ 24 h 48"/>
                <a:gd name="T10" fmla="*/ 80 w 116"/>
                <a:gd name="T11" fmla="*/ 20 h 48"/>
                <a:gd name="T12" fmla="*/ 72 w 116"/>
                <a:gd name="T13" fmla="*/ 18 h 48"/>
                <a:gd name="T14" fmla="*/ 0 w 116"/>
                <a:gd name="T15" fmla="*/ 18 h 48"/>
                <a:gd name="T16" fmla="*/ 0 w 116"/>
                <a:gd name="T17" fmla="*/ 0 h 48"/>
                <a:gd name="T18" fmla="*/ 72 w 116"/>
                <a:gd name="T19" fmla="*/ 0 h 48"/>
                <a:gd name="T20" fmla="*/ 72 w 116"/>
                <a:gd name="T21" fmla="*/ 0 h 48"/>
                <a:gd name="T22" fmla="*/ 80 w 116"/>
                <a:gd name="T23" fmla="*/ 2 h 48"/>
                <a:gd name="T24" fmla="*/ 86 w 116"/>
                <a:gd name="T25" fmla="*/ 4 h 48"/>
                <a:gd name="T26" fmla="*/ 94 w 116"/>
                <a:gd name="T27" fmla="*/ 6 h 48"/>
                <a:gd name="T28" fmla="*/ 100 w 116"/>
                <a:gd name="T29" fmla="*/ 10 h 48"/>
                <a:gd name="T30" fmla="*/ 104 w 116"/>
                <a:gd name="T31" fmla="*/ 16 h 48"/>
                <a:gd name="T32" fmla="*/ 108 w 116"/>
                <a:gd name="T33" fmla="*/ 22 h 48"/>
                <a:gd name="T34" fmla="*/ 112 w 116"/>
                <a:gd name="T35" fmla="*/ 28 h 48"/>
                <a:gd name="T36" fmla="*/ 114 w 116"/>
                <a:gd name="T37" fmla="*/ 36 h 48"/>
                <a:gd name="T38" fmla="*/ 116 w 116"/>
                <a:gd name="T39" fmla="*/ 46 h 48"/>
                <a:gd name="T40" fmla="*/ 98 w 116"/>
                <a:gd name="T4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48">
                  <a:moveTo>
                    <a:pt x="98" y="48"/>
                  </a:moveTo>
                  <a:lnTo>
                    <a:pt x="96" y="40"/>
                  </a:lnTo>
                  <a:lnTo>
                    <a:pt x="96" y="40"/>
                  </a:lnTo>
                  <a:lnTo>
                    <a:pt x="92" y="32"/>
                  </a:lnTo>
                  <a:lnTo>
                    <a:pt x="88" y="24"/>
                  </a:lnTo>
                  <a:lnTo>
                    <a:pt x="80" y="20"/>
                  </a:lnTo>
                  <a:lnTo>
                    <a:pt x="72" y="18"/>
                  </a:lnTo>
                  <a:lnTo>
                    <a:pt x="0" y="18"/>
                  </a:lnTo>
                  <a:lnTo>
                    <a:pt x="0" y="0"/>
                  </a:lnTo>
                  <a:lnTo>
                    <a:pt x="72" y="0"/>
                  </a:lnTo>
                  <a:lnTo>
                    <a:pt x="72" y="0"/>
                  </a:lnTo>
                  <a:lnTo>
                    <a:pt x="80" y="2"/>
                  </a:lnTo>
                  <a:lnTo>
                    <a:pt x="86" y="4"/>
                  </a:lnTo>
                  <a:lnTo>
                    <a:pt x="94" y="6"/>
                  </a:lnTo>
                  <a:lnTo>
                    <a:pt x="100" y="10"/>
                  </a:lnTo>
                  <a:lnTo>
                    <a:pt x="104" y="16"/>
                  </a:lnTo>
                  <a:lnTo>
                    <a:pt x="108" y="22"/>
                  </a:lnTo>
                  <a:lnTo>
                    <a:pt x="112" y="28"/>
                  </a:lnTo>
                  <a:lnTo>
                    <a:pt x="114" y="36"/>
                  </a:lnTo>
                  <a:lnTo>
                    <a:pt x="116" y="46"/>
                  </a:lnTo>
                  <a:lnTo>
                    <a:pt x="9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83" name="Freeform 22">
              <a:extLst>
                <a:ext uri="{FF2B5EF4-FFF2-40B4-BE49-F238E27FC236}">
                  <a16:creationId xmlns:a16="http://schemas.microsoft.com/office/drawing/2014/main" id="{B2CB8A01-416D-DD65-814D-61E3E64439D5}"/>
                </a:ext>
              </a:extLst>
            </p:cNvPr>
            <p:cNvSpPr>
              <a:spLocks noEditPoints="1"/>
            </p:cNvSpPr>
            <p:nvPr/>
          </p:nvSpPr>
          <p:spPr bwMode="auto">
            <a:xfrm>
              <a:off x="3324" y="859"/>
              <a:ext cx="90" cy="88"/>
            </a:xfrm>
            <a:custGeom>
              <a:avLst/>
              <a:gdLst>
                <a:gd name="T0" fmla="*/ 44 w 90"/>
                <a:gd name="T1" fmla="*/ 88 h 88"/>
                <a:gd name="T2" fmla="*/ 44 w 90"/>
                <a:gd name="T3" fmla="*/ 88 h 88"/>
                <a:gd name="T4" fmla="*/ 36 w 90"/>
                <a:gd name="T5" fmla="*/ 86 h 88"/>
                <a:gd name="T6" fmla="*/ 28 w 90"/>
                <a:gd name="T7" fmla="*/ 84 h 88"/>
                <a:gd name="T8" fmla="*/ 20 w 90"/>
                <a:gd name="T9" fmla="*/ 80 h 88"/>
                <a:gd name="T10" fmla="*/ 14 w 90"/>
                <a:gd name="T11" fmla="*/ 74 h 88"/>
                <a:gd name="T12" fmla="*/ 8 w 90"/>
                <a:gd name="T13" fmla="*/ 68 h 88"/>
                <a:gd name="T14" fmla="*/ 4 w 90"/>
                <a:gd name="T15" fmla="*/ 60 h 88"/>
                <a:gd name="T16" fmla="*/ 2 w 90"/>
                <a:gd name="T17" fmla="*/ 52 h 88"/>
                <a:gd name="T18" fmla="*/ 0 w 90"/>
                <a:gd name="T19" fmla="*/ 44 h 88"/>
                <a:gd name="T20" fmla="*/ 0 w 90"/>
                <a:gd name="T21" fmla="*/ 44 h 88"/>
                <a:gd name="T22" fmla="*/ 2 w 90"/>
                <a:gd name="T23" fmla="*/ 34 h 88"/>
                <a:gd name="T24" fmla="*/ 4 w 90"/>
                <a:gd name="T25" fmla="*/ 26 h 88"/>
                <a:gd name="T26" fmla="*/ 8 w 90"/>
                <a:gd name="T27" fmla="*/ 18 h 88"/>
                <a:gd name="T28" fmla="*/ 14 w 90"/>
                <a:gd name="T29" fmla="*/ 12 h 88"/>
                <a:gd name="T30" fmla="*/ 20 w 90"/>
                <a:gd name="T31" fmla="*/ 6 h 88"/>
                <a:gd name="T32" fmla="*/ 28 w 90"/>
                <a:gd name="T33" fmla="*/ 2 h 88"/>
                <a:gd name="T34" fmla="*/ 36 w 90"/>
                <a:gd name="T35" fmla="*/ 0 h 88"/>
                <a:gd name="T36" fmla="*/ 44 w 90"/>
                <a:gd name="T37" fmla="*/ 0 h 88"/>
                <a:gd name="T38" fmla="*/ 44 w 90"/>
                <a:gd name="T39" fmla="*/ 0 h 88"/>
                <a:gd name="T40" fmla="*/ 54 w 90"/>
                <a:gd name="T41" fmla="*/ 0 h 88"/>
                <a:gd name="T42" fmla="*/ 62 w 90"/>
                <a:gd name="T43" fmla="*/ 2 h 88"/>
                <a:gd name="T44" fmla="*/ 70 w 90"/>
                <a:gd name="T45" fmla="*/ 6 h 88"/>
                <a:gd name="T46" fmla="*/ 76 w 90"/>
                <a:gd name="T47" fmla="*/ 12 h 88"/>
                <a:gd name="T48" fmla="*/ 82 w 90"/>
                <a:gd name="T49" fmla="*/ 18 h 88"/>
                <a:gd name="T50" fmla="*/ 86 w 90"/>
                <a:gd name="T51" fmla="*/ 26 h 88"/>
                <a:gd name="T52" fmla="*/ 88 w 90"/>
                <a:gd name="T53" fmla="*/ 34 h 88"/>
                <a:gd name="T54" fmla="*/ 90 w 90"/>
                <a:gd name="T55" fmla="*/ 44 h 88"/>
                <a:gd name="T56" fmla="*/ 90 w 90"/>
                <a:gd name="T57" fmla="*/ 44 h 88"/>
                <a:gd name="T58" fmla="*/ 88 w 90"/>
                <a:gd name="T59" fmla="*/ 52 h 88"/>
                <a:gd name="T60" fmla="*/ 86 w 90"/>
                <a:gd name="T61" fmla="*/ 60 h 88"/>
                <a:gd name="T62" fmla="*/ 82 w 90"/>
                <a:gd name="T63" fmla="*/ 68 h 88"/>
                <a:gd name="T64" fmla="*/ 76 w 90"/>
                <a:gd name="T65" fmla="*/ 74 h 88"/>
                <a:gd name="T66" fmla="*/ 70 w 90"/>
                <a:gd name="T67" fmla="*/ 80 h 88"/>
                <a:gd name="T68" fmla="*/ 62 w 90"/>
                <a:gd name="T69" fmla="*/ 84 h 88"/>
                <a:gd name="T70" fmla="*/ 54 w 90"/>
                <a:gd name="T71" fmla="*/ 86 h 88"/>
                <a:gd name="T72" fmla="*/ 44 w 90"/>
                <a:gd name="T73" fmla="*/ 88 h 88"/>
                <a:gd name="T74" fmla="*/ 44 w 90"/>
                <a:gd name="T75" fmla="*/ 88 h 88"/>
                <a:gd name="T76" fmla="*/ 44 w 90"/>
                <a:gd name="T77" fmla="*/ 18 h 88"/>
                <a:gd name="T78" fmla="*/ 44 w 90"/>
                <a:gd name="T79" fmla="*/ 18 h 88"/>
                <a:gd name="T80" fmla="*/ 34 w 90"/>
                <a:gd name="T81" fmla="*/ 20 h 88"/>
                <a:gd name="T82" fmla="*/ 26 w 90"/>
                <a:gd name="T83" fmla="*/ 24 h 88"/>
                <a:gd name="T84" fmla="*/ 20 w 90"/>
                <a:gd name="T85" fmla="*/ 34 h 88"/>
                <a:gd name="T86" fmla="*/ 18 w 90"/>
                <a:gd name="T87" fmla="*/ 44 h 88"/>
                <a:gd name="T88" fmla="*/ 18 w 90"/>
                <a:gd name="T89" fmla="*/ 44 h 88"/>
                <a:gd name="T90" fmla="*/ 20 w 90"/>
                <a:gd name="T91" fmla="*/ 54 h 88"/>
                <a:gd name="T92" fmla="*/ 26 w 90"/>
                <a:gd name="T93" fmla="*/ 62 h 88"/>
                <a:gd name="T94" fmla="*/ 34 w 90"/>
                <a:gd name="T95" fmla="*/ 68 h 88"/>
                <a:gd name="T96" fmla="*/ 44 w 90"/>
                <a:gd name="T97" fmla="*/ 70 h 88"/>
                <a:gd name="T98" fmla="*/ 44 w 90"/>
                <a:gd name="T99" fmla="*/ 70 h 88"/>
                <a:gd name="T100" fmla="*/ 54 w 90"/>
                <a:gd name="T101" fmla="*/ 68 h 88"/>
                <a:gd name="T102" fmla="*/ 64 w 90"/>
                <a:gd name="T103" fmla="*/ 62 h 88"/>
                <a:gd name="T104" fmla="*/ 68 w 90"/>
                <a:gd name="T105" fmla="*/ 54 h 88"/>
                <a:gd name="T106" fmla="*/ 72 w 90"/>
                <a:gd name="T107" fmla="*/ 44 h 88"/>
                <a:gd name="T108" fmla="*/ 72 w 90"/>
                <a:gd name="T109" fmla="*/ 44 h 88"/>
                <a:gd name="T110" fmla="*/ 68 w 90"/>
                <a:gd name="T111" fmla="*/ 34 h 88"/>
                <a:gd name="T112" fmla="*/ 64 w 90"/>
                <a:gd name="T113" fmla="*/ 24 h 88"/>
                <a:gd name="T114" fmla="*/ 54 w 90"/>
                <a:gd name="T115" fmla="*/ 20 h 88"/>
                <a:gd name="T116" fmla="*/ 44 w 90"/>
                <a:gd name="T117" fmla="*/ 18 h 88"/>
                <a:gd name="T118" fmla="*/ 44 w 90"/>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88">
                  <a:moveTo>
                    <a:pt x="44" y="88"/>
                  </a:moveTo>
                  <a:lnTo>
                    <a:pt x="44" y="88"/>
                  </a:lnTo>
                  <a:lnTo>
                    <a:pt x="36" y="86"/>
                  </a:lnTo>
                  <a:lnTo>
                    <a:pt x="28" y="84"/>
                  </a:lnTo>
                  <a:lnTo>
                    <a:pt x="20" y="80"/>
                  </a:lnTo>
                  <a:lnTo>
                    <a:pt x="14" y="74"/>
                  </a:lnTo>
                  <a:lnTo>
                    <a:pt x="8" y="68"/>
                  </a:lnTo>
                  <a:lnTo>
                    <a:pt x="4" y="60"/>
                  </a:lnTo>
                  <a:lnTo>
                    <a:pt x="2" y="52"/>
                  </a:lnTo>
                  <a:lnTo>
                    <a:pt x="0" y="44"/>
                  </a:lnTo>
                  <a:lnTo>
                    <a:pt x="0" y="44"/>
                  </a:lnTo>
                  <a:lnTo>
                    <a:pt x="2" y="34"/>
                  </a:lnTo>
                  <a:lnTo>
                    <a:pt x="4" y="26"/>
                  </a:lnTo>
                  <a:lnTo>
                    <a:pt x="8" y="18"/>
                  </a:lnTo>
                  <a:lnTo>
                    <a:pt x="14" y="12"/>
                  </a:lnTo>
                  <a:lnTo>
                    <a:pt x="20" y="6"/>
                  </a:lnTo>
                  <a:lnTo>
                    <a:pt x="28" y="2"/>
                  </a:lnTo>
                  <a:lnTo>
                    <a:pt x="36" y="0"/>
                  </a:lnTo>
                  <a:lnTo>
                    <a:pt x="44" y="0"/>
                  </a:lnTo>
                  <a:lnTo>
                    <a:pt x="44" y="0"/>
                  </a:lnTo>
                  <a:lnTo>
                    <a:pt x="54" y="0"/>
                  </a:lnTo>
                  <a:lnTo>
                    <a:pt x="62" y="2"/>
                  </a:lnTo>
                  <a:lnTo>
                    <a:pt x="70" y="6"/>
                  </a:lnTo>
                  <a:lnTo>
                    <a:pt x="76" y="12"/>
                  </a:lnTo>
                  <a:lnTo>
                    <a:pt x="82" y="18"/>
                  </a:lnTo>
                  <a:lnTo>
                    <a:pt x="86" y="26"/>
                  </a:lnTo>
                  <a:lnTo>
                    <a:pt x="88" y="34"/>
                  </a:lnTo>
                  <a:lnTo>
                    <a:pt x="90" y="44"/>
                  </a:lnTo>
                  <a:lnTo>
                    <a:pt x="90" y="44"/>
                  </a:lnTo>
                  <a:lnTo>
                    <a:pt x="88" y="52"/>
                  </a:lnTo>
                  <a:lnTo>
                    <a:pt x="86" y="60"/>
                  </a:lnTo>
                  <a:lnTo>
                    <a:pt x="82" y="68"/>
                  </a:lnTo>
                  <a:lnTo>
                    <a:pt x="76" y="74"/>
                  </a:lnTo>
                  <a:lnTo>
                    <a:pt x="70" y="80"/>
                  </a:lnTo>
                  <a:lnTo>
                    <a:pt x="62" y="84"/>
                  </a:lnTo>
                  <a:lnTo>
                    <a:pt x="54"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4" y="62"/>
                  </a:lnTo>
                  <a:lnTo>
                    <a:pt x="68" y="54"/>
                  </a:lnTo>
                  <a:lnTo>
                    <a:pt x="72" y="44"/>
                  </a:lnTo>
                  <a:lnTo>
                    <a:pt x="72" y="44"/>
                  </a:lnTo>
                  <a:lnTo>
                    <a:pt x="68" y="34"/>
                  </a:lnTo>
                  <a:lnTo>
                    <a:pt x="64"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86" name="Freeform 23">
              <a:extLst>
                <a:ext uri="{FF2B5EF4-FFF2-40B4-BE49-F238E27FC236}">
                  <a16:creationId xmlns:a16="http://schemas.microsoft.com/office/drawing/2014/main" id="{CAE13918-D813-AF4A-AFB7-E740888B1C68}"/>
                </a:ext>
              </a:extLst>
            </p:cNvPr>
            <p:cNvSpPr>
              <a:spLocks/>
            </p:cNvSpPr>
            <p:nvPr/>
          </p:nvSpPr>
          <p:spPr bwMode="auto">
            <a:xfrm>
              <a:off x="3200" y="1127"/>
              <a:ext cx="640" cy="516"/>
            </a:xfrm>
            <a:custGeom>
              <a:avLst/>
              <a:gdLst>
                <a:gd name="T0" fmla="*/ 278 w 640"/>
                <a:gd name="T1" fmla="*/ 452 h 516"/>
                <a:gd name="T2" fmla="*/ 228 w 640"/>
                <a:gd name="T3" fmla="*/ 438 h 516"/>
                <a:gd name="T4" fmla="*/ 154 w 640"/>
                <a:gd name="T5" fmla="*/ 396 h 516"/>
                <a:gd name="T6" fmla="*/ 118 w 640"/>
                <a:gd name="T7" fmla="*/ 360 h 516"/>
                <a:gd name="T8" fmla="*/ 76 w 640"/>
                <a:gd name="T9" fmla="*/ 286 h 516"/>
                <a:gd name="T10" fmla="*/ 64 w 640"/>
                <a:gd name="T11" fmla="*/ 238 h 516"/>
                <a:gd name="T12" fmla="*/ 64 w 640"/>
                <a:gd name="T13" fmla="*/ 154 h 516"/>
                <a:gd name="T14" fmla="*/ 76 w 640"/>
                <a:gd name="T15" fmla="*/ 104 h 516"/>
                <a:gd name="T16" fmla="*/ 126 w 640"/>
                <a:gd name="T17" fmla="*/ 34 h 516"/>
                <a:gd name="T18" fmla="*/ 130 w 640"/>
                <a:gd name="T19" fmla="*/ 40 h 516"/>
                <a:gd name="T20" fmla="*/ 128 w 640"/>
                <a:gd name="T21" fmla="*/ 46 h 516"/>
                <a:gd name="T22" fmla="*/ 120 w 640"/>
                <a:gd name="T23" fmla="*/ 50 h 516"/>
                <a:gd name="T24" fmla="*/ 46 w 640"/>
                <a:gd name="T25" fmla="*/ 64 h 516"/>
                <a:gd name="T26" fmla="*/ 96 w 640"/>
                <a:gd name="T27" fmla="*/ 104 h 516"/>
                <a:gd name="T28" fmla="*/ 78 w 640"/>
                <a:gd name="T29" fmla="*/ 170 h 516"/>
                <a:gd name="T30" fmla="*/ 78 w 640"/>
                <a:gd name="T31" fmla="*/ 220 h 516"/>
                <a:gd name="T32" fmla="*/ 86 w 640"/>
                <a:gd name="T33" fmla="*/ 258 h 516"/>
                <a:gd name="T34" fmla="*/ 46 w 640"/>
                <a:gd name="T35" fmla="*/ 326 h 516"/>
                <a:gd name="T36" fmla="*/ 128 w 640"/>
                <a:gd name="T37" fmla="*/ 344 h 516"/>
                <a:gd name="T38" fmla="*/ 172 w 640"/>
                <a:gd name="T39" fmla="*/ 386 h 516"/>
                <a:gd name="T40" fmla="*/ 188 w 640"/>
                <a:gd name="T41" fmla="*/ 468 h 516"/>
                <a:gd name="T42" fmla="*/ 228 w 640"/>
                <a:gd name="T43" fmla="*/ 420 h 516"/>
                <a:gd name="T44" fmla="*/ 294 w 640"/>
                <a:gd name="T45" fmla="*/ 436 h 516"/>
                <a:gd name="T46" fmla="*/ 344 w 640"/>
                <a:gd name="T47" fmla="*/ 436 h 516"/>
                <a:gd name="T48" fmla="*/ 382 w 640"/>
                <a:gd name="T49" fmla="*/ 428 h 516"/>
                <a:gd name="T50" fmla="*/ 450 w 640"/>
                <a:gd name="T51" fmla="*/ 468 h 516"/>
                <a:gd name="T52" fmla="*/ 468 w 640"/>
                <a:gd name="T53" fmla="*/ 386 h 516"/>
                <a:gd name="T54" fmla="*/ 510 w 640"/>
                <a:gd name="T55" fmla="*/ 344 h 516"/>
                <a:gd name="T56" fmla="*/ 592 w 640"/>
                <a:gd name="T57" fmla="*/ 326 h 516"/>
                <a:gd name="T58" fmla="*/ 544 w 640"/>
                <a:gd name="T59" fmla="*/ 288 h 516"/>
                <a:gd name="T60" fmla="*/ 560 w 640"/>
                <a:gd name="T61" fmla="*/ 220 h 516"/>
                <a:gd name="T62" fmla="*/ 560 w 640"/>
                <a:gd name="T63" fmla="*/ 170 h 516"/>
                <a:gd name="T64" fmla="*/ 552 w 640"/>
                <a:gd name="T65" fmla="*/ 132 h 516"/>
                <a:gd name="T66" fmla="*/ 592 w 640"/>
                <a:gd name="T67" fmla="*/ 64 h 516"/>
                <a:gd name="T68" fmla="*/ 522 w 640"/>
                <a:gd name="T69" fmla="*/ 50 h 516"/>
                <a:gd name="T70" fmla="*/ 512 w 640"/>
                <a:gd name="T71" fmla="*/ 48 h 516"/>
                <a:gd name="T72" fmla="*/ 508 w 640"/>
                <a:gd name="T73" fmla="*/ 42 h 516"/>
                <a:gd name="T74" fmla="*/ 514 w 640"/>
                <a:gd name="T75" fmla="*/ 34 h 516"/>
                <a:gd name="T76" fmla="*/ 562 w 640"/>
                <a:gd name="T77" fmla="*/ 104 h 516"/>
                <a:gd name="T78" fmla="*/ 576 w 640"/>
                <a:gd name="T79" fmla="*/ 154 h 516"/>
                <a:gd name="T80" fmla="*/ 576 w 640"/>
                <a:gd name="T81" fmla="*/ 238 h 516"/>
                <a:gd name="T82" fmla="*/ 562 w 640"/>
                <a:gd name="T83" fmla="*/ 286 h 516"/>
                <a:gd name="T84" fmla="*/ 520 w 640"/>
                <a:gd name="T85" fmla="*/ 360 h 516"/>
                <a:gd name="T86" fmla="*/ 484 w 640"/>
                <a:gd name="T87" fmla="*/ 396 h 516"/>
                <a:gd name="T88" fmla="*/ 412 w 640"/>
                <a:gd name="T89" fmla="*/ 438 h 516"/>
                <a:gd name="T90" fmla="*/ 362 w 640"/>
                <a:gd name="T91" fmla="*/ 45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0" h="516">
                  <a:moveTo>
                    <a:pt x="360" y="516"/>
                  </a:moveTo>
                  <a:lnTo>
                    <a:pt x="280" y="516"/>
                  </a:lnTo>
                  <a:lnTo>
                    <a:pt x="278" y="452"/>
                  </a:lnTo>
                  <a:lnTo>
                    <a:pt x="278" y="452"/>
                  </a:lnTo>
                  <a:lnTo>
                    <a:pt x="252" y="446"/>
                  </a:lnTo>
                  <a:lnTo>
                    <a:pt x="228" y="438"/>
                  </a:lnTo>
                  <a:lnTo>
                    <a:pt x="194" y="492"/>
                  </a:lnTo>
                  <a:lnTo>
                    <a:pt x="124" y="452"/>
                  </a:lnTo>
                  <a:lnTo>
                    <a:pt x="154" y="396"/>
                  </a:lnTo>
                  <a:lnTo>
                    <a:pt x="154" y="396"/>
                  </a:lnTo>
                  <a:lnTo>
                    <a:pt x="136" y="378"/>
                  </a:lnTo>
                  <a:lnTo>
                    <a:pt x="118" y="360"/>
                  </a:lnTo>
                  <a:lnTo>
                    <a:pt x="62" y="390"/>
                  </a:lnTo>
                  <a:lnTo>
                    <a:pt x="22" y="320"/>
                  </a:lnTo>
                  <a:lnTo>
                    <a:pt x="76" y="286"/>
                  </a:lnTo>
                  <a:lnTo>
                    <a:pt x="76" y="286"/>
                  </a:lnTo>
                  <a:lnTo>
                    <a:pt x="68" y="262"/>
                  </a:lnTo>
                  <a:lnTo>
                    <a:pt x="64" y="238"/>
                  </a:lnTo>
                  <a:lnTo>
                    <a:pt x="0" y="236"/>
                  </a:lnTo>
                  <a:lnTo>
                    <a:pt x="0" y="156"/>
                  </a:lnTo>
                  <a:lnTo>
                    <a:pt x="64" y="154"/>
                  </a:lnTo>
                  <a:lnTo>
                    <a:pt x="64" y="154"/>
                  </a:lnTo>
                  <a:lnTo>
                    <a:pt x="68" y="128"/>
                  </a:lnTo>
                  <a:lnTo>
                    <a:pt x="76" y="104"/>
                  </a:lnTo>
                  <a:lnTo>
                    <a:pt x="22" y="70"/>
                  </a:lnTo>
                  <a:lnTo>
                    <a:pt x="62" y="0"/>
                  </a:lnTo>
                  <a:lnTo>
                    <a:pt x="126" y="34"/>
                  </a:lnTo>
                  <a:lnTo>
                    <a:pt x="126" y="34"/>
                  </a:lnTo>
                  <a:lnTo>
                    <a:pt x="128" y="36"/>
                  </a:lnTo>
                  <a:lnTo>
                    <a:pt x="130" y="40"/>
                  </a:lnTo>
                  <a:lnTo>
                    <a:pt x="130" y="42"/>
                  </a:lnTo>
                  <a:lnTo>
                    <a:pt x="128" y="46"/>
                  </a:lnTo>
                  <a:lnTo>
                    <a:pt x="128" y="46"/>
                  </a:lnTo>
                  <a:lnTo>
                    <a:pt x="126" y="48"/>
                  </a:lnTo>
                  <a:lnTo>
                    <a:pt x="124" y="50"/>
                  </a:lnTo>
                  <a:lnTo>
                    <a:pt x="120" y="50"/>
                  </a:lnTo>
                  <a:lnTo>
                    <a:pt x="116" y="50"/>
                  </a:lnTo>
                  <a:lnTo>
                    <a:pt x="70" y="24"/>
                  </a:lnTo>
                  <a:lnTo>
                    <a:pt x="46" y="64"/>
                  </a:lnTo>
                  <a:lnTo>
                    <a:pt x="98" y="96"/>
                  </a:lnTo>
                  <a:lnTo>
                    <a:pt x="96" y="104"/>
                  </a:lnTo>
                  <a:lnTo>
                    <a:pt x="96" y="104"/>
                  </a:lnTo>
                  <a:lnTo>
                    <a:pt x="86" y="132"/>
                  </a:lnTo>
                  <a:lnTo>
                    <a:pt x="80" y="162"/>
                  </a:lnTo>
                  <a:lnTo>
                    <a:pt x="78" y="170"/>
                  </a:lnTo>
                  <a:lnTo>
                    <a:pt x="18" y="172"/>
                  </a:lnTo>
                  <a:lnTo>
                    <a:pt x="18" y="218"/>
                  </a:lnTo>
                  <a:lnTo>
                    <a:pt x="78" y="220"/>
                  </a:lnTo>
                  <a:lnTo>
                    <a:pt x="80" y="228"/>
                  </a:lnTo>
                  <a:lnTo>
                    <a:pt x="80" y="228"/>
                  </a:lnTo>
                  <a:lnTo>
                    <a:pt x="86" y="258"/>
                  </a:lnTo>
                  <a:lnTo>
                    <a:pt x="96" y="288"/>
                  </a:lnTo>
                  <a:lnTo>
                    <a:pt x="98" y="294"/>
                  </a:lnTo>
                  <a:lnTo>
                    <a:pt x="46" y="326"/>
                  </a:lnTo>
                  <a:lnTo>
                    <a:pt x="70" y="366"/>
                  </a:lnTo>
                  <a:lnTo>
                    <a:pt x="124" y="338"/>
                  </a:lnTo>
                  <a:lnTo>
                    <a:pt x="128" y="344"/>
                  </a:lnTo>
                  <a:lnTo>
                    <a:pt x="128" y="344"/>
                  </a:lnTo>
                  <a:lnTo>
                    <a:pt x="148" y="366"/>
                  </a:lnTo>
                  <a:lnTo>
                    <a:pt x="172" y="386"/>
                  </a:lnTo>
                  <a:lnTo>
                    <a:pt x="178" y="392"/>
                  </a:lnTo>
                  <a:lnTo>
                    <a:pt x="148" y="446"/>
                  </a:lnTo>
                  <a:lnTo>
                    <a:pt x="188" y="468"/>
                  </a:lnTo>
                  <a:lnTo>
                    <a:pt x="220" y="416"/>
                  </a:lnTo>
                  <a:lnTo>
                    <a:pt x="228" y="420"/>
                  </a:lnTo>
                  <a:lnTo>
                    <a:pt x="228" y="420"/>
                  </a:lnTo>
                  <a:lnTo>
                    <a:pt x="256" y="428"/>
                  </a:lnTo>
                  <a:lnTo>
                    <a:pt x="286" y="434"/>
                  </a:lnTo>
                  <a:lnTo>
                    <a:pt x="294" y="436"/>
                  </a:lnTo>
                  <a:lnTo>
                    <a:pt x="296" y="498"/>
                  </a:lnTo>
                  <a:lnTo>
                    <a:pt x="342" y="498"/>
                  </a:lnTo>
                  <a:lnTo>
                    <a:pt x="344" y="436"/>
                  </a:lnTo>
                  <a:lnTo>
                    <a:pt x="352" y="434"/>
                  </a:lnTo>
                  <a:lnTo>
                    <a:pt x="352" y="434"/>
                  </a:lnTo>
                  <a:lnTo>
                    <a:pt x="382" y="428"/>
                  </a:lnTo>
                  <a:lnTo>
                    <a:pt x="412" y="420"/>
                  </a:lnTo>
                  <a:lnTo>
                    <a:pt x="418" y="416"/>
                  </a:lnTo>
                  <a:lnTo>
                    <a:pt x="450" y="468"/>
                  </a:lnTo>
                  <a:lnTo>
                    <a:pt x="490" y="446"/>
                  </a:lnTo>
                  <a:lnTo>
                    <a:pt x="462" y="392"/>
                  </a:lnTo>
                  <a:lnTo>
                    <a:pt x="468" y="386"/>
                  </a:lnTo>
                  <a:lnTo>
                    <a:pt x="468" y="386"/>
                  </a:lnTo>
                  <a:lnTo>
                    <a:pt x="490" y="366"/>
                  </a:lnTo>
                  <a:lnTo>
                    <a:pt x="510" y="344"/>
                  </a:lnTo>
                  <a:lnTo>
                    <a:pt x="516" y="338"/>
                  </a:lnTo>
                  <a:lnTo>
                    <a:pt x="570" y="366"/>
                  </a:lnTo>
                  <a:lnTo>
                    <a:pt x="592" y="326"/>
                  </a:lnTo>
                  <a:lnTo>
                    <a:pt x="540" y="294"/>
                  </a:lnTo>
                  <a:lnTo>
                    <a:pt x="544" y="288"/>
                  </a:lnTo>
                  <a:lnTo>
                    <a:pt x="544" y="288"/>
                  </a:lnTo>
                  <a:lnTo>
                    <a:pt x="552" y="258"/>
                  </a:lnTo>
                  <a:lnTo>
                    <a:pt x="558" y="228"/>
                  </a:lnTo>
                  <a:lnTo>
                    <a:pt x="560" y="220"/>
                  </a:lnTo>
                  <a:lnTo>
                    <a:pt x="622" y="218"/>
                  </a:lnTo>
                  <a:lnTo>
                    <a:pt x="622" y="172"/>
                  </a:lnTo>
                  <a:lnTo>
                    <a:pt x="560" y="170"/>
                  </a:lnTo>
                  <a:lnTo>
                    <a:pt x="558" y="162"/>
                  </a:lnTo>
                  <a:lnTo>
                    <a:pt x="558" y="162"/>
                  </a:lnTo>
                  <a:lnTo>
                    <a:pt x="552" y="132"/>
                  </a:lnTo>
                  <a:lnTo>
                    <a:pt x="544" y="104"/>
                  </a:lnTo>
                  <a:lnTo>
                    <a:pt x="540" y="96"/>
                  </a:lnTo>
                  <a:lnTo>
                    <a:pt x="592" y="64"/>
                  </a:lnTo>
                  <a:lnTo>
                    <a:pt x="570" y="24"/>
                  </a:lnTo>
                  <a:lnTo>
                    <a:pt x="522" y="50"/>
                  </a:lnTo>
                  <a:lnTo>
                    <a:pt x="522" y="50"/>
                  </a:lnTo>
                  <a:lnTo>
                    <a:pt x="518" y="50"/>
                  </a:lnTo>
                  <a:lnTo>
                    <a:pt x="516" y="50"/>
                  </a:lnTo>
                  <a:lnTo>
                    <a:pt x="512" y="48"/>
                  </a:lnTo>
                  <a:lnTo>
                    <a:pt x="510" y="46"/>
                  </a:lnTo>
                  <a:lnTo>
                    <a:pt x="510" y="46"/>
                  </a:lnTo>
                  <a:lnTo>
                    <a:pt x="508" y="42"/>
                  </a:lnTo>
                  <a:lnTo>
                    <a:pt x="510" y="40"/>
                  </a:lnTo>
                  <a:lnTo>
                    <a:pt x="510" y="36"/>
                  </a:lnTo>
                  <a:lnTo>
                    <a:pt x="514" y="34"/>
                  </a:lnTo>
                  <a:lnTo>
                    <a:pt x="576" y="0"/>
                  </a:lnTo>
                  <a:lnTo>
                    <a:pt x="616" y="70"/>
                  </a:lnTo>
                  <a:lnTo>
                    <a:pt x="562" y="104"/>
                  </a:lnTo>
                  <a:lnTo>
                    <a:pt x="562" y="104"/>
                  </a:lnTo>
                  <a:lnTo>
                    <a:pt x="570" y="128"/>
                  </a:lnTo>
                  <a:lnTo>
                    <a:pt x="576" y="154"/>
                  </a:lnTo>
                  <a:lnTo>
                    <a:pt x="640" y="156"/>
                  </a:lnTo>
                  <a:lnTo>
                    <a:pt x="640" y="236"/>
                  </a:lnTo>
                  <a:lnTo>
                    <a:pt x="576" y="238"/>
                  </a:lnTo>
                  <a:lnTo>
                    <a:pt x="576" y="238"/>
                  </a:lnTo>
                  <a:lnTo>
                    <a:pt x="570" y="262"/>
                  </a:lnTo>
                  <a:lnTo>
                    <a:pt x="562" y="286"/>
                  </a:lnTo>
                  <a:lnTo>
                    <a:pt x="616" y="320"/>
                  </a:lnTo>
                  <a:lnTo>
                    <a:pt x="576" y="390"/>
                  </a:lnTo>
                  <a:lnTo>
                    <a:pt x="520" y="360"/>
                  </a:lnTo>
                  <a:lnTo>
                    <a:pt x="520" y="360"/>
                  </a:lnTo>
                  <a:lnTo>
                    <a:pt x="502" y="378"/>
                  </a:lnTo>
                  <a:lnTo>
                    <a:pt x="484" y="396"/>
                  </a:lnTo>
                  <a:lnTo>
                    <a:pt x="514" y="452"/>
                  </a:lnTo>
                  <a:lnTo>
                    <a:pt x="444" y="492"/>
                  </a:lnTo>
                  <a:lnTo>
                    <a:pt x="412" y="438"/>
                  </a:lnTo>
                  <a:lnTo>
                    <a:pt x="412" y="438"/>
                  </a:lnTo>
                  <a:lnTo>
                    <a:pt x="386" y="446"/>
                  </a:lnTo>
                  <a:lnTo>
                    <a:pt x="362" y="452"/>
                  </a:lnTo>
                  <a:lnTo>
                    <a:pt x="360" y="5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89" name="Freeform 24">
              <a:extLst>
                <a:ext uri="{FF2B5EF4-FFF2-40B4-BE49-F238E27FC236}">
                  <a16:creationId xmlns:a16="http://schemas.microsoft.com/office/drawing/2014/main" id="{30DB1BFB-FA97-537B-FC4E-54A1D910480A}"/>
                </a:ext>
              </a:extLst>
            </p:cNvPr>
            <p:cNvSpPr>
              <a:spLocks/>
            </p:cNvSpPr>
            <p:nvPr/>
          </p:nvSpPr>
          <p:spPr bwMode="auto">
            <a:xfrm>
              <a:off x="3328" y="1237"/>
              <a:ext cx="382" cy="276"/>
            </a:xfrm>
            <a:custGeom>
              <a:avLst/>
              <a:gdLst>
                <a:gd name="T0" fmla="*/ 192 w 382"/>
                <a:gd name="T1" fmla="*/ 276 h 276"/>
                <a:gd name="T2" fmla="*/ 152 w 382"/>
                <a:gd name="T3" fmla="*/ 272 h 276"/>
                <a:gd name="T4" fmla="*/ 118 w 382"/>
                <a:gd name="T5" fmla="*/ 260 h 276"/>
                <a:gd name="T6" fmla="*/ 84 w 382"/>
                <a:gd name="T7" fmla="*/ 244 h 276"/>
                <a:gd name="T8" fmla="*/ 56 w 382"/>
                <a:gd name="T9" fmla="*/ 220 h 276"/>
                <a:gd name="T10" fmla="*/ 34 w 382"/>
                <a:gd name="T11" fmla="*/ 192 h 276"/>
                <a:gd name="T12" fmla="*/ 16 w 382"/>
                <a:gd name="T13" fmla="*/ 160 h 276"/>
                <a:gd name="T14" fmla="*/ 4 w 382"/>
                <a:gd name="T15" fmla="*/ 124 h 276"/>
                <a:gd name="T16" fmla="*/ 0 w 382"/>
                <a:gd name="T17" fmla="*/ 86 h 276"/>
                <a:gd name="T18" fmla="*/ 2 w 382"/>
                <a:gd name="T19" fmla="*/ 64 h 276"/>
                <a:gd name="T20" fmla="*/ 10 w 382"/>
                <a:gd name="T21" fmla="*/ 24 h 276"/>
                <a:gd name="T22" fmla="*/ 18 w 382"/>
                <a:gd name="T23" fmla="*/ 4 h 276"/>
                <a:gd name="T24" fmla="*/ 24 w 382"/>
                <a:gd name="T25" fmla="*/ 0 h 276"/>
                <a:gd name="T26" fmla="*/ 30 w 382"/>
                <a:gd name="T27" fmla="*/ 0 h 276"/>
                <a:gd name="T28" fmla="*/ 34 w 382"/>
                <a:gd name="T29" fmla="*/ 2 h 276"/>
                <a:gd name="T30" fmla="*/ 36 w 382"/>
                <a:gd name="T31" fmla="*/ 8 h 276"/>
                <a:gd name="T32" fmla="*/ 34 w 382"/>
                <a:gd name="T33" fmla="*/ 12 h 276"/>
                <a:gd name="T34" fmla="*/ 22 w 382"/>
                <a:gd name="T35" fmla="*/ 48 h 276"/>
                <a:gd name="T36" fmla="*/ 18 w 382"/>
                <a:gd name="T37" fmla="*/ 86 h 276"/>
                <a:gd name="T38" fmla="*/ 20 w 382"/>
                <a:gd name="T39" fmla="*/ 102 h 276"/>
                <a:gd name="T40" fmla="*/ 26 w 382"/>
                <a:gd name="T41" fmla="*/ 136 h 276"/>
                <a:gd name="T42" fmla="*/ 40 w 382"/>
                <a:gd name="T43" fmla="*/ 168 h 276"/>
                <a:gd name="T44" fmla="*/ 58 w 382"/>
                <a:gd name="T45" fmla="*/ 196 h 276"/>
                <a:gd name="T46" fmla="*/ 82 w 382"/>
                <a:gd name="T47" fmla="*/ 218 h 276"/>
                <a:gd name="T48" fmla="*/ 110 w 382"/>
                <a:gd name="T49" fmla="*/ 238 h 276"/>
                <a:gd name="T50" fmla="*/ 140 w 382"/>
                <a:gd name="T51" fmla="*/ 250 h 276"/>
                <a:gd name="T52" fmla="*/ 174 w 382"/>
                <a:gd name="T53" fmla="*/ 258 h 276"/>
                <a:gd name="T54" fmla="*/ 192 w 382"/>
                <a:gd name="T55" fmla="*/ 258 h 276"/>
                <a:gd name="T56" fmla="*/ 226 w 382"/>
                <a:gd name="T57" fmla="*/ 254 h 276"/>
                <a:gd name="T58" fmla="*/ 258 w 382"/>
                <a:gd name="T59" fmla="*/ 244 h 276"/>
                <a:gd name="T60" fmla="*/ 288 w 382"/>
                <a:gd name="T61" fmla="*/ 228 h 276"/>
                <a:gd name="T62" fmla="*/ 314 w 382"/>
                <a:gd name="T63" fmla="*/ 208 h 276"/>
                <a:gd name="T64" fmla="*/ 334 w 382"/>
                <a:gd name="T65" fmla="*/ 182 h 276"/>
                <a:gd name="T66" fmla="*/ 350 w 382"/>
                <a:gd name="T67" fmla="*/ 152 h 276"/>
                <a:gd name="T68" fmla="*/ 360 w 382"/>
                <a:gd name="T69" fmla="*/ 120 h 276"/>
                <a:gd name="T70" fmla="*/ 364 w 382"/>
                <a:gd name="T71" fmla="*/ 86 h 276"/>
                <a:gd name="T72" fmla="*/ 362 w 382"/>
                <a:gd name="T73" fmla="*/ 66 h 276"/>
                <a:gd name="T74" fmla="*/ 354 w 382"/>
                <a:gd name="T75" fmla="*/ 30 h 276"/>
                <a:gd name="T76" fmla="*/ 348 w 382"/>
                <a:gd name="T77" fmla="*/ 12 h 276"/>
                <a:gd name="T78" fmla="*/ 348 w 382"/>
                <a:gd name="T79" fmla="*/ 6 h 276"/>
                <a:gd name="T80" fmla="*/ 352 w 382"/>
                <a:gd name="T81" fmla="*/ 0 h 276"/>
                <a:gd name="T82" fmla="*/ 356 w 382"/>
                <a:gd name="T83" fmla="*/ 0 h 276"/>
                <a:gd name="T84" fmla="*/ 362 w 382"/>
                <a:gd name="T85" fmla="*/ 2 h 276"/>
                <a:gd name="T86" fmla="*/ 364 w 382"/>
                <a:gd name="T87" fmla="*/ 4 h 276"/>
                <a:gd name="T88" fmla="*/ 378 w 382"/>
                <a:gd name="T89" fmla="*/ 44 h 276"/>
                <a:gd name="T90" fmla="*/ 382 w 382"/>
                <a:gd name="T91" fmla="*/ 86 h 276"/>
                <a:gd name="T92" fmla="*/ 382 w 382"/>
                <a:gd name="T93" fmla="*/ 104 h 276"/>
                <a:gd name="T94" fmla="*/ 374 w 382"/>
                <a:gd name="T95" fmla="*/ 142 h 276"/>
                <a:gd name="T96" fmla="*/ 358 w 382"/>
                <a:gd name="T97" fmla="*/ 176 h 276"/>
                <a:gd name="T98" fmla="*/ 338 w 382"/>
                <a:gd name="T99" fmla="*/ 206 h 276"/>
                <a:gd name="T100" fmla="*/ 312 w 382"/>
                <a:gd name="T101" fmla="*/ 232 h 276"/>
                <a:gd name="T102" fmla="*/ 282 w 382"/>
                <a:gd name="T103" fmla="*/ 252 h 276"/>
                <a:gd name="T104" fmla="*/ 248 w 382"/>
                <a:gd name="T105" fmla="*/ 268 h 276"/>
                <a:gd name="T106" fmla="*/ 210 w 382"/>
                <a:gd name="T107" fmla="*/ 276 h 276"/>
                <a:gd name="T108" fmla="*/ 192 w 382"/>
                <a:gd name="T10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2" h="276">
                  <a:moveTo>
                    <a:pt x="192" y="276"/>
                  </a:moveTo>
                  <a:lnTo>
                    <a:pt x="192" y="276"/>
                  </a:lnTo>
                  <a:lnTo>
                    <a:pt x="172" y="276"/>
                  </a:lnTo>
                  <a:lnTo>
                    <a:pt x="152" y="272"/>
                  </a:lnTo>
                  <a:lnTo>
                    <a:pt x="134" y="268"/>
                  </a:lnTo>
                  <a:lnTo>
                    <a:pt x="118" y="260"/>
                  </a:lnTo>
                  <a:lnTo>
                    <a:pt x="100" y="252"/>
                  </a:lnTo>
                  <a:lnTo>
                    <a:pt x="84" y="244"/>
                  </a:lnTo>
                  <a:lnTo>
                    <a:pt x="70" y="232"/>
                  </a:lnTo>
                  <a:lnTo>
                    <a:pt x="56" y="220"/>
                  </a:lnTo>
                  <a:lnTo>
                    <a:pt x="44" y="206"/>
                  </a:lnTo>
                  <a:lnTo>
                    <a:pt x="34" y="192"/>
                  </a:lnTo>
                  <a:lnTo>
                    <a:pt x="24" y="176"/>
                  </a:lnTo>
                  <a:lnTo>
                    <a:pt x="16" y="160"/>
                  </a:lnTo>
                  <a:lnTo>
                    <a:pt x="10" y="142"/>
                  </a:lnTo>
                  <a:lnTo>
                    <a:pt x="4" y="124"/>
                  </a:lnTo>
                  <a:lnTo>
                    <a:pt x="2" y="104"/>
                  </a:lnTo>
                  <a:lnTo>
                    <a:pt x="0" y="86"/>
                  </a:lnTo>
                  <a:lnTo>
                    <a:pt x="0" y="86"/>
                  </a:lnTo>
                  <a:lnTo>
                    <a:pt x="2" y="64"/>
                  </a:lnTo>
                  <a:lnTo>
                    <a:pt x="6" y="44"/>
                  </a:lnTo>
                  <a:lnTo>
                    <a:pt x="10" y="24"/>
                  </a:lnTo>
                  <a:lnTo>
                    <a:pt x="18" y="4"/>
                  </a:lnTo>
                  <a:lnTo>
                    <a:pt x="18" y="4"/>
                  </a:lnTo>
                  <a:lnTo>
                    <a:pt x="20" y="2"/>
                  </a:lnTo>
                  <a:lnTo>
                    <a:pt x="24" y="0"/>
                  </a:lnTo>
                  <a:lnTo>
                    <a:pt x="28" y="0"/>
                  </a:lnTo>
                  <a:lnTo>
                    <a:pt x="30" y="0"/>
                  </a:lnTo>
                  <a:lnTo>
                    <a:pt x="30" y="0"/>
                  </a:lnTo>
                  <a:lnTo>
                    <a:pt x="34" y="2"/>
                  </a:lnTo>
                  <a:lnTo>
                    <a:pt x="36" y="6"/>
                  </a:lnTo>
                  <a:lnTo>
                    <a:pt x="36" y="8"/>
                  </a:lnTo>
                  <a:lnTo>
                    <a:pt x="34" y="12"/>
                  </a:lnTo>
                  <a:lnTo>
                    <a:pt x="34" y="12"/>
                  </a:lnTo>
                  <a:lnTo>
                    <a:pt x="28" y="30"/>
                  </a:lnTo>
                  <a:lnTo>
                    <a:pt x="22" y="48"/>
                  </a:lnTo>
                  <a:lnTo>
                    <a:pt x="20" y="66"/>
                  </a:lnTo>
                  <a:lnTo>
                    <a:pt x="18" y="86"/>
                  </a:lnTo>
                  <a:lnTo>
                    <a:pt x="18" y="86"/>
                  </a:lnTo>
                  <a:lnTo>
                    <a:pt x="20" y="102"/>
                  </a:lnTo>
                  <a:lnTo>
                    <a:pt x="22" y="120"/>
                  </a:lnTo>
                  <a:lnTo>
                    <a:pt x="26" y="136"/>
                  </a:lnTo>
                  <a:lnTo>
                    <a:pt x="32" y="152"/>
                  </a:lnTo>
                  <a:lnTo>
                    <a:pt x="40" y="168"/>
                  </a:lnTo>
                  <a:lnTo>
                    <a:pt x="48" y="182"/>
                  </a:lnTo>
                  <a:lnTo>
                    <a:pt x="58" y="196"/>
                  </a:lnTo>
                  <a:lnTo>
                    <a:pt x="70" y="208"/>
                  </a:lnTo>
                  <a:lnTo>
                    <a:pt x="82" y="218"/>
                  </a:lnTo>
                  <a:lnTo>
                    <a:pt x="94" y="228"/>
                  </a:lnTo>
                  <a:lnTo>
                    <a:pt x="110" y="238"/>
                  </a:lnTo>
                  <a:lnTo>
                    <a:pt x="124" y="244"/>
                  </a:lnTo>
                  <a:lnTo>
                    <a:pt x="140" y="250"/>
                  </a:lnTo>
                  <a:lnTo>
                    <a:pt x="156" y="254"/>
                  </a:lnTo>
                  <a:lnTo>
                    <a:pt x="174" y="258"/>
                  </a:lnTo>
                  <a:lnTo>
                    <a:pt x="192" y="258"/>
                  </a:lnTo>
                  <a:lnTo>
                    <a:pt x="192" y="258"/>
                  </a:lnTo>
                  <a:lnTo>
                    <a:pt x="208" y="258"/>
                  </a:lnTo>
                  <a:lnTo>
                    <a:pt x="226" y="254"/>
                  </a:lnTo>
                  <a:lnTo>
                    <a:pt x="242" y="250"/>
                  </a:lnTo>
                  <a:lnTo>
                    <a:pt x="258" y="244"/>
                  </a:lnTo>
                  <a:lnTo>
                    <a:pt x="274" y="238"/>
                  </a:lnTo>
                  <a:lnTo>
                    <a:pt x="288" y="228"/>
                  </a:lnTo>
                  <a:lnTo>
                    <a:pt x="302" y="218"/>
                  </a:lnTo>
                  <a:lnTo>
                    <a:pt x="314" y="208"/>
                  </a:lnTo>
                  <a:lnTo>
                    <a:pt x="324" y="196"/>
                  </a:lnTo>
                  <a:lnTo>
                    <a:pt x="334" y="182"/>
                  </a:lnTo>
                  <a:lnTo>
                    <a:pt x="344" y="168"/>
                  </a:lnTo>
                  <a:lnTo>
                    <a:pt x="350" y="152"/>
                  </a:lnTo>
                  <a:lnTo>
                    <a:pt x="356" y="136"/>
                  </a:lnTo>
                  <a:lnTo>
                    <a:pt x="360" y="120"/>
                  </a:lnTo>
                  <a:lnTo>
                    <a:pt x="364" y="102"/>
                  </a:lnTo>
                  <a:lnTo>
                    <a:pt x="364" y="86"/>
                  </a:lnTo>
                  <a:lnTo>
                    <a:pt x="364" y="86"/>
                  </a:lnTo>
                  <a:lnTo>
                    <a:pt x="362" y="66"/>
                  </a:lnTo>
                  <a:lnTo>
                    <a:pt x="360" y="48"/>
                  </a:lnTo>
                  <a:lnTo>
                    <a:pt x="354" y="30"/>
                  </a:lnTo>
                  <a:lnTo>
                    <a:pt x="348" y="12"/>
                  </a:lnTo>
                  <a:lnTo>
                    <a:pt x="348" y="12"/>
                  </a:lnTo>
                  <a:lnTo>
                    <a:pt x="346" y="8"/>
                  </a:lnTo>
                  <a:lnTo>
                    <a:pt x="348" y="6"/>
                  </a:lnTo>
                  <a:lnTo>
                    <a:pt x="350" y="2"/>
                  </a:lnTo>
                  <a:lnTo>
                    <a:pt x="352" y="0"/>
                  </a:lnTo>
                  <a:lnTo>
                    <a:pt x="352" y="0"/>
                  </a:lnTo>
                  <a:lnTo>
                    <a:pt x="356" y="0"/>
                  </a:lnTo>
                  <a:lnTo>
                    <a:pt x="358" y="0"/>
                  </a:lnTo>
                  <a:lnTo>
                    <a:pt x="362" y="2"/>
                  </a:lnTo>
                  <a:lnTo>
                    <a:pt x="364" y="4"/>
                  </a:lnTo>
                  <a:lnTo>
                    <a:pt x="364" y="4"/>
                  </a:lnTo>
                  <a:lnTo>
                    <a:pt x="372" y="24"/>
                  </a:lnTo>
                  <a:lnTo>
                    <a:pt x="378" y="44"/>
                  </a:lnTo>
                  <a:lnTo>
                    <a:pt x="380" y="64"/>
                  </a:lnTo>
                  <a:lnTo>
                    <a:pt x="382" y="86"/>
                  </a:lnTo>
                  <a:lnTo>
                    <a:pt x="382" y="86"/>
                  </a:lnTo>
                  <a:lnTo>
                    <a:pt x="382" y="104"/>
                  </a:lnTo>
                  <a:lnTo>
                    <a:pt x="378" y="124"/>
                  </a:lnTo>
                  <a:lnTo>
                    <a:pt x="374" y="142"/>
                  </a:lnTo>
                  <a:lnTo>
                    <a:pt x="366" y="160"/>
                  </a:lnTo>
                  <a:lnTo>
                    <a:pt x="358" y="176"/>
                  </a:lnTo>
                  <a:lnTo>
                    <a:pt x="350" y="192"/>
                  </a:lnTo>
                  <a:lnTo>
                    <a:pt x="338" y="206"/>
                  </a:lnTo>
                  <a:lnTo>
                    <a:pt x="326" y="220"/>
                  </a:lnTo>
                  <a:lnTo>
                    <a:pt x="312" y="232"/>
                  </a:lnTo>
                  <a:lnTo>
                    <a:pt x="298" y="244"/>
                  </a:lnTo>
                  <a:lnTo>
                    <a:pt x="282" y="252"/>
                  </a:lnTo>
                  <a:lnTo>
                    <a:pt x="266" y="260"/>
                  </a:lnTo>
                  <a:lnTo>
                    <a:pt x="248" y="268"/>
                  </a:lnTo>
                  <a:lnTo>
                    <a:pt x="230" y="272"/>
                  </a:lnTo>
                  <a:lnTo>
                    <a:pt x="210" y="276"/>
                  </a:lnTo>
                  <a:lnTo>
                    <a:pt x="192" y="276"/>
                  </a:lnTo>
                  <a:lnTo>
                    <a:pt x="19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grpSp>
        <p:nvGrpSpPr>
          <p:cNvPr id="147" name="Group 57" descr="Strategy Compliance HR Management&#10;Best practice Icons&#10;Icon">
            <a:extLst>
              <a:ext uri="{FF2B5EF4-FFF2-40B4-BE49-F238E27FC236}">
                <a16:creationId xmlns:a16="http://schemas.microsoft.com/office/drawing/2014/main" id="{9116D219-9905-7406-3BC0-D3CA94AF9797}"/>
              </a:ext>
            </a:extLst>
          </p:cNvPr>
          <p:cNvGrpSpPr>
            <a:grpSpLocks noChangeAspect="1"/>
          </p:cNvGrpSpPr>
          <p:nvPr/>
        </p:nvGrpSpPr>
        <p:grpSpPr bwMode="auto">
          <a:xfrm>
            <a:off x="8522788" y="3817239"/>
            <a:ext cx="216952" cy="256457"/>
            <a:chOff x="1897" y="2976"/>
            <a:chExt cx="648" cy="766"/>
          </a:xfrm>
          <a:solidFill>
            <a:schemeClr val="bg1"/>
          </a:solidFill>
        </p:grpSpPr>
        <p:sp>
          <p:nvSpPr>
            <p:cNvPr id="148" name="Freeform 58">
              <a:extLst>
                <a:ext uri="{FF2B5EF4-FFF2-40B4-BE49-F238E27FC236}">
                  <a16:creationId xmlns:a16="http://schemas.microsoft.com/office/drawing/2014/main" id="{71DD5C06-8D13-075E-FD41-9C3AC157B050}"/>
                </a:ext>
              </a:extLst>
            </p:cNvPr>
            <p:cNvSpPr>
              <a:spLocks/>
            </p:cNvSpPr>
            <p:nvPr/>
          </p:nvSpPr>
          <p:spPr bwMode="auto">
            <a:xfrm>
              <a:off x="1897" y="2976"/>
              <a:ext cx="648" cy="766"/>
            </a:xfrm>
            <a:custGeom>
              <a:avLst/>
              <a:gdLst>
                <a:gd name="T0" fmla="*/ 364 w 648"/>
                <a:gd name="T1" fmla="*/ 608 h 766"/>
                <a:gd name="T2" fmla="*/ 546 w 648"/>
                <a:gd name="T3" fmla="*/ 606 h 766"/>
                <a:gd name="T4" fmla="*/ 562 w 648"/>
                <a:gd name="T5" fmla="*/ 584 h 766"/>
                <a:gd name="T6" fmla="*/ 622 w 648"/>
                <a:gd name="T7" fmla="*/ 454 h 766"/>
                <a:gd name="T8" fmla="*/ 630 w 648"/>
                <a:gd name="T9" fmla="*/ 450 h 766"/>
                <a:gd name="T10" fmla="*/ 562 w 648"/>
                <a:gd name="T11" fmla="*/ 338 h 766"/>
                <a:gd name="T12" fmla="*/ 560 w 648"/>
                <a:gd name="T13" fmla="*/ 258 h 766"/>
                <a:gd name="T14" fmla="*/ 540 w 648"/>
                <a:gd name="T15" fmla="*/ 182 h 766"/>
                <a:gd name="T16" fmla="*/ 498 w 648"/>
                <a:gd name="T17" fmla="*/ 116 h 766"/>
                <a:gd name="T18" fmla="*/ 440 w 648"/>
                <a:gd name="T19" fmla="*/ 64 h 766"/>
                <a:gd name="T20" fmla="*/ 370 w 648"/>
                <a:gd name="T21" fmla="*/ 30 h 766"/>
                <a:gd name="T22" fmla="*/ 290 w 648"/>
                <a:gd name="T23" fmla="*/ 18 h 766"/>
                <a:gd name="T24" fmla="*/ 236 w 648"/>
                <a:gd name="T25" fmla="*/ 22 h 766"/>
                <a:gd name="T26" fmla="*/ 160 w 648"/>
                <a:gd name="T27" fmla="*/ 50 h 766"/>
                <a:gd name="T28" fmla="*/ 98 w 648"/>
                <a:gd name="T29" fmla="*/ 96 h 766"/>
                <a:gd name="T30" fmla="*/ 52 w 648"/>
                <a:gd name="T31" fmla="*/ 160 h 766"/>
                <a:gd name="T32" fmla="*/ 24 w 648"/>
                <a:gd name="T33" fmla="*/ 234 h 766"/>
                <a:gd name="T34" fmla="*/ 18 w 648"/>
                <a:gd name="T35" fmla="*/ 288 h 766"/>
                <a:gd name="T36" fmla="*/ 28 w 648"/>
                <a:gd name="T37" fmla="*/ 362 h 766"/>
                <a:gd name="T38" fmla="*/ 58 w 648"/>
                <a:gd name="T39" fmla="*/ 430 h 766"/>
                <a:gd name="T40" fmla="*/ 90 w 648"/>
                <a:gd name="T41" fmla="*/ 472 h 766"/>
                <a:gd name="T42" fmla="*/ 72 w 648"/>
                <a:gd name="T43" fmla="*/ 480 h 766"/>
                <a:gd name="T44" fmla="*/ 42 w 648"/>
                <a:gd name="T45" fmla="*/ 438 h 766"/>
                <a:gd name="T46" fmla="*/ 12 w 648"/>
                <a:gd name="T47" fmla="*/ 366 h 766"/>
                <a:gd name="T48" fmla="*/ 0 w 648"/>
                <a:gd name="T49" fmla="*/ 288 h 766"/>
                <a:gd name="T50" fmla="*/ 6 w 648"/>
                <a:gd name="T51" fmla="*/ 230 h 766"/>
                <a:gd name="T52" fmla="*/ 36 w 648"/>
                <a:gd name="T53" fmla="*/ 150 h 766"/>
                <a:gd name="T54" fmla="*/ 86 w 648"/>
                <a:gd name="T55" fmla="*/ 84 h 766"/>
                <a:gd name="T56" fmla="*/ 152 w 648"/>
                <a:gd name="T57" fmla="*/ 34 h 766"/>
                <a:gd name="T58" fmla="*/ 232 w 648"/>
                <a:gd name="T59" fmla="*/ 6 h 766"/>
                <a:gd name="T60" fmla="*/ 290 w 648"/>
                <a:gd name="T61" fmla="*/ 0 h 766"/>
                <a:gd name="T62" fmla="*/ 374 w 648"/>
                <a:gd name="T63" fmla="*/ 12 h 766"/>
                <a:gd name="T64" fmla="*/ 448 w 648"/>
                <a:gd name="T65" fmla="*/ 46 h 766"/>
                <a:gd name="T66" fmla="*/ 508 w 648"/>
                <a:gd name="T67" fmla="*/ 100 h 766"/>
                <a:gd name="T68" fmla="*/ 554 w 648"/>
                <a:gd name="T69" fmla="*/ 168 h 766"/>
                <a:gd name="T70" fmla="*/ 576 w 648"/>
                <a:gd name="T71" fmla="*/ 248 h 766"/>
                <a:gd name="T72" fmla="*/ 580 w 648"/>
                <a:gd name="T73" fmla="*/ 334 h 766"/>
                <a:gd name="T74" fmla="*/ 648 w 648"/>
                <a:gd name="T75" fmla="*/ 438 h 766"/>
                <a:gd name="T76" fmla="*/ 646 w 648"/>
                <a:gd name="T77" fmla="*/ 458 h 766"/>
                <a:gd name="T78" fmla="*/ 636 w 648"/>
                <a:gd name="T79" fmla="*/ 468 h 766"/>
                <a:gd name="T80" fmla="*/ 580 w 648"/>
                <a:gd name="T81" fmla="*/ 472 h 766"/>
                <a:gd name="T82" fmla="*/ 578 w 648"/>
                <a:gd name="T83" fmla="*/ 592 h 766"/>
                <a:gd name="T84" fmla="*/ 568 w 648"/>
                <a:gd name="T85" fmla="*/ 614 h 766"/>
                <a:gd name="T86" fmla="*/ 546 w 648"/>
                <a:gd name="T87" fmla="*/ 624 h 766"/>
                <a:gd name="T88" fmla="*/ 382 w 648"/>
                <a:gd name="T89"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8" h="766">
                  <a:moveTo>
                    <a:pt x="382" y="766"/>
                  </a:moveTo>
                  <a:lnTo>
                    <a:pt x="364" y="766"/>
                  </a:lnTo>
                  <a:lnTo>
                    <a:pt x="364" y="608"/>
                  </a:lnTo>
                  <a:lnTo>
                    <a:pt x="538" y="608"/>
                  </a:lnTo>
                  <a:lnTo>
                    <a:pt x="538" y="608"/>
                  </a:lnTo>
                  <a:lnTo>
                    <a:pt x="546" y="606"/>
                  </a:lnTo>
                  <a:lnTo>
                    <a:pt x="554" y="600"/>
                  </a:lnTo>
                  <a:lnTo>
                    <a:pt x="560" y="592"/>
                  </a:lnTo>
                  <a:lnTo>
                    <a:pt x="562" y="584"/>
                  </a:lnTo>
                  <a:lnTo>
                    <a:pt x="562" y="454"/>
                  </a:lnTo>
                  <a:lnTo>
                    <a:pt x="622" y="454"/>
                  </a:lnTo>
                  <a:lnTo>
                    <a:pt x="622" y="454"/>
                  </a:lnTo>
                  <a:lnTo>
                    <a:pt x="628" y="452"/>
                  </a:lnTo>
                  <a:lnTo>
                    <a:pt x="630" y="450"/>
                  </a:lnTo>
                  <a:lnTo>
                    <a:pt x="630" y="450"/>
                  </a:lnTo>
                  <a:lnTo>
                    <a:pt x="630" y="446"/>
                  </a:lnTo>
                  <a:lnTo>
                    <a:pt x="628" y="440"/>
                  </a:lnTo>
                  <a:lnTo>
                    <a:pt x="562" y="338"/>
                  </a:lnTo>
                  <a:lnTo>
                    <a:pt x="562" y="286"/>
                  </a:lnTo>
                  <a:lnTo>
                    <a:pt x="562" y="286"/>
                  </a:lnTo>
                  <a:lnTo>
                    <a:pt x="560" y="258"/>
                  </a:lnTo>
                  <a:lnTo>
                    <a:pt x="556" y="232"/>
                  </a:lnTo>
                  <a:lnTo>
                    <a:pt x="548" y="206"/>
                  </a:lnTo>
                  <a:lnTo>
                    <a:pt x="540" y="182"/>
                  </a:lnTo>
                  <a:lnTo>
                    <a:pt x="528" y="158"/>
                  </a:lnTo>
                  <a:lnTo>
                    <a:pt x="514" y="136"/>
                  </a:lnTo>
                  <a:lnTo>
                    <a:pt x="498" y="116"/>
                  </a:lnTo>
                  <a:lnTo>
                    <a:pt x="480" y="96"/>
                  </a:lnTo>
                  <a:lnTo>
                    <a:pt x="462" y="78"/>
                  </a:lnTo>
                  <a:lnTo>
                    <a:pt x="440" y="64"/>
                  </a:lnTo>
                  <a:lnTo>
                    <a:pt x="418" y="50"/>
                  </a:lnTo>
                  <a:lnTo>
                    <a:pt x="394" y="38"/>
                  </a:lnTo>
                  <a:lnTo>
                    <a:pt x="370" y="30"/>
                  </a:lnTo>
                  <a:lnTo>
                    <a:pt x="344" y="22"/>
                  </a:lnTo>
                  <a:lnTo>
                    <a:pt x="318" y="18"/>
                  </a:lnTo>
                  <a:lnTo>
                    <a:pt x="290" y="18"/>
                  </a:lnTo>
                  <a:lnTo>
                    <a:pt x="290" y="18"/>
                  </a:lnTo>
                  <a:lnTo>
                    <a:pt x="262" y="18"/>
                  </a:lnTo>
                  <a:lnTo>
                    <a:pt x="236" y="22"/>
                  </a:lnTo>
                  <a:lnTo>
                    <a:pt x="210" y="30"/>
                  </a:lnTo>
                  <a:lnTo>
                    <a:pt x="184" y="38"/>
                  </a:lnTo>
                  <a:lnTo>
                    <a:pt x="160" y="50"/>
                  </a:lnTo>
                  <a:lnTo>
                    <a:pt x="138" y="64"/>
                  </a:lnTo>
                  <a:lnTo>
                    <a:pt x="118" y="80"/>
                  </a:lnTo>
                  <a:lnTo>
                    <a:pt x="98" y="96"/>
                  </a:lnTo>
                  <a:lnTo>
                    <a:pt x="80" y="116"/>
                  </a:lnTo>
                  <a:lnTo>
                    <a:pt x="64" y="138"/>
                  </a:lnTo>
                  <a:lnTo>
                    <a:pt x="52" y="160"/>
                  </a:lnTo>
                  <a:lnTo>
                    <a:pt x="40" y="184"/>
                  </a:lnTo>
                  <a:lnTo>
                    <a:pt x="30" y="208"/>
                  </a:lnTo>
                  <a:lnTo>
                    <a:pt x="24" y="234"/>
                  </a:lnTo>
                  <a:lnTo>
                    <a:pt x="20" y="262"/>
                  </a:lnTo>
                  <a:lnTo>
                    <a:pt x="18" y="288"/>
                  </a:lnTo>
                  <a:lnTo>
                    <a:pt x="18" y="288"/>
                  </a:lnTo>
                  <a:lnTo>
                    <a:pt x="20" y="314"/>
                  </a:lnTo>
                  <a:lnTo>
                    <a:pt x="24" y="338"/>
                  </a:lnTo>
                  <a:lnTo>
                    <a:pt x="28" y="362"/>
                  </a:lnTo>
                  <a:lnTo>
                    <a:pt x="36" y="386"/>
                  </a:lnTo>
                  <a:lnTo>
                    <a:pt x="46" y="408"/>
                  </a:lnTo>
                  <a:lnTo>
                    <a:pt x="58" y="430"/>
                  </a:lnTo>
                  <a:lnTo>
                    <a:pt x="72" y="450"/>
                  </a:lnTo>
                  <a:lnTo>
                    <a:pt x="88" y="470"/>
                  </a:lnTo>
                  <a:lnTo>
                    <a:pt x="90" y="472"/>
                  </a:lnTo>
                  <a:lnTo>
                    <a:pt x="90" y="766"/>
                  </a:lnTo>
                  <a:lnTo>
                    <a:pt x="72" y="766"/>
                  </a:lnTo>
                  <a:lnTo>
                    <a:pt x="72" y="480"/>
                  </a:lnTo>
                  <a:lnTo>
                    <a:pt x="72" y="480"/>
                  </a:lnTo>
                  <a:lnTo>
                    <a:pt x="56" y="460"/>
                  </a:lnTo>
                  <a:lnTo>
                    <a:pt x="42" y="438"/>
                  </a:lnTo>
                  <a:lnTo>
                    <a:pt x="30" y="414"/>
                  </a:lnTo>
                  <a:lnTo>
                    <a:pt x="20" y="390"/>
                  </a:lnTo>
                  <a:lnTo>
                    <a:pt x="12" y="366"/>
                  </a:lnTo>
                  <a:lnTo>
                    <a:pt x="6" y="342"/>
                  </a:lnTo>
                  <a:lnTo>
                    <a:pt x="2" y="316"/>
                  </a:lnTo>
                  <a:lnTo>
                    <a:pt x="0" y="288"/>
                  </a:lnTo>
                  <a:lnTo>
                    <a:pt x="0" y="288"/>
                  </a:lnTo>
                  <a:lnTo>
                    <a:pt x="2" y="260"/>
                  </a:lnTo>
                  <a:lnTo>
                    <a:pt x="6" y="230"/>
                  </a:lnTo>
                  <a:lnTo>
                    <a:pt x="14" y="202"/>
                  </a:lnTo>
                  <a:lnTo>
                    <a:pt x="24" y="176"/>
                  </a:lnTo>
                  <a:lnTo>
                    <a:pt x="36" y="150"/>
                  </a:lnTo>
                  <a:lnTo>
                    <a:pt x="50" y="128"/>
                  </a:lnTo>
                  <a:lnTo>
                    <a:pt x="66" y="104"/>
                  </a:lnTo>
                  <a:lnTo>
                    <a:pt x="86" y="84"/>
                  </a:lnTo>
                  <a:lnTo>
                    <a:pt x="106" y="66"/>
                  </a:lnTo>
                  <a:lnTo>
                    <a:pt x="128" y="48"/>
                  </a:lnTo>
                  <a:lnTo>
                    <a:pt x="152" y="34"/>
                  </a:lnTo>
                  <a:lnTo>
                    <a:pt x="178" y="22"/>
                  </a:lnTo>
                  <a:lnTo>
                    <a:pt x="204" y="12"/>
                  </a:lnTo>
                  <a:lnTo>
                    <a:pt x="232" y="6"/>
                  </a:lnTo>
                  <a:lnTo>
                    <a:pt x="260" y="0"/>
                  </a:lnTo>
                  <a:lnTo>
                    <a:pt x="290" y="0"/>
                  </a:lnTo>
                  <a:lnTo>
                    <a:pt x="290" y="0"/>
                  </a:lnTo>
                  <a:lnTo>
                    <a:pt x="318" y="0"/>
                  </a:lnTo>
                  <a:lnTo>
                    <a:pt x="346" y="4"/>
                  </a:lnTo>
                  <a:lnTo>
                    <a:pt x="374" y="12"/>
                  </a:lnTo>
                  <a:lnTo>
                    <a:pt x="400" y="22"/>
                  </a:lnTo>
                  <a:lnTo>
                    <a:pt x="424" y="32"/>
                  </a:lnTo>
                  <a:lnTo>
                    <a:pt x="448" y="46"/>
                  </a:lnTo>
                  <a:lnTo>
                    <a:pt x="470" y="62"/>
                  </a:lnTo>
                  <a:lnTo>
                    <a:pt x="490" y="80"/>
                  </a:lnTo>
                  <a:lnTo>
                    <a:pt x="508" y="100"/>
                  </a:lnTo>
                  <a:lnTo>
                    <a:pt x="526" y="122"/>
                  </a:lnTo>
                  <a:lnTo>
                    <a:pt x="540" y="144"/>
                  </a:lnTo>
                  <a:lnTo>
                    <a:pt x="554" y="168"/>
                  </a:lnTo>
                  <a:lnTo>
                    <a:pt x="564" y="194"/>
                  </a:lnTo>
                  <a:lnTo>
                    <a:pt x="572" y="220"/>
                  </a:lnTo>
                  <a:lnTo>
                    <a:pt x="576" y="248"/>
                  </a:lnTo>
                  <a:lnTo>
                    <a:pt x="580" y="276"/>
                  </a:lnTo>
                  <a:lnTo>
                    <a:pt x="580" y="276"/>
                  </a:lnTo>
                  <a:lnTo>
                    <a:pt x="580" y="334"/>
                  </a:lnTo>
                  <a:lnTo>
                    <a:pt x="644" y="430"/>
                  </a:lnTo>
                  <a:lnTo>
                    <a:pt x="644" y="430"/>
                  </a:lnTo>
                  <a:lnTo>
                    <a:pt x="648" y="438"/>
                  </a:lnTo>
                  <a:lnTo>
                    <a:pt x="648" y="444"/>
                  </a:lnTo>
                  <a:lnTo>
                    <a:pt x="648" y="452"/>
                  </a:lnTo>
                  <a:lnTo>
                    <a:pt x="646" y="458"/>
                  </a:lnTo>
                  <a:lnTo>
                    <a:pt x="646" y="458"/>
                  </a:lnTo>
                  <a:lnTo>
                    <a:pt x="640" y="464"/>
                  </a:lnTo>
                  <a:lnTo>
                    <a:pt x="636" y="468"/>
                  </a:lnTo>
                  <a:lnTo>
                    <a:pt x="628" y="470"/>
                  </a:lnTo>
                  <a:lnTo>
                    <a:pt x="622" y="472"/>
                  </a:lnTo>
                  <a:lnTo>
                    <a:pt x="580" y="472"/>
                  </a:lnTo>
                  <a:lnTo>
                    <a:pt x="580" y="584"/>
                  </a:lnTo>
                  <a:lnTo>
                    <a:pt x="580" y="584"/>
                  </a:lnTo>
                  <a:lnTo>
                    <a:pt x="578" y="592"/>
                  </a:lnTo>
                  <a:lnTo>
                    <a:pt x="576" y="600"/>
                  </a:lnTo>
                  <a:lnTo>
                    <a:pt x="572" y="606"/>
                  </a:lnTo>
                  <a:lnTo>
                    <a:pt x="568" y="614"/>
                  </a:lnTo>
                  <a:lnTo>
                    <a:pt x="560" y="618"/>
                  </a:lnTo>
                  <a:lnTo>
                    <a:pt x="554" y="622"/>
                  </a:lnTo>
                  <a:lnTo>
                    <a:pt x="546" y="624"/>
                  </a:lnTo>
                  <a:lnTo>
                    <a:pt x="538" y="626"/>
                  </a:lnTo>
                  <a:lnTo>
                    <a:pt x="382" y="626"/>
                  </a:lnTo>
                  <a:lnTo>
                    <a:pt x="382" y="7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49" name="Freeform 59">
              <a:extLst>
                <a:ext uri="{FF2B5EF4-FFF2-40B4-BE49-F238E27FC236}">
                  <a16:creationId xmlns:a16="http://schemas.microsoft.com/office/drawing/2014/main" id="{E8452527-CFB1-95E1-9C97-81E54C53AC92}"/>
                </a:ext>
              </a:extLst>
            </p:cNvPr>
            <p:cNvSpPr>
              <a:spLocks/>
            </p:cNvSpPr>
            <p:nvPr/>
          </p:nvSpPr>
          <p:spPr bwMode="auto">
            <a:xfrm>
              <a:off x="1963" y="3028"/>
              <a:ext cx="228" cy="226"/>
            </a:xfrm>
            <a:custGeom>
              <a:avLst/>
              <a:gdLst>
                <a:gd name="T0" fmla="*/ 18 w 228"/>
                <a:gd name="T1" fmla="*/ 226 h 226"/>
                <a:gd name="T2" fmla="*/ 0 w 228"/>
                <a:gd name="T3" fmla="*/ 226 h 226"/>
                <a:gd name="T4" fmla="*/ 0 w 228"/>
                <a:gd name="T5" fmla="*/ 218 h 226"/>
                <a:gd name="T6" fmla="*/ 0 w 228"/>
                <a:gd name="T7" fmla="*/ 218 h 226"/>
                <a:gd name="T8" fmla="*/ 0 w 228"/>
                <a:gd name="T9" fmla="*/ 196 h 226"/>
                <a:gd name="T10" fmla="*/ 4 w 228"/>
                <a:gd name="T11" fmla="*/ 174 h 226"/>
                <a:gd name="T12" fmla="*/ 10 w 228"/>
                <a:gd name="T13" fmla="*/ 152 h 226"/>
                <a:gd name="T14" fmla="*/ 16 w 228"/>
                <a:gd name="T15" fmla="*/ 132 h 226"/>
                <a:gd name="T16" fmla="*/ 26 w 228"/>
                <a:gd name="T17" fmla="*/ 114 h 226"/>
                <a:gd name="T18" fmla="*/ 38 w 228"/>
                <a:gd name="T19" fmla="*/ 96 h 226"/>
                <a:gd name="T20" fmla="*/ 50 w 228"/>
                <a:gd name="T21" fmla="*/ 78 h 226"/>
                <a:gd name="T22" fmla="*/ 64 w 228"/>
                <a:gd name="T23" fmla="*/ 64 h 226"/>
                <a:gd name="T24" fmla="*/ 80 w 228"/>
                <a:gd name="T25" fmla="*/ 50 h 226"/>
                <a:gd name="T26" fmla="*/ 96 w 228"/>
                <a:gd name="T27" fmla="*/ 36 h 226"/>
                <a:gd name="T28" fmla="*/ 114 w 228"/>
                <a:gd name="T29" fmla="*/ 26 h 226"/>
                <a:gd name="T30" fmla="*/ 134 w 228"/>
                <a:gd name="T31" fmla="*/ 16 h 226"/>
                <a:gd name="T32" fmla="*/ 154 w 228"/>
                <a:gd name="T33" fmla="*/ 8 h 226"/>
                <a:gd name="T34" fmla="*/ 174 w 228"/>
                <a:gd name="T35" fmla="*/ 4 h 226"/>
                <a:gd name="T36" fmla="*/ 196 w 228"/>
                <a:gd name="T37" fmla="*/ 0 h 226"/>
                <a:gd name="T38" fmla="*/ 218 w 228"/>
                <a:gd name="T39" fmla="*/ 0 h 226"/>
                <a:gd name="T40" fmla="*/ 228 w 228"/>
                <a:gd name="T41" fmla="*/ 0 h 226"/>
                <a:gd name="T42" fmla="*/ 228 w 228"/>
                <a:gd name="T43" fmla="*/ 18 h 226"/>
                <a:gd name="T44" fmla="*/ 218 w 228"/>
                <a:gd name="T45" fmla="*/ 18 h 226"/>
                <a:gd name="T46" fmla="*/ 218 w 228"/>
                <a:gd name="T47" fmla="*/ 18 h 226"/>
                <a:gd name="T48" fmla="*/ 198 w 228"/>
                <a:gd name="T49" fmla="*/ 18 h 226"/>
                <a:gd name="T50" fmla="*/ 178 w 228"/>
                <a:gd name="T51" fmla="*/ 22 h 226"/>
                <a:gd name="T52" fmla="*/ 158 w 228"/>
                <a:gd name="T53" fmla="*/ 26 h 226"/>
                <a:gd name="T54" fmla="*/ 140 w 228"/>
                <a:gd name="T55" fmla="*/ 32 h 226"/>
                <a:gd name="T56" fmla="*/ 122 w 228"/>
                <a:gd name="T57" fmla="*/ 42 h 226"/>
                <a:gd name="T58" fmla="*/ 106 w 228"/>
                <a:gd name="T59" fmla="*/ 52 h 226"/>
                <a:gd name="T60" fmla="*/ 90 w 228"/>
                <a:gd name="T61" fmla="*/ 62 h 226"/>
                <a:gd name="T62" fmla="*/ 76 w 228"/>
                <a:gd name="T63" fmla="*/ 76 h 226"/>
                <a:gd name="T64" fmla="*/ 64 w 228"/>
                <a:gd name="T65" fmla="*/ 90 h 226"/>
                <a:gd name="T66" fmla="*/ 52 w 228"/>
                <a:gd name="T67" fmla="*/ 106 h 226"/>
                <a:gd name="T68" fmla="*/ 42 w 228"/>
                <a:gd name="T69" fmla="*/ 122 h 226"/>
                <a:gd name="T70" fmla="*/ 34 w 228"/>
                <a:gd name="T71" fmla="*/ 140 h 226"/>
                <a:gd name="T72" fmla="*/ 26 w 228"/>
                <a:gd name="T73" fmla="*/ 158 h 226"/>
                <a:gd name="T74" fmla="*/ 22 w 228"/>
                <a:gd name="T75" fmla="*/ 178 h 226"/>
                <a:gd name="T76" fmla="*/ 18 w 228"/>
                <a:gd name="T77" fmla="*/ 198 h 226"/>
                <a:gd name="T78" fmla="*/ 18 w 228"/>
                <a:gd name="T79" fmla="*/ 218 h 226"/>
                <a:gd name="T80" fmla="*/ 18 w 228"/>
                <a:gd name="T8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226">
                  <a:moveTo>
                    <a:pt x="18" y="226"/>
                  </a:moveTo>
                  <a:lnTo>
                    <a:pt x="0" y="226"/>
                  </a:lnTo>
                  <a:lnTo>
                    <a:pt x="0" y="218"/>
                  </a:lnTo>
                  <a:lnTo>
                    <a:pt x="0" y="218"/>
                  </a:lnTo>
                  <a:lnTo>
                    <a:pt x="0" y="196"/>
                  </a:lnTo>
                  <a:lnTo>
                    <a:pt x="4" y="174"/>
                  </a:lnTo>
                  <a:lnTo>
                    <a:pt x="10" y="152"/>
                  </a:lnTo>
                  <a:lnTo>
                    <a:pt x="16" y="132"/>
                  </a:lnTo>
                  <a:lnTo>
                    <a:pt x="26" y="114"/>
                  </a:lnTo>
                  <a:lnTo>
                    <a:pt x="38" y="96"/>
                  </a:lnTo>
                  <a:lnTo>
                    <a:pt x="50" y="78"/>
                  </a:lnTo>
                  <a:lnTo>
                    <a:pt x="64" y="64"/>
                  </a:lnTo>
                  <a:lnTo>
                    <a:pt x="80" y="50"/>
                  </a:lnTo>
                  <a:lnTo>
                    <a:pt x="96" y="36"/>
                  </a:lnTo>
                  <a:lnTo>
                    <a:pt x="114" y="26"/>
                  </a:lnTo>
                  <a:lnTo>
                    <a:pt x="134" y="16"/>
                  </a:lnTo>
                  <a:lnTo>
                    <a:pt x="154" y="8"/>
                  </a:lnTo>
                  <a:lnTo>
                    <a:pt x="174" y="4"/>
                  </a:lnTo>
                  <a:lnTo>
                    <a:pt x="196" y="0"/>
                  </a:lnTo>
                  <a:lnTo>
                    <a:pt x="218" y="0"/>
                  </a:lnTo>
                  <a:lnTo>
                    <a:pt x="228" y="0"/>
                  </a:lnTo>
                  <a:lnTo>
                    <a:pt x="228" y="18"/>
                  </a:lnTo>
                  <a:lnTo>
                    <a:pt x="218" y="18"/>
                  </a:lnTo>
                  <a:lnTo>
                    <a:pt x="218" y="18"/>
                  </a:lnTo>
                  <a:lnTo>
                    <a:pt x="198" y="18"/>
                  </a:lnTo>
                  <a:lnTo>
                    <a:pt x="178" y="22"/>
                  </a:lnTo>
                  <a:lnTo>
                    <a:pt x="158" y="26"/>
                  </a:lnTo>
                  <a:lnTo>
                    <a:pt x="140" y="32"/>
                  </a:lnTo>
                  <a:lnTo>
                    <a:pt x="122" y="42"/>
                  </a:lnTo>
                  <a:lnTo>
                    <a:pt x="106" y="52"/>
                  </a:lnTo>
                  <a:lnTo>
                    <a:pt x="90" y="62"/>
                  </a:lnTo>
                  <a:lnTo>
                    <a:pt x="76" y="76"/>
                  </a:lnTo>
                  <a:lnTo>
                    <a:pt x="64" y="90"/>
                  </a:lnTo>
                  <a:lnTo>
                    <a:pt x="52" y="106"/>
                  </a:lnTo>
                  <a:lnTo>
                    <a:pt x="42" y="122"/>
                  </a:lnTo>
                  <a:lnTo>
                    <a:pt x="34" y="140"/>
                  </a:lnTo>
                  <a:lnTo>
                    <a:pt x="26" y="158"/>
                  </a:lnTo>
                  <a:lnTo>
                    <a:pt x="22" y="178"/>
                  </a:lnTo>
                  <a:lnTo>
                    <a:pt x="18" y="198"/>
                  </a:lnTo>
                  <a:lnTo>
                    <a:pt x="18" y="218"/>
                  </a:lnTo>
                  <a:lnTo>
                    <a:pt x="18"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0" name="Line 60">
              <a:extLst>
                <a:ext uri="{FF2B5EF4-FFF2-40B4-BE49-F238E27FC236}">
                  <a16:creationId xmlns:a16="http://schemas.microsoft.com/office/drawing/2014/main" id="{2E2BFAE4-AB62-274D-802E-D746AB017D79}"/>
                </a:ext>
              </a:extLst>
            </p:cNvPr>
            <p:cNvSpPr>
              <a:spLocks noChangeShapeType="1"/>
            </p:cNvSpPr>
            <p:nvPr/>
          </p:nvSpPr>
          <p:spPr bwMode="auto">
            <a:xfrm>
              <a:off x="2391" y="324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1" name="Line 61">
              <a:extLst>
                <a:ext uri="{FF2B5EF4-FFF2-40B4-BE49-F238E27FC236}">
                  <a16:creationId xmlns:a16="http://schemas.microsoft.com/office/drawing/2014/main" id="{8F84EA9B-C617-DB78-26F0-0F7FD05C0E60}"/>
                </a:ext>
              </a:extLst>
            </p:cNvPr>
            <p:cNvSpPr>
              <a:spLocks noChangeShapeType="1"/>
            </p:cNvSpPr>
            <p:nvPr/>
          </p:nvSpPr>
          <p:spPr bwMode="auto">
            <a:xfrm>
              <a:off x="2391" y="3246"/>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152" name="Freeform 62">
              <a:extLst>
                <a:ext uri="{FF2B5EF4-FFF2-40B4-BE49-F238E27FC236}">
                  <a16:creationId xmlns:a16="http://schemas.microsoft.com/office/drawing/2014/main" id="{7190C847-89FE-AFD1-EA40-BEAED5B4E0D6}"/>
                </a:ext>
              </a:extLst>
            </p:cNvPr>
            <p:cNvSpPr>
              <a:spLocks/>
            </p:cNvSpPr>
            <p:nvPr/>
          </p:nvSpPr>
          <p:spPr bwMode="auto">
            <a:xfrm>
              <a:off x="2045" y="3110"/>
              <a:ext cx="212" cy="144"/>
            </a:xfrm>
            <a:custGeom>
              <a:avLst/>
              <a:gdLst>
                <a:gd name="T0" fmla="*/ 18 w 212"/>
                <a:gd name="T1" fmla="*/ 144 h 144"/>
                <a:gd name="T2" fmla="*/ 0 w 212"/>
                <a:gd name="T3" fmla="*/ 144 h 144"/>
                <a:gd name="T4" fmla="*/ 0 w 212"/>
                <a:gd name="T5" fmla="*/ 136 h 144"/>
                <a:gd name="T6" fmla="*/ 0 w 212"/>
                <a:gd name="T7" fmla="*/ 136 h 144"/>
                <a:gd name="T8" fmla="*/ 0 w 212"/>
                <a:gd name="T9" fmla="*/ 122 h 144"/>
                <a:gd name="T10" fmla="*/ 2 w 212"/>
                <a:gd name="T11" fmla="*/ 108 h 144"/>
                <a:gd name="T12" fmla="*/ 6 w 212"/>
                <a:gd name="T13" fmla="*/ 96 h 144"/>
                <a:gd name="T14" fmla="*/ 10 w 212"/>
                <a:gd name="T15" fmla="*/ 82 h 144"/>
                <a:gd name="T16" fmla="*/ 16 w 212"/>
                <a:gd name="T17" fmla="*/ 70 h 144"/>
                <a:gd name="T18" fmla="*/ 24 w 212"/>
                <a:gd name="T19" fmla="*/ 60 h 144"/>
                <a:gd name="T20" fmla="*/ 32 w 212"/>
                <a:gd name="T21" fmla="*/ 50 h 144"/>
                <a:gd name="T22" fmla="*/ 40 w 212"/>
                <a:gd name="T23" fmla="*/ 40 h 144"/>
                <a:gd name="T24" fmla="*/ 50 w 212"/>
                <a:gd name="T25" fmla="*/ 30 h 144"/>
                <a:gd name="T26" fmla="*/ 60 w 212"/>
                <a:gd name="T27" fmla="*/ 22 h 144"/>
                <a:gd name="T28" fmla="*/ 72 w 212"/>
                <a:gd name="T29" fmla="*/ 16 h 144"/>
                <a:gd name="T30" fmla="*/ 84 w 212"/>
                <a:gd name="T31" fmla="*/ 10 h 144"/>
                <a:gd name="T32" fmla="*/ 96 w 212"/>
                <a:gd name="T33" fmla="*/ 6 h 144"/>
                <a:gd name="T34" fmla="*/ 108 w 212"/>
                <a:gd name="T35" fmla="*/ 2 h 144"/>
                <a:gd name="T36" fmla="*/ 122 w 212"/>
                <a:gd name="T37" fmla="*/ 0 h 144"/>
                <a:gd name="T38" fmla="*/ 136 w 212"/>
                <a:gd name="T39" fmla="*/ 0 h 144"/>
                <a:gd name="T40" fmla="*/ 136 w 212"/>
                <a:gd name="T41" fmla="*/ 0 h 144"/>
                <a:gd name="T42" fmla="*/ 154 w 212"/>
                <a:gd name="T43" fmla="*/ 0 h 144"/>
                <a:gd name="T44" fmla="*/ 172 w 212"/>
                <a:gd name="T45" fmla="*/ 4 h 144"/>
                <a:gd name="T46" fmla="*/ 188 w 212"/>
                <a:gd name="T47" fmla="*/ 10 h 144"/>
                <a:gd name="T48" fmla="*/ 204 w 212"/>
                <a:gd name="T49" fmla="*/ 18 h 144"/>
                <a:gd name="T50" fmla="*/ 212 w 212"/>
                <a:gd name="T51" fmla="*/ 22 h 144"/>
                <a:gd name="T52" fmla="*/ 204 w 212"/>
                <a:gd name="T53" fmla="*/ 38 h 144"/>
                <a:gd name="T54" fmla="*/ 196 w 212"/>
                <a:gd name="T55" fmla="*/ 34 h 144"/>
                <a:gd name="T56" fmla="*/ 196 w 212"/>
                <a:gd name="T57" fmla="*/ 34 h 144"/>
                <a:gd name="T58" fmla="*/ 182 w 212"/>
                <a:gd name="T59" fmla="*/ 26 h 144"/>
                <a:gd name="T60" fmla="*/ 168 w 212"/>
                <a:gd name="T61" fmla="*/ 22 h 144"/>
                <a:gd name="T62" fmla="*/ 152 w 212"/>
                <a:gd name="T63" fmla="*/ 18 h 144"/>
                <a:gd name="T64" fmla="*/ 136 w 212"/>
                <a:gd name="T65" fmla="*/ 18 h 144"/>
                <a:gd name="T66" fmla="*/ 136 w 212"/>
                <a:gd name="T67" fmla="*/ 18 h 144"/>
                <a:gd name="T68" fmla="*/ 124 w 212"/>
                <a:gd name="T69" fmla="*/ 18 h 144"/>
                <a:gd name="T70" fmla="*/ 112 w 212"/>
                <a:gd name="T71" fmla="*/ 20 h 144"/>
                <a:gd name="T72" fmla="*/ 90 w 212"/>
                <a:gd name="T73" fmla="*/ 26 h 144"/>
                <a:gd name="T74" fmla="*/ 70 w 212"/>
                <a:gd name="T75" fmla="*/ 38 h 144"/>
                <a:gd name="T76" fmla="*/ 52 w 212"/>
                <a:gd name="T77" fmla="*/ 52 h 144"/>
                <a:gd name="T78" fmla="*/ 38 w 212"/>
                <a:gd name="T79" fmla="*/ 70 h 144"/>
                <a:gd name="T80" fmla="*/ 28 w 212"/>
                <a:gd name="T81" fmla="*/ 90 h 144"/>
                <a:gd name="T82" fmla="*/ 20 w 212"/>
                <a:gd name="T83" fmla="*/ 112 h 144"/>
                <a:gd name="T84" fmla="*/ 18 w 212"/>
                <a:gd name="T85" fmla="*/ 124 h 144"/>
                <a:gd name="T86" fmla="*/ 18 w 212"/>
                <a:gd name="T87" fmla="*/ 136 h 144"/>
                <a:gd name="T88" fmla="*/ 18 w 212"/>
                <a:gd name="T8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2" h="144">
                  <a:moveTo>
                    <a:pt x="18" y="144"/>
                  </a:moveTo>
                  <a:lnTo>
                    <a:pt x="0" y="144"/>
                  </a:lnTo>
                  <a:lnTo>
                    <a:pt x="0" y="136"/>
                  </a:lnTo>
                  <a:lnTo>
                    <a:pt x="0" y="136"/>
                  </a:lnTo>
                  <a:lnTo>
                    <a:pt x="0" y="122"/>
                  </a:lnTo>
                  <a:lnTo>
                    <a:pt x="2" y="108"/>
                  </a:lnTo>
                  <a:lnTo>
                    <a:pt x="6" y="96"/>
                  </a:lnTo>
                  <a:lnTo>
                    <a:pt x="10" y="82"/>
                  </a:lnTo>
                  <a:lnTo>
                    <a:pt x="16" y="70"/>
                  </a:lnTo>
                  <a:lnTo>
                    <a:pt x="24" y="60"/>
                  </a:lnTo>
                  <a:lnTo>
                    <a:pt x="32" y="50"/>
                  </a:lnTo>
                  <a:lnTo>
                    <a:pt x="40" y="40"/>
                  </a:lnTo>
                  <a:lnTo>
                    <a:pt x="50" y="30"/>
                  </a:lnTo>
                  <a:lnTo>
                    <a:pt x="60" y="22"/>
                  </a:lnTo>
                  <a:lnTo>
                    <a:pt x="72" y="16"/>
                  </a:lnTo>
                  <a:lnTo>
                    <a:pt x="84" y="10"/>
                  </a:lnTo>
                  <a:lnTo>
                    <a:pt x="96" y="6"/>
                  </a:lnTo>
                  <a:lnTo>
                    <a:pt x="108" y="2"/>
                  </a:lnTo>
                  <a:lnTo>
                    <a:pt x="122" y="0"/>
                  </a:lnTo>
                  <a:lnTo>
                    <a:pt x="136" y="0"/>
                  </a:lnTo>
                  <a:lnTo>
                    <a:pt x="136" y="0"/>
                  </a:lnTo>
                  <a:lnTo>
                    <a:pt x="154" y="0"/>
                  </a:lnTo>
                  <a:lnTo>
                    <a:pt x="172" y="4"/>
                  </a:lnTo>
                  <a:lnTo>
                    <a:pt x="188" y="10"/>
                  </a:lnTo>
                  <a:lnTo>
                    <a:pt x="204" y="18"/>
                  </a:lnTo>
                  <a:lnTo>
                    <a:pt x="212" y="22"/>
                  </a:lnTo>
                  <a:lnTo>
                    <a:pt x="204" y="38"/>
                  </a:lnTo>
                  <a:lnTo>
                    <a:pt x="196" y="34"/>
                  </a:lnTo>
                  <a:lnTo>
                    <a:pt x="196" y="34"/>
                  </a:lnTo>
                  <a:lnTo>
                    <a:pt x="182" y="26"/>
                  </a:lnTo>
                  <a:lnTo>
                    <a:pt x="168" y="22"/>
                  </a:lnTo>
                  <a:lnTo>
                    <a:pt x="152" y="18"/>
                  </a:lnTo>
                  <a:lnTo>
                    <a:pt x="136" y="18"/>
                  </a:lnTo>
                  <a:lnTo>
                    <a:pt x="136" y="18"/>
                  </a:lnTo>
                  <a:lnTo>
                    <a:pt x="124" y="18"/>
                  </a:lnTo>
                  <a:lnTo>
                    <a:pt x="112" y="20"/>
                  </a:lnTo>
                  <a:lnTo>
                    <a:pt x="90" y="26"/>
                  </a:lnTo>
                  <a:lnTo>
                    <a:pt x="70" y="38"/>
                  </a:lnTo>
                  <a:lnTo>
                    <a:pt x="52" y="52"/>
                  </a:lnTo>
                  <a:lnTo>
                    <a:pt x="38" y="70"/>
                  </a:lnTo>
                  <a:lnTo>
                    <a:pt x="28" y="90"/>
                  </a:lnTo>
                  <a:lnTo>
                    <a:pt x="20" y="112"/>
                  </a:lnTo>
                  <a:lnTo>
                    <a:pt x="18" y="124"/>
                  </a:lnTo>
                  <a:lnTo>
                    <a:pt x="18" y="136"/>
                  </a:lnTo>
                  <a:lnTo>
                    <a:pt x="18"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3" name="Freeform 63">
              <a:extLst>
                <a:ext uri="{FF2B5EF4-FFF2-40B4-BE49-F238E27FC236}">
                  <a16:creationId xmlns:a16="http://schemas.microsoft.com/office/drawing/2014/main" id="{C4D4383B-50EE-0729-B145-CCB80565CAEF}"/>
                </a:ext>
              </a:extLst>
            </p:cNvPr>
            <p:cNvSpPr>
              <a:spLocks noEditPoints="1"/>
            </p:cNvSpPr>
            <p:nvPr/>
          </p:nvSpPr>
          <p:spPr bwMode="auto">
            <a:xfrm>
              <a:off x="2265" y="3044"/>
              <a:ext cx="136" cy="188"/>
            </a:xfrm>
            <a:custGeom>
              <a:avLst/>
              <a:gdLst>
                <a:gd name="T0" fmla="*/ 118 w 136"/>
                <a:gd name="T1" fmla="*/ 180 h 188"/>
                <a:gd name="T2" fmla="*/ 122 w 136"/>
                <a:gd name="T3" fmla="*/ 172 h 188"/>
                <a:gd name="T4" fmla="*/ 126 w 136"/>
                <a:gd name="T5" fmla="*/ 170 h 188"/>
                <a:gd name="T6" fmla="*/ 134 w 136"/>
                <a:gd name="T7" fmla="*/ 176 h 188"/>
                <a:gd name="T8" fmla="*/ 136 w 136"/>
                <a:gd name="T9" fmla="*/ 178 h 188"/>
                <a:gd name="T10" fmla="*/ 132 w 136"/>
                <a:gd name="T11" fmla="*/ 188 h 188"/>
                <a:gd name="T12" fmla="*/ 128 w 136"/>
                <a:gd name="T13" fmla="*/ 188 h 188"/>
                <a:gd name="T14" fmla="*/ 128 w 136"/>
                <a:gd name="T15" fmla="*/ 188 h 188"/>
                <a:gd name="T16" fmla="*/ 118 w 136"/>
                <a:gd name="T17" fmla="*/ 184 h 188"/>
                <a:gd name="T18" fmla="*/ 112 w 136"/>
                <a:gd name="T19" fmla="*/ 146 h 188"/>
                <a:gd name="T20" fmla="*/ 112 w 136"/>
                <a:gd name="T21" fmla="*/ 140 h 188"/>
                <a:gd name="T22" fmla="*/ 118 w 136"/>
                <a:gd name="T23" fmla="*/ 136 h 188"/>
                <a:gd name="T24" fmla="*/ 126 w 136"/>
                <a:gd name="T25" fmla="*/ 136 h 188"/>
                <a:gd name="T26" fmla="*/ 130 w 136"/>
                <a:gd name="T27" fmla="*/ 142 h 188"/>
                <a:gd name="T28" fmla="*/ 128 w 136"/>
                <a:gd name="T29" fmla="*/ 148 h 188"/>
                <a:gd name="T30" fmla="*/ 122 w 136"/>
                <a:gd name="T31" fmla="*/ 152 h 188"/>
                <a:gd name="T32" fmla="*/ 120 w 136"/>
                <a:gd name="T33" fmla="*/ 154 h 188"/>
                <a:gd name="T34" fmla="*/ 112 w 136"/>
                <a:gd name="T35" fmla="*/ 146 h 188"/>
                <a:gd name="T36" fmla="*/ 100 w 136"/>
                <a:gd name="T37" fmla="*/ 114 h 188"/>
                <a:gd name="T38" fmla="*/ 102 w 136"/>
                <a:gd name="T39" fmla="*/ 104 h 188"/>
                <a:gd name="T40" fmla="*/ 104 w 136"/>
                <a:gd name="T41" fmla="*/ 102 h 188"/>
                <a:gd name="T42" fmla="*/ 114 w 136"/>
                <a:gd name="T43" fmla="*/ 104 h 188"/>
                <a:gd name="T44" fmla="*/ 116 w 136"/>
                <a:gd name="T45" fmla="*/ 106 h 188"/>
                <a:gd name="T46" fmla="*/ 116 w 136"/>
                <a:gd name="T47" fmla="*/ 116 h 188"/>
                <a:gd name="T48" fmla="*/ 112 w 136"/>
                <a:gd name="T49" fmla="*/ 118 h 188"/>
                <a:gd name="T50" fmla="*/ 108 w 136"/>
                <a:gd name="T51" fmla="*/ 120 h 188"/>
                <a:gd name="T52" fmla="*/ 100 w 136"/>
                <a:gd name="T53" fmla="*/ 114 h 188"/>
                <a:gd name="T54" fmla="*/ 82 w 136"/>
                <a:gd name="T55" fmla="*/ 80 h 188"/>
                <a:gd name="T56" fmla="*/ 86 w 136"/>
                <a:gd name="T57" fmla="*/ 72 h 188"/>
                <a:gd name="T58" fmla="*/ 88 w 136"/>
                <a:gd name="T59" fmla="*/ 70 h 188"/>
                <a:gd name="T60" fmla="*/ 98 w 136"/>
                <a:gd name="T61" fmla="*/ 74 h 188"/>
                <a:gd name="T62" fmla="*/ 100 w 136"/>
                <a:gd name="T63" fmla="*/ 78 h 188"/>
                <a:gd name="T64" fmla="*/ 96 w 136"/>
                <a:gd name="T65" fmla="*/ 86 h 188"/>
                <a:gd name="T66" fmla="*/ 90 w 136"/>
                <a:gd name="T67" fmla="*/ 88 h 188"/>
                <a:gd name="T68" fmla="*/ 86 w 136"/>
                <a:gd name="T69" fmla="*/ 88 h 188"/>
                <a:gd name="T70" fmla="*/ 62 w 136"/>
                <a:gd name="T71" fmla="*/ 58 h 188"/>
                <a:gd name="T72" fmla="*/ 58 w 136"/>
                <a:gd name="T73" fmla="*/ 52 h 188"/>
                <a:gd name="T74" fmla="*/ 62 w 136"/>
                <a:gd name="T75" fmla="*/ 44 h 188"/>
                <a:gd name="T76" fmla="*/ 68 w 136"/>
                <a:gd name="T77" fmla="*/ 42 h 188"/>
                <a:gd name="T78" fmla="*/ 74 w 136"/>
                <a:gd name="T79" fmla="*/ 46 h 188"/>
                <a:gd name="T80" fmla="*/ 74 w 136"/>
                <a:gd name="T81" fmla="*/ 46 h 188"/>
                <a:gd name="T82" fmla="*/ 76 w 136"/>
                <a:gd name="T83" fmla="*/ 54 h 188"/>
                <a:gd name="T84" fmla="*/ 74 w 136"/>
                <a:gd name="T85" fmla="*/ 58 h 188"/>
                <a:gd name="T86" fmla="*/ 68 w 136"/>
                <a:gd name="T87" fmla="*/ 60 h 188"/>
                <a:gd name="T88" fmla="*/ 62 w 136"/>
                <a:gd name="T89" fmla="*/ 58 h 188"/>
                <a:gd name="T90" fmla="*/ 36 w 136"/>
                <a:gd name="T91" fmla="*/ 36 h 188"/>
                <a:gd name="T92" fmla="*/ 32 w 136"/>
                <a:gd name="T93" fmla="*/ 30 h 188"/>
                <a:gd name="T94" fmla="*/ 32 w 136"/>
                <a:gd name="T95" fmla="*/ 22 h 188"/>
                <a:gd name="T96" fmla="*/ 38 w 136"/>
                <a:gd name="T97" fmla="*/ 20 h 188"/>
                <a:gd name="T98" fmla="*/ 46 w 136"/>
                <a:gd name="T99" fmla="*/ 20 h 188"/>
                <a:gd name="T100" fmla="*/ 50 w 136"/>
                <a:gd name="T101" fmla="*/ 26 h 188"/>
                <a:gd name="T102" fmla="*/ 48 w 136"/>
                <a:gd name="T103" fmla="*/ 34 h 188"/>
                <a:gd name="T104" fmla="*/ 40 w 136"/>
                <a:gd name="T105" fmla="*/ 36 h 188"/>
                <a:gd name="T106" fmla="*/ 36 w 136"/>
                <a:gd name="T107" fmla="*/ 36 h 188"/>
                <a:gd name="T108" fmla="*/ 6 w 136"/>
                <a:gd name="T109" fmla="*/ 18 h 188"/>
                <a:gd name="T110" fmla="*/ 0 w 136"/>
                <a:gd name="T111" fmla="*/ 8 h 188"/>
                <a:gd name="T112" fmla="*/ 2 w 136"/>
                <a:gd name="T113" fmla="*/ 6 h 188"/>
                <a:gd name="T114" fmla="*/ 10 w 136"/>
                <a:gd name="T115" fmla="*/ 0 h 188"/>
                <a:gd name="T116" fmla="*/ 14 w 136"/>
                <a:gd name="T117" fmla="*/ 2 h 188"/>
                <a:gd name="T118" fmla="*/ 18 w 136"/>
                <a:gd name="T119" fmla="*/ 10 h 188"/>
                <a:gd name="T120" fmla="*/ 18 w 136"/>
                <a:gd name="T121" fmla="*/ 14 h 188"/>
                <a:gd name="T122" fmla="*/ 10 w 136"/>
                <a:gd name="T123" fmla="*/ 18 h 188"/>
                <a:gd name="T124" fmla="*/ 6 w 136"/>
                <a:gd name="T125" fmla="*/ 1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88">
                  <a:moveTo>
                    <a:pt x="118" y="180"/>
                  </a:moveTo>
                  <a:lnTo>
                    <a:pt x="118" y="180"/>
                  </a:lnTo>
                  <a:lnTo>
                    <a:pt x="118" y="180"/>
                  </a:lnTo>
                  <a:lnTo>
                    <a:pt x="118" y="176"/>
                  </a:lnTo>
                  <a:lnTo>
                    <a:pt x="120" y="174"/>
                  </a:lnTo>
                  <a:lnTo>
                    <a:pt x="122" y="172"/>
                  </a:lnTo>
                  <a:lnTo>
                    <a:pt x="126" y="170"/>
                  </a:lnTo>
                  <a:lnTo>
                    <a:pt x="126" y="170"/>
                  </a:lnTo>
                  <a:lnTo>
                    <a:pt x="126" y="170"/>
                  </a:lnTo>
                  <a:lnTo>
                    <a:pt x="130" y="170"/>
                  </a:lnTo>
                  <a:lnTo>
                    <a:pt x="132" y="172"/>
                  </a:lnTo>
                  <a:lnTo>
                    <a:pt x="134" y="176"/>
                  </a:lnTo>
                  <a:lnTo>
                    <a:pt x="136" y="178"/>
                  </a:lnTo>
                  <a:lnTo>
                    <a:pt x="136" y="178"/>
                  </a:lnTo>
                  <a:lnTo>
                    <a:pt x="136" y="178"/>
                  </a:lnTo>
                  <a:lnTo>
                    <a:pt x="136" y="182"/>
                  </a:lnTo>
                  <a:lnTo>
                    <a:pt x="134" y="186"/>
                  </a:lnTo>
                  <a:lnTo>
                    <a:pt x="132" y="188"/>
                  </a:lnTo>
                  <a:lnTo>
                    <a:pt x="128" y="188"/>
                  </a:lnTo>
                  <a:lnTo>
                    <a:pt x="128" y="188"/>
                  </a:lnTo>
                  <a:lnTo>
                    <a:pt x="128" y="188"/>
                  </a:lnTo>
                  <a:lnTo>
                    <a:pt x="128" y="188"/>
                  </a:lnTo>
                  <a:lnTo>
                    <a:pt x="128" y="188"/>
                  </a:lnTo>
                  <a:lnTo>
                    <a:pt x="128" y="188"/>
                  </a:lnTo>
                  <a:lnTo>
                    <a:pt x="124" y="188"/>
                  </a:lnTo>
                  <a:lnTo>
                    <a:pt x="120" y="186"/>
                  </a:lnTo>
                  <a:lnTo>
                    <a:pt x="118" y="184"/>
                  </a:lnTo>
                  <a:lnTo>
                    <a:pt x="118" y="180"/>
                  </a:lnTo>
                  <a:lnTo>
                    <a:pt x="118" y="180"/>
                  </a:lnTo>
                  <a:close/>
                  <a:moveTo>
                    <a:pt x="112" y="146"/>
                  </a:moveTo>
                  <a:lnTo>
                    <a:pt x="112" y="146"/>
                  </a:lnTo>
                  <a:lnTo>
                    <a:pt x="112" y="142"/>
                  </a:lnTo>
                  <a:lnTo>
                    <a:pt x="112" y="140"/>
                  </a:lnTo>
                  <a:lnTo>
                    <a:pt x="116" y="138"/>
                  </a:lnTo>
                  <a:lnTo>
                    <a:pt x="118" y="136"/>
                  </a:lnTo>
                  <a:lnTo>
                    <a:pt x="118" y="136"/>
                  </a:lnTo>
                  <a:lnTo>
                    <a:pt x="118" y="136"/>
                  </a:lnTo>
                  <a:lnTo>
                    <a:pt x="122" y="136"/>
                  </a:lnTo>
                  <a:lnTo>
                    <a:pt x="126" y="136"/>
                  </a:lnTo>
                  <a:lnTo>
                    <a:pt x="128" y="138"/>
                  </a:lnTo>
                  <a:lnTo>
                    <a:pt x="130" y="142"/>
                  </a:lnTo>
                  <a:lnTo>
                    <a:pt x="130" y="142"/>
                  </a:lnTo>
                  <a:lnTo>
                    <a:pt x="130" y="142"/>
                  </a:lnTo>
                  <a:lnTo>
                    <a:pt x="130" y="146"/>
                  </a:lnTo>
                  <a:lnTo>
                    <a:pt x="128" y="148"/>
                  </a:lnTo>
                  <a:lnTo>
                    <a:pt x="126" y="152"/>
                  </a:lnTo>
                  <a:lnTo>
                    <a:pt x="122" y="152"/>
                  </a:lnTo>
                  <a:lnTo>
                    <a:pt x="122" y="152"/>
                  </a:lnTo>
                  <a:lnTo>
                    <a:pt x="122" y="152"/>
                  </a:lnTo>
                  <a:lnTo>
                    <a:pt x="120" y="154"/>
                  </a:lnTo>
                  <a:lnTo>
                    <a:pt x="120" y="154"/>
                  </a:lnTo>
                  <a:lnTo>
                    <a:pt x="120" y="154"/>
                  </a:lnTo>
                  <a:lnTo>
                    <a:pt x="116" y="152"/>
                  </a:lnTo>
                  <a:lnTo>
                    <a:pt x="112" y="146"/>
                  </a:lnTo>
                  <a:lnTo>
                    <a:pt x="112" y="146"/>
                  </a:lnTo>
                  <a:close/>
                  <a:moveTo>
                    <a:pt x="100" y="114"/>
                  </a:moveTo>
                  <a:lnTo>
                    <a:pt x="100" y="114"/>
                  </a:lnTo>
                  <a:lnTo>
                    <a:pt x="100" y="110"/>
                  </a:lnTo>
                  <a:lnTo>
                    <a:pt x="100" y="108"/>
                  </a:lnTo>
                  <a:lnTo>
                    <a:pt x="102" y="104"/>
                  </a:lnTo>
                  <a:lnTo>
                    <a:pt x="104" y="102"/>
                  </a:lnTo>
                  <a:lnTo>
                    <a:pt x="104" y="102"/>
                  </a:lnTo>
                  <a:lnTo>
                    <a:pt x="104" y="102"/>
                  </a:lnTo>
                  <a:lnTo>
                    <a:pt x="108" y="102"/>
                  </a:lnTo>
                  <a:lnTo>
                    <a:pt x="112" y="102"/>
                  </a:lnTo>
                  <a:lnTo>
                    <a:pt x="114" y="104"/>
                  </a:lnTo>
                  <a:lnTo>
                    <a:pt x="116" y="106"/>
                  </a:lnTo>
                  <a:lnTo>
                    <a:pt x="116" y="106"/>
                  </a:lnTo>
                  <a:lnTo>
                    <a:pt x="116" y="106"/>
                  </a:lnTo>
                  <a:lnTo>
                    <a:pt x="118" y="110"/>
                  </a:lnTo>
                  <a:lnTo>
                    <a:pt x="116" y="114"/>
                  </a:lnTo>
                  <a:lnTo>
                    <a:pt x="116" y="116"/>
                  </a:lnTo>
                  <a:lnTo>
                    <a:pt x="112" y="118"/>
                  </a:lnTo>
                  <a:lnTo>
                    <a:pt x="112" y="118"/>
                  </a:lnTo>
                  <a:lnTo>
                    <a:pt x="112" y="118"/>
                  </a:lnTo>
                  <a:lnTo>
                    <a:pt x="108" y="120"/>
                  </a:lnTo>
                  <a:lnTo>
                    <a:pt x="108" y="120"/>
                  </a:lnTo>
                  <a:lnTo>
                    <a:pt x="108" y="120"/>
                  </a:lnTo>
                  <a:lnTo>
                    <a:pt x="104" y="118"/>
                  </a:lnTo>
                  <a:lnTo>
                    <a:pt x="100" y="114"/>
                  </a:lnTo>
                  <a:lnTo>
                    <a:pt x="100" y="114"/>
                  </a:lnTo>
                  <a:close/>
                  <a:moveTo>
                    <a:pt x="84" y="84"/>
                  </a:moveTo>
                  <a:lnTo>
                    <a:pt x="84" y="84"/>
                  </a:lnTo>
                  <a:lnTo>
                    <a:pt x="82" y="80"/>
                  </a:lnTo>
                  <a:lnTo>
                    <a:pt x="82" y="78"/>
                  </a:lnTo>
                  <a:lnTo>
                    <a:pt x="82" y="74"/>
                  </a:lnTo>
                  <a:lnTo>
                    <a:pt x="86" y="72"/>
                  </a:lnTo>
                  <a:lnTo>
                    <a:pt x="86" y="72"/>
                  </a:lnTo>
                  <a:lnTo>
                    <a:pt x="86" y="72"/>
                  </a:lnTo>
                  <a:lnTo>
                    <a:pt x="88" y="70"/>
                  </a:lnTo>
                  <a:lnTo>
                    <a:pt x="92" y="70"/>
                  </a:lnTo>
                  <a:lnTo>
                    <a:pt x="96" y="72"/>
                  </a:lnTo>
                  <a:lnTo>
                    <a:pt x="98" y="74"/>
                  </a:lnTo>
                  <a:lnTo>
                    <a:pt x="98" y="74"/>
                  </a:lnTo>
                  <a:lnTo>
                    <a:pt x="98" y="74"/>
                  </a:lnTo>
                  <a:lnTo>
                    <a:pt x="100" y="78"/>
                  </a:lnTo>
                  <a:lnTo>
                    <a:pt x="100" y="80"/>
                  </a:lnTo>
                  <a:lnTo>
                    <a:pt x="98" y="84"/>
                  </a:lnTo>
                  <a:lnTo>
                    <a:pt x="96" y="86"/>
                  </a:lnTo>
                  <a:lnTo>
                    <a:pt x="96" y="86"/>
                  </a:lnTo>
                  <a:lnTo>
                    <a:pt x="96" y="86"/>
                  </a:lnTo>
                  <a:lnTo>
                    <a:pt x="90" y="88"/>
                  </a:lnTo>
                  <a:lnTo>
                    <a:pt x="90" y="88"/>
                  </a:lnTo>
                  <a:lnTo>
                    <a:pt x="90" y="88"/>
                  </a:lnTo>
                  <a:lnTo>
                    <a:pt x="86" y="88"/>
                  </a:lnTo>
                  <a:lnTo>
                    <a:pt x="84" y="84"/>
                  </a:lnTo>
                  <a:lnTo>
                    <a:pt x="84" y="84"/>
                  </a:lnTo>
                  <a:close/>
                  <a:moveTo>
                    <a:pt x="62" y="58"/>
                  </a:moveTo>
                  <a:lnTo>
                    <a:pt x="62" y="58"/>
                  </a:lnTo>
                  <a:lnTo>
                    <a:pt x="60" y="54"/>
                  </a:lnTo>
                  <a:lnTo>
                    <a:pt x="58" y="52"/>
                  </a:lnTo>
                  <a:lnTo>
                    <a:pt x="60" y="48"/>
                  </a:lnTo>
                  <a:lnTo>
                    <a:pt x="62" y="44"/>
                  </a:lnTo>
                  <a:lnTo>
                    <a:pt x="62" y="44"/>
                  </a:lnTo>
                  <a:lnTo>
                    <a:pt x="62" y="44"/>
                  </a:lnTo>
                  <a:lnTo>
                    <a:pt x="64" y="44"/>
                  </a:lnTo>
                  <a:lnTo>
                    <a:pt x="68" y="42"/>
                  </a:lnTo>
                  <a:lnTo>
                    <a:pt x="72" y="44"/>
                  </a:lnTo>
                  <a:lnTo>
                    <a:pt x="74" y="46"/>
                  </a:lnTo>
                  <a:lnTo>
                    <a:pt x="74" y="46"/>
                  </a:lnTo>
                  <a:lnTo>
                    <a:pt x="74" y="46"/>
                  </a:lnTo>
                  <a:lnTo>
                    <a:pt x="74" y="46"/>
                  </a:lnTo>
                  <a:lnTo>
                    <a:pt x="74" y="46"/>
                  </a:lnTo>
                  <a:lnTo>
                    <a:pt x="76" y="48"/>
                  </a:lnTo>
                  <a:lnTo>
                    <a:pt x="76" y="52"/>
                  </a:lnTo>
                  <a:lnTo>
                    <a:pt x="76" y="54"/>
                  </a:lnTo>
                  <a:lnTo>
                    <a:pt x="74" y="58"/>
                  </a:lnTo>
                  <a:lnTo>
                    <a:pt x="74" y="58"/>
                  </a:lnTo>
                  <a:lnTo>
                    <a:pt x="74" y="58"/>
                  </a:lnTo>
                  <a:lnTo>
                    <a:pt x="70" y="60"/>
                  </a:lnTo>
                  <a:lnTo>
                    <a:pt x="68" y="60"/>
                  </a:lnTo>
                  <a:lnTo>
                    <a:pt x="68" y="60"/>
                  </a:lnTo>
                  <a:lnTo>
                    <a:pt x="68" y="60"/>
                  </a:lnTo>
                  <a:lnTo>
                    <a:pt x="64" y="60"/>
                  </a:lnTo>
                  <a:lnTo>
                    <a:pt x="62" y="58"/>
                  </a:lnTo>
                  <a:lnTo>
                    <a:pt x="62" y="58"/>
                  </a:lnTo>
                  <a:close/>
                  <a:moveTo>
                    <a:pt x="36" y="36"/>
                  </a:moveTo>
                  <a:lnTo>
                    <a:pt x="36" y="36"/>
                  </a:lnTo>
                  <a:lnTo>
                    <a:pt x="36" y="36"/>
                  </a:lnTo>
                  <a:lnTo>
                    <a:pt x="32" y="32"/>
                  </a:lnTo>
                  <a:lnTo>
                    <a:pt x="32" y="30"/>
                  </a:lnTo>
                  <a:lnTo>
                    <a:pt x="32" y="26"/>
                  </a:lnTo>
                  <a:lnTo>
                    <a:pt x="32" y="22"/>
                  </a:lnTo>
                  <a:lnTo>
                    <a:pt x="32" y="22"/>
                  </a:lnTo>
                  <a:lnTo>
                    <a:pt x="32" y="22"/>
                  </a:lnTo>
                  <a:lnTo>
                    <a:pt x="36" y="20"/>
                  </a:lnTo>
                  <a:lnTo>
                    <a:pt x="38" y="20"/>
                  </a:lnTo>
                  <a:lnTo>
                    <a:pt x="42" y="20"/>
                  </a:lnTo>
                  <a:lnTo>
                    <a:pt x="46" y="20"/>
                  </a:lnTo>
                  <a:lnTo>
                    <a:pt x="46" y="20"/>
                  </a:lnTo>
                  <a:lnTo>
                    <a:pt x="46" y="20"/>
                  </a:lnTo>
                  <a:lnTo>
                    <a:pt x="48" y="24"/>
                  </a:lnTo>
                  <a:lnTo>
                    <a:pt x="50" y="26"/>
                  </a:lnTo>
                  <a:lnTo>
                    <a:pt x="50" y="30"/>
                  </a:lnTo>
                  <a:lnTo>
                    <a:pt x="48" y="34"/>
                  </a:lnTo>
                  <a:lnTo>
                    <a:pt x="48" y="34"/>
                  </a:lnTo>
                  <a:lnTo>
                    <a:pt x="48" y="34"/>
                  </a:lnTo>
                  <a:lnTo>
                    <a:pt x="44" y="36"/>
                  </a:lnTo>
                  <a:lnTo>
                    <a:pt x="40" y="36"/>
                  </a:lnTo>
                  <a:lnTo>
                    <a:pt x="40" y="36"/>
                  </a:lnTo>
                  <a:lnTo>
                    <a:pt x="40" y="36"/>
                  </a:lnTo>
                  <a:lnTo>
                    <a:pt x="36" y="36"/>
                  </a:lnTo>
                  <a:lnTo>
                    <a:pt x="36" y="36"/>
                  </a:lnTo>
                  <a:close/>
                  <a:moveTo>
                    <a:pt x="6" y="18"/>
                  </a:moveTo>
                  <a:lnTo>
                    <a:pt x="6" y="18"/>
                  </a:lnTo>
                  <a:lnTo>
                    <a:pt x="2" y="16"/>
                  </a:lnTo>
                  <a:lnTo>
                    <a:pt x="2" y="12"/>
                  </a:lnTo>
                  <a:lnTo>
                    <a:pt x="0" y="8"/>
                  </a:lnTo>
                  <a:lnTo>
                    <a:pt x="2" y="6"/>
                  </a:lnTo>
                  <a:lnTo>
                    <a:pt x="2" y="6"/>
                  </a:lnTo>
                  <a:lnTo>
                    <a:pt x="2" y="6"/>
                  </a:lnTo>
                  <a:lnTo>
                    <a:pt x="4" y="2"/>
                  </a:lnTo>
                  <a:lnTo>
                    <a:pt x="6" y="0"/>
                  </a:lnTo>
                  <a:lnTo>
                    <a:pt x="10" y="0"/>
                  </a:lnTo>
                  <a:lnTo>
                    <a:pt x="14" y="2"/>
                  </a:lnTo>
                  <a:lnTo>
                    <a:pt x="14" y="2"/>
                  </a:lnTo>
                  <a:lnTo>
                    <a:pt x="14" y="2"/>
                  </a:lnTo>
                  <a:lnTo>
                    <a:pt x="16" y="4"/>
                  </a:lnTo>
                  <a:lnTo>
                    <a:pt x="18" y="6"/>
                  </a:lnTo>
                  <a:lnTo>
                    <a:pt x="18" y="10"/>
                  </a:lnTo>
                  <a:lnTo>
                    <a:pt x="18" y="14"/>
                  </a:lnTo>
                  <a:lnTo>
                    <a:pt x="18" y="14"/>
                  </a:lnTo>
                  <a:lnTo>
                    <a:pt x="18" y="14"/>
                  </a:lnTo>
                  <a:lnTo>
                    <a:pt x="14" y="18"/>
                  </a:lnTo>
                  <a:lnTo>
                    <a:pt x="10" y="18"/>
                  </a:lnTo>
                  <a:lnTo>
                    <a:pt x="10" y="18"/>
                  </a:lnTo>
                  <a:lnTo>
                    <a:pt x="10" y="18"/>
                  </a:lnTo>
                  <a:lnTo>
                    <a:pt x="6" y="18"/>
                  </a:lnTo>
                  <a:lnTo>
                    <a:pt x="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4" name="Freeform 64">
              <a:extLst>
                <a:ext uri="{FF2B5EF4-FFF2-40B4-BE49-F238E27FC236}">
                  <a16:creationId xmlns:a16="http://schemas.microsoft.com/office/drawing/2014/main" id="{D66BFDB0-F352-93F3-54DE-9E1C0CB02B67}"/>
                </a:ext>
              </a:extLst>
            </p:cNvPr>
            <p:cNvSpPr>
              <a:spLocks noEditPoints="1"/>
            </p:cNvSpPr>
            <p:nvPr/>
          </p:nvSpPr>
          <p:spPr bwMode="auto">
            <a:xfrm>
              <a:off x="2099" y="3184"/>
              <a:ext cx="212" cy="204"/>
            </a:xfrm>
            <a:custGeom>
              <a:avLst/>
              <a:gdLst>
                <a:gd name="T0" fmla="*/ 48 w 212"/>
                <a:gd name="T1" fmla="*/ 204 h 204"/>
                <a:gd name="T2" fmla="*/ 48 w 212"/>
                <a:gd name="T3" fmla="*/ 204 h 204"/>
                <a:gd name="T4" fmla="*/ 40 w 212"/>
                <a:gd name="T5" fmla="*/ 200 h 204"/>
                <a:gd name="T6" fmla="*/ 40 w 212"/>
                <a:gd name="T7" fmla="*/ 200 h 204"/>
                <a:gd name="T8" fmla="*/ 36 w 212"/>
                <a:gd name="T9" fmla="*/ 196 h 204"/>
                <a:gd name="T10" fmla="*/ 36 w 212"/>
                <a:gd name="T11" fmla="*/ 190 h 204"/>
                <a:gd name="T12" fmla="*/ 46 w 212"/>
                <a:gd name="T13" fmla="*/ 130 h 204"/>
                <a:gd name="T14" fmla="*/ 4 w 212"/>
                <a:gd name="T15" fmla="*/ 88 h 204"/>
                <a:gd name="T16" fmla="*/ 4 w 212"/>
                <a:gd name="T17" fmla="*/ 88 h 204"/>
                <a:gd name="T18" fmla="*/ 0 w 212"/>
                <a:gd name="T19" fmla="*/ 82 h 204"/>
                <a:gd name="T20" fmla="*/ 0 w 212"/>
                <a:gd name="T21" fmla="*/ 76 h 204"/>
                <a:gd name="T22" fmla="*/ 0 w 212"/>
                <a:gd name="T23" fmla="*/ 76 h 204"/>
                <a:gd name="T24" fmla="*/ 4 w 212"/>
                <a:gd name="T25" fmla="*/ 70 h 204"/>
                <a:gd name="T26" fmla="*/ 10 w 212"/>
                <a:gd name="T27" fmla="*/ 68 h 204"/>
                <a:gd name="T28" fmla="*/ 70 w 212"/>
                <a:gd name="T29" fmla="*/ 60 h 204"/>
                <a:gd name="T30" fmla="*/ 96 w 212"/>
                <a:gd name="T31" fmla="*/ 6 h 204"/>
                <a:gd name="T32" fmla="*/ 96 w 212"/>
                <a:gd name="T33" fmla="*/ 6 h 204"/>
                <a:gd name="T34" fmla="*/ 100 w 212"/>
                <a:gd name="T35" fmla="*/ 0 h 204"/>
                <a:gd name="T36" fmla="*/ 106 w 212"/>
                <a:gd name="T37" fmla="*/ 0 h 204"/>
                <a:gd name="T38" fmla="*/ 106 w 212"/>
                <a:gd name="T39" fmla="*/ 0 h 204"/>
                <a:gd name="T40" fmla="*/ 106 w 212"/>
                <a:gd name="T41" fmla="*/ 0 h 204"/>
                <a:gd name="T42" fmla="*/ 106 w 212"/>
                <a:gd name="T43" fmla="*/ 0 h 204"/>
                <a:gd name="T44" fmla="*/ 112 w 212"/>
                <a:gd name="T45" fmla="*/ 0 h 204"/>
                <a:gd name="T46" fmla="*/ 118 w 212"/>
                <a:gd name="T47" fmla="*/ 6 h 204"/>
                <a:gd name="T48" fmla="*/ 144 w 212"/>
                <a:gd name="T49" fmla="*/ 60 h 204"/>
                <a:gd name="T50" fmla="*/ 202 w 212"/>
                <a:gd name="T51" fmla="*/ 68 h 204"/>
                <a:gd name="T52" fmla="*/ 202 w 212"/>
                <a:gd name="T53" fmla="*/ 68 h 204"/>
                <a:gd name="T54" fmla="*/ 208 w 212"/>
                <a:gd name="T55" fmla="*/ 70 h 204"/>
                <a:gd name="T56" fmla="*/ 212 w 212"/>
                <a:gd name="T57" fmla="*/ 76 h 204"/>
                <a:gd name="T58" fmla="*/ 212 w 212"/>
                <a:gd name="T59" fmla="*/ 76 h 204"/>
                <a:gd name="T60" fmla="*/ 212 w 212"/>
                <a:gd name="T61" fmla="*/ 82 h 204"/>
                <a:gd name="T62" fmla="*/ 210 w 212"/>
                <a:gd name="T63" fmla="*/ 88 h 204"/>
                <a:gd name="T64" fmla="*/ 166 w 212"/>
                <a:gd name="T65" fmla="*/ 130 h 204"/>
                <a:gd name="T66" fmla="*/ 176 w 212"/>
                <a:gd name="T67" fmla="*/ 190 h 204"/>
                <a:gd name="T68" fmla="*/ 176 w 212"/>
                <a:gd name="T69" fmla="*/ 190 h 204"/>
                <a:gd name="T70" fmla="*/ 176 w 212"/>
                <a:gd name="T71" fmla="*/ 196 h 204"/>
                <a:gd name="T72" fmla="*/ 172 w 212"/>
                <a:gd name="T73" fmla="*/ 200 h 204"/>
                <a:gd name="T74" fmla="*/ 172 w 212"/>
                <a:gd name="T75" fmla="*/ 200 h 204"/>
                <a:gd name="T76" fmla="*/ 166 w 212"/>
                <a:gd name="T77" fmla="*/ 202 h 204"/>
                <a:gd name="T78" fmla="*/ 160 w 212"/>
                <a:gd name="T79" fmla="*/ 202 h 204"/>
                <a:gd name="T80" fmla="*/ 106 w 212"/>
                <a:gd name="T81" fmla="*/ 174 h 204"/>
                <a:gd name="T82" fmla="*/ 54 w 212"/>
                <a:gd name="T83" fmla="*/ 202 h 204"/>
                <a:gd name="T84" fmla="*/ 54 w 212"/>
                <a:gd name="T85" fmla="*/ 202 h 204"/>
                <a:gd name="T86" fmla="*/ 48 w 212"/>
                <a:gd name="T87" fmla="*/ 204 h 204"/>
                <a:gd name="T88" fmla="*/ 48 w 212"/>
                <a:gd name="T89" fmla="*/ 204 h 204"/>
                <a:gd name="T90" fmla="*/ 54 w 212"/>
                <a:gd name="T91" fmla="*/ 192 h 204"/>
                <a:gd name="T92" fmla="*/ 54 w 212"/>
                <a:gd name="T93" fmla="*/ 192 h 204"/>
                <a:gd name="T94" fmla="*/ 54 w 212"/>
                <a:gd name="T95" fmla="*/ 192 h 204"/>
                <a:gd name="T96" fmla="*/ 54 w 212"/>
                <a:gd name="T97" fmla="*/ 192 h 204"/>
                <a:gd name="T98" fmla="*/ 54 w 212"/>
                <a:gd name="T99" fmla="*/ 192 h 204"/>
                <a:gd name="T100" fmla="*/ 106 w 212"/>
                <a:gd name="T101" fmla="*/ 154 h 204"/>
                <a:gd name="T102" fmla="*/ 156 w 212"/>
                <a:gd name="T103" fmla="*/ 180 h 204"/>
                <a:gd name="T104" fmla="*/ 148 w 212"/>
                <a:gd name="T105" fmla="*/ 124 h 204"/>
                <a:gd name="T106" fmla="*/ 188 w 212"/>
                <a:gd name="T107" fmla="*/ 84 h 204"/>
                <a:gd name="T108" fmla="*/ 132 w 212"/>
                <a:gd name="T109" fmla="*/ 76 h 204"/>
                <a:gd name="T110" fmla="*/ 106 w 212"/>
                <a:gd name="T111" fmla="*/ 24 h 204"/>
                <a:gd name="T112" fmla="*/ 82 w 212"/>
                <a:gd name="T113" fmla="*/ 76 h 204"/>
                <a:gd name="T114" fmla="*/ 26 w 212"/>
                <a:gd name="T115" fmla="*/ 84 h 204"/>
                <a:gd name="T116" fmla="*/ 66 w 212"/>
                <a:gd name="T117" fmla="*/ 124 h 204"/>
                <a:gd name="T118" fmla="*/ 56 w 212"/>
                <a:gd name="T119" fmla="*/ 180 h 204"/>
                <a:gd name="T120" fmla="*/ 106 w 212"/>
                <a:gd name="T121" fmla="*/ 15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 h="204">
                  <a:moveTo>
                    <a:pt x="48" y="204"/>
                  </a:moveTo>
                  <a:lnTo>
                    <a:pt x="48" y="204"/>
                  </a:lnTo>
                  <a:lnTo>
                    <a:pt x="40" y="200"/>
                  </a:lnTo>
                  <a:lnTo>
                    <a:pt x="40" y="200"/>
                  </a:lnTo>
                  <a:lnTo>
                    <a:pt x="36" y="196"/>
                  </a:lnTo>
                  <a:lnTo>
                    <a:pt x="36" y="190"/>
                  </a:lnTo>
                  <a:lnTo>
                    <a:pt x="46" y="130"/>
                  </a:lnTo>
                  <a:lnTo>
                    <a:pt x="4" y="88"/>
                  </a:lnTo>
                  <a:lnTo>
                    <a:pt x="4" y="88"/>
                  </a:lnTo>
                  <a:lnTo>
                    <a:pt x="0" y="82"/>
                  </a:lnTo>
                  <a:lnTo>
                    <a:pt x="0" y="76"/>
                  </a:lnTo>
                  <a:lnTo>
                    <a:pt x="0" y="76"/>
                  </a:lnTo>
                  <a:lnTo>
                    <a:pt x="4" y="70"/>
                  </a:lnTo>
                  <a:lnTo>
                    <a:pt x="10" y="68"/>
                  </a:lnTo>
                  <a:lnTo>
                    <a:pt x="70" y="60"/>
                  </a:lnTo>
                  <a:lnTo>
                    <a:pt x="96" y="6"/>
                  </a:lnTo>
                  <a:lnTo>
                    <a:pt x="96" y="6"/>
                  </a:lnTo>
                  <a:lnTo>
                    <a:pt x="100" y="0"/>
                  </a:lnTo>
                  <a:lnTo>
                    <a:pt x="106" y="0"/>
                  </a:lnTo>
                  <a:lnTo>
                    <a:pt x="106" y="0"/>
                  </a:lnTo>
                  <a:lnTo>
                    <a:pt x="106" y="0"/>
                  </a:lnTo>
                  <a:lnTo>
                    <a:pt x="106" y="0"/>
                  </a:lnTo>
                  <a:lnTo>
                    <a:pt x="112" y="0"/>
                  </a:lnTo>
                  <a:lnTo>
                    <a:pt x="118" y="6"/>
                  </a:lnTo>
                  <a:lnTo>
                    <a:pt x="144" y="60"/>
                  </a:lnTo>
                  <a:lnTo>
                    <a:pt x="202" y="68"/>
                  </a:lnTo>
                  <a:lnTo>
                    <a:pt x="202" y="68"/>
                  </a:lnTo>
                  <a:lnTo>
                    <a:pt x="208" y="70"/>
                  </a:lnTo>
                  <a:lnTo>
                    <a:pt x="212" y="76"/>
                  </a:lnTo>
                  <a:lnTo>
                    <a:pt x="212" y="76"/>
                  </a:lnTo>
                  <a:lnTo>
                    <a:pt x="212" y="82"/>
                  </a:lnTo>
                  <a:lnTo>
                    <a:pt x="210" y="88"/>
                  </a:lnTo>
                  <a:lnTo>
                    <a:pt x="166" y="130"/>
                  </a:lnTo>
                  <a:lnTo>
                    <a:pt x="176" y="190"/>
                  </a:lnTo>
                  <a:lnTo>
                    <a:pt x="176" y="190"/>
                  </a:lnTo>
                  <a:lnTo>
                    <a:pt x="176" y="196"/>
                  </a:lnTo>
                  <a:lnTo>
                    <a:pt x="172" y="200"/>
                  </a:lnTo>
                  <a:lnTo>
                    <a:pt x="172" y="200"/>
                  </a:lnTo>
                  <a:lnTo>
                    <a:pt x="166" y="202"/>
                  </a:lnTo>
                  <a:lnTo>
                    <a:pt x="160" y="202"/>
                  </a:lnTo>
                  <a:lnTo>
                    <a:pt x="106" y="174"/>
                  </a:lnTo>
                  <a:lnTo>
                    <a:pt x="54" y="202"/>
                  </a:lnTo>
                  <a:lnTo>
                    <a:pt x="54" y="202"/>
                  </a:lnTo>
                  <a:lnTo>
                    <a:pt x="48" y="204"/>
                  </a:lnTo>
                  <a:lnTo>
                    <a:pt x="48" y="204"/>
                  </a:lnTo>
                  <a:close/>
                  <a:moveTo>
                    <a:pt x="54" y="192"/>
                  </a:moveTo>
                  <a:lnTo>
                    <a:pt x="54" y="192"/>
                  </a:lnTo>
                  <a:lnTo>
                    <a:pt x="54" y="192"/>
                  </a:lnTo>
                  <a:lnTo>
                    <a:pt x="54" y="192"/>
                  </a:lnTo>
                  <a:lnTo>
                    <a:pt x="54" y="192"/>
                  </a:lnTo>
                  <a:close/>
                  <a:moveTo>
                    <a:pt x="106" y="154"/>
                  </a:moveTo>
                  <a:lnTo>
                    <a:pt x="156" y="180"/>
                  </a:lnTo>
                  <a:lnTo>
                    <a:pt x="148" y="124"/>
                  </a:lnTo>
                  <a:lnTo>
                    <a:pt x="188" y="84"/>
                  </a:lnTo>
                  <a:lnTo>
                    <a:pt x="132" y="76"/>
                  </a:lnTo>
                  <a:lnTo>
                    <a:pt x="106" y="24"/>
                  </a:lnTo>
                  <a:lnTo>
                    <a:pt x="82" y="76"/>
                  </a:lnTo>
                  <a:lnTo>
                    <a:pt x="26" y="84"/>
                  </a:lnTo>
                  <a:lnTo>
                    <a:pt x="66" y="124"/>
                  </a:lnTo>
                  <a:lnTo>
                    <a:pt x="56" y="180"/>
                  </a:lnTo>
                  <a:lnTo>
                    <a:pt x="10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5" name="Freeform 65">
              <a:extLst>
                <a:ext uri="{FF2B5EF4-FFF2-40B4-BE49-F238E27FC236}">
                  <a16:creationId xmlns:a16="http://schemas.microsoft.com/office/drawing/2014/main" id="{36C72A3A-0880-2B59-6AD4-B1430C40C9BD}"/>
                </a:ext>
              </a:extLst>
            </p:cNvPr>
            <p:cNvSpPr>
              <a:spLocks/>
            </p:cNvSpPr>
            <p:nvPr/>
          </p:nvSpPr>
          <p:spPr bwMode="auto">
            <a:xfrm>
              <a:off x="1897" y="2976"/>
              <a:ext cx="648" cy="766"/>
            </a:xfrm>
            <a:custGeom>
              <a:avLst/>
              <a:gdLst>
                <a:gd name="T0" fmla="*/ 364 w 648"/>
                <a:gd name="T1" fmla="*/ 608 h 766"/>
                <a:gd name="T2" fmla="*/ 546 w 648"/>
                <a:gd name="T3" fmla="*/ 606 h 766"/>
                <a:gd name="T4" fmla="*/ 562 w 648"/>
                <a:gd name="T5" fmla="*/ 584 h 766"/>
                <a:gd name="T6" fmla="*/ 622 w 648"/>
                <a:gd name="T7" fmla="*/ 454 h 766"/>
                <a:gd name="T8" fmla="*/ 630 w 648"/>
                <a:gd name="T9" fmla="*/ 450 h 766"/>
                <a:gd name="T10" fmla="*/ 562 w 648"/>
                <a:gd name="T11" fmla="*/ 338 h 766"/>
                <a:gd name="T12" fmla="*/ 560 w 648"/>
                <a:gd name="T13" fmla="*/ 258 h 766"/>
                <a:gd name="T14" fmla="*/ 540 w 648"/>
                <a:gd name="T15" fmla="*/ 182 h 766"/>
                <a:gd name="T16" fmla="*/ 498 w 648"/>
                <a:gd name="T17" fmla="*/ 116 h 766"/>
                <a:gd name="T18" fmla="*/ 440 w 648"/>
                <a:gd name="T19" fmla="*/ 64 h 766"/>
                <a:gd name="T20" fmla="*/ 370 w 648"/>
                <a:gd name="T21" fmla="*/ 30 h 766"/>
                <a:gd name="T22" fmla="*/ 290 w 648"/>
                <a:gd name="T23" fmla="*/ 18 h 766"/>
                <a:gd name="T24" fmla="*/ 236 w 648"/>
                <a:gd name="T25" fmla="*/ 22 h 766"/>
                <a:gd name="T26" fmla="*/ 160 w 648"/>
                <a:gd name="T27" fmla="*/ 50 h 766"/>
                <a:gd name="T28" fmla="*/ 98 w 648"/>
                <a:gd name="T29" fmla="*/ 96 h 766"/>
                <a:gd name="T30" fmla="*/ 52 w 648"/>
                <a:gd name="T31" fmla="*/ 160 h 766"/>
                <a:gd name="T32" fmla="*/ 24 w 648"/>
                <a:gd name="T33" fmla="*/ 234 h 766"/>
                <a:gd name="T34" fmla="*/ 18 w 648"/>
                <a:gd name="T35" fmla="*/ 288 h 766"/>
                <a:gd name="T36" fmla="*/ 28 w 648"/>
                <a:gd name="T37" fmla="*/ 362 h 766"/>
                <a:gd name="T38" fmla="*/ 58 w 648"/>
                <a:gd name="T39" fmla="*/ 430 h 766"/>
                <a:gd name="T40" fmla="*/ 90 w 648"/>
                <a:gd name="T41" fmla="*/ 472 h 766"/>
                <a:gd name="T42" fmla="*/ 72 w 648"/>
                <a:gd name="T43" fmla="*/ 480 h 766"/>
                <a:gd name="T44" fmla="*/ 42 w 648"/>
                <a:gd name="T45" fmla="*/ 438 h 766"/>
                <a:gd name="T46" fmla="*/ 12 w 648"/>
                <a:gd name="T47" fmla="*/ 366 h 766"/>
                <a:gd name="T48" fmla="*/ 0 w 648"/>
                <a:gd name="T49" fmla="*/ 288 h 766"/>
                <a:gd name="T50" fmla="*/ 6 w 648"/>
                <a:gd name="T51" fmla="*/ 230 h 766"/>
                <a:gd name="T52" fmla="*/ 36 w 648"/>
                <a:gd name="T53" fmla="*/ 150 h 766"/>
                <a:gd name="T54" fmla="*/ 86 w 648"/>
                <a:gd name="T55" fmla="*/ 84 h 766"/>
                <a:gd name="T56" fmla="*/ 152 w 648"/>
                <a:gd name="T57" fmla="*/ 34 h 766"/>
                <a:gd name="T58" fmla="*/ 232 w 648"/>
                <a:gd name="T59" fmla="*/ 6 h 766"/>
                <a:gd name="T60" fmla="*/ 290 w 648"/>
                <a:gd name="T61" fmla="*/ 0 h 766"/>
                <a:gd name="T62" fmla="*/ 374 w 648"/>
                <a:gd name="T63" fmla="*/ 12 h 766"/>
                <a:gd name="T64" fmla="*/ 448 w 648"/>
                <a:gd name="T65" fmla="*/ 46 h 766"/>
                <a:gd name="T66" fmla="*/ 508 w 648"/>
                <a:gd name="T67" fmla="*/ 100 h 766"/>
                <a:gd name="T68" fmla="*/ 554 w 648"/>
                <a:gd name="T69" fmla="*/ 168 h 766"/>
                <a:gd name="T70" fmla="*/ 576 w 648"/>
                <a:gd name="T71" fmla="*/ 248 h 766"/>
                <a:gd name="T72" fmla="*/ 580 w 648"/>
                <a:gd name="T73" fmla="*/ 334 h 766"/>
                <a:gd name="T74" fmla="*/ 648 w 648"/>
                <a:gd name="T75" fmla="*/ 438 h 766"/>
                <a:gd name="T76" fmla="*/ 646 w 648"/>
                <a:gd name="T77" fmla="*/ 458 h 766"/>
                <a:gd name="T78" fmla="*/ 636 w 648"/>
                <a:gd name="T79" fmla="*/ 468 h 766"/>
                <a:gd name="T80" fmla="*/ 580 w 648"/>
                <a:gd name="T81" fmla="*/ 472 h 766"/>
                <a:gd name="T82" fmla="*/ 578 w 648"/>
                <a:gd name="T83" fmla="*/ 592 h 766"/>
                <a:gd name="T84" fmla="*/ 568 w 648"/>
                <a:gd name="T85" fmla="*/ 614 h 766"/>
                <a:gd name="T86" fmla="*/ 546 w 648"/>
                <a:gd name="T87" fmla="*/ 624 h 766"/>
                <a:gd name="T88" fmla="*/ 382 w 648"/>
                <a:gd name="T89"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8" h="766">
                  <a:moveTo>
                    <a:pt x="382" y="766"/>
                  </a:moveTo>
                  <a:lnTo>
                    <a:pt x="364" y="766"/>
                  </a:lnTo>
                  <a:lnTo>
                    <a:pt x="364" y="608"/>
                  </a:lnTo>
                  <a:lnTo>
                    <a:pt x="538" y="608"/>
                  </a:lnTo>
                  <a:lnTo>
                    <a:pt x="538" y="608"/>
                  </a:lnTo>
                  <a:lnTo>
                    <a:pt x="546" y="606"/>
                  </a:lnTo>
                  <a:lnTo>
                    <a:pt x="554" y="600"/>
                  </a:lnTo>
                  <a:lnTo>
                    <a:pt x="560" y="592"/>
                  </a:lnTo>
                  <a:lnTo>
                    <a:pt x="562" y="584"/>
                  </a:lnTo>
                  <a:lnTo>
                    <a:pt x="562" y="454"/>
                  </a:lnTo>
                  <a:lnTo>
                    <a:pt x="622" y="454"/>
                  </a:lnTo>
                  <a:lnTo>
                    <a:pt x="622" y="454"/>
                  </a:lnTo>
                  <a:lnTo>
                    <a:pt x="628" y="452"/>
                  </a:lnTo>
                  <a:lnTo>
                    <a:pt x="630" y="450"/>
                  </a:lnTo>
                  <a:lnTo>
                    <a:pt x="630" y="450"/>
                  </a:lnTo>
                  <a:lnTo>
                    <a:pt x="630" y="446"/>
                  </a:lnTo>
                  <a:lnTo>
                    <a:pt x="628" y="440"/>
                  </a:lnTo>
                  <a:lnTo>
                    <a:pt x="562" y="338"/>
                  </a:lnTo>
                  <a:lnTo>
                    <a:pt x="562" y="286"/>
                  </a:lnTo>
                  <a:lnTo>
                    <a:pt x="562" y="286"/>
                  </a:lnTo>
                  <a:lnTo>
                    <a:pt x="560" y="258"/>
                  </a:lnTo>
                  <a:lnTo>
                    <a:pt x="556" y="232"/>
                  </a:lnTo>
                  <a:lnTo>
                    <a:pt x="548" y="206"/>
                  </a:lnTo>
                  <a:lnTo>
                    <a:pt x="540" y="182"/>
                  </a:lnTo>
                  <a:lnTo>
                    <a:pt x="528" y="158"/>
                  </a:lnTo>
                  <a:lnTo>
                    <a:pt x="514" y="136"/>
                  </a:lnTo>
                  <a:lnTo>
                    <a:pt x="498" y="116"/>
                  </a:lnTo>
                  <a:lnTo>
                    <a:pt x="480" y="96"/>
                  </a:lnTo>
                  <a:lnTo>
                    <a:pt x="462" y="78"/>
                  </a:lnTo>
                  <a:lnTo>
                    <a:pt x="440" y="64"/>
                  </a:lnTo>
                  <a:lnTo>
                    <a:pt x="418" y="50"/>
                  </a:lnTo>
                  <a:lnTo>
                    <a:pt x="394" y="38"/>
                  </a:lnTo>
                  <a:lnTo>
                    <a:pt x="370" y="30"/>
                  </a:lnTo>
                  <a:lnTo>
                    <a:pt x="344" y="22"/>
                  </a:lnTo>
                  <a:lnTo>
                    <a:pt x="318" y="18"/>
                  </a:lnTo>
                  <a:lnTo>
                    <a:pt x="290" y="18"/>
                  </a:lnTo>
                  <a:lnTo>
                    <a:pt x="290" y="18"/>
                  </a:lnTo>
                  <a:lnTo>
                    <a:pt x="262" y="18"/>
                  </a:lnTo>
                  <a:lnTo>
                    <a:pt x="236" y="22"/>
                  </a:lnTo>
                  <a:lnTo>
                    <a:pt x="210" y="30"/>
                  </a:lnTo>
                  <a:lnTo>
                    <a:pt x="184" y="38"/>
                  </a:lnTo>
                  <a:lnTo>
                    <a:pt x="160" y="50"/>
                  </a:lnTo>
                  <a:lnTo>
                    <a:pt x="138" y="64"/>
                  </a:lnTo>
                  <a:lnTo>
                    <a:pt x="118" y="80"/>
                  </a:lnTo>
                  <a:lnTo>
                    <a:pt x="98" y="96"/>
                  </a:lnTo>
                  <a:lnTo>
                    <a:pt x="80" y="116"/>
                  </a:lnTo>
                  <a:lnTo>
                    <a:pt x="64" y="138"/>
                  </a:lnTo>
                  <a:lnTo>
                    <a:pt x="52" y="160"/>
                  </a:lnTo>
                  <a:lnTo>
                    <a:pt x="40" y="184"/>
                  </a:lnTo>
                  <a:lnTo>
                    <a:pt x="30" y="208"/>
                  </a:lnTo>
                  <a:lnTo>
                    <a:pt x="24" y="234"/>
                  </a:lnTo>
                  <a:lnTo>
                    <a:pt x="20" y="262"/>
                  </a:lnTo>
                  <a:lnTo>
                    <a:pt x="18" y="288"/>
                  </a:lnTo>
                  <a:lnTo>
                    <a:pt x="18" y="288"/>
                  </a:lnTo>
                  <a:lnTo>
                    <a:pt x="20" y="314"/>
                  </a:lnTo>
                  <a:lnTo>
                    <a:pt x="24" y="338"/>
                  </a:lnTo>
                  <a:lnTo>
                    <a:pt x="28" y="362"/>
                  </a:lnTo>
                  <a:lnTo>
                    <a:pt x="36" y="386"/>
                  </a:lnTo>
                  <a:lnTo>
                    <a:pt x="46" y="408"/>
                  </a:lnTo>
                  <a:lnTo>
                    <a:pt x="58" y="430"/>
                  </a:lnTo>
                  <a:lnTo>
                    <a:pt x="72" y="450"/>
                  </a:lnTo>
                  <a:lnTo>
                    <a:pt x="88" y="470"/>
                  </a:lnTo>
                  <a:lnTo>
                    <a:pt x="90" y="472"/>
                  </a:lnTo>
                  <a:lnTo>
                    <a:pt x="90" y="766"/>
                  </a:lnTo>
                  <a:lnTo>
                    <a:pt x="72" y="766"/>
                  </a:lnTo>
                  <a:lnTo>
                    <a:pt x="72" y="480"/>
                  </a:lnTo>
                  <a:lnTo>
                    <a:pt x="72" y="480"/>
                  </a:lnTo>
                  <a:lnTo>
                    <a:pt x="56" y="460"/>
                  </a:lnTo>
                  <a:lnTo>
                    <a:pt x="42" y="438"/>
                  </a:lnTo>
                  <a:lnTo>
                    <a:pt x="30" y="414"/>
                  </a:lnTo>
                  <a:lnTo>
                    <a:pt x="20" y="390"/>
                  </a:lnTo>
                  <a:lnTo>
                    <a:pt x="12" y="366"/>
                  </a:lnTo>
                  <a:lnTo>
                    <a:pt x="6" y="342"/>
                  </a:lnTo>
                  <a:lnTo>
                    <a:pt x="2" y="316"/>
                  </a:lnTo>
                  <a:lnTo>
                    <a:pt x="0" y="288"/>
                  </a:lnTo>
                  <a:lnTo>
                    <a:pt x="0" y="288"/>
                  </a:lnTo>
                  <a:lnTo>
                    <a:pt x="2" y="260"/>
                  </a:lnTo>
                  <a:lnTo>
                    <a:pt x="6" y="230"/>
                  </a:lnTo>
                  <a:lnTo>
                    <a:pt x="14" y="202"/>
                  </a:lnTo>
                  <a:lnTo>
                    <a:pt x="24" y="176"/>
                  </a:lnTo>
                  <a:lnTo>
                    <a:pt x="36" y="150"/>
                  </a:lnTo>
                  <a:lnTo>
                    <a:pt x="50" y="128"/>
                  </a:lnTo>
                  <a:lnTo>
                    <a:pt x="66" y="104"/>
                  </a:lnTo>
                  <a:lnTo>
                    <a:pt x="86" y="84"/>
                  </a:lnTo>
                  <a:lnTo>
                    <a:pt x="106" y="66"/>
                  </a:lnTo>
                  <a:lnTo>
                    <a:pt x="128" y="48"/>
                  </a:lnTo>
                  <a:lnTo>
                    <a:pt x="152" y="34"/>
                  </a:lnTo>
                  <a:lnTo>
                    <a:pt x="178" y="22"/>
                  </a:lnTo>
                  <a:lnTo>
                    <a:pt x="204" y="12"/>
                  </a:lnTo>
                  <a:lnTo>
                    <a:pt x="232" y="6"/>
                  </a:lnTo>
                  <a:lnTo>
                    <a:pt x="260" y="0"/>
                  </a:lnTo>
                  <a:lnTo>
                    <a:pt x="290" y="0"/>
                  </a:lnTo>
                  <a:lnTo>
                    <a:pt x="290" y="0"/>
                  </a:lnTo>
                  <a:lnTo>
                    <a:pt x="318" y="0"/>
                  </a:lnTo>
                  <a:lnTo>
                    <a:pt x="346" y="4"/>
                  </a:lnTo>
                  <a:lnTo>
                    <a:pt x="374" y="12"/>
                  </a:lnTo>
                  <a:lnTo>
                    <a:pt x="400" y="22"/>
                  </a:lnTo>
                  <a:lnTo>
                    <a:pt x="424" y="32"/>
                  </a:lnTo>
                  <a:lnTo>
                    <a:pt x="448" y="46"/>
                  </a:lnTo>
                  <a:lnTo>
                    <a:pt x="470" y="62"/>
                  </a:lnTo>
                  <a:lnTo>
                    <a:pt x="490" y="80"/>
                  </a:lnTo>
                  <a:lnTo>
                    <a:pt x="508" y="100"/>
                  </a:lnTo>
                  <a:lnTo>
                    <a:pt x="526" y="122"/>
                  </a:lnTo>
                  <a:lnTo>
                    <a:pt x="540" y="144"/>
                  </a:lnTo>
                  <a:lnTo>
                    <a:pt x="554" y="168"/>
                  </a:lnTo>
                  <a:lnTo>
                    <a:pt x="564" y="194"/>
                  </a:lnTo>
                  <a:lnTo>
                    <a:pt x="572" y="220"/>
                  </a:lnTo>
                  <a:lnTo>
                    <a:pt x="576" y="248"/>
                  </a:lnTo>
                  <a:lnTo>
                    <a:pt x="580" y="276"/>
                  </a:lnTo>
                  <a:lnTo>
                    <a:pt x="580" y="276"/>
                  </a:lnTo>
                  <a:lnTo>
                    <a:pt x="580" y="334"/>
                  </a:lnTo>
                  <a:lnTo>
                    <a:pt x="644" y="430"/>
                  </a:lnTo>
                  <a:lnTo>
                    <a:pt x="644" y="430"/>
                  </a:lnTo>
                  <a:lnTo>
                    <a:pt x="648" y="438"/>
                  </a:lnTo>
                  <a:lnTo>
                    <a:pt x="648" y="444"/>
                  </a:lnTo>
                  <a:lnTo>
                    <a:pt x="648" y="452"/>
                  </a:lnTo>
                  <a:lnTo>
                    <a:pt x="646" y="458"/>
                  </a:lnTo>
                  <a:lnTo>
                    <a:pt x="646" y="458"/>
                  </a:lnTo>
                  <a:lnTo>
                    <a:pt x="640" y="464"/>
                  </a:lnTo>
                  <a:lnTo>
                    <a:pt x="636" y="468"/>
                  </a:lnTo>
                  <a:lnTo>
                    <a:pt x="628" y="470"/>
                  </a:lnTo>
                  <a:lnTo>
                    <a:pt x="622" y="472"/>
                  </a:lnTo>
                  <a:lnTo>
                    <a:pt x="580" y="472"/>
                  </a:lnTo>
                  <a:lnTo>
                    <a:pt x="580" y="584"/>
                  </a:lnTo>
                  <a:lnTo>
                    <a:pt x="580" y="584"/>
                  </a:lnTo>
                  <a:lnTo>
                    <a:pt x="578" y="592"/>
                  </a:lnTo>
                  <a:lnTo>
                    <a:pt x="576" y="600"/>
                  </a:lnTo>
                  <a:lnTo>
                    <a:pt x="572" y="606"/>
                  </a:lnTo>
                  <a:lnTo>
                    <a:pt x="568" y="614"/>
                  </a:lnTo>
                  <a:lnTo>
                    <a:pt x="560" y="618"/>
                  </a:lnTo>
                  <a:lnTo>
                    <a:pt x="554" y="622"/>
                  </a:lnTo>
                  <a:lnTo>
                    <a:pt x="546" y="624"/>
                  </a:lnTo>
                  <a:lnTo>
                    <a:pt x="538" y="626"/>
                  </a:lnTo>
                  <a:lnTo>
                    <a:pt x="382" y="626"/>
                  </a:lnTo>
                  <a:lnTo>
                    <a:pt x="382" y="7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6" name="Freeform 66">
              <a:extLst>
                <a:ext uri="{FF2B5EF4-FFF2-40B4-BE49-F238E27FC236}">
                  <a16:creationId xmlns:a16="http://schemas.microsoft.com/office/drawing/2014/main" id="{407E33F6-69BE-CC02-7B71-4D506B0C8D0E}"/>
                </a:ext>
              </a:extLst>
            </p:cNvPr>
            <p:cNvSpPr>
              <a:spLocks/>
            </p:cNvSpPr>
            <p:nvPr/>
          </p:nvSpPr>
          <p:spPr bwMode="auto">
            <a:xfrm>
              <a:off x="1963" y="3028"/>
              <a:ext cx="228" cy="226"/>
            </a:xfrm>
            <a:custGeom>
              <a:avLst/>
              <a:gdLst>
                <a:gd name="T0" fmla="*/ 18 w 228"/>
                <a:gd name="T1" fmla="*/ 226 h 226"/>
                <a:gd name="T2" fmla="*/ 0 w 228"/>
                <a:gd name="T3" fmla="*/ 226 h 226"/>
                <a:gd name="T4" fmla="*/ 0 w 228"/>
                <a:gd name="T5" fmla="*/ 218 h 226"/>
                <a:gd name="T6" fmla="*/ 0 w 228"/>
                <a:gd name="T7" fmla="*/ 218 h 226"/>
                <a:gd name="T8" fmla="*/ 0 w 228"/>
                <a:gd name="T9" fmla="*/ 196 h 226"/>
                <a:gd name="T10" fmla="*/ 4 w 228"/>
                <a:gd name="T11" fmla="*/ 174 h 226"/>
                <a:gd name="T12" fmla="*/ 10 w 228"/>
                <a:gd name="T13" fmla="*/ 152 h 226"/>
                <a:gd name="T14" fmla="*/ 16 w 228"/>
                <a:gd name="T15" fmla="*/ 132 h 226"/>
                <a:gd name="T16" fmla="*/ 26 w 228"/>
                <a:gd name="T17" fmla="*/ 114 h 226"/>
                <a:gd name="T18" fmla="*/ 38 w 228"/>
                <a:gd name="T19" fmla="*/ 96 h 226"/>
                <a:gd name="T20" fmla="*/ 50 w 228"/>
                <a:gd name="T21" fmla="*/ 78 h 226"/>
                <a:gd name="T22" fmla="*/ 64 w 228"/>
                <a:gd name="T23" fmla="*/ 64 h 226"/>
                <a:gd name="T24" fmla="*/ 80 w 228"/>
                <a:gd name="T25" fmla="*/ 50 h 226"/>
                <a:gd name="T26" fmla="*/ 96 w 228"/>
                <a:gd name="T27" fmla="*/ 36 h 226"/>
                <a:gd name="T28" fmla="*/ 114 w 228"/>
                <a:gd name="T29" fmla="*/ 26 h 226"/>
                <a:gd name="T30" fmla="*/ 134 w 228"/>
                <a:gd name="T31" fmla="*/ 16 h 226"/>
                <a:gd name="T32" fmla="*/ 154 w 228"/>
                <a:gd name="T33" fmla="*/ 8 h 226"/>
                <a:gd name="T34" fmla="*/ 174 w 228"/>
                <a:gd name="T35" fmla="*/ 4 h 226"/>
                <a:gd name="T36" fmla="*/ 196 w 228"/>
                <a:gd name="T37" fmla="*/ 0 h 226"/>
                <a:gd name="T38" fmla="*/ 218 w 228"/>
                <a:gd name="T39" fmla="*/ 0 h 226"/>
                <a:gd name="T40" fmla="*/ 228 w 228"/>
                <a:gd name="T41" fmla="*/ 0 h 226"/>
                <a:gd name="T42" fmla="*/ 228 w 228"/>
                <a:gd name="T43" fmla="*/ 18 h 226"/>
                <a:gd name="T44" fmla="*/ 218 w 228"/>
                <a:gd name="T45" fmla="*/ 18 h 226"/>
                <a:gd name="T46" fmla="*/ 218 w 228"/>
                <a:gd name="T47" fmla="*/ 18 h 226"/>
                <a:gd name="T48" fmla="*/ 198 w 228"/>
                <a:gd name="T49" fmla="*/ 18 h 226"/>
                <a:gd name="T50" fmla="*/ 178 w 228"/>
                <a:gd name="T51" fmla="*/ 22 h 226"/>
                <a:gd name="T52" fmla="*/ 158 w 228"/>
                <a:gd name="T53" fmla="*/ 26 h 226"/>
                <a:gd name="T54" fmla="*/ 140 w 228"/>
                <a:gd name="T55" fmla="*/ 32 h 226"/>
                <a:gd name="T56" fmla="*/ 122 w 228"/>
                <a:gd name="T57" fmla="*/ 42 h 226"/>
                <a:gd name="T58" fmla="*/ 106 w 228"/>
                <a:gd name="T59" fmla="*/ 52 h 226"/>
                <a:gd name="T60" fmla="*/ 90 w 228"/>
                <a:gd name="T61" fmla="*/ 62 h 226"/>
                <a:gd name="T62" fmla="*/ 76 w 228"/>
                <a:gd name="T63" fmla="*/ 76 h 226"/>
                <a:gd name="T64" fmla="*/ 64 w 228"/>
                <a:gd name="T65" fmla="*/ 90 h 226"/>
                <a:gd name="T66" fmla="*/ 52 w 228"/>
                <a:gd name="T67" fmla="*/ 106 h 226"/>
                <a:gd name="T68" fmla="*/ 42 w 228"/>
                <a:gd name="T69" fmla="*/ 122 h 226"/>
                <a:gd name="T70" fmla="*/ 34 w 228"/>
                <a:gd name="T71" fmla="*/ 140 h 226"/>
                <a:gd name="T72" fmla="*/ 26 w 228"/>
                <a:gd name="T73" fmla="*/ 158 h 226"/>
                <a:gd name="T74" fmla="*/ 22 w 228"/>
                <a:gd name="T75" fmla="*/ 178 h 226"/>
                <a:gd name="T76" fmla="*/ 18 w 228"/>
                <a:gd name="T77" fmla="*/ 198 h 226"/>
                <a:gd name="T78" fmla="*/ 18 w 228"/>
                <a:gd name="T79" fmla="*/ 218 h 226"/>
                <a:gd name="T80" fmla="*/ 18 w 228"/>
                <a:gd name="T8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226">
                  <a:moveTo>
                    <a:pt x="18" y="226"/>
                  </a:moveTo>
                  <a:lnTo>
                    <a:pt x="0" y="226"/>
                  </a:lnTo>
                  <a:lnTo>
                    <a:pt x="0" y="218"/>
                  </a:lnTo>
                  <a:lnTo>
                    <a:pt x="0" y="218"/>
                  </a:lnTo>
                  <a:lnTo>
                    <a:pt x="0" y="196"/>
                  </a:lnTo>
                  <a:lnTo>
                    <a:pt x="4" y="174"/>
                  </a:lnTo>
                  <a:lnTo>
                    <a:pt x="10" y="152"/>
                  </a:lnTo>
                  <a:lnTo>
                    <a:pt x="16" y="132"/>
                  </a:lnTo>
                  <a:lnTo>
                    <a:pt x="26" y="114"/>
                  </a:lnTo>
                  <a:lnTo>
                    <a:pt x="38" y="96"/>
                  </a:lnTo>
                  <a:lnTo>
                    <a:pt x="50" y="78"/>
                  </a:lnTo>
                  <a:lnTo>
                    <a:pt x="64" y="64"/>
                  </a:lnTo>
                  <a:lnTo>
                    <a:pt x="80" y="50"/>
                  </a:lnTo>
                  <a:lnTo>
                    <a:pt x="96" y="36"/>
                  </a:lnTo>
                  <a:lnTo>
                    <a:pt x="114" y="26"/>
                  </a:lnTo>
                  <a:lnTo>
                    <a:pt x="134" y="16"/>
                  </a:lnTo>
                  <a:lnTo>
                    <a:pt x="154" y="8"/>
                  </a:lnTo>
                  <a:lnTo>
                    <a:pt x="174" y="4"/>
                  </a:lnTo>
                  <a:lnTo>
                    <a:pt x="196" y="0"/>
                  </a:lnTo>
                  <a:lnTo>
                    <a:pt x="218" y="0"/>
                  </a:lnTo>
                  <a:lnTo>
                    <a:pt x="228" y="0"/>
                  </a:lnTo>
                  <a:lnTo>
                    <a:pt x="228" y="18"/>
                  </a:lnTo>
                  <a:lnTo>
                    <a:pt x="218" y="18"/>
                  </a:lnTo>
                  <a:lnTo>
                    <a:pt x="218" y="18"/>
                  </a:lnTo>
                  <a:lnTo>
                    <a:pt x="198" y="18"/>
                  </a:lnTo>
                  <a:lnTo>
                    <a:pt x="178" y="22"/>
                  </a:lnTo>
                  <a:lnTo>
                    <a:pt x="158" y="26"/>
                  </a:lnTo>
                  <a:lnTo>
                    <a:pt x="140" y="32"/>
                  </a:lnTo>
                  <a:lnTo>
                    <a:pt x="122" y="42"/>
                  </a:lnTo>
                  <a:lnTo>
                    <a:pt x="106" y="52"/>
                  </a:lnTo>
                  <a:lnTo>
                    <a:pt x="90" y="62"/>
                  </a:lnTo>
                  <a:lnTo>
                    <a:pt x="76" y="76"/>
                  </a:lnTo>
                  <a:lnTo>
                    <a:pt x="64" y="90"/>
                  </a:lnTo>
                  <a:lnTo>
                    <a:pt x="52" y="106"/>
                  </a:lnTo>
                  <a:lnTo>
                    <a:pt x="42" y="122"/>
                  </a:lnTo>
                  <a:lnTo>
                    <a:pt x="34" y="140"/>
                  </a:lnTo>
                  <a:lnTo>
                    <a:pt x="26" y="158"/>
                  </a:lnTo>
                  <a:lnTo>
                    <a:pt x="22" y="178"/>
                  </a:lnTo>
                  <a:lnTo>
                    <a:pt x="18" y="198"/>
                  </a:lnTo>
                  <a:lnTo>
                    <a:pt x="18" y="218"/>
                  </a:lnTo>
                  <a:lnTo>
                    <a:pt x="18"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7" name="Line 67">
              <a:extLst>
                <a:ext uri="{FF2B5EF4-FFF2-40B4-BE49-F238E27FC236}">
                  <a16:creationId xmlns:a16="http://schemas.microsoft.com/office/drawing/2014/main" id="{81992C36-652A-302A-9AA7-D9151EFEBCC7}"/>
                </a:ext>
              </a:extLst>
            </p:cNvPr>
            <p:cNvSpPr>
              <a:spLocks noChangeShapeType="1"/>
            </p:cNvSpPr>
            <p:nvPr/>
          </p:nvSpPr>
          <p:spPr bwMode="auto">
            <a:xfrm>
              <a:off x="2391" y="324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59" name="Line 68">
              <a:extLst>
                <a:ext uri="{FF2B5EF4-FFF2-40B4-BE49-F238E27FC236}">
                  <a16:creationId xmlns:a16="http://schemas.microsoft.com/office/drawing/2014/main" id="{38149A65-9631-25CA-3B4B-7FE65FDCCA1B}"/>
                </a:ext>
              </a:extLst>
            </p:cNvPr>
            <p:cNvSpPr>
              <a:spLocks noChangeShapeType="1"/>
            </p:cNvSpPr>
            <p:nvPr/>
          </p:nvSpPr>
          <p:spPr bwMode="auto">
            <a:xfrm>
              <a:off x="2391" y="3246"/>
              <a:ext cx="0" cy="0"/>
            </a:xfrm>
            <a:prstGeom prst="line">
              <a:avLst/>
            </a:prstGeom>
            <a:grpFill/>
            <a:ln w="12700">
              <a:solidFill>
                <a:srgbClr val="000000"/>
              </a:solidFill>
              <a:prstDash val="solid"/>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160" name="Freeform 69">
              <a:extLst>
                <a:ext uri="{FF2B5EF4-FFF2-40B4-BE49-F238E27FC236}">
                  <a16:creationId xmlns:a16="http://schemas.microsoft.com/office/drawing/2014/main" id="{AD93D1D3-A2FC-9F19-DA0B-46159328E5B0}"/>
                </a:ext>
              </a:extLst>
            </p:cNvPr>
            <p:cNvSpPr>
              <a:spLocks/>
            </p:cNvSpPr>
            <p:nvPr/>
          </p:nvSpPr>
          <p:spPr bwMode="auto">
            <a:xfrm>
              <a:off x="2045" y="3110"/>
              <a:ext cx="212" cy="144"/>
            </a:xfrm>
            <a:custGeom>
              <a:avLst/>
              <a:gdLst>
                <a:gd name="T0" fmla="*/ 18 w 212"/>
                <a:gd name="T1" fmla="*/ 144 h 144"/>
                <a:gd name="T2" fmla="*/ 0 w 212"/>
                <a:gd name="T3" fmla="*/ 144 h 144"/>
                <a:gd name="T4" fmla="*/ 0 w 212"/>
                <a:gd name="T5" fmla="*/ 136 h 144"/>
                <a:gd name="T6" fmla="*/ 0 w 212"/>
                <a:gd name="T7" fmla="*/ 136 h 144"/>
                <a:gd name="T8" fmla="*/ 0 w 212"/>
                <a:gd name="T9" fmla="*/ 122 h 144"/>
                <a:gd name="T10" fmla="*/ 2 w 212"/>
                <a:gd name="T11" fmla="*/ 108 h 144"/>
                <a:gd name="T12" fmla="*/ 6 w 212"/>
                <a:gd name="T13" fmla="*/ 96 h 144"/>
                <a:gd name="T14" fmla="*/ 10 w 212"/>
                <a:gd name="T15" fmla="*/ 82 h 144"/>
                <a:gd name="T16" fmla="*/ 16 w 212"/>
                <a:gd name="T17" fmla="*/ 70 h 144"/>
                <a:gd name="T18" fmla="*/ 24 w 212"/>
                <a:gd name="T19" fmla="*/ 60 h 144"/>
                <a:gd name="T20" fmla="*/ 32 w 212"/>
                <a:gd name="T21" fmla="*/ 50 h 144"/>
                <a:gd name="T22" fmla="*/ 40 w 212"/>
                <a:gd name="T23" fmla="*/ 40 h 144"/>
                <a:gd name="T24" fmla="*/ 50 w 212"/>
                <a:gd name="T25" fmla="*/ 30 h 144"/>
                <a:gd name="T26" fmla="*/ 60 w 212"/>
                <a:gd name="T27" fmla="*/ 22 h 144"/>
                <a:gd name="T28" fmla="*/ 72 w 212"/>
                <a:gd name="T29" fmla="*/ 16 h 144"/>
                <a:gd name="T30" fmla="*/ 84 w 212"/>
                <a:gd name="T31" fmla="*/ 10 h 144"/>
                <a:gd name="T32" fmla="*/ 96 w 212"/>
                <a:gd name="T33" fmla="*/ 6 h 144"/>
                <a:gd name="T34" fmla="*/ 108 w 212"/>
                <a:gd name="T35" fmla="*/ 2 h 144"/>
                <a:gd name="T36" fmla="*/ 122 w 212"/>
                <a:gd name="T37" fmla="*/ 0 h 144"/>
                <a:gd name="T38" fmla="*/ 136 w 212"/>
                <a:gd name="T39" fmla="*/ 0 h 144"/>
                <a:gd name="T40" fmla="*/ 136 w 212"/>
                <a:gd name="T41" fmla="*/ 0 h 144"/>
                <a:gd name="T42" fmla="*/ 154 w 212"/>
                <a:gd name="T43" fmla="*/ 0 h 144"/>
                <a:gd name="T44" fmla="*/ 172 w 212"/>
                <a:gd name="T45" fmla="*/ 4 h 144"/>
                <a:gd name="T46" fmla="*/ 188 w 212"/>
                <a:gd name="T47" fmla="*/ 10 h 144"/>
                <a:gd name="T48" fmla="*/ 204 w 212"/>
                <a:gd name="T49" fmla="*/ 18 h 144"/>
                <a:gd name="T50" fmla="*/ 212 w 212"/>
                <a:gd name="T51" fmla="*/ 22 h 144"/>
                <a:gd name="T52" fmla="*/ 204 w 212"/>
                <a:gd name="T53" fmla="*/ 38 h 144"/>
                <a:gd name="T54" fmla="*/ 196 w 212"/>
                <a:gd name="T55" fmla="*/ 34 h 144"/>
                <a:gd name="T56" fmla="*/ 196 w 212"/>
                <a:gd name="T57" fmla="*/ 34 h 144"/>
                <a:gd name="T58" fmla="*/ 182 w 212"/>
                <a:gd name="T59" fmla="*/ 26 h 144"/>
                <a:gd name="T60" fmla="*/ 168 w 212"/>
                <a:gd name="T61" fmla="*/ 22 h 144"/>
                <a:gd name="T62" fmla="*/ 152 w 212"/>
                <a:gd name="T63" fmla="*/ 18 h 144"/>
                <a:gd name="T64" fmla="*/ 136 w 212"/>
                <a:gd name="T65" fmla="*/ 18 h 144"/>
                <a:gd name="T66" fmla="*/ 136 w 212"/>
                <a:gd name="T67" fmla="*/ 18 h 144"/>
                <a:gd name="T68" fmla="*/ 124 w 212"/>
                <a:gd name="T69" fmla="*/ 18 h 144"/>
                <a:gd name="T70" fmla="*/ 112 w 212"/>
                <a:gd name="T71" fmla="*/ 20 h 144"/>
                <a:gd name="T72" fmla="*/ 90 w 212"/>
                <a:gd name="T73" fmla="*/ 26 h 144"/>
                <a:gd name="T74" fmla="*/ 70 w 212"/>
                <a:gd name="T75" fmla="*/ 38 h 144"/>
                <a:gd name="T76" fmla="*/ 52 w 212"/>
                <a:gd name="T77" fmla="*/ 52 h 144"/>
                <a:gd name="T78" fmla="*/ 38 w 212"/>
                <a:gd name="T79" fmla="*/ 70 h 144"/>
                <a:gd name="T80" fmla="*/ 28 w 212"/>
                <a:gd name="T81" fmla="*/ 90 h 144"/>
                <a:gd name="T82" fmla="*/ 20 w 212"/>
                <a:gd name="T83" fmla="*/ 112 h 144"/>
                <a:gd name="T84" fmla="*/ 18 w 212"/>
                <a:gd name="T85" fmla="*/ 124 h 144"/>
                <a:gd name="T86" fmla="*/ 18 w 212"/>
                <a:gd name="T87" fmla="*/ 136 h 144"/>
                <a:gd name="T88" fmla="*/ 18 w 212"/>
                <a:gd name="T8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2" h="144">
                  <a:moveTo>
                    <a:pt x="18" y="144"/>
                  </a:moveTo>
                  <a:lnTo>
                    <a:pt x="0" y="144"/>
                  </a:lnTo>
                  <a:lnTo>
                    <a:pt x="0" y="136"/>
                  </a:lnTo>
                  <a:lnTo>
                    <a:pt x="0" y="136"/>
                  </a:lnTo>
                  <a:lnTo>
                    <a:pt x="0" y="122"/>
                  </a:lnTo>
                  <a:lnTo>
                    <a:pt x="2" y="108"/>
                  </a:lnTo>
                  <a:lnTo>
                    <a:pt x="6" y="96"/>
                  </a:lnTo>
                  <a:lnTo>
                    <a:pt x="10" y="82"/>
                  </a:lnTo>
                  <a:lnTo>
                    <a:pt x="16" y="70"/>
                  </a:lnTo>
                  <a:lnTo>
                    <a:pt x="24" y="60"/>
                  </a:lnTo>
                  <a:lnTo>
                    <a:pt x="32" y="50"/>
                  </a:lnTo>
                  <a:lnTo>
                    <a:pt x="40" y="40"/>
                  </a:lnTo>
                  <a:lnTo>
                    <a:pt x="50" y="30"/>
                  </a:lnTo>
                  <a:lnTo>
                    <a:pt x="60" y="22"/>
                  </a:lnTo>
                  <a:lnTo>
                    <a:pt x="72" y="16"/>
                  </a:lnTo>
                  <a:lnTo>
                    <a:pt x="84" y="10"/>
                  </a:lnTo>
                  <a:lnTo>
                    <a:pt x="96" y="6"/>
                  </a:lnTo>
                  <a:lnTo>
                    <a:pt x="108" y="2"/>
                  </a:lnTo>
                  <a:lnTo>
                    <a:pt x="122" y="0"/>
                  </a:lnTo>
                  <a:lnTo>
                    <a:pt x="136" y="0"/>
                  </a:lnTo>
                  <a:lnTo>
                    <a:pt x="136" y="0"/>
                  </a:lnTo>
                  <a:lnTo>
                    <a:pt x="154" y="0"/>
                  </a:lnTo>
                  <a:lnTo>
                    <a:pt x="172" y="4"/>
                  </a:lnTo>
                  <a:lnTo>
                    <a:pt x="188" y="10"/>
                  </a:lnTo>
                  <a:lnTo>
                    <a:pt x="204" y="18"/>
                  </a:lnTo>
                  <a:lnTo>
                    <a:pt x="212" y="22"/>
                  </a:lnTo>
                  <a:lnTo>
                    <a:pt x="204" y="38"/>
                  </a:lnTo>
                  <a:lnTo>
                    <a:pt x="196" y="34"/>
                  </a:lnTo>
                  <a:lnTo>
                    <a:pt x="196" y="34"/>
                  </a:lnTo>
                  <a:lnTo>
                    <a:pt x="182" y="26"/>
                  </a:lnTo>
                  <a:lnTo>
                    <a:pt x="168" y="22"/>
                  </a:lnTo>
                  <a:lnTo>
                    <a:pt x="152" y="18"/>
                  </a:lnTo>
                  <a:lnTo>
                    <a:pt x="136" y="18"/>
                  </a:lnTo>
                  <a:lnTo>
                    <a:pt x="136" y="18"/>
                  </a:lnTo>
                  <a:lnTo>
                    <a:pt x="124" y="18"/>
                  </a:lnTo>
                  <a:lnTo>
                    <a:pt x="112" y="20"/>
                  </a:lnTo>
                  <a:lnTo>
                    <a:pt x="90" y="26"/>
                  </a:lnTo>
                  <a:lnTo>
                    <a:pt x="70" y="38"/>
                  </a:lnTo>
                  <a:lnTo>
                    <a:pt x="52" y="52"/>
                  </a:lnTo>
                  <a:lnTo>
                    <a:pt x="38" y="70"/>
                  </a:lnTo>
                  <a:lnTo>
                    <a:pt x="28" y="90"/>
                  </a:lnTo>
                  <a:lnTo>
                    <a:pt x="20" y="112"/>
                  </a:lnTo>
                  <a:lnTo>
                    <a:pt x="18" y="124"/>
                  </a:lnTo>
                  <a:lnTo>
                    <a:pt x="18" y="136"/>
                  </a:lnTo>
                  <a:lnTo>
                    <a:pt x="18"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61" name="Freeform 70">
              <a:extLst>
                <a:ext uri="{FF2B5EF4-FFF2-40B4-BE49-F238E27FC236}">
                  <a16:creationId xmlns:a16="http://schemas.microsoft.com/office/drawing/2014/main" id="{E1816C30-AD84-4DBE-2F3C-F7CFD4803543}"/>
                </a:ext>
              </a:extLst>
            </p:cNvPr>
            <p:cNvSpPr>
              <a:spLocks noEditPoints="1"/>
            </p:cNvSpPr>
            <p:nvPr/>
          </p:nvSpPr>
          <p:spPr bwMode="auto">
            <a:xfrm>
              <a:off x="2265" y="3044"/>
              <a:ext cx="136" cy="188"/>
            </a:xfrm>
            <a:custGeom>
              <a:avLst/>
              <a:gdLst>
                <a:gd name="T0" fmla="*/ 118 w 136"/>
                <a:gd name="T1" fmla="*/ 180 h 188"/>
                <a:gd name="T2" fmla="*/ 122 w 136"/>
                <a:gd name="T3" fmla="*/ 172 h 188"/>
                <a:gd name="T4" fmla="*/ 126 w 136"/>
                <a:gd name="T5" fmla="*/ 170 h 188"/>
                <a:gd name="T6" fmla="*/ 134 w 136"/>
                <a:gd name="T7" fmla="*/ 176 h 188"/>
                <a:gd name="T8" fmla="*/ 136 w 136"/>
                <a:gd name="T9" fmla="*/ 178 h 188"/>
                <a:gd name="T10" fmla="*/ 132 w 136"/>
                <a:gd name="T11" fmla="*/ 188 h 188"/>
                <a:gd name="T12" fmla="*/ 128 w 136"/>
                <a:gd name="T13" fmla="*/ 188 h 188"/>
                <a:gd name="T14" fmla="*/ 128 w 136"/>
                <a:gd name="T15" fmla="*/ 188 h 188"/>
                <a:gd name="T16" fmla="*/ 118 w 136"/>
                <a:gd name="T17" fmla="*/ 184 h 188"/>
                <a:gd name="T18" fmla="*/ 112 w 136"/>
                <a:gd name="T19" fmla="*/ 146 h 188"/>
                <a:gd name="T20" fmla="*/ 112 w 136"/>
                <a:gd name="T21" fmla="*/ 140 h 188"/>
                <a:gd name="T22" fmla="*/ 118 w 136"/>
                <a:gd name="T23" fmla="*/ 136 h 188"/>
                <a:gd name="T24" fmla="*/ 126 w 136"/>
                <a:gd name="T25" fmla="*/ 136 h 188"/>
                <a:gd name="T26" fmla="*/ 130 w 136"/>
                <a:gd name="T27" fmla="*/ 142 h 188"/>
                <a:gd name="T28" fmla="*/ 128 w 136"/>
                <a:gd name="T29" fmla="*/ 148 h 188"/>
                <a:gd name="T30" fmla="*/ 122 w 136"/>
                <a:gd name="T31" fmla="*/ 152 h 188"/>
                <a:gd name="T32" fmla="*/ 120 w 136"/>
                <a:gd name="T33" fmla="*/ 154 h 188"/>
                <a:gd name="T34" fmla="*/ 112 w 136"/>
                <a:gd name="T35" fmla="*/ 146 h 188"/>
                <a:gd name="T36" fmla="*/ 100 w 136"/>
                <a:gd name="T37" fmla="*/ 114 h 188"/>
                <a:gd name="T38" fmla="*/ 102 w 136"/>
                <a:gd name="T39" fmla="*/ 104 h 188"/>
                <a:gd name="T40" fmla="*/ 104 w 136"/>
                <a:gd name="T41" fmla="*/ 102 h 188"/>
                <a:gd name="T42" fmla="*/ 114 w 136"/>
                <a:gd name="T43" fmla="*/ 104 h 188"/>
                <a:gd name="T44" fmla="*/ 116 w 136"/>
                <a:gd name="T45" fmla="*/ 106 h 188"/>
                <a:gd name="T46" fmla="*/ 116 w 136"/>
                <a:gd name="T47" fmla="*/ 116 h 188"/>
                <a:gd name="T48" fmla="*/ 112 w 136"/>
                <a:gd name="T49" fmla="*/ 118 h 188"/>
                <a:gd name="T50" fmla="*/ 108 w 136"/>
                <a:gd name="T51" fmla="*/ 120 h 188"/>
                <a:gd name="T52" fmla="*/ 100 w 136"/>
                <a:gd name="T53" fmla="*/ 114 h 188"/>
                <a:gd name="T54" fmla="*/ 82 w 136"/>
                <a:gd name="T55" fmla="*/ 80 h 188"/>
                <a:gd name="T56" fmla="*/ 86 w 136"/>
                <a:gd name="T57" fmla="*/ 72 h 188"/>
                <a:gd name="T58" fmla="*/ 88 w 136"/>
                <a:gd name="T59" fmla="*/ 70 h 188"/>
                <a:gd name="T60" fmla="*/ 98 w 136"/>
                <a:gd name="T61" fmla="*/ 74 h 188"/>
                <a:gd name="T62" fmla="*/ 100 w 136"/>
                <a:gd name="T63" fmla="*/ 78 h 188"/>
                <a:gd name="T64" fmla="*/ 96 w 136"/>
                <a:gd name="T65" fmla="*/ 86 h 188"/>
                <a:gd name="T66" fmla="*/ 90 w 136"/>
                <a:gd name="T67" fmla="*/ 88 h 188"/>
                <a:gd name="T68" fmla="*/ 86 w 136"/>
                <a:gd name="T69" fmla="*/ 88 h 188"/>
                <a:gd name="T70" fmla="*/ 62 w 136"/>
                <a:gd name="T71" fmla="*/ 58 h 188"/>
                <a:gd name="T72" fmla="*/ 58 w 136"/>
                <a:gd name="T73" fmla="*/ 52 h 188"/>
                <a:gd name="T74" fmla="*/ 62 w 136"/>
                <a:gd name="T75" fmla="*/ 44 h 188"/>
                <a:gd name="T76" fmla="*/ 68 w 136"/>
                <a:gd name="T77" fmla="*/ 42 h 188"/>
                <a:gd name="T78" fmla="*/ 74 w 136"/>
                <a:gd name="T79" fmla="*/ 46 h 188"/>
                <a:gd name="T80" fmla="*/ 74 w 136"/>
                <a:gd name="T81" fmla="*/ 46 h 188"/>
                <a:gd name="T82" fmla="*/ 76 w 136"/>
                <a:gd name="T83" fmla="*/ 54 h 188"/>
                <a:gd name="T84" fmla="*/ 74 w 136"/>
                <a:gd name="T85" fmla="*/ 58 h 188"/>
                <a:gd name="T86" fmla="*/ 68 w 136"/>
                <a:gd name="T87" fmla="*/ 60 h 188"/>
                <a:gd name="T88" fmla="*/ 62 w 136"/>
                <a:gd name="T89" fmla="*/ 58 h 188"/>
                <a:gd name="T90" fmla="*/ 36 w 136"/>
                <a:gd name="T91" fmla="*/ 36 h 188"/>
                <a:gd name="T92" fmla="*/ 32 w 136"/>
                <a:gd name="T93" fmla="*/ 30 h 188"/>
                <a:gd name="T94" fmla="*/ 32 w 136"/>
                <a:gd name="T95" fmla="*/ 22 h 188"/>
                <a:gd name="T96" fmla="*/ 38 w 136"/>
                <a:gd name="T97" fmla="*/ 20 h 188"/>
                <a:gd name="T98" fmla="*/ 46 w 136"/>
                <a:gd name="T99" fmla="*/ 20 h 188"/>
                <a:gd name="T100" fmla="*/ 50 w 136"/>
                <a:gd name="T101" fmla="*/ 26 h 188"/>
                <a:gd name="T102" fmla="*/ 48 w 136"/>
                <a:gd name="T103" fmla="*/ 34 h 188"/>
                <a:gd name="T104" fmla="*/ 40 w 136"/>
                <a:gd name="T105" fmla="*/ 36 h 188"/>
                <a:gd name="T106" fmla="*/ 36 w 136"/>
                <a:gd name="T107" fmla="*/ 36 h 188"/>
                <a:gd name="T108" fmla="*/ 6 w 136"/>
                <a:gd name="T109" fmla="*/ 18 h 188"/>
                <a:gd name="T110" fmla="*/ 0 w 136"/>
                <a:gd name="T111" fmla="*/ 8 h 188"/>
                <a:gd name="T112" fmla="*/ 2 w 136"/>
                <a:gd name="T113" fmla="*/ 6 h 188"/>
                <a:gd name="T114" fmla="*/ 10 w 136"/>
                <a:gd name="T115" fmla="*/ 0 h 188"/>
                <a:gd name="T116" fmla="*/ 14 w 136"/>
                <a:gd name="T117" fmla="*/ 2 h 188"/>
                <a:gd name="T118" fmla="*/ 18 w 136"/>
                <a:gd name="T119" fmla="*/ 10 h 188"/>
                <a:gd name="T120" fmla="*/ 18 w 136"/>
                <a:gd name="T121" fmla="*/ 14 h 188"/>
                <a:gd name="T122" fmla="*/ 10 w 136"/>
                <a:gd name="T123" fmla="*/ 18 h 188"/>
                <a:gd name="T124" fmla="*/ 6 w 136"/>
                <a:gd name="T125" fmla="*/ 1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88">
                  <a:moveTo>
                    <a:pt x="118" y="180"/>
                  </a:moveTo>
                  <a:lnTo>
                    <a:pt x="118" y="180"/>
                  </a:lnTo>
                  <a:lnTo>
                    <a:pt x="118" y="180"/>
                  </a:lnTo>
                  <a:lnTo>
                    <a:pt x="118" y="176"/>
                  </a:lnTo>
                  <a:lnTo>
                    <a:pt x="120" y="174"/>
                  </a:lnTo>
                  <a:lnTo>
                    <a:pt x="122" y="172"/>
                  </a:lnTo>
                  <a:lnTo>
                    <a:pt x="126" y="170"/>
                  </a:lnTo>
                  <a:lnTo>
                    <a:pt x="126" y="170"/>
                  </a:lnTo>
                  <a:lnTo>
                    <a:pt x="126" y="170"/>
                  </a:lnTo>
                  <a:lnTo>
                    <a:pt x="130" y="170"/>
                  </a:lnTo>
                  <a:lnTo>
                    <a:pt x="132" y="172"/>
                  </a:lnTo>
                  <a:lnTo>
                    <a:pt x="134" y="176"/>
                  </a:lnTo>
                  <a:lnTo>
                    <a:pt x="136" y="178"/>
                  </a:lnTo>
                  <a:lnTo>
                    <a:pt x="136" y="178"/>
                  </a:lnTo>
                  <a:lnTo>
                    <a:pt x="136" y="178"/>
                  </a:lnTo>
                  <a:lnTo>
                    <a:pt x="136" y="182"/>
                  </a:lnTo>
                  <a:lnTo>
                    <a:pt x="134" y="186"/>
                  </a:lnTo>
                  <a:lnTo>
                    <a:pt x="132" y="188"/>
                  </a:lnTo>
                  <a:lnTo>
                    <a:pt x="128" y="188"/>
                  </a:lnTo>
                  <a:lnTo>
                    <a:pt x="128" y="188"/>
                  </a:lnTo>
                  <a:lnTo>
                    <a:pt x="128" y="188"/>
                  </a:lnTo>
                  <a:lnTo>
                    <a:pt x="128" y="188"/>
                  </a:lnTo>
                  <a:lnTo>
                    <a:pt x="128" y="188"/>
                  </a:lnTo>
                  <a:lnTo>
                    <a:pt x="128" y="188"/>
                  </a:lnTo>
                  <a:lnTo>
                    <a:pt x="124" y="188"/>
                  </a:lnTo>
                  <a:lnTo>
                    <a:pt x="120" y="186"/>
                  </a:lnTo>
                  <a:lnTo>
                    <a:pt x="118" y="184"/>
                  </a:lnTo>
                  <a:lnTo>
                    <a:pt x="118" y="180"/>
                  </a:lnTo>
                  <a:lnTo>
                    <a:pt x="118" y="180"/>
                  </a:lnTo>
                  <a:close/>
                  <a:moveTo>
                    <a:pt x="112" y="146"/>
                  </a:moveTo>
                  <a:lnTo>
                    <a:pt x="112" y="146"/>
                  </a:lnTo>
                  <a:lnTo>
                    <a:pt x="112" y="142"/>
                  </a:lnTo>
                  <a:lnTo>
                    <a:pt x="112" y="140"/>
                  </a:lnTo>
                  <a:lnTo>
                    <a:pt x="116" y="138"/>
                  </a:lnTo>
                  <a:lnTo>
                    <a:pt x="118" y="136"/>
                  </a:lnTo>
                  <a:lnTo>
                    <a:pt x="118" y="136"/>
                  </a:lnTo>
                  <a:lnTo>
                    <a:pt x="118" y="136"/>
                  </a:lnTo>
                  <a:lnTo>
                    <a:pt x="122" y="136"/>
                  </a:lnTo>
                  <a:lnTo>
                    <a:pt x="126" y="136"/>
                  </a:lnTo>
                  <a:lnTo>
                    <a:pt x="128" y="138"/>
                  </a:lnTo>
                  <a:lnTo>
                    <a:pt x="130" y="142"/>
                  </a:lnTo>
                  <a:lnTo>
                    <a:pt x="130" y="142"/>
                  </a:lnTo>
                  <a:lnTo>
                    <a:pt x="130" y="142"/>
                  </a:lnTo>
                  <a:lnTo>
                    <a:pt x="130" y="146"/>
                  </a:lnTo>
                  <a:lnTo>
                    <a:pt x="128" y="148"/>
                  </a:lnTo>
                  <a:lnTo>
                    <a:pt x="126" y="152"/>
                  </a:lnTo>
                  <a:lnTo>
                    <a:pt x="122" y="152"/>
                  </a:lnTo>
                  <a:lnTo>
                    <a:pt x="122" y="152"/>
                  </a:lnTo>
                  <a:lnTo>
                    <a:pt x="122" y="152"/>
                  </a:lnTo>
                  <a:lnTo>
                    <a:pt x="120" y="154"/>
                  </a:lnTo>
                  <a:lnTo>
                    <a:pt x="120" y="154"/>
                  </a:lnTo>
                  <a:lnTo>
                    <a:pt x="120" y="154"/>
                  </a:lnTo>
                  <a:lnTo>
                    <a:pt x="116" y="152"/>
                  </a:lnTo>
                  <a:lnTo>
                    <a:pt x="112" y="146"/>
                  </a:lnTo>
                  <a:lnTo>
                    <a:pt x="112" y="146"/>
                  </a:lnTo>
                  <a:close/>
                  <a:moveTo>
                    <a:pt x="100" y="114"/>
                  </a:moveTo>
                  <a:lnTo>
                    <a:pt x="100" y="114"/>
                  </a:lnTo>
                  <a:lnTo>
                    <a:pt x="100" y="110"/>
                  </a:lnTo>
                  <a:lnTo>
                    <a:pt x="100" y="108"/>
                  </a:lnTo>
                  <a:lnTo>
                    <a:pt x="102" y="104"/>
                  </a:lnTo>
                  <a:lnTo>
                    <a:pt x="104" y="102"/>
                  </a:lnTo>
                  <a:lnTo>
                    <a:pt x="104" y="102"/>
                  </a:lnTo>
                  <a:lnTo>
                    <a:pt x="104" y="102"/>
                  </a:lnTo>
                  <a:lnTo>
                    <a:pt x="108" y="102"/>
                  </a:lnTo>
                  <a:lnTo>
                    <a:pt x="112" y="102"/>
                  </a:lnTo>
                  <a:lnTo>
                    <a:pt x="114" y="104"/>
                  </a:lnTo>
                  <a:lnTo>
                    <a:pt x="116" y="106"/>
                  </a:lnTo>
                  <a:lnTo>
                    <a:pt x="116" y="106"/>
                  </a:lnTo>
                  <a:lnTo>
                    <a:pt x="116" y="106"/>
                  </a:lnTo>
                  <a:lnTo>
                    <a:pt x="118" y="110"/>
                  </a:lnTo>
                  <a:lnTo>
                    <a:pt x="116" y="114"/>
                  </a:lnTo>
                  <a:lnTo>
                    <a:pt x="116" y="116"/>
                  </a:lnTo>
                  <a:lnTo>
                    <a:pt x="112" y="118"/>
                  </a:lnTo>
                  <a:lnTo>
                    <a:pt x="112" y="118"/>
                  </a:lnTo>
                  <a:lnTo>
                    <a:pt x="112" y="118"/>
                  </a:lnTo>
                  <a:lnTo>
                    <a:pt x="108" y="120"/>
                  </a:lnTo>
                  <a:lnTo>
                    <a:pt x="108" y="120"/>
                  </a:lnTo>
                  <a:lnTo>
                    <a:pt x="108" y="120"/>
                  </a:lnTo>
                  <a:lnTo>
                    <a:pt x="104" y="118"/>
                  </a:lnTo>
                  <a:lnTo>
                    <a:pt x="100" y="114"/>
                  </a:lnTo>
                  <a:lnTo>
                    <a:pt x="100" y="114"/>
                  </a:lnTo>
                  <a:close/>
                  <a:moveTo>
                    <a:pt x="84" y="84"/>
                  </a:moveTo>
                  <a:lnTo>
                    <a:pt x="84" y="84"/>
                  </a:lnTo>
                  <a:lnTo>
                    <a:pt x="82" y="80"/>
                  </a:lnTo>
                  <a:lnTo>
                    <a:pt x="82" y="78"/>
                  </a:lnTo>
                  <a:lnTo>
                    <a:pt x="82" y="74"/>
                  </a:lnTo>
                  <a:lnTo>
                    <a:pt x="86" y="72"/>
                  </a:lnTo>
                  <a:lnTo>
                    <a:pt x="86" y="72"/>
                  </a:lnTo>
                  <a:lnTo>
                    <a:pt x="86" y="72"/>
                  </a:lnTo>
                  <a:lnTo>
                    <a:pt x="88" y="70"/>
                  </a:lnTo>
                  <a:lnTo>
                    <a:pt x="92" y="70"/>
                  </a:lnTo>
                  <a:lnTo>
                    <a:pt x="96" y="72"/>
                  </a:lnTo>
                  <a:lnTo>
                    <a:pt x="98" y="74"/>
                  </a:lnTo>
                  <a:lnTo>
                    <a:pt x="98" y="74"/>
                  </a:lnTo>
                  <a:lnTo>
                    <a:pt x="98" y="74"/>
                  </a:lnTo>
                  <a:lnTo>
                    <a:pt x="100" y="78"/>
                  </a:lnTo>
                  <a:lnTo>
                    <a:pt x="100" y="80"/>
                  </a:lnTo>
                  <a:lnTo>
                    <a:pt x="98" y="84"/>
                  </a:lnTo>
                  <a:lnTo>
                    <a:pt x="96" y="86"/>
                  </a:lnTo>
                  <a:lnTo>
                    <a:pt x="96" y="86"/>
                  </a:lnTo>
                  <a:lnTo>
                    <a:pt x="96" y="86"/>
                  </a:lnTo>
                  <a:lnTo>
                    <a:pt x="90" y="88"/>
                  </a:lnTo>
                  <a:lnTo>
                    <a:pt x="90" y="88"/>
                  </a:lnTo>
                  <a:lnTo>
                    <a:pt x="90" y="88"/>
                  </a:lnTo>
                  <a:lnTo>
                    <a:pt x="86" y="88"/>
                  </a:lnTo>
                  <a:lnTo>
                    <a:pt x="84" y="84"/>
                  </a:lnTo>
                  <a:lnTo>
                    <a:pt x="84" y="84"/>
                  </a:lnTo>
                  <a:close/>
                  <a:moveTo>
                    <a:pt x="62" y="58"/>
                  </a:moveTo>
                  <a:lnTo>
                    <a:pt x="62" y="58"/>
                  </a:lnTo>
                  <a:lnTo>
                    <a:pt x="60" y="54"/>
                  </a:lnTo>
                  <a:lnTo>
                    <a:pt x="58" y="52"/>
                  </a:lnTo>
                  <a:lnTo>
                    <a:pt x="60" y="48"/>
                  </a:lnTo>
                  <a:lnTo>
                    <a:pt x="62" y="44"/>
                  </a:lnTo>
                  <a:lnTo>
                    <a:pt x="62" y="44"/>
                  </a:lnTo>
                  <a:lnTo>
                    <a:pt x="62" y="44"/>
                  </a:lnTo>
                  <a:lnTo>
                    <a:pt x="64" y="44"/>
                  </a:lnTo>
                  <a:lnTo>
                    <a:pt x="68" y="42"/>
                  </a:lnTo>
                  <a:lnTo>
                    <a:pt x="72" y="44"/>
                  </a:lnTo>
                  <a:lnTo>
                    <a:pt x="74" y="46"/>
                  </a:lnTo>
                  <a:lnTo>
                    <a:pt x="74" y="46"/>
                  </a:lnTo>
                  <a:lnTo>
                    <a:pt x="74" y="46"/>
                  </a:lnTo>
                  <a:lnTo>
                    <a:pt x="74" y="46"/>
                  </a:lnTo>
                  <a:lnTo>
                    <a:pt x="74" y="46"/>
                  </a:lnTo>
                  <a:lnTo>
                    <a:pt x="76" y="48"/>
                  </a:lnTo>
                  <a:lnTo>
                    <a:pt x="76" y="52"/>
                  </a:lnTo>
                  <a:lnTo>
                    <a:pt x="76" y="54"/>
                  </a:lnTo>
                  <a:lnTo>
                    <a:pt x="74" y="58"/>
                  </a:lnTo>
                  <a:lnTo>
                    <a:pt x="74" y="58"/>
                  </a:lnTo>
                  <a:lnTo>
                    <a:pt x="74" y="58"/>
                  </a:lnTo>
                  <a:lnTo>
                    <a:pt x="70" y="60"/>
                  </a:lnTo>
                  <a:lnTo>
                    <a:pt x="68" y="60"/>
                  </a:lnTo>
                  <a:lnTo>
                    <a:pt x="68" y="60"/>
                  </a:lnTo>
                  <a:lnTo>
                    <a:pt x="68" y="60"/>
                  </a:lnTo>
                  <a:lnTo>
                    <a:pt x="64" y="60"/>
                  </a:lnTo>
                  <a:lnTo>
                    <a:pt x="62" y="58"/>
                  </a:lnTo>
                  <a:lnTo>
                    <a:pt x="62" y="58"/>
                  </a:lnTo>
                  <a:close/>
                  <a:moveTo>
                    <a:pt x="36" y="36"/>
                  </a:moveTo>
                  <a:lnTo>
                    <a:pt x="36" y="36"/>
                  </a:lnTo>
                  <a:lnTo>
                    <a:pt x="36" y="36"/>
                  </a:lnTo>
                  <a:lnTo>
                    <a:pt x="32" y="32"/>
                  </a:lnTo>
                  <a:lnTo>
                    <a:pt x="32" y="30"/>
                  </a:lnTo>
                  <a:lnTo>
                    <a:pt x="32" y="26"/>
                  </a:lnTo>
                  <a:lnTo>
                    <a:pt x="32" y="22"/>
                  </a:lnTo>
                  <a:lnTo>
                    <a:pt x="32" y="22"/>
                  </a:lnTo>
                  <a:lnTo>
                    <a:pt x="32" y="22"/>
                  </a:lnTo>
                  <a:lnTo>
                    <a:pt x="36" y="20"/>
                  </a:lnTo>
                  <a:lnTo>
                    <a:pt x="38" y="20"/>
                  </a:lnTo>
                  <a:lnTo>
                    <a:pt x="42" y="20"/>
                  </a:lnTo>
                  <a:lnTo>
                    <a:pt x="46" y="20"/>
                  </a:lnTo>
                  <a:lnTo>
                    <a:pt x="46" y="20"/>
                  </a:lnTo>
                  <a:lnTo>
                    <a:pt x="46" y="20"/>
                  </a:lnTo>
                  <a:lnTo>
                    <a:pt x="48" y="24"/>
                  </a:lnTo>
                  <a:lnTo>
                    <a:pt x="50" y="26"/>
                  </a:lnTo>
                  <a:lnTo>
                    <a:pt x="50" y="30"/>
                  </a:lnTo>
                  <a:lnTo>
                    <a:pt x="48" y="34"/>
                  </a:lnTo>
                  <a:lnTo>
                    <a:pt x="48" y="34"/>
                  </a:lnTo>
                  <a:lnTo>
                    <a:pt x="48" y="34"/>
                  </a:lnTo>
                  <a:lnTo>
                    <a:pt x="44" y="36"/>
                  </a:lnTo>
                  <a:lnTo>
                    <a:pt x="40" y="36"/>
                  </a:lnTo>
                  <a:lnTo>
                    <a:pt x="40" y="36"/>
                  </a:lnTo>
                  <a:lnTo>
                    <a:pt x="40" y="36"/>
                  </a:lnTo>
                  <a:lnTo>
                    <a:pt x="36" y="36"/>
                  </a:lnTo>
                  <a:lnTo>
                    <a:pt x="36" y="36"/>
                  </a:lnTo>
                  <a:close/>
                  <a:moveTo>
                    <a:pt x="6" y="18"/>
                  </a:moveTo>
                  <a:lnTo>
                    <a:pt x="6" y="18"/>
                  </a:lnTo>
                  <a:lnTo>
                    <a:pt x="2" y="16"/>
                  </a:lnTo>
                  <a:lnTo>
                    <a:pt x="2" y="12"/>
                  </a:lnTo>
                  <a:lnTo>
                    <a:pt x="0" y="8"/>
                  </a:lnTo>
                  <a:lnTo>
                    <a:pt x="2" y="6"/>
                  </a:lnTo>
                  <a:lnTo>
                    <a:pt x="2" y="6"/>
                  </a:lnTo>
                  <a:lnTo>
                    <a:pt x="2" y="6"/>
                  </a:lnTo>
                  <a:lnTo>
                    <a:pt x="4" y="2"/>
                  </a:lnTo>
                  <a:lnTo>
                    <a:pt x="6" y="0"/>
                  </a:lnTo>
                  <a:lnTo>
                    <a:pt x="10" y="0"/>
                  </a:lnTo>
                  <a:lnTo>
                    <a:pt x="14" y="2"/>
                  </a:lnTo>
                  <a:lnTo>
                    <a:pt x="14" y="2"/>
                  </a:lnTo>
                  <a:lnTo>
                    <a:pt x="14" y="2"/>
                  </a:lnTo>
                  <a:lnTo>
                    <a:pt x="16" y="4"/>
                  </a:lnTo>
                  <a:lnTo>
                    <a:pt x="18" y="6"/>
                  </a:lnTo>
                  <a:lnTo>
                    <a:pt x="18" y="10"/>
                  </a:lnTo>
                  <a:lnTo>
                    <a:pt x="18" y="14"/>
                  </a:lnTo>
                  <a:lnTo>
                    <a:pt x="18" y="14"/>
                  </a:lnTo>
                  <a:lnTo>
                    <a:pt x="18" y="14"/>
                  </a:lnTo>
                  <a:lnTo>
                    <a:pt x="14" y="18"/>
                  </a:lnTo>
                  <a:lnTo>
                    <a:pt x="10" y="18"/>
                  </a:lnTo>
                  <a:lnTo>
                    <a:pt x="10" y="18"/>
                  </a:lnTo>
                  <a:lnTo>
                    <a:pt x="10" y="18"/>
                  </a:lnTo>
                  <a:lnTo>
                    <a:pt x="6" y="18"/>
                  </a:lnTo>
                  <a:lnTo>
                    <a:pt x="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162" name="Freeform 71">
              <a:extLst>
                <a:ext uri="{FF2B5EF4-FFF2-40B4-BE49-F238E27FC236}">
                  <a16:creationId xmlns:a16="http://schemas.microsoft.com/office/drawing/2014/main" id="{3C20E27E-C635-D7CD-BFF5-0111604CF452}"/>
                </a:ext>
              </a:extLst>
            </p:cNvPr>
            <p:cNvSpPr>
              <a:spLocks noEditPoints="1"/>
            </p:cNvSpPr>
            <p:nvPr/>
          </p:nvSpPr>
          <p:spPr bwMode="auto">
            <a:xfrm>
              <a:off x="2099" y="3184"/>
              <a:ext cx="212" cy="204"/>
            </a:xfrm>
            <a:custGeom>
              <a:avLst/>
              <a:gdLst>
                <a:gd name="T0" fmla="*/ 48 w 212"/>
                <a:gd name="T1" fmla="*/ 204 h 204"/>
                <a:gd name="T2" fmla="*/ 48 w 212"/>
                <a:gd name="T3" fmla="*/ 204 h 204"/>
                <a:gd name="T4" fmla="*/ 40 w 212"/>
                <a:gd name="T5" fmla="*/ 200 h 204"/>
                <a:gd name="T6" fmla="*/ 40 w 212"/>
                <a:gd name="T7" fmla="*/ 200 h 204"/>
                <a:gd name="T8" fmla="*/ 36 w 212"/>
                <a:gd name="T9" fmla="*/ 196 h 204"/>
                <a:gd name="T10" fmla="*/ 36 w 212"/>
                <a:gd name="T11" fmla="*/ 190 h 204"/>
                <a:gd name="T12" fmla="*/ 46 w 212"/>
                <a:gd name="T13" fmla="*/ 130 h 204"/>
                <a:gd name="T14" fmla="*/ 4 w 212"/>
                <a:gd name="T15" fmla="*/ 88 h 204"/>
                <a:gd name="T16" fmla="*/ 4 w 212"/>
                <a:gd name="T17" fmla="*/ 88 h 204"/>
                <a:gd name="T18" fmla="*/ 0 w 212"/>
                <a:gd name="T19" fmla="*/ 82 h 204"/>
                <a:gd name="T20" fmla="*/ 0 w 212"/>
                <a:gd name="T21" fmla="*/ 76 h 204"/>
                <a:gd name="T22" fmla="*/ 0 w 212"/>
                <a:gd name="T23" fmla="*/ 76 h 204"/>
                <a:gd name="T24" fmla="*/ 4 w 212"/>
                <a:gd name="T25" fmla="*/ 70 h 204"/>
                <a:gd name="T26" fmla="*/ 10 w 212"/>
                <a:gd name="T27" fmla="*/ 68 h 204"/>
                <a:gd name="T28" fmla="*/ 70 w 212"/>
                <a:gd name="T29" fmla="*/ 60 h 204"/>
                <a:gd name="T30" fmla="*/ 96 w 212"/>
                <a:gd name="T31" fmla="*/ 6 h 204"/>
                <a:gd name="T32" fmla="*/ 96 w 212"/>
                <a:gd name="T33" fmla="*/ 6 h 204"/>
                <a:gd name="T34" fmla="*/ 100 w 212"/>
                <a:gd name="T35" fmla="*/ 0 h 204"/>
                <a:gd name="T36" fmla="*/ 106 w 212"/>
                <a:gd name="T37" fmla="*/ 0 h 204"/>
                <a:gd name="T38" fmla="*/ 106 w 212"/>
                <a:gd name="T39" fmla="*/ 0 h 204"/>
                <a:gd name="T40" fmla="*/ 106 w 212"/>
                <a:gd name="T41" fmla="*/ 0 h 204"/>
                <a:gd name="T42" fmla="*/ 106 w 212"/>
                <a:gd name="T43" fmla="*/ 0 h 204"/>
                <a:gd name="T44" fmla="*/ 112 w 212"/>
                <a:gd name="T45" fmla="*/ 0 h 204"/>
                <a:gd name="T46" fmla="*/ 118 w 212"/>
                <a:gd name="T47" fmla="*/ 6 h 204"/>
                <a:gd name="T48" fmla="*/ 144 w 212"/>
                <a:gd name="T49" fmla="*/ 60 h 204"/>
                <a:gd name="T50" fmla="*/ 202 w 212"/>
                <a:gd name="T51" fmla="*/ 68 h 204"/>
                <a:gd name="T52" fmla="*/ 202 w 212"/>
                <a:gd name="T53" fmla="*/ 68 h 204"/>
                <a:gd name="T54" fmla="*/ 208 w 212"/>
                <a:gd name="T55" fmla="*/ 70 h 204"/>
                <a:gd name="T56" fmla="*/ 212 w 212"/>
                <a:gd name="T57" fmla="*/ 76 h 204"/>
                <a:gd name="T58" fmla="*/ 212 w 212"/>
                <a:gd name="T59" fmla="*/ 76 h 204"/>
                <a:gd name="T60" fmla="*/ 212 w 212"/>
                <a:gd name="T61" fmla="*/ 82 h 204"/>
                <a:gd name="T62" fmla="*/ 210 w 212"/>
                <a:gd name="T63" fmla="*/ 88 h 204"/>
                <a:gd name="T64" fmla="*/ 166 w 212"/>
                <a:gd name="T65" fmla="*/ 130 h 204"/>
                <a:gd name="T66" fmla="*/ 176 w 212"/>
                <a:gd name="T67" fmla="*/ 190 h 204"/>
                <a:gd name="T68" fmla="*/ 176 w 212"/>
                <a:gd name="T69" fmla="*/ 190 h 204"/>
                <a:gd name="T70" fmla="*/ 176 w 212"/>
                <a:gd name="T71" fmla="*/ 196 h 204"/>
                <a:gd name="T72" fmla="*/ 172 w 212"/>
                <a:gd name="T73" fmla="*/ 200 h 204"/>
                <a:gd name="T74" fmla="*/ 172 w 212"/>
                <a:gd name="T75" fmla="*/ 200 h 204"/>
                <a:gd name="T76" fmla="*/ 166 w 212"/>
                <a:gd name="T77" fmla="*/ 202 h 204"/>
                <a:gd name="T78" fmla="*/ 160 w 212"/>
                <a:gd name="T79" fmla="*/ 202 h 204"/>
                <a:gd name="T80" fmla="*/ 106 w 212"/>
                <a:gd name="T81" fmla="*/ 174 h 204"/>
                <a:gd name="T82" fmla="*/ 54 w 212"/>
                <a:gd name="T83" fmla="*/ 202 h 204"/>
                <a:gd name="T84" fmla="*/ 54 w 212"/>
                <a:gd name="T85" fmla="*/ 202 h 204"/>
                <a:gd name="T86" fmla="*/ 48 w 212"/>
                <a:gd name="T87" fmla="*/ 204 h 204"/>
                <a:gd name="T88" fmla="*/ 48 w 212"/>
                <a:gd name="T89" fmla="*/ 204 h 204"/>
                <a:gd name="T90" fmla="*/ 54 w 212"/>
                <a:gd name="T91" fmla="*/ 192 h 204"/>
                <a:gd name="T92" fmla="*/ 54 w 212"/>
                <a:gd name="T93" fmla="*/ 192 h 204"/>
                <a:gd name="T94" fmla="*/ 54 w 212"/>
                <a:gd name="T95" fmla="*/ 192 h 204"/>
                <a:gd name="T96" fmla="*/ 54 w 212"/>
                <a:gd name="T97" fmla="*/ 192 h 204"/>
                <a:gd name="T98" fmla="*/ 54 w 212"/>
                <a:gd name="T99" fmla="*/ 192 h 204"/>
                <a:gd name="T100" fmla="*/ 106 w 212"/>
                <a:gd name="T101" fmla="*/ 154 h 204"/>
                <a:gd name="T102" fmla="*/ 156 w 212"/>
                <a:gd name="T103" fmla="*/ 180 h 204"/>
                <a:gd name="T104" fmla="*/ 148 w 212"/>
                <a:gd name="T105" fmla="*/ 124 h 204"/>
                <a:gd name="T106" fmla="*/ 188 w 212"/>
                <a:gd name="T107" fmla="*/ 84 h 204"/>
                <a:gd name="T108" fmla="*/ 132 w 212"/>
                <a:gd name="T109" fmla="*/ 76 h 204"/>
                <a:gd name="T110" fmla="*/ 106 w 212"/>
                <a:gd name="T111" fmla="*/ 24 h 204"/>
                <a:gd name="T112" fmla="*/ 82 w 212"/>
                <a:gd name="T113" fmla="*/ 76 h 204"/>
                <a:gd name="T114" fmla="*/ 26 w 212"/>
                <a:gd name="T115" fmla="*/ 84 h 204"/>
                <a:gd name="T116" fmla="*/ 66 w 212"/>
                <a:gd name="T117" fmla="*/ 124 h 204"/>
                <a:gd name="T118" fmla="*/ 56 w 212"/>
                <a:gd name="T119" fmla="*/ 180 h 204"/>
                <a:gd name="T120" fmla="*/ 106 w 212"/>
                <a:gd name="T121" fmla="*/ 15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 h="204">
                  <a:moveTo>
                    <a:pt x="48" y="204"/>
                  </a:moveTo>
                  <a:lnTo>
                    <a:pt x="48" y="204"/>
                  </a:lnTo>
                  <a:lnTo>
                    <a:pt x="40" y="200"/>
                  </a:lnTo>
                  <a:lnTo>
                    <a:pt x="40" y="200"/>
                  </a:lnTo>
                  <a:lnTo>
                    <a:pt x="36" y="196"/>
                  </a:lnTo>
                  <a:lnTo>
                    <a:pt x="36" y="190"/>
                  </a:lnTo>
                  <a:lnTo>
                    <a:pt x="46" y="130"/>
                  </a:lnTo>
                  <a:lnTo>
                    <a:pt x="4" y="88"/>
                  </a:lnTo>
                  <a:lnTo>
                    <a:pt x="4" y="88"/>
                  </a:lnTo>
                  <a:lnTo>
                    <a:pt x="0" y="82"/>
                  </a:lnTo>
                  <a:lnTo>
                    <a:pt x="0" y="76"/>
                  </a:lnTo>
                  <a:lnTo>
                    <a:pt x="0" y="76"/>
                  </a:lnTo>
                  <a:lnTo>
                    <a:pt x="4" y="70"/>
                  </a:lnTo>
                  <a:lnTo>
                    <a:pt x="10" y="68"/>
                  </a:lnTo>
                  <a:lnTo>
                    <a:pt x="70" y="60"/>
                  </a:lnTo>
                  <a:lnTo>
                    <a:pt x="96" y="6"/>
                  </a:lnTo>
                  <a:lnTo>
                    <a:pt x="96" y="6"/>
                  </a:lnTo>
                  <a:lnTo>
                    <a:pt x="100" y="0"/>
                  </a:lnTo>
                  <a:lnTo>
                    <a:pt x="106" y="0"/>
                  </a:lnTo>
                  <a:lnTo>
                    <a:pt x="106" y="0"/>
                  </a:lnTo>
                  <a:lnTo>
                    <a:pt x="106" y="0"/>
                  </a:lnTo>
                  <a:lnTo>
                    <a:pt x="106" y="0"/>
                  </a:lnTo>
                  <a:lnTo>
                    <a:pt x="112" y="0"/>
                  </a:lnTo>
                  <a:lnTo>
                    <a:pt x="118" y="6"/>
                  </a:lnTo>
                  <a:lnTo>
                    <a:pt x="144" y="60"/>
                  </a:lnTo>
                  <a:lnTo>
                    <a:pt x="202" y="68"/>
                  </a:lnTo>
                  <a:lnTo>
                    <a:pt x="202" y="68"/>
                  </a:lnTo>
                  <a:lnTo>
                    <a:pt x="208" y="70"/>
                  </a:lnTo>
                  <a:lnTo>
                    <a:pt x="212" y="76"/>
                  </a:lnTo>
                  <a:lnTo>
                    <a:pt x="212" y="76"/>
                  </a:lnTo>
                  <a:lnTo>
                    <a:pt x="212" y="82"/>
                  </a:lnTo>
                  <a:lnTo>
                    <a:pt x="210" y="88"/>
                  </a:lnTo>
                  <a:lnTo>
                    <a:pt x="166" y="130"/>
                  </a:lnTo>
                  <a:lnTo>
                    <a:pt x="176" y="190"/>
                  </a:lnTo>
                  <a:lnTo>
                    <a:pt x="176" y="190"/>
                  </a:lnTo>
                  <a:lnTo>
                    <a:pt x="176" y="196"/>
                  </a:lnTo>
                  <a:lnTo>
                    <a:pt x="172" y="200"/>
                  </a:lnTo>
                  <a:lnTo>
                    <a:pt x="172" y="200"/>
                  </a:lnTo>
                  <a:lnTo>
                    <a:pt x="166" y="202"/>
                  </a:lnTo>
                  <a:lnTo>
                    <a:pt x="160" y="202"/>
                  </a:lnTo>
                  <a:lnTo>
                    <a:pt x="106" y="174"/>
                  </a:lnTo>
                  <a:lnTo>
                    <a:pt x="54" y="202"/>
                  </a:lnTo>
                  <a:lnTo>
                    <a:pt x="54" y="202"/>
                  </a:lnTo>
                  <a:lnTo>
                    <a:pt x="48" y="204"/>
                  </a:lnTo>
                  <a:lnTo>
                    <a:pt x="48" y="204"/>
                  </a:lnTo>
                  <a:close/>
                  <a:moveTo>
                    <a:pt x="54" y="192"/>
                  </a:moveTo>
                  <a:lnTo>
                    <a:pt x="54" y="192"/>
                  </a:lnTo>
                  <a:lnTo>
                    <a:pt x="54" y="192"/>
                  </a:lnTo>
                  <a:lnTo>
                    <a:pt x="54" y="192"/>
                  </a:lnTo>
                  <a:lnTo>
                    <a:pt x="54" y="192"/>
                  </a:lnTo>
                  <a:close/>
                  <a:moveTo>
                    <a:pt x="106" y="154"/>
                  </a:moveTo>
                  <a:lnTo>
                    <a:pt x="156" y="180"/>
                  </a:lnTo>
                  <a:lnTo>
                    <a:pt x="148" y="124"/>
                  </a:lnTo>
                  <a:lnTo>
                    <a:pt x="188" y="84"/>
                  </a:lnTo>
                  <a:lnTo>
                    <a:pt x="132" y="76"/>
                  </a:lnTo>
                  <a:lnTo>
                    <a:pt x="106" y="24"/>
                  </a:lnTo>
                  <a:lnTo>
                    <a:pt x="82" y="76"/>
                  </a:lnTo>
                  <a:lnTo>
                    <a:pt x="26" y="84"/>
                  </a:lnTo>
                  <a:lnTo>
                    <a:pt x="66" y="124"/>
                  </a:lnTo>
                  <a:lnTo>
                    <a:pt x="56" y="180"/>
                  </a:lnTo>
                  <a:lnTo>
                    <a:pt x="10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spTree>
    <p:extLst>
      <p:ext uri="{BB962C8B-B14F-4D97-AF65-F5344CB8AC3E}">
        <p14:creationId xmlns:p14="http://schemas.microsoft.com/office/powerpoint/2010/main" val="35641372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BFAE1-45D3-4B3B-81D2-0BF25FA84FB8}"/>
              </a:ext>
            </a:extLst>
          </p:cNvPr>
          <p:cNvSpPr>
            <a:spLocks noGrp="1"/>
          </p:cNvSpPr>
          <p:nvPr>
            <p:ph type="title" idx="4294967295"/>
          </p:nvPr>
        </p:nvSpPr>
        <p:spPr>
          <a:xfrm>
            <a:off x="838200" y="163513"/>
            <a:ext cx="11353800" cy="739775"/>
          </a:xfrm>
        </p:spPr>
        <p:txBody>
          <a:bodyPr/>
          <a:lstStyle/>
          <a:p>
            <a:r>
              <a:rPr lang="en-US"/>
              <a:t>3D Pyramid Process – Slide Template</a:t>
            </a:r>
            <a:endParaRPr lang="en-US" dirty="0"/>
          </a:p>
        </p:txBody>
      </p:sp>
      <p:grpSp>
        <p:nvGrpSpPr>
          <p:cNvPr id="3" name="Group 2">
            <a:extLst>
              <a:ext uri="{FF2B5EF4-FFF2-40B4-BE49-F238E27FC236}">
                <a16:creationId xmlns:a16="http://schemas.microsoft.com/office/drawing/2014/main" id="{C791F1B1-8B08-F8CA-8003-AF0BA2D27C1F}"/>
              </a:ext>
            </a:extLst>
          </p:cNvPr>
          <p:cNvGrpSpPr/>
          <p:nvPr/>
        </p:nvGrpSpPr>
        <p:grpSpPr>
          <a:xfrm>
            <a:off x="7168196" y="1793645"/>
            <a:ext cx="4206241" cy="2089150"/>
            <a:chOff x="5922645" y="1805939"/>
            <a:chExt cx="4206241" cy="2089150"/>
          </a:xfrm>
        </p:grpSpPr>
        <p:sp>
          <p:nvSpPr>
            <p:cNvPr id="4" name="Shape">
              <a:extLst>
                <a:ext uri="{FF2B5EF4-FFF2-40B4-BE49-F238E27FC236}">
                  <a16:creationId xmlns:a16="http://schemas.microsoft.com/office/drawing/2014/main" id="{3CCE9217-DC5A-0633-605C-156CA6F3644D}"/>
                </a:ext>
              </a:extLst>
            </p:cNvPr>
            <p:cNvSpPr/>
            <p:nvPr/>
          </p:nvSpPr>
          <p:spPr>
            <a:xfrm>
              <a:off x="5922645" y="1805939"/>
              <a:ext cx="4206241" cy="208915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6933"/>
                  </a:lnTo>
                  <a:lnTo>
                    <a:pt x="5367" y="0"/>
                  </a:lnTo>
                  <a:lnTo>
                    <a:pt x="21600" y="21600"/>
                  </a:lnTo>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5" name="Freeform: Shape 4">
              <a:extLst>
                <a:ext uri="{FF2B5EF4-FFF2-40B4-BE49-F238E27FC236}">
                  <a16:creationId xmlns:a16="http://schemas.microsoft.com/office/drawing/2014/main" id="{13E714D2-DDEE-FF9A-4F42-A9442237B416}"/>
                </a:ext>
              </a:extLst>
            </p:cNvPr>
            <p:cNvSpPr/>
            <p:nvPr/>
          </p:nvSpPr>
          <p:spPr>
            <a:xfrm>
              <a:off x="7879715" y="2743387"/>
              <a:ext cx="2249171" cy="1151702"/>
            </a:xfrm>
            <a:custGeom>
              <a:avLst/>
              <a:gdLst>
                <a:gd name="connsiteX0" fmla="*/ 506523 w 2249171"/>
                <a:gd name="connsiteY0" fmla="*/ 0 h 1151702"/>
                <a:gd name="connsiteX1" fmla="*/ 2249171 w 2249171"/>
                <a:gd name="connsiteY1" fmla="*/ 1151702 h 1151702"/>
                <a:gd name="connsiteX2" fmla="*/ 1318264 w 2249171"/>
                <a:gd name="connsiteY2" fmla="*/ 1151702 h 1151702"/>
                <a:gd name="connsiteX3" fmla="*/ 0 w 2249171"/>
                <a:gd name="connsiteY3" fmla="*/ 1151702 h 1151702"/>
                <a:gd name="connsiteX4" fmla="*/ 0 w 2249171"/>
                <a:gd name="connsiteY4" fmla="*/ 405285 h 115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71" h="1151702">
                  <a:moveTo>
                    <a:pt x="506523" y="0"/>
                  </a:moveTo>
                  <a:lnTo>
                    <a:pt x="2249171" y="1151702"/>
                  </a:lnTo>
                  <a:lnTo>
                    <a:pt x="1318264" y="1151702"/>
                  </a:lnTo>
                  <a:lnTo>
                    <a:pt x="0" y="1151702"/>
                  </a:lnTo>
                  <a:lnTo>
                    <a:pt x="0" y="405285"/>
                  </a:lnTo>
                  <a:close/>
                </a:path>
              </a:pathLst>
            </a:custGeom>
            <a:solidFill>
              <a:schemeClr val="accent3">
                <a:lumMod val="5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6" name="Shape">
              <a:extLst>
                <a:ext uri="{FF2B5EF4-FFF2-40B4-BE49-F238E27FC236}">
                  <a16:creationId xmlns:a16="http://schemas.microsoft.com/office/drawing/2014/main" id="{10BD8030-5E4F-9E18-EE16-BB1ECE60B74F}"/>
                </a:ext>
              </a:extLst>
            </p:cNvPr>
            <p:cNvSpPr/>
            <p:nvPr/>
          </p:nvSpPr>
          <p:spPr>
            <a:xfrm>
              <a:off x="5922645" y="2476498"/>
              <a:ext cx="4206241" cy="1418591"/>
            </a:xfrm>
            <a:custGeom>
              <a:avLst/>
              <a:gdLst>
                <a:gd name="connsiteX0" fmla="*/ 21600 w 21600"/>
                <a:gd name="connsiteY0" fmla="*/ 14667 h 14667"/>
                <a:gd name="connsiteX1" fmla="*/ 0 w 21600"/>
                <a:gd name="connsiteY1" fmla="*/ 14667 h 14667"/>
                <a:gd name="connsiteX2" fmla="*/ 0 w 21600"/>
                <a:gd name="connsiteY2" fmla="*/ 0 h 14667"/>
                <a:gd name="connsiteX3" fmla="*/ 21600 w 21600"/>
                <a:gd name="connsiteY3" fmla="*/ 14667 h 14667"/>
              </a:gdLst>
              <a:ahLst/>
              <a:cxnLst>
                <a:cxn ang="0">
                  <a:pos x="connsiteX0" y="connsiteY0"/>
                </a:cxn>
                <a:cxn ang="0">
                  <a:pos x="connsiteX1" y="connsiteY1"/>
                </a:cxn>
                <a:cxn ang="0">
                  <a:pos x="connsiteX2" y="connsiteY2"/>
                </a:cxn>
                <a:cxn ang="0">
                  <a:pos x="connsiteX3" y="connsiteY3"/>
                </a:cxn>
              </a:cxnLst>
              <a:rect l="l" t="t" r="r" b="b"/>
              <a:pathLst>
                <a:path w="21600" h="14667" extrusionOk="0">
                  <a:moveTo>
                    <a:pt x="21600" y="14667"/>
                  </a:moveTo>
                  <a:lnTo>
                    <a:pt x="0" y="14667"/>
                  </a:lnTo>
                  <a:lnTo>
                    <a:pt x="0" y="0"/>
                  </a:lnTo>
                  <a:lnTo>
                    <a:pt x="21600" y="14667"/>
                  </a:lnTo>
                </a:path>
              </a:pathLst>
            </a:custGeom>
            <a:solidFill>
              <a:schemeClr val="tx1">
                <a:lumMod val="95000"/>
                <a:lumOff val="5000"/>
                <a:alpha val="20000"/>
              </a:schemeClr>
            </a:solidFill>
            <a:ln w="12700">
              <a:miter lim="400000"/>
            </a:ln>
          </p:spPr>
          <p:txBody>
            <a:bodyPr lIns="38100" tIns="38100" rIns="38100" bIns="38100" anchor="ctr"/>
            <a:lstStyle/>
            <a:p>
              <a:pPr>
                <a:defRPr sz="3000">
                  <a:solidFill>
                    <a:srgbClr val="FFFFFF"/>
                  </a:solidFill>
                </a:defRPr>
              </a:pPr>
              <a:endParaRPr/>
            </a:p>
          </p:txBody>
        </p:sp>
      </p:grpSp>
      <p:grpSp>
        <p:nvGrpSpPr>
          <p:cNvPr id="7" name="Group 6">
            <a:extLst>
              <a:ext uri="{FF2B5EF4-FFF2-40B4-BE49-F238E27FC236}">
                <a16:creationId xmlns:a16="http://schemas.microsoft.com/office/drawing/2014/main" id="{843DCB36-AC6E-C35E-51DF-E9480305EE91}"/>
              </a:ext>
            </a:extLst>
          </p:cNvPr>
          <p:cNvGrpSpPr/>
          <p:nvPr/>
        </p:nvGrpSpPr>
        <p:grpSpPr>
          <a:xfrm>
            <a:off x="3992879" y="1793645"/>
            <a:ext cx="4206241" cy="2089150"/>
            <a:chOff x="5922645" y="1805939"/>
            <a:chExt cx="4206241" cy="2089150"/>
          </a:xfrm>
        </p:grpSpPr>
        <p:sp>
          <p:nvSpPr>
            <p:cNvPr id="8" name="Shape">
              <a:extLst>
                <a:ext uri="{FF2B5EF4-FFF2-40B4-BE49-F238E27FC236}">
                  <a16:creationId xmlns:a16="http://schemas.microsoft.com/office/drawing/2014/main" id="{0D7A3374-6612-7292-C872-436262FCFB03}"/>
                </a:ext>
              </a:extLst>
            </p:cNvPr>
            <p:cNvSpPr/>
            <p:nvPr/>
          </p:nvSpPr>
          <p:spPr>
            <a:xfrm>
              <a:off x="5922645" y="1805939"/>
              <a:ext cx="4206241" cy="208915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6933"/>
                  </a:lnTo>
                  <a:lnTo>
                    <a:pt x="5367" y="0"/>
                  </a:lnTo>
                  <a:lnTo>
                    <a:pt x="21600" y="21600"/>
                  </a:lnTo>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9" name="Freeform: Shape 8">
              <a:extLst>
                <a:ext uri="{FF2B5EF4-FFF2-40B4-BE49-F238E27FC236}">
                  <a16:creationId xmlns:a16="http://schemas.microsoft.com/office/drawing/2014/main" id="{513D747D-B5F1-1686-80C2-61EF6E05F7E1}"/>
                </a:ext>
              </a:extLst>
            </p:cNvPr>
            <p:cNvSpPr/>
            <p:nvPr/>
          </p:nvSpPr>
          <p:spPr>
            <a:xfrm>
              <a:off x="7879715" y="2743387"/>
              <a:ext cx="2249171" cy="1151702"/>
            </a:xfrm>
            <a:custGeom>
              <a:avLst/>
              <a:gdLst>
                <a:gd name="connsiteX0" fmla="*/ 506523 w 2249171"/>
                <a:gd name="connsiteY0" fmla="*/ 0 h 1151702"/>
                <a:gd name="connsiteX1" fmla="*/ 2249171 w 2249171"/>
                <a:gd name="connsiteY1" fmla="*/ 1151702 h 1151702"/>
                <a:gd name="connsiteX2" fmla="*/ 1318264 w 2249171"/>
                <a:gd name="connsiteY2" fmla="*/ 1151702 h 1151702"/>
                <a:gd name="connsiteX3" fmla="*/ 0 w 2249171"/>
                <a:gd name="connsiteY3" fmla="*/ 1151702 h 1151702"/>
                <a:gd name="connsiteX4" fmla="*/ 0 w 2249171"/>
                <a:gd name="connsiteY4" fmla="*/ 405285 h 115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71" h="1151702">
                  <a:moveTo>
                    <a:pt x="506523" y="0"/>
                  </a:moveTo>
                  <a:lnTo>
                    <a:pt x="2249171" y="1151702"/>
                  </a:lnTo>
                  <a:lnTo>
                    <a:pt x="1318264" y="1151702"/>
                  </a:lnTo>
                  <a:lnTo>
                    <a:pt x="0" y="1151702"/>
                  </a:lnTo>
                  <a:lnTo>
                    <a:pt x="0" y="405285"/>
                  </a:lnTo>
                  <a:close/>
                </a:path>
              </a:pathLst>
            </a:custGeom>
            <a:solidFill>
              <a:schemeClr val="accent4">
                <a:lumMod val="5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10" name="Shape">
              <a:extLst>
                <a:ext uri="{FF2B5EF4-FFF2-40B4-BE49-F238E27FC236}">
                  <a16:creationId xmlns:a16="http://schemas.microsoft.com/office/drawing/2014/main" id="{06CE56FE-7076-AE30-AEFD-897AF729B00D}"/>
                </a:ext>
              </a:extLst>
            </p:cNvPr>
            <p:cNvSpPr/>
            <p:nvPr/>
          </p:nvSpPr>
          <p:spPr>
            <a:xfrm>
              <a:off x="5922645" y="2476498"/>
              <a:ext cx="4206241" cy="1418591"/>
            </a:xfrm>
            <a:custGeom>
              <a:avLst/>
              <a:gdLst>
                <a:gd name="connsiteX0" fmla="*/ 21600 w 21600"/>
                <a:gd name="connsiteY0" fmla="*/ 14667 h 14667"/>
                <a:gd name="connsiteX1" fmla="*/ 0 w 21600"/>
                <a:gd name="connsiteY1" fmla="*/ 14667 h 14667"/>
                <a:gd name="connsiteX2" fmla="*/ 0 w 21600"/>
                <a:gd name="connsiteY2" fmla="*/ 0 h 14667"/>
                <a:gd name="connsiteX3" fmla="*/ 21600 w 21600"/>
                <a:gd name="connsiteY3" fmla="*/ 14667 h 14667"/>
              </a:gdLst>
              <a:ahLst/>
              <a:cxnLst>
                <a:cxn ang="0">
                  <a:pos x="connsiteX0" y="connsiteY0"/>
                </a:cxn>
                <a:cxn ang="0">
                  <a:pos x="connsiteX1" y="connsiteY1"/>
                </a:cxn>
                <a:cxn ang="0">
                  <a:pos x="connsiteX2" y="connsiteY2"/>
                </a:cxn>
                <a:cxn ang="0">
                  <a:pos x="connsiteX3" y="connsiteY3"/>
                </a:cxn>
              </a:cxnLst>
              <a:rect l="l" t="t" r="r" b="b"/>
              <a:pathLst>
                <a:path w="21600" h="14667" extrusionOk="0">
                  <a:moveTo>
                    <a:pt x="21600" y="14667"/>
                  </a:moveTo>
                  <a:lnTo>
                    <a:pt x="0" y="14667"/>
                  </a:lnTo>
                  <a:lnTo>
                    <a:pt x="0" y="0"/>
                  </a:lnTo>
                  <a:lnTo>
                    <a:pt x="21600" y="14667"/>
                  </a:lnTo>
                </a:path>
              </a:pathLst>
            </a:custGeom>
            <a:solidFill>
              <a:schemeClr val="tx1">
                <a:lumMod val="95000"/>
                <a:lumOff val="5000"/>
                <a:alpha val="20000"/>
              </a:schemeClr>
            </a:solidFill>
            <a:ln w="12700">
              <a:miter lim="400000"/>
            </a:ln>
          </p:spPr>
          <p:txBody>
            <a:bodyPr lIns="38100" tIns="38100" rIns="38100" bIns="38100" anchor="ctr"/>
            <a:lstStyle/>
            <a:p>
              <a:pPr>
                <a:defRPr sz="3000">
                  <a:solidFill>
                    <a:srgbClr val="FFFFFF"/>
                  </a:solidFill>
                </a:defRPr>
              </a:pPr>
              <a:endParaRPr/>
            </a:p>
          </p:txBody>
        </p:sp>
      </p:grpSp>
      <p:grpSp>
        <p:nvGrpSpPr>
          <p:cNvPr id="11" name="Group 10">
            <a:extLst>
              <a:ext uri="{FF2B5EF4-FFF2-40B4-BE49-F238E27FC236}">
                <a16:creationId xmlns:a16="http://schemas.microsoft.com/office/drawing/2014/main" id="{36460E14-5CB5-AB29-70E4-155E0706B736}"/>
              </a:ext>
            </a:extLst>
          </p:cNvPr>
          <p:cNvGrpSpPr/>
          <p:nvPr/>
        </p:nvGrpSpPr>
        <p:grpSpPr>
          <a:xfrm>
            <a:off x="817563" y="1793645"/>
            <a:ext cx="4206241" cy="2089150"/>
            <a:chOff x="5922645" y="1805939"/>
            <a:chExt cx="4206241" cy="2089150"/>
          </a:xfrm>
        </p:grpSpPr>
        <p:sp>
          <p:nvSpPr>
            <p:cNvPr id="12" name="Shape">
              <a:extLst>
                <a:ext uri="{FF2B5EF4-FFF2-40B4-BE49-F238E27FC236}">
                  <a16:creationId xmlns:a16="http://schemas.microsoft.com/office/drawing/2014/main" id="{9ECC3FA9-B515-094D-4AA2-2A0068EBD984}"/>
                </a:ext>
              </a:extLst>
            </p:cNvPr>
            <p:cNvSpPr/>
            <p:nvPr/>
          </p:nvSpPr>
          <p:spPr>
            <a:xfrm>
              <a:off x="5922645" y="1805939"/>
              <a:ext cx="4206241" cy="208915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6933"/>
                  </a:lnTo>
                  <a:lnTo>
                    <a:pt x="5367" y="0"/>
                  </a:lnTo>
                  <a:lnTo>
                    <a:pt x="21600" y="21600"/>
                  </a:lnTo>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13" name="Freeform: Shape 12">
              <a:extLst>
                <a:ext uri="{FF2B5EF4-FFF2-40B4-BE49-F238E27FC236}">
                  <a16:creationId xmlns:a16="http://schemas.microsoft.com/office/drawing/2014/main" id="{D52776B3-4542-005B-F63A-D49B343AEBF4}"/>
                </a:ext>
              </a:extLst>
            </p:cNvPr>
            <p:cNvSpPr/>
            <p:nvPr/>
          </p:nvSpPr>
          <p:spPr>
            <a:xfrm>
              <a:off x="7879715" y="2743387"/>
              <a:ext cx="2249171" cy="1151702"/>
            </a:xfrm>
            <a:custGeom>
              <a:avLst/>
              <a:gdLst>
                <a:gd name="connsiteX0" fmla="*/ 506523 w 2249171"/>
                <a:gd name="connsiteY0" fmla="*/ 0 h 1151702"/>
                <a:gd name="connsiteX1" fmla="*/ 2249171 w 2249171"/>
                <a:gd name="connsiteY1" fmla="*/ 1151702 h 1151702"/>
                <a:gd name="connsiteX2" fmla="*/ 1318264 w 2249171"/>
                <a:gd name="connsiteY2" fmla="*/ 1151702 h 1151702"/>
                <a:gd name="connsiteX3" fmla="*/ 0 w 2249171"/>
                <a:gd name="connsiteY3" fmla="*/ 1151702 h 1151702"/>
                <a:gd name="connsiteX4" fmla="*/ 0 w 2249171"/>
                <a:gd name="connsiteY4" fmla="*/ 405285 h 115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71" h="1151702">
                  <a:moveTo>
                    <a:pt x="506523" y="0"/>
                  </a:moveTo>
                  <a:lnTo>
                    <a:pt x="2249171" y="1151702"/>
                  </a:lnTo>
                  <a:lnTo>
                    <a:pt x="1318264" y="1151702"/>
                  </a:lnTo>
                  <a:lnTo>
                    <a:pt x="0" y="1151702"/>
                  </a:lnTo>
                  <a:lnTo>
                    <a:pt x="0" y="405285"/>
                  </a:lnTo>
                  <a:close/>
                </a:path>
              </a:pathLst>
            </a:custGeom>
            <a:solidFill>
              <a:schemeClr val="accent6">
                <a:lumMod val="50000"/>
              </a:schemeClr>
            </a:solidFill>
            <a:ln w="12700">
              <a:miter lim="400000"/>
            </a:ln>
          </p:spPr>
          <p:txBody>
            <a:bodyPr wrap="square" lIns="38100" tIns="38100" rIns="38100" bIns="38100" anchor="ctr">
              <a:noAutofit/>
            </a:bodyPr>
            <a:lstStyle/>
            <a:p>
              <a:pPr>
                <a:defRPr sz="3000">
                  <a:solidFill>
                    <a:srgbClr val="FFFFFF"/>
                  </a:solidFill>
                </a:defRPr>
              </a:pPr>
              <a:endParaRPr/>
            </a:p>
          </p:txBody>
        </p:sp>
        <p:sp>
          <p:nvSpPr>
            <p:cNvPr id="14" name="Shape">
              <a:extLst>
                <a:ext uri="{FF2B5EF4-FFF2-40B4-BE49-F238E27FC236}">
                  <a16:creationId xmlns:a16="http://schemas.microsoft.com/office/drawing/2014/main" id="{45321ED2-A848-FC08-96F4-E1499E032341}"/>
                </a:ext>
              </a:extLst>
            </p:cNvPr>
            <p:cNvSpPr/>
            <p:nvPr/>
          </p:nvSpPr>
          <p:spPr>
            <a:xfrm>
              <a:off x="5922645" y="2476498"/>
              <a:ext cx="4206241" cy="1418591"/>
            </a:xfrm>
            <a:custGeom>
              <a:avLst/>
              <a:gdLst>
                <a:gd name="connsiteX0" fmla="*/ 21600 w 21600"/>
                <a:gd name="connsiteY0" fmla="*/ 14667 h 14667"/>
                <a:gd name="connsiteX1" fmla="*/ 0 w 21600"/>
                <a:gd name="connsiteY1" fmla="*/ 14667 h 14667"/>
                <a:gd name="connsiteX2" fmla="*/ 0 w 21600"/>
                <a:gd name="connsiteY2" fmla="*/ 0 h 14667"/>
                <a:gd name="connsiteX3" fmla="*/ 21600 w 21600"/>
                <a:gd name="connsiteY3" fmla="*/ 14667 h 14667"/>
              </a:gdLst>
              <a:ahLst/>
              <a:cxnLst>
                <a:cxn ang="0">
                  <a:pos x="connsiteX0" y="connsiteY0"/>
                </a:cxn>
                <a:cxn ang="0">
                  <a:pos x="connsiteX1" y="connsiteY1"/>
                </a:cxn>
                <a:cxn ang="0">
                  <a:pos x="connsiteX2" y="connsiteY2"/>
                </a:cxn>
                <a:cxn ang="0">
                  <a:pos x="connsiteX3" y="connsiteY3"/>
                </a:cxn>
              </a:cxnLst>
              <a:rect l="l" t="t" r="r" b="b"/>
              <a:pathLst>
                <a:path w="21600" h="14667" extrusionOk="0">
                  <a:moveTo>
                    <a:pt x="21600" y="14667"/>
                  </a:moveTo>
                  <a:lnTo>
                    <a:pt x="0" y="14667"/>
                  </a:lnTo>
                  <a:lnTo>
                    <a:pt x="0" y="0"/>
                  </a:lnTo>
                  <a:lnTo>
                    <a:pt x="21600" y="14667"/>
                  </a:lnTo>
                </a:path>
              </a:pathLst>
            </a:custGeom>
            <a:solidFill>
              <a:schemeClr val="tx1">
                <a:lumMod val="95000"/>
                <a:lumOff val="5000"/>
                <a:alpha val="20000"/>
              </a:schemeClr>
            </a:solidFill>
            <a:ln w="12700">
              <a:miter lim="400000"/>
            </a:ln>
          </p:spPr>
          <p:txBody>
            <a:bodyPr lIns="38100" tIns="38100" rIns="38100" bIns="38100" anchor="ctr"/>
            <a:lstStyle/>
            <a:p>
              <a:pPr>
                <a:defRPr sz="3000">
                  <a:solidFill>
                    <a:srgbClr val="FFFFFF"/>
                  </a:solidFill>
                </a:defRPr>
              </a:pPr>
              <a:endParaRPr/>
            </a:p>
          </p:txBody>
        </p:sp>
      </p:grpSp>
      <p:grpSp>
        <p:nvGrpSpPr>
          <p:cNvPr id="15" name="Group 14">
            <a:extLst>
              <a:ext uri="{FF2B5EF4-FFF2-40B4-BE49-F238E27FC236}">
                <a16:creationId xmlns:a16="http://schemas.microsoft.com/office/drawing/2014/main" id="{CBC66E09-D0E1-340B-BEAA-5555444508BF}"/>
              </a:ext>
            </a:extLst>
          </p:cNvPr>
          <p:cNvGrpSpPr/>
          <p:nvPr/>
        </p:nvGrpSpPr>
        <p:grpSpPr>
          <a:xfrm>
            <a:off x="817563" y="4073895"/>
            <a:ext cx="2926080" cy="1290153"/>
            <a:chOff x="332936" y="2627766"/>
            <a:chExt cx="2926080" cy="1290153"/>
          </a:xfrm>
        </p:grpSpPr>
        <p:sp>
          <p:nvSpPr>
            <p:cNvPr id="16" name="TextBox 15">
              <a:extLst>
                <a:ext uri="{FF2B5EF4-FFF2-40B4-BE49-F238E27FC236}">
                  <a16:creationId xmlns:a16="http://schemas.microsoft.com/office/drawing/2014/main" id="{EF504B1D-B747-C94F-25CB-3E77AD0BC29F}"/>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bg1"/>
                  </a:solidFill>
                </a:rPr>
                <a:t>01 - Lorem Ipsum</a:t>
              </a:r>
            </a:p>
          </p:txBody>
        </p:sp>
        <p:sp>
          <p:nvSpPr>
            <p:cNvPr id="17" name="TextBox 16">
              <a:extLst>
                <a:ext uri="{FF2B5EF4-FFF2-40B4-BE49-F238E27FC236}">
                  <a16:creationId xmlns:a16="http://schemas.microsoft.com/office/drawing/2014/main" id="{AA70E915-0821-DA50-B4B3-DF4C303C63F8}"/>
                </a:ext>
              </a:extLst>
            </p:cNvPr>
            <p:cNvSpPr txBox="1"/>
            <p:nvPr/>
          </p:nvSpPr>
          <p:spPr>
            <a:xfrm>
              <a:off x="332936" y="3086922"/>
              <a:ext cx="2926080" cy="830997"/>
            </a:xfrm>
            <a:prstGeom prst="rect">
              <a:avLst/>
            </a:prstGeom>
            <a:noFill/>
          </p:spPr>
          <p:txBody>
            <a:bodyPr wrap="square" lIns="0" rIns="0" rtlCol="0" anchor="t">
              <a:spAutoFit/>
            </a:bodyPr>
            <a:lstStyle/>
            <a:p>
              <a:pPr algn="just"/>
              <a:r>
                <a:rPr lang="en-US" sz="1200" noProof="1">
                  <a:solidFill>
                    <a:schemeClr val="bg1">
                      <a:lumMod val="75000"/>
                    </a:schemeClr>
                  </a:solidFill>
                </a:rPr>
                <a:t>Lorem ipsum dolor sit amet, nibh est. A magna maecenas, quam magna nec quis, lorem nunc. Suspendisse viverra sodales mauris, cras pharetra proin egestas arcu erat dolor, at amet. </a:t>
              </a:r>
            </a:p>
          </p:txBody>
        </p:sp>
      </p:grpSp>
      <p:grpSp>
        <p:nvGrpSpPr>
          <p:cNvPr id="18" name="Group 17">
            <a:extLst>
              <a:ext uri="{FF2B5EF4-FFF2-40B4-BE49-F238E27FC236}">
                <a16:creationId xmlns:a16="http://schemas.microsoft.com/office/drawing/2014/main" id="{29FDB45A-7FF3-D094-C142-F40400394D66}"/>
              </a:ext>
            </a:extLst>
          </p:cNvPr>
          <p:cNvGrpSpPr/>
          <p:nvPr/>
        </p:nvGrpSpPr>
        <p:grpSpPr>
          <a:xfrm>
            <a:off x="4632959" y="4073895"/>
            <a:ext cx="2926080" cy="1290153"/>
            <a:chOff x="332936" y="2627766"/>
            <a:chExt cx="2926080" cy="1290153"/>
          </a:xfrm>
        </p:grpSpPr>
        <p:sp>
          <p:nvSpPr>
            <p:cNvPr id="19" name="TextBox 18">
              <a:extLst>
                <a:ext uri="{FF2B5EF4-FFF2-40B4-BE49-F238E27FC236}">
                  <a16:creationId xmlns:a16="http://schemas.microsoft.com/office/drawing/2014/main" id="{09276A93-3C7B-B068-B3F8-B6DAF67C4762}"/>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bg1"/>
                  </a:solidFill>
                </a:rPr>
                <a:t>02 - Lorem Ipsum</a:t>
              </a:r>
            </a:p>
          </p:txBody>
        </p:sp>
        <p:sp>
          <p:nvSpPr>
            <p:cNvPr id="20" name="TextBox 19">
              <a:extLst>
                <a:ext uri="{FF2B5EF4-FFF2-40B4-BE49-F238E27FC236}">
                  <a16:creationId xmlns:a16="http://schemas.microsoft.com/office/drawing/2014/main" id="{6EF8306C-57AC-456C-B06A-DF30DC6BEED1}"/>
                </a:ext>
              </a:extLst>
            </p:cNvPr>
            <p:cNvSpPr txBox="1"/>
            <p:nvPr/>
          </p:nvSpPr>
          <p:spPr>
            <a:xfrm>
              <a:off x="332936" y="3086922"/>
              <a:ext cx="2926080" cy="830997"/>
            </a:xfrm>
            <a:prstGeom prst="rect">
              <a:avLst/>
            </a:prstGeom>
            <a:noFill/>
          </p:spPr>
          <p:txBody>
            <a:bodyPr wrap="square" lIns="0" rIns="0" rtlCol="0" anchor="t">
              <a:spAutoFit/>
            </a:bodyPr>
            <a:lstStyle/>
            <a:p>
              <a:pPr algn="just"/>
              <a:r>
                <a:rPr lang="en-US" sz="1200" noProof="1">
                  <a:solidFill>
                    <a:schemeClr val="bg1">
                      <a:lumMod val="75000"/>
                    </a:schemeClr>
                  </a:solidFill>
                </a:rPr>
                <a:t>Lorem ipsum dolor sit amet, nibh est. A magna maecenas, quam magna nec quis, lorem nunc. Suspendisse viverra sodales mauris, cras pharetra proin egestas arcu erat dolor, at amet. </a:t>
              </a:r>
            </a:p>
          </p:txBody>
        </p:sp>
      </p:grpSp>
      <p:grpSp>
        <p:nvGrpSpPr>
          <p:cNvPr id="21" name="Group 20">
            <a:extLst>
              <a:ext uri="{FF2B5EF4-FFF2-40B4-BE49-F238E27FC236}">
                <a16:creationId xmlns:a16="http://schemas.microsoft.com/office/drawing/2014/main" id="{296963C5-1C6C-83C8-EFBF-EC5AEA5FD5E9}"/>
              </a:ext>
            </a:extLst>
          </p:cNvPr>
          <p:cNvGrpSpPr/>
          <p:nvPr/>
        </p:nvGrpSpPr>
        <p:grpSpPr>
          <a:xfrm>
            <a:off x="8448355" y="4073895"/>
            <a:ext cx="2926080" cy="1290153"/>
            <a:chOff x="332936" y="2627766"/>
            <a:chExt cx="2926080" cy="1290153"/>
          </a:xfrm>
        </p:grpSpPr>
        <p:sp>
          <p:nvSpPr>
            <p:cNvPr id="22" name="TextBox 21">
              <a:extLst>
                <a:ext uri="{FF2B5EF4-FFF2-40B4-BE49-F238E27FC236}">
                  <a16:creationId xmlns:a16="http://schemas.microsoft.com/office/drawing/2014/main" id="{233BDC8D-5DDE-8D5B-90A8-104922B1BFBF}"/>
                </a:ext>
              </a:extLst>
            </p:cNvPr>
            <p:cNvSpPr txBox="1"/>
            <p:nvPr/>
          </p:nvSpPr>
          <p:spPr>
            <a:xfrm>
              <a:off x="332936" y="2627766"/>
              <a:ext cx="2926080" cy="461665"/>
            </a:xfrm>
            <a:prstGeom prst="rect">
              <a:avLst/>
            </a:prstGeom>
            <a:noFill/>
          </p:spPr>
          <p:txBody>
            <a:bodyPr wrap="square" lIns="0" rIns="0" rtlCol="0" anchor="b">
              <a:spAutoFit/>
            </a:bodyPr>
            <a:lstStyle/>
            <a:p>
              <a:r>
                <a:rPr lang="en-US" sz="2400" b="1" noProof="1">
                  <a:solidFill>
                    <a:schemeClr val="bg1"/>
                  </a:solidFill>
                </a:rPr>
                <a:t>03 - Lorem Ipsum</a:t>
              </a:r>
            </a:p>
          </p:txBody>
        </p:sp>
        <p:sp>
          <p:nvSpPr>
            <p:cNvPr id="23" name="TextBox 22">
              <a:extLst>
                <a:ext uri="{FF2B5EF4-FFF2-40B4-BE49-F238E27FC236}">
                  <a16:creationId xmlns:a16="http://schemas.microsoft.com/office/drawing/2014/main" id="{A2288F38-90FF-C423-30AE-0D33BF96F2F1}"/>
                </a:ext>
              </a:extLst>
            </p:cNvPr>
            <p:cNvSpPr txBox="1"/>
            <p:nvPr/>
          </p:nvSpPr>
          <p:spPr>
            <a:xfrm>
              <a:off x="332936" y="3086922"/>
              <a:ext cx="2926080" cy="830997"/>
            </a:xfrm>
            <a:prstGeom prst="rect">
              <a:avLst/>
            </a:prstGeom>
            <a:noFill/>
          </p:spPr>
          <p:txBody>
            <a:bodyPr wrap="square" lIns="0" rIns="0" rtlCol="0" anchor="t">
              <a:spAutoFit/>
            </a:bodyPr>
            <a:lstStyle/>
            <a:p>
              <a:pPr algn="just"/>
              <a:r>
                <a:rPr lang="en-US" sz="1200" noProof="1">
                  <a:solidFill>
                    <a:schemeClr val="bg1">
                      <a:lumMod val="75000"/>
                    </a:schemeClr>
                  </a:solidFill>
                </a:rPr>
                <a:t>Lorem ipsum dolor sit amet, nibh est. A magna maecenas, quam magna nec quis, lorem nunc. Suspendisse viverra sodales mauris, cras pharetra proin egestas arcu erat dolor, at amet. </a:t>
              </a:r>
            </a:p>
          </p:txBody>
        </p:sp>
      </p:grpSp>
      <p:pic>
        <p:nvPicPr>
          <p:cNvPr id="24" name="Graphic 23" descr="Users">
            <a:extLst>
              <a:ext uri="{FF2B5EF4-FFF2-40B4-BE49-F238E27FC236}">
                <a16:creationId xmlns:a16="http://schemas.microsoft.com/office/drawing/2014/main" id="{F2BB9210-4E42-392A-D9E8-672810CD96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61203" y="3027545"/>
            <a:ext cx="682468" cy="682468"/>
          </a:xfrm>
          <a:prstGeom prst="rect">
            <a:avLst/>
          </a:prstGeom>
        </p:spPr>
      </p:pic>
      <p:pic>
        <p:nvPicPr>
          <p:cNvPr id="25" name="Graphic 24" descr="Lightbulb">
            <a:extLst>
              <a:ext uri="{FF2B5EF4-FFF2-40B4-BE49-F238E27FC236}">
                <a16:creationId xmlns:a16="http://schemas.microsoft.com/office/drawing/2014/main" id="{70B01EB4-2E74-7225-7FA0-2E9F097414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91100" y="2965710"/>
            <a:ext cx="682468" cy="682468"/>
          </a:xfrm>
          <a:prstGeom prst="rect">
            <a:avLst/>
          </a:prstGeom>
        </p:spPr>
      </p:pic>
      <p:pic>
        <p:nvPicPr>
          <p:cNvPr id="26" name="Graphic 25" descr="Rocket">
            <a:extLst>
              <a:ext uri="{FF2B5EF4-FFF2-40B4-BE49-F238E27FC236}">
                <a16:creationId xmlns:a16="http://schemas.microsoft.com/office/drawing/2014/main" id="{F3EFDA79-5E47-CF0A-5B39-55437B556E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99120" y="3161849"/>
            <a:ext cx="682468" cy="682468"/>
          </a:xfrm>
          <a:prstGeom prst="rect">
            <a:avLst/>
          </a:prstGeom>
        </p:spPr>
      </p:pic>
    </p:spTree>
    <p:extLst>
      <p:ext uri="{BB962C8B-B14F-4D97-AF65-F5344CB8AC3E}">
        <p14:creationId xmlns:p14="http://schemas.microsoft.com/office/powerpoint/2010/main" val="229534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Title 1">
            <a:extLst>
              <a:ext uri="{FF2B5EF4-FFF2-40B4-BE49-F238E27FC236}">
                <a16:creationId xmlns:a16="http://schemas.microsoft.com/office/drawing/2014/main" id="{39CA985E-A05F-9265-E147-F53296134D5C}"/>
              </a:ext>
            </a:extLst>
          </p:cNvPr>
          <p:cNvSpPr txBox="1">
            <a:spLocks/>
          </p:cNvSpPr>
          <p:nvPr/>
        </p:nvSpPr>
        <p:spPr>
          <a:xfrm>
            <a:off x="838200" y="163481"/>
            <a:ext cx="10515600" cy="739056"/>
          </a:xfrm>
          <a:prstGeom prst="rect">
            <a:avLst/>
          </a:prstGeom>
        </p:spPr>
        <p:txBody>
          <a:bodyPr rIns="0">
            <a:normAutofit/>
          </a:bodyPr>
          <a:lstStyle>
            <a:lvl1pPr algn="l" defTabSz="914400" rtl="0" eaLnBrk="1" latinLnBrk="0" hangingPunct="1">
              <a:lnSpc>
                <a:spcPct val="90000"/>
              </a:lnSpc>
              <a:spcBef>
                <a:spcPct val="0"/>
              </a:spcBef>
              <a:buNone/>
              <a:defRPr lang="en-US" sz="3600" b="1" kern="1200">
                <a:solidFill>
                  <a:schemeClr val="bg1"/>
                </a:solidFill>
                <a:latin typeface="Helvetica" panose="020B0500000000000000"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sysClr val="window" lastClr="FFFFFF"/>
                </a:solidFill>
                <a:effectLst/>
                <a:uLnTx/>
                <a:uFillTx/>
                <a:latin typeface="Helvetica" panose="020B0500000000000000" pitchFamily="34" charset="0"/>
                <a:ea typeface="+mj-ea"/>
                <a:cs typeface="+mj-cs"/>
              </a:rPr>
              <a:t>Infographic Clouds – Slide Template</a:t>
            </a:r>
            <a:endParaRPr kumimoji="0" lang="en-GB" sz="3600" b="1" i="0" u="none" strike="noStrike" kern="1200" cap="none" spc="0" normalizeH="0" baseline="0" noProof="0" dirty="0">
              <a:ln>
                <a:noFill/>
              </a:ln>
              <a:solidFill>
                <a:sysClr val="window" lastClr="FFFFFF"/>
              </a:solidFill>
              <a:effectLst/>
              <a:uLnTx/>
              <a:uFillTx/>
              <a:latin typeface="Helvetica" panose="020B0500000000000000" pitchFamily="34" charset="0"/>
              <a:ea typeface="+mj-ea"/>
              <a:cs typeface="+mj-cs"/>
            </a:endParaRPr>
          </a:p>
        </p:txBody>
      </p:sp>
      <p:grpSp>
        <p:nvGrpSpPr>
          <p:cNvPr id="95" name="Group 94">
            <a:extLst>
              <a:ext uri="{FF2B5EF4-FFF2-40B4-BE49-F238E27FC236}">
                <a16:creationId xmlns:a16="http://schemas.microsoft.com/office/drawing/2014/main" id="{A284320A-0456-953F-8FC0-1C78F020D3E3}"/>
              </a:ext>
            </a:extLst>
          </p:cNvPr>
          <p:cNvGrpSpPr/>
          <p:nvPr/>
        </p:nvGrpSpPr>
        <p:grpSpPr>
          <a:xfrm>
            <a:off x="4420955" y="973431"/>
            <a:ext cx="6952048" cy="5142536"/>
            <a:chOff x="15273057" y="2642602"/>
            <a:chExt cx="2209518" cy="1634412"/>
          </a:xfrm>
        </p:grpSpPr>
        <p:sp>
          <p:nvSpPr>
            <p:cNvPr id="96" name="Shape">
              <a:extLst>
                <a:ext uri="{FF2B5EF4-FFF2-40B4-BE49-F238E27FC236}">
                  <a16:creationId xmlns:a16="http://schemas.microsoft.com/office/drawing/2014/main" id="{BBE9B881-2184-E4AC-A22F-1380057810A1}"/>
                </a:ext>
              </a:extLst>
            </p:cNvPr>
            <p:cNvSpPr/>
            <p:nvPr/>
          </p:nvSpPr>
          <p:spPr>
            <a:xfrm>
              <a:off x="15273057" y="2642602"/>
              <a:ext cx="2151517" cy="1429231"/>
            </a:xfrm>
            <a:custGeom>
              <a:avLst/>
              <a:gdLst/>
              <a:ahLst/>
              <a:cxnLst>
                <a:cxn ang="0">
                  <a:pos x="wd2" y="hd2"/>
                </a:cxn>
                <a:cxn ang="5400000">
                  <a:pos x="wd2" y="hd2"/>
                </a:cxn>
                <a:cxn ang="10800000">
                  <a:pos x="wd2" y="hd2"/>
                </a:cxn>
                <a:cxn ang="16200000">
                  <a:pos x="wd2" y="hd2"/>
                </a:cxn>
              </a:cxnLst>
              <a:rect l="0" t="0" r="r" b="b"/>
              <a:pathLst>
                <a:path w="21590" h="21502" extrusionOk="0">
                  <a:moveTo>
                    <a:pt x="20200" y="9301"/>
                  </a:moveTo>
                  <a:cubicBezTo>
                    <a:pt x="20209" y="9309"/>
                    <a:pt x="20218" y="9314"/>
                    <a:pt x="20227" y="9322"/>
                  </a:cubicBezTo>
                  <a:cubicBezTo>
                    <a:pt x="20228" y="9322"/>
                    <a:pt x="20228" y="9324"/>
                    <a:pt x="20230" y="9324"/>
                  </a:cubicBezTo>
                  <a:lnTo>
                    <a:pt x="20230" y="9324"/>
                  </a:lnTo>
                  <a:lnTo>
                    <a:pt x="19336" y="8596"/>
                  </a:lnTo>
                  <a:cubicBezTo>
                    <a:pt x="19307" y="8573"/>
                    <a:pt x="19278" y="8550"/>
                    <a:pt x="19248" y="8527"/>
                  </a:cubicBezTo>
                  <a:cubicBezTo>
                    <a:pt x="19248" y="8527"/>
                    <a:pt x="19247" y="8527"/>
                    <a:pt x="19247" y="8525"/>
                  </a:cubicBezTo>
                  <a:cubicBezTo>
                    <a:pt x="19243" y="8523"/>
                    <a:pt x="19241" y="8522"/>
                    <a:pt x="19237" y="8518"/>
                  </a:cubicBezTo>
                  <a:cubicBezTo>
                    <a:pt x="19207" y="8497"/>
                    <a:pt x="19177" y="8476"/>
                    <a:pt x="19146" y="8455"/>
                  </a:cubicBezTo>
                  <a:cubicBezTo>
                    <a:pt x="19135" y="8447"/>
                    <a:pt x="19123" y="8441"/>
                    <a:pt x="19113" y="8434"/>
                  </a:cubicBezTo>
                  <a:cubicBezTo>
                    <a:pt x="19089" y="8418"/>
                    <a:pt x="19065" y="8403"/>
                    <a:pt x="19041" y="8390"/>
                  </a:cubicBezTo>
                  <a:cubicBezTo>
                    <a:pt x="19029" y="8382"/>
                    <a:pt x="19016" y="8376"/>
                    <a:pt x="19005" y="8369"/>
                  </a:cubicBezTo>
                  <a:cubicBezTo>
                    <a:pt x="18978" y="8353"/>
                    <a:pt x="18951" y="8340"/>
                    <a:pt x="18925" y="8329"/>
                  </a:cubicBezTo>
                  <a:cubicBezTo>
                    <a:pt x="18916" y="8325"/>
                    <a:pt x="18905" y="8319"/>
                    <a:pt x="18897" y="8315"/>
                  </a:cubicBezTo>
                  <a:cubicBezTo>
                    <a:pt x="18861" y="8298"/>
                    <a:pt x="18824" y="8283"/>
                    <a:pt x="18787" y="8269"/>
                  </a:cubicBezTo>
                  <a:cubicBezTo>
                    <a:pt x="18786" y="8269"/>
                    <a:pt x="18784" y="8267"/>
                    <a:pt x="18783" y="8267"/>
                  </a:cubicBezTo>
                  <a:cubicBezTo>
                    <a:pt x="18777" y="8265"/>
                    <a:pt x="18769" y="8264"/>
                    <a:pt x="18763" y="8260"/>
                  </a:cubicBezTo>
                  <a:cubicBezTo>
                    <a:pt x="18735" y="8248"/>
                    <a:pt x="18705" y="8239"/>
                    <a:pt x="18677" y="8231"/>
                  </a:cubicBezTo>
                  <a:cubicBezTo>
                    <a:pt x="18665" y="8227"/>
                    <a:pt x="18652" y="8223"/>
                    <a:pt x="18639" y="8220"/>
                  </a:cubicBezTo>
                  <a:cubicBezTo>
                    <a:pt x="18638" y="8220"/>
                    <a:pt x="18638" y="8220"/>
                    <a:pt x="18637" y="8220"/>
                  </a:cubicBezTo>
                  <a:cubicBezTo>
                    <a:pt x="18652" y="8009"/>
                    <a:pt x="18659" y="7797"/>
                    <a:pt x="18661" y="7583"/>
                  </a:cubicBezTo>
                  <a:cubicBezTo>
                    <a:pt x="18663" y="5573"/>
                    <a:pt x="18010" y="3951"/>
                    <a:pt x="17026" y="3176"/>
                  </a:cubicBezTo>
                  <a:cubicBezTo>
                    <a:pt x="17037" y="3185"/>
                    <a:pt x="17049" y="3193"/>
                    <a:pt x="17060" y="3202"/>
                  </a:cubicBezTo>
                  <a:lnTo>
                    <a:pt x="16167" y="2474"/>
                  </a:lnTo>
                  <a:cubicBezTo>
                    <a:pt x="16132" y="2448"/>
                    <a:pt x="16098" y="2421"/>
                    <a:pt x="16063" y="2394"/>
                  </a:cubicBezTo>
                  <a:cubicBezTo>
                    <a:pt x="16062" y="2394"/>
                    <a:pt x="16062" y="2392"/>
                    <a:pt x="16061" y="2392"/>
                  </a:cubicBezTo>
                  <a:cubicBezTo>
                    <a:pt x="16057" y="2390"/>
                    <a:pt x="16053" y="2386"/>
                    <a:pt x="16049" y="2384"/>
                  </a:cubicBezTo>
                  <a:cubicBezTo>
                    <a:pt x="16015" y="2360"/>
                    <a:pt x="15979" y="2335"/>
                    <a:pt x="15944" y="2312"/>
                  </a:cubicBezTo>
                  <a:cubicBezTo>
                    <a:pt x="15931" y="2304"/>
                    <a:pt x="15918" y="2295"/>
                    <a:pt x="15904" y="2287"/>
                  </a:cubicBezTo>
                  <a:cubicBezTo>
                    <a:pt x="15876" y="2270"/>
                    <a:pt x="15847" y="2253"/>
                    <a:pt x="15819" y="2235"/>
                  </a:cubicBezTo>
                  <a:cubicBezTo>
                    <a:pt x="15805" y="2228"/>
                    <a:pt x="15791" y="2220"/>
                    <a:pt x="15777" y="2213"/>
                  </a:cubicBezTo>
                  <a:cubicBezTo>
                    <a:pt x="15745" y="2195"/>
                    <a:pt x="15714" y="2180"/>
                    <a:pt x="15682" y="2165"/>
                  </a:cubicBezTo>
                  <a:cubicBezTo>
                    <a:pt x="15672" y="2159"/>
                    <a:pt x="15661" y="2153"/>
                    <a:pt x="15651" y="2149"/>
                  </a:cubicBezTo>
                  <a:cubicBezTo>
                    <a:pt x="15609" y="2130"/>
                    <a:pt x="15565" y="2111"/>
                    <a:pt x="15522" y="2094"/>
                  </a:cubicBezTo>
                  <a:cubicBezTo>
                    <a:pt x="15521" y="2094"/>
                    <a:pt x="15518" y="2092"/>
                    <a:pt x="15517" y="2092"/>
                  </a:cubicBezTo>
                  <a:cubicBezTo>
                    <a:pt x="15509" y="2088"/>
                    <a:pt x="15500" y="2086"/>
                    <a:pt x="15493" y="2085"/>
                  </a:cubicBezTo>
                  <a:cubicBezTo>
                    <a:pt x="15459" y="2073"/>
                    <a:pt x="15426" y="2060"/>
                    <a:pt x="15393" y="2050"/>
                  </a:cubicBezTo>
                  <a:cubicBezTo>
                    <a:pt x="15378" y="2046"/>
                    <a:pt x="15364" y="2041"/>
                    <a:pt x="15349" y="2037"/>
                  </a:cubicBezTo>
                  <a:cubicBezTo>
                    <a:pt x="15319" y="2029"/>
                    <a:pt x="15290" y="2020"/>
                    <a:pt x="15259" y="2014"/>
                  </a:cubicBezTo>
                  <a:cubicBezTo>
                    <a:pt x="15244" y="2010"/>
                    <a:pt x="15229" y="2006"/>
                    <a:pt x="15212" y="2002"/>
                  </a:cubicBezTo>
                  <a:cubicBezTo>
                    <a:pt x="15180" y="1995"/>
                    <a:pt x="15148" y="1989"/>
                    <a:pt x="15115" y="1983"/>
                  </a:cubicBezTo>
                  <a:cubicBezTo>
                    <a:pt x="15103" y="1981"/>
                    <a:pt x="15090" y="1978"/>
                    <a:pt x="15077" y="1976"/>
                  </a:cubicBezTo>
                  <a:cubicBezTo>
                    <a:pt x="15032" y="1968"/>
                    <a:pt x="14987" y="1964"/>
                    <a:pt x="14941" y="1960"/>
                  </a:cubicBezTo>
                  <a:cubicBezTo>
                    <a:pt x="14934" y="1960"/>
                    <a:pt x="14927" y="1960"/>
                    <a:pt x="14920" y="1958"/>
                  </a:cubicBezTo>
                  <a:cubicBezTo>
                    <a:pt x="14881" y="1957"/>
                    <a:pt x="14841" y="1955"/>
                    <a:pt x="14802" y="1953"/>
                  </a:cubicBezTo>
                  <a:cubicBezTo>
                    <a:pt x="14787" y="1953"/>
                    <a:pt x="14771" y="1953"/>
                    <a:pt x="14756" y="1953"/>
                  </a:cubicBezTo>
                  <a:cubicBezTo>
                    <a:pt x="14724" y="1953"/>
                    <a:pt x="14692" y="1955"/>
                    <a:pt x="14660" y="1955"/>
                  </a:cubicBezTo>
                  <a:cubicBezTo>
                    <a:pt x="14644" y="1955"/>
                    <a:pt x="14627" y="1957"/>
                    <a:pt x="14611" y="1958"/>
                  </a:cubicBezTo>
                  <a:cubicBezTo>
                    <a:pt x="14578" y="1960"/>
                    <a:pt x="14544" y="1964"/>
                    <a:pt x="14513" y="1968"/>
                  </a:cubicBezTo>
                  <a:cubicBezTo>
                    <a:pt x="14497" y="1970"/>
                    <a:pt x="14483" y="1972"/>
                    <a:pt x="14468" y="1974"/>
                  </a:cubicBezTo>
                  <a:cubicBezTo>
                    <a:pt x="14421" y="1981"/>
                    <a:pt x="14372" y="1989"/>
                    <a:pt x="14324" y="1999"/>
                  </a:cubicBezTo>
                  <a:cubicBezTo>
                    <a:pt x="14255" y="2014"/>
                    <a:pt x="14186" y="2031"/>
                    <a:pt x="14117" y="2052"/>
                  </a:cubicBezTo>
                  <a:cubicBezTo>
                    <a:pt x="14107" y="2056"/>
                    <a:pt x="14096" y="2058"/>
                    <a:pt x="14086" y="2062"/>
                  </a:cubicBezTo>
                  <a:cubicBezTo>
                    <a:pt x="14021" y="2083"/>
                    <a:pt x="13956" y="2106"/>
                    <a:pt x="13892" y="2132"/>
                  </a:cubicBezTo>
                  <a:cubicBezTo>
                    <a:pt x="13879" y="2138"/>
                    <a:pt x="13868" y="2142"/>
                    <a:pt x="13855" y="2148"/>
                  </a:cubicBezTo>
                  <a:cubicBezTo>
                    <a:pt x="13791" y="2174"/>
                    <a:pt x="13727" y="2205"/>
                    <a:pt x="13664" y="2237"/>
                  </a:cubicBezTo>
                  <a:cubicBezTo>
                    <a:pt x="13655" y="2241"/>
                    <a:pt x="13647" y="2247"/>
                    <a:pt x="13638" y="2251"/>
                  </a:cubicBezTo>
                  <a:cubicBezTo>
                    <a:pt x="13576" y="2285"/>
                    <a:pt x="13513" y="2320"/>
                    <a:pt x="13452" y="2360"/>
                  </a:cubicBezTo>
                  <a:cubicBezTo>
                    <a:pt x="13447" y="2362"/>
                    <a:pt x="13443" y="2365"/>
                    <a:pt x="13438" y="2367"/>
                  </a:cubicBezTo>
                  <a:cubicBezTo>
                    <a:pt x="13395" y="2394"/>
                    <a:pt x="13353" y="2423"/>
                    <a:pt x="13311" y="2453"/>
                  </a:cubicBezTo>
                  <a:cubicBezTo>
                    <a:pt x="13294" y="2465"/>
                    <a:pt x="13276" y="2478"/>
                    <a:pt x="13260" y="2491"/>
                  </a:cubicBezTo>
                  <a:cubicBezTo>
                    <a:pt x="13243" y="2503"/>
                    <a:pt x="13227" y="2516"/>
                    <a:pt x="13210" y="2530"/>
                  </a:cubicBezTo>
                  <a:cubicBezTo>
                    <a:pt x="13154" y="2572"/>
                    <a:pt x="13099" y="2616"/>
                    <a:pt x="13044" y="2663"/>
                  </a:cubicBezTo>
                  <a:cubicBezTo>
                    <a:pt x="12747" y="2134"/>
                    <a:pt x="12393" y="1699"/>
                    <a:pt x="11993" y="1376"/>
                  </a:cubicBezTo>
                  <a:cubicBezTo>
                    <a:pt x="11997" y="1379"/>
                    <a:pt x="12001" y="1381"/>
                    <a:pt x="12004" y="1385"/>
                  </a:cubicBezTo>
                  <a:lnTo>
                    <a:pt x="11111" y="657"/>
                  </a:lnTo>
                  <a:cubicBezTo>
                    <a:pt x="11069" y="623"/>
                    <a:pt x="11026" y="590"/>
                    <a:pt x="10982" y="558"/>
                  </a:cubicBezTo>
                  <a:cubicBezTo>
                    <a:pt x="10982" y="558"/>
                    <a:pt x="10981" y="556"/>
                    <a:pt x="10981" y="556"/>
                  </a:cubicBezTo>
                  <a:cubicBezTo>
                    <a:pt x="10977" y="554"/>
                    <a:pt x="10973" y="550"/>
                    <a:pt x="10970" y="548"/>
                  </a:cubicBezTo>
                  <a:cubicBezTo>
                    <a:pt x="10925" y="516"/>
                    <a:pt x="10879" y="485"/>
                    <a:pt x="10833" y="455"/>
                  </a:cubicBezTo>
                  <a:cubicBezTo>
                    <a:pt x="10818" y="445"/>
                    <a:pt x="10801" y="434"/>
                    <a:pt x="10785" y="424"/>
                  </a:cubicBezTo>
                  <a:cubicBezTo>
                    <a:pt x="10749" y="401"/>
                    <a:pt x="10713" y="380"/>
                    <a:pt x="10678" y="359"/>
                  </a:cubicBezTo>
                  <a:cubicBezTo>
                    <a:pt x="10660" y="350"/>
                    <a:pt x="10642" y="340"/>
                    <a:pt x="10626" y="331"/>
                  </a:cubicBezTo>
                  <a:cubicBezTo>
                    <a:pt x="10587" y="310"/>
                    <a:pt x="10549" y="290"/>
                    <a:pt x="10511" y="271"/>
                  </a:cubicBezTo>
                  <a:cubicBezTo>
                    <a:pt x="10497" y="264"/>
                    <a:pt x="10482" y="256"/>
                    <a:pt x="10468" y="250"/>
                  </a:cubicBezTo>
                  <a:cubicBezTo>
                    <a:pt x="10415" y="225"/>
                    <a:pt x="10362" y="203"/>
                    <a:pt x="10308" y="182"/>
                  </a:cubicBezTo>
                  <a:cubicBezTo>
                    <a:pt x="10307" y="182"/>
                    <a:pt x="10304" y="180"/>
                    <a:pt x="10303" y="180"/>
                  </a:cubicBezTo>
                  <a:cubicBezTo>
                    <a:pt x="10294" y="176"/>
                    <a:pt x="10285" y="174"/>
                    <a:pt x="10278" y="170"/>
                  </a:cubicBezTo>
                  <a:cubicBezTo>
                    <a:pt x="10234" y="153"/>
                    <a:pt x="10191" y="138"/>
                    <a:pt x="10146" y="124"/>
                  </a:cubicBezTo>
                  <a:cubicBezTo>
                    <a:pt x="10129" y="118"/>
                    <a:pt x="10109" y="113"/>
                    <a:pt x="10092" y="107"/>
                  </a:cubicBezTo>
                  <a:cubicBezTo>
                    <a:pt x="10055" y="96"/>
                    <a:pt x="10018" y="86"/>
                    <a:pt x="9979" y="76"/>
                  </a:cubicBezTo>
                  <a:cubicBezTo>
                    <a:pt x="9960" y="71"/>
                    <a:pt x="9940" y="67"/>
                    <a:pt x="9921" y="63"/>
                  </a:cubicBezTo>
                  <a:cubicBezTo>
                    <a:pt x="9881" y="53"/>
                    <a:pt x="9842" y="48"/>
                    <a:pt x="9802" y="40"/>
                  </a:cubicBezTo>
                  <a:cubicBezTo>
                    <a:pt x="9786" y="36"/>
                    <a:pt x="9769" y="34"/>
                    <a:pt x="9751" y="31"/>
                  </a:cubicBezTo>
                  <a:cubicBezTo>
                    <a:pt x="9695" y="23"/>
                    <a:pt x="9638" y="15"/>
                    <a:pt x="9582" y="10"/>
                  </a:cubicBezTo>
                  <a:cubicBezTo>
                    <a:pt x="9575" y="10"/>
                    <a:pt x="9568" y="10"/>
                    <a:pt x="9561" y="8"/>
                  </a:cubicBezTo>
                  <a:cubicBezTo>
                    <a:pt x="9510" y="4"/>
                    <a:pt x="9461" y="2"/>
                    <a:pt x="9410" y="0"/>
                  </a:cubicBezTo>
                  <a:cubicBezTo>
                    <a:pt x="9391" y="0"/>
                    <a:pt x="9372" y="0"/>
                    <a:pt x="9354" y="0"/>
                  </a:cubicBezTo>
                  <a:cubicBezTo>
                    <a:pt x="9314" y="0"/>
                    <a:pt x="9273" y="2"/>
                    <a:pt x="9233" y="4"/>
                  </a:cubicBezTo>
                  <a:cubicBezTo>
                    <a:pt x="9212" y="6"/>
                    <a:pt x="9192" y="6"/>
                    <a:pt x="9170" y="8"/>
                  </a:cubicBezTo>
                  <a:cubicBezTo>
                    <a:pt x="9129" y="11"/>
                    <a:pt x="9087" y="15"/>
                    <a:pt x="9047" y="21"/>
                  </a:cubicBezTo>
                  <a:cubicBezTo>
                    <a:pt x="9027" y="23"/>
                    <a:pt x="9010" y="25"/>
                    <a:pt x="8991" y="29"/>
                  </a:cubicBezTo>
                  <a:cubicBezTo>
                    <a:pt x="8931" y="36"/>
                    <a:pt x="8871" y="48"/>
                    <a:pt x="8811" y="59"/>
                  </a:cubicBezTo>
                  <a:cubicBezTo>
                    <a:pt x="8745" y="73"/>
                    <a:pt x="8678" y="90"/>
                    <a:pt x="8612" y="109"/>
                  </a:cubicBezTo>
                  <a:cubicBezTo>
                    <a:pt x="8593" y="115"/>
                    <a:pt x="8574" y="120"/>
                    <a:pt x="8555" y="126"/>
                  </a:cubicBezTo>
                  <a:cubicBezTo>
                    <a:pt x="8505" y="141"/>
                    <a:pt x="8455" y="159"/>
                    <a:pt x="8406" y="176"/>
                  </a:cubicBezTo>
                  <a:cubicBezTo>
                    <a:pt x="8388" y="182"/>
                    <a:pt x="8370" y="189"/>
                    <a:pt x="8352" y="195"/>
                  </a:cubicBezTo>
                  <a:cubicBezTo>
                    <a:pt x="8287" y="220"/>
                    <a:pt x="8223" y="246"/>
                    <a:pt x="8160" y="275"/>
                  </a:cubicBezTo>
                  <a:cubicBezTo>
                    <a:pt x="8151" y="279"/>
                    <a:pt x="8142" y="285"/>
                    <a:pt x="8133" y="289"/>
                  </a:cubicBezTo>
                  <a:cubicBezTo>
                    <a:pt x="8077" y="315"/>
                    <a:pt x="8022" y="342"/>
                    <a:pt x="7967" y="371"/>
                  </a:cubicBezTo>
                  <a:cubicBezTo>
                    <a:pt x="7948" y="380"/>
                    <a:pt x="7929" y="392"/>
                    <a:pt x="7910" y="401"/>
                  </a:cubicBezTo>
                  <a:cubicBezTo>
                    <a:pt x="7861" y="428"/>
                    <a:pt x="7813" y="457"/>
                    <a:pt x="7765" y="485"/>
                  </a:cubicBezTo>
                  <a:cubicBezTo>
                    <a:pt x="7749" y="495"/>
                    <a:pt x="7734" y="504"/>
                    <a:pt x="7719" y="512"/>
                  </a:cubicBezTo>
                  <a:cubicBezTo>
                    <a:pt x="7661" y="548"/>
                    <a:pt x="7605" y="585"/>
                    <a:pt x="7549" y="625"/>
                  </a:cubicBezTo>
                  <a:cubicBezTo>
                    <a:pt x="7545" y="627"/>
                    <a:pt x="7541" y="631"/>
                    <a:pt x="7538" y="634"/>
                  </a:cubicBezTo>
                  <a:cubicBezTo>
                    <a:pt x="7516" y="650"/>
                    <a:pt x="7494" y="667"/>
                    <a:pt x="7473" y="682"/>
                  </a:cubicBezTo>
                  <a:cubicBezTo>
                    <a:pt x="7431" y="713"/>
                    <a:pt x="7387" y="745"/>
                    <a:pt x="7347" y="778"/>
                  </a:cubicBezTo>
                  <a:cubicBezTo>
                    <a:pt x="7321" y="797"/>
                    <a:pt x="7297" y="818"/>
                    <a:pt x="7273" y="839"/>
                  </a:cubicBezTo>
                  <a:cubicBezTo>
                    <a:pt x="7234" y="869"/>
                    <a:pt x="7196" y="902"/>
                    <a:pt x="7159" y="934"/>
                  </a:cubicBezTo>
                  <a:cubicBezTo>
                    <a:pt x="7134" y="957"/>
                    <a:pt x="7108" y="980"/>
                    <a:pt x="7083" y="1003"/>
                  </a:cubicBezTo>
                  <a:cubicBezTo>
                    <a:pt x="7047" y="1036"/>
                    <a:pt x="7011" y="1070"/>
                    <a:pt x="6976" y="1104"/>
                  </a:cubicBezTo>
                  <a:cubicBezTo>
                    <a:pt x="6950" y="1129"/>
                    <a:pt x="6925" y="1154"/>
                    <a:pt x="6899" y="1179"/>
                  </a:cubicBezTo>
                  <a:cubicBezTo>
                    <a:pt x="6883" y="1196"/>
                    <a:pt x="6865" y="1211"/>
                    <a:pt x="6848" y="1229"/>
                  </a:cubicBezTo>
                  <a:cubicBezTo>
                    <a:pt x="6827" y="1251"/>
                    <a:pt x="6804" y="1276"/>
                    <a:pt x="6782" y="1299"/>
                  </a:cubicBezTo>
                  <a:cubicBezTo>
                    <a:pt x="6767" y="1315"/>
                    <a:pt x="6751" y="1332"/>
                    <a:pt x="6737" y="1347"/>
                  </a:cubicBezTo>
                  <a:cubicBezTo>
                    <a:pt x="6683" y="1406"/>
                    <a:pt x="6629" y="1467"/>
                    <a:pt x="6576" y="1530"/>
                  </a:cubicBezTo>
                  <a:cubicBezTo>
                    <a:pt x="6569" y="1538"/>
                    <a:pt x="6561" y="1548"/>
                    <a:pt x="6555" y="1555"/>
                  </a:cubicBezTo>
                  <a:cubicBezTo>
                    <a:pt x="6509" y="1611"/>
                    <a:pt x="6463" y="1668"/>
                    <a:pt x="6417" y="1727"/>
                  </a:cubicBezTo>
                  <a:cubicBezTo>
                    <a:pt x="6402" y="1746"/>
                    <a:pt x="6387" y="1767"/>
                    <a:pt x="6372" y="1786"/>
                  </a:cubicBezTo>
                  <a:cubicBezTo>
                    <a:pt x="6356" y="1806"/>
                    <a:pt x="6341" y="1827"/>
                    <a:pt x="6326" y="1846"/>
                  </a:cubicBezTo>
                  <a:cubicBezTo>
                    <a:pt x="6314" y="1861"/>
                    <a:pt x="6303" y="1878"/>
                    <a:pt x="6291" y="1893"/>
                  </a:cubicBezTo>
                  <a:cubicBezTo>
                    <a:pt x="6238" y="1966"/>
                    <a:pt x="6186" y="2041"/>
                    <a:pt x="6135" y="2117"/>
                  </a:cubicBezTo>
                  <a:cubicBezTo>
                    <a:pt x="6118" y="2142"/>
                    <a:pt x="6101" y="2167"/>
                    <a:pt x="6085" y="2192"/>
                  </a:cubicBezTo>
                  <a:cubicBezTo>
                    <a:pt x="6020" y="2291"/>
                    <a:pt x="5956" y="2392"/>
                    <a:pt x="5894" y="2497"/>
                  </a:cubicBezTo>
                  <a:cubicBezTo>
                    <a:pt x="5891" y="2503"/>
                    <a:pt x="5887" y="2507"/>
                    <a:pt x="5885" y="2511"/>
                  </a:cubicBezTo>
                  <a:cubicBezTo>
                    <a:pt x="5875" y="2528"/>
                    <a:pt x="5867" y="2545"/>
                    <a:pt x="5857" y="2560"/>
                  </a:cubicBezTo>
                  <a:cubicBezTo>
                    <a:pt x="5807" y="2646"/>
                    <a:pt x="5759" y="2734"/>
                    <a:pt x="5711" y="2822"/>
                  </a:cubicBezTo>
                  <a:cubicBezTo>
                    <a:pt x="5694" y="2855"/>
                    <a:pt x="5676" y="2889"/>
                    <a:pt x="5659" y="2923"/>
                  </a:cubicBezTo>
                  <a:cubicBezTo>
                    <a:pt x="5613" y="3013"/>
                    <a:pt x="5567" y="3103"/>
                    <a:pt x="5524" y="3195"/>
                  </a:cubicBezTo>
                  <a:cubicBezTo>
                    <a:pt x="5515" y="3214"/>
                    <a:pt x="5506" y="3231"/>
                    <a:pt x="5497" y="3248"/>
                  </a:cubicBezTo>
                  <a:cubicBezTo>
                    <a:pt x="5495" y="3254"/>
                    <a:pt x="5492" y="3260"/>
                    <a:pt x="5490" y="3265"/>
                  </a:cubicBezTo>
                  <a:cubicBezTo>
                    <a:pt x="5434" y="3386"/>
                    <a:pt x="5380" y="3510"/>
                    <a:pt x="5328" y="3634"/>
                  </a:cubicBezTo>
                  <a:cubicBezTo>
                    <a:pt x="5315" y="3665"/>
                    <a:pt x="5302" y="3695"/>
                    <a:pt x="5291" y="3728"/>
                  </a:cubicBezTo>
                  <a:cubicBezTo>
                    <a:pt x="5249" y="3831"/>
                    <a:pt x="5209" y="3936"/>
                    <a:pt x="5170" y="4041"/>
                  </a:cubicBezTo>
                  <a:cubicBezTo>
                    <a:pt x="5162" y="4062"/>
                    <a:pt x="5153" y="4081"/>
                    <a:pt x="5146" y="4102"/>
                  </a:cubicBezTo>
                  <a:cubicBezTo>
                    <a:pt x="5141" y="4117"/>
                    <a:pt x="5135" y="4135"/>
                    <a:pt x="5129" y="4150"/>
                  </a:cubicBezTo>
                  <a:cubicBezTo>
                    <a:pt x="5116" y="4186"/>
                    <a:pt x="5104" y="4223"/>
                    <a:pt x="5092" y="4259"/>
                  </a:cubicBezTo>
                  <a:cubicBezTo>
                    <a:pt x="5070" y="4320"/>
                    <a:pt x="5050" y="4383"/>
                    <a:pt x="5030" y="4446"/>
                  </a:cubicBezTo>
                  <a:cubicBezTo>
                    <a:pt x="5017" y="4484"/>
                    <a:pt x="5005" y="4523"/>
                    <a:pt x="4994" y="4561"/>
                  </a:cubicBezTo>
                  <a:cubicBezTo>
                    <a:pt x="4975" y="4624"/>
                    <a:pt x="4956" y="4687"/>
                    <a:pt x="4937" y="4752"/>
                  </a:cubicBezTo>
                  <a:cubicBezTo>
                    <a:pt x="4926" y="4790"/>
                    <a:pt x="4915" y="4826"/>
                    <a:pt x="4905" y="4865"/>
                  </a:cubicBezTo>
                  <a:cubicBezTo>
                    <a:pt x="4886" y="4935"/>
                    <a:pt x="4867" y="5006"/>
                    <a:pt x="4849" y="5079"/>
                  </a:cubicBezTo>
                  <a:cubicBezTo>
                    <a:pt x="4841" y="5109"/>
                    <a:pt x="4832" y="5140"/>
                    <a:pt x="4824" y="5170"/>
                  </a:cubicBezTo>
                  <a:cubicBezTo>
                    <a:pt x="4823" y="5178"/>
                    <a:pt x="4821" y="5186"/>
                    <a:pt x="4818" y="5193"/>
                  </a:cubicBezTo>
                  <a:cubicBezTo>
                    <a:pt x="4805" y="5245"/>
                    <a:pt x="4794" y="5296"/>
                    <a:pt x="4782" y="5350"/>
                  </a:cubicBezTo>
                  <a:cubicBezTo>
                    <a:pt x="4771" y="5401"/>
                    <a:pt x="4758" y="5453"/>
                    <a:pt x="4747" y="5505"/>
                  </a:cubicBezTo>
                  <a:cubicBezTo>
                    <a:pt x="4734" y="5564"/>
                    <a:pt x="4723" y="5625"/>
                    <a:pt x="4710" y="5686"/>
                  </a:cubicBezTo>
                  <a:cubicBezTo>
                    <a:pt x="4700" y="5738"/>
                    <a:pt x="4688" y="5789"/>
                    <a:pt x="4679" y="5841"/>
                  </a:cubicBezTo>
                  <a:cubicBezTo>
                    <a:pt x="4668" y="5902"/>
                    <a:pt x="4658" y="5965"/>
                    <a:pt x="4647" y="6026"/>
                  </a:cubicBezTo>
                  <a:cubicBezTo>
                    <a:pt x="4638" y="6078"/>
                    <a:pt x="4629" y="6129"/>
                    <a:pt x="4621" y="6181"/>
                  </a:cubicBezTo>
                  <a:cubicBezTo>
                    <a:pt x="4610" y="6244"/>
                    <a:pt x="4603" y="6309"/>
                    <a:pt x="4594" y="6372"/>
                  </a:cubicBezTo>
                  <a:cubicBezTo>
                    <a:pt x="4586" y="6424"/>
                    <a:pt x="4579" y="6475"/>
                    <a:pt x="4572" y="6527"/>
                  </a:cubicBezTo>
                  <a:cubicBezTo>
                    <a:pt x="4564" y="6592"/>
                    <a:pt x="4558" y="6659"/>
                    <a:pt x="4550" y="6726"/>
                  </a:cubicBezTo>
                  <a:cubicBezTo>
                    <a:pt x="4545" y="6775"/>
                    <a:pt x="4539" y="6827"/>
                    <a:pt x="4534" y="6876"/>
                  </a:cubicBezTo>
                  <a:cubicBezTo>
                    <a:pt x="4528" y="6947"/>
                    <a:pt x="4522" y="7018"/>
                    <a:pt x="4517" y="7089"/>
                  </a:cubicBezTo>
                  <a:cubicBezTo>
                    <a:pt x="4513" y="7136"/>
                    <a:pt x="4510" y="7182"/>
                    <a:pt x="4506" y="7230"/>
                  </a:cubicBezTo>
                  <a:cubicBezTo>
                    <a:pt x="4501" y="7310"/>
                    <a:pt x="4498" y="7389"/>
                    <a:pt x="4494" y="7469"/>
                  </a:cubicBezTo>
                  <a:cubicBezTo>
                    <a:pt x="4493" y="7507"/>
                    <a:pt x="4491" y="7547"/>
                    <a:pt x="4489" y="7585"/>
                  </a:cubicBezTo>
                  <a:cubicBezTo>
                    <a:pt x="4485" y="7704"/>
                    <a:pt x="4483" y="7824"/>
                    <a:pt x="4483" y="7943"/>
                  </a:cubicBezTo>
                  <a:cubicBezTo>
                    <a:pt x="4483" y="8166"/>
                    <a:pt x="4489" y="8384"/>
                    <a:pt x="4501" y="8600"/>
                  </a:cubicBezTo>
                  <a:cubicBezTo>
                    <a:pt x="4510" y="8743"/>
                    <a:pt x="4520" y="8885"/>
                    <a:pt x="4534" y="9024"/>
                  </a:cubicBezTo>
                  <a:cubicBezTo>
                    <a:pt x="4540" y="9093"/>
                    <a:pt x="4548" y="9164"/>
                    <a:pt x="4557" y="9232"/>
                  </a:cubicBezTo>
                  <a:cubicBezTo>
                    <a:pt x="4573" y="9370"/>
                    <a:pt x="4593" y="9506"/>
                    <a:pt x="4613" y="9637"/>
                  </a:cubicBezTo>
                  <a:cubicBezTo>
                    <a:pt x="4251" y="9506"/>
                    <a:pt x="3862" y="9473"/>
                    <a:pt x="3456" y="9557"/>
                  </a:cubicBezTo>
                  <a:cubicBezTo>
                    <a:pt x="3402" y="9569"/>
                    <a:pt x="3349" y="9582"/>
                    <a:pt x="3296" y="9597"/>
                  </a:cubicBezTo>
                  <a:cubicBezTo>
                    <a:pt x="3281" y="9601"/>
                    <a:pt x="3266" y="9607"/>
                    <a:pt x="3251" y="9611"/>
                  </a:cubicBezTo>
                  <a:cubicBezTo>
                    <a:pt x="3211" y="9622"/>
                    <a:pt x="3170" y="9635"/>
                    <a:pt x="3131" y="9651"/>
                  </a:cubicBezTo>
                  <a:cubicBezTo>
                    <a:pt x="3117" y="9656"/>
                    <a:pt x="3103" y="9660"/>
                    <a:pt x="3089" y="9666"/>
                  </a:cubicBezTo>
                  <a:cubicBezTo>
                    <a:pt x="3036" y="9685"/>
                    <a:pt x="2985" y="9706"/>
                    <a:pt x="2935" y="9731"/>
                  </a:cubicBezTo>
                  <a:cubicBezTo>
                    <a:pt x="2927" y="9735"/>
                    <a:pt x="2921" y="9739"/>
                    <a:pt x="2913" y="9741"/>
                  </a:cubicBezTo>
                  <a:cubicBezTo>
                    <a:pt x="2868" y="9762"/>
                    <a:pt x="2825" y="9783"/>
                    <a:pt x="2780" y="9807"/>
                  </a:cubicBezTo>
                  <a:cubicBezTo>
                    <a:pt x="2765" y="9815"/>
                    <a:pt x="2750" y="9825"/>
                    <a:pt x="2734" y="9832"/>
                  </a:cubicBezTo>
                  <a:cubicBezTo>
                    <a:pt x="2695" y="9853"/>
                    <a:pt x="2657" y="9876"/>
                    <a:pt x="2618" y="9901"/>
                  </a:cubicBezTo>
                  <a:cubicBezTo>
                    <a:pt x="2607" y="9909"/>
                    <a:pt x="2594" y="9916"/>
                    <a:pt x="2583" y="9924"/>
                  </a:cubicBezTo>
                  <a:cubicBezTo>
                    <a:pt x="2537" y="9953"/>
                    <a:pt x="2492" y="9983"/>
                    <a:pt x="2448" y="10014"/>
                  </a:cubicBezTo>
                  <a:cubicBezTo>
                    <a:pt x="2445" y="10016"/>
                    <a:pt x="2441" y="10018"/>
                    <a:pt x="2439" y="10021"/>
                  </a:cubicBezTo>
                  <a:cubicBezTo>
                    <a:pt x="2421" y="10033"/>
                    <a:pt x="2404" y="10046"/>
                    <a:pt x="2387" y="10060"/>
                  </a:cubicBezTo>
                  <a:cubicBezTo>
                    <a:pt x="2352" y="10084"/>
                    <a:pt x="2319" y="10109"/>
                    <a:pt x="2286" y="10136"/>
                  </a:cubicBezTo>
                  <a:cubicBezTo>
                    <a:pt x="2265" y="10151"/>
                    <a:pt x="2246" y="10169"/>
                    <a:pt x="2226" y="10186"/>
                  </a:cubicBezTo>
                  <a:cubicBezTo>
                    <a:pt x="2195" y="10211"/>
                    <a:pt x="2165" y="10235"/>
                    <a:pt x="2135" y="10262"/>
                  </a:cubicBezTo>
                  <a:cubicBezTo>
                    <a:pt x="2115" y="10279"/>
                    <a:pt x="2095" y="10298"/>
                    <a:pt x="2074" y="10318"/>
                  </a:cubicBezTo>
                  <a:cubicBezTo>
                    <a:pt x="2045" y="10344"/>
                    <a:pt x="2017" y="10371"/>
                    <a:pt x="1989" y="10398"/>
                  </a:cubicBezTo>
                  <a:cubicBezTo>
                    <a:pt x="1968" y="10417"/>
                    <a:pt x="1948" y="10438"/>
                    <a:pt x="1928" y="10459"/>
                  </a:cubicBezTo>
                  <a:cubicBezTo>
                    <a:pt x="1915" y="10472"/>
                    <a:pt x="1901" y="10486"/>
                    <a:pt x="1887" y="10499"/>
                  </a:cubicBezTo>
                  <a:cubicBezTo>
                    <a:pt x="1878" y="10509"/>
                    <a:pt x="1870" y="10518"/>
                    <a:pt x="1861" y="10528"/>
                  </a:cubicBezTo>
                  <a:cubicBezTo>
                    <a:pt x="1803" y="10591"/>
                    <a:pt x="1744" y="10654"/>
                    <a:pt x="1687" y="10721"/>
                  </a:cubicBezTo>
                  <a:cubicBezTo>
                    <a:pt x="1682" y="10726"/>
                    <a:pt x="1675" y="10732"/>
                    <a:pt x="1670" y="10740"/>
                  </a:cubicBezTo>
                  <a:cubicBezTo>
                    <a:pt x="1609" y="10812"/>
                    <a:pt x="1549" y="10889"/>
                    <a:pt x="1491" y="10967"/>
                  </a:cubicBezTo>
                  <a:cubicBezTo>
                    <a:pt x="1484" y="10977"/>
                    <a:pt x="1477" y="10984"/>
                    <a:pt x="1470" y="10992"/>
                  </a:cubicBezTo>
                  <a:cubicBezTo>
                    <a:pt x="1461" y="11005"/>
                    <a:pt x="1452" y="11019"/>
                    <a:pt x="1443" y="11030"/>
                  </a:cubicBezTo>
                  <a:cubicBezTo>
                    <a:pt x="1401" y="11089"/>
                    <a:pt x="1359" y="11149"/>
                    <a:pt x="1319" y="11210"/>
                  </a:cubicBezTo>
                  <a:cubicBezTo>
                    <a:pt x="1306" y="11229"/>
                    <a:pt x="1292" y="11248"/>
                    <a:pt x="1279" y="11269"/>
                  </a:cubicBezTo>
                  <a:cubicBezTo>
                    <a:pt x="1227" y="11349"/>
                    <a:pt x="1176" y="11430"/>
                    <a:pt x="1126" y="11514"/>
                  </a:cubicBezTo>
                  <a:cubicBezTo>
                    <a:pt x="1124" y="11517"/>
                    <a:pt x="1121" y="11521"/>
                    <a:pt x="1120" y="11525"/>
                  </a:cubicBezTo>
                  <a:cubicBezTo>
                    <a:pt x="1112" y="11538"/>
                    <a:pt x="1106" y="11552"/>
                    <a:pt x="1098" y="11565"/>
                  </a:cubicBezTo>
                  <a:cubicBezTo>
                    <a:pt x="1059" y="11634"/>
                    <a:pt x="1019" y="11705"/>
                    <a:pt x="981" y="11775"/>
                  </a:cubicBezTo>
                  <a:cubicBezTo>
                    <a:pt x="967" y="11802"/>
                    <a:pt x="953" y="11829"/>
                    <a:pt x="939" y="11856"/>
                  </a:cubicBezTo>
                  <a:cubicBezTo>
                    <a:pt x="902" y="11926"/>
                    <a:pt x="866" y="11999"/>
                    <a:pt x="830" y="12073"/>
                  </a:cubicBezTo>
                  <a:cubicBezTo>
                    <a:pt x="823" y="12089"/>
                    <a:pt x="816" y="12102"/>
                    <a:pt x="809" y="12117"/>
                  </a:cubicBezTo>
                  <a:cubicBezTo>
                    <a:pt x="806" y="12121"/>
                    <a:pt x="805" y="12127"/>
                    <a:pt x="802" y="12131"/>
                  </a:cubicBezTo>
                  <a:cubicBezTo>
                    <a:pt x="758" y="12228"/>
                    <a:pt x="714" y="12326"/>
                    <a:pt x="672" y="12427"/>
                  </a:cubicBezTo>
                  <a:cubicBezTo>
                    <a:pt x="662" y="12452"/>
                    <a:pt x="652" y="12477"/>
                    <a:pt x="642" y="12501"/>
                  </a:cubicBezTo>
                  <a:cubicBezTo>
                    <a:pt x="609" y="12584"/>
                    <a:pt x="577" y="12668"/>
                    <a:pt x="545" y="12752"/>
                  </a:cubicBezTo>
                  <a:cubicBezTo>
                    <a:pt x="539" y="12769"/>
                    <a:pt x="532" y="12784"/>
                    <a:pt x="526" y="12801"/>
                  </a:cubicBezTo>
                  <a:cubicBezTo>
                    <a:pt x="521" y="12815"/>
                    <a:pt x="517" y="12826"/>
                    <a:pt x="513" y="12840"/>
                  </a:cubicBezTo>
                  <a:cubicBezTo>
                    <a:pt x="503" y="12868"/>
                    <a:pt x="493" y="12897"/>
                    <a:pt x="484" y="12926"/>
                  </a:cubicBezTo>
                  <a:cubicBezTo>
                    <a:pt x="467" y="12975"/>
                    <a:pt x="451" y="13025"/>
                    <a:pt x="434" y="13075"/>
                  </a:cubicBezTo>
                  <a:cubicBezTo>
                    <a:pt x="424" y="13105"/>
                    <a:pt x="415" y="13136"/>
                    <a:pt x="405" y="13166"/>
                  </a:cubicBezTo>
                  <a:cubicBezTo>
                    <a:pt x="389" y="13216"/>
                    <a:pt x="374" y="13268"/>
                    <a:pt x="359" y="13319"/>
                  </a:cubicBezTo>
                  <a:cubicBezTo>
                    <a:pt x="350" y="13350"/>
                    <a:pt x="341" y="13378"/>
                    <a:pt x="333" y="13409"/>
                  </a:cubicBezTo>
                  <a:cubicBezTo>
                    <a:pt x="318" y="13466"/>
                    <a:pt x="303" y="13524"/>
                    <a:pt x="288" y="13581"/>
                  </a:cubicBezTo>
                  <a:cubicBezTo>
                    <a:pt x="281" y="13606"/>
                    <a:pt x="275" y="13631"/>
                    <a:pt x="268" y="13655"/>
                  </a:cubicBezTo>
                  <a:cubicBezTo>
                    <a:pt x="267" y="13661"/>
                    <a:pt x="266" y="13667"/>
                    <a:pt x="263" y="13673"/>
                  </a:cubicBezTo>
                  <a:cubicBezTo>
                    <a:pt x="253" y="13715"/>
                    <a:pt x="244" y="13755"/>
                    <a:pt x="235" y="13797"/>
                  </a:cubicBezTo>
                  <a:cubicBezTo>
                    <a:pt x="226" y="13839"/>
                    <a:pt x="216" y="13879"/>
                    <a:pt x="207" y="13921"/>
                  </a:cubicBezTo>
                  <a:cubicBezTo>
                    <a:pt x="197" y="13969"/>
                    <a:pt x="188" y="14017"/>
                    <a:pt x="178" y="14066"/>
                  </a:cubicBezTo>
                  <a:cubicBezTo>
                    <a:pt x="170" y="14108"/>
                    <a:pt x="161" y="14148"/>
                    <a:pt x="154" y="14190"/>
                  </a:cubicBezTo>
                  <a:cubicBezTo>
                    <a:pt x="145" y="14240"/>
                    <a:pt x="137" y="14288"/>
                    <a:pt x="128" y="14338"/>
                  </a:cubicBezTo>
                  <a:cubicBezTo>
                    <a:pt x="121" y="14380"/>
                    <a:pt x="114" y="14422"/>
                    <a:pt x="108" y="14464"/>
                  </a:cubicBezTo>
                  <a:cubicBezTo>
                    <a:pt x="100" y="14513"/>
                    <a:pt x="94" y="14565"/>
                    <a:pt x="86" y="14615"/>
                  </a:cubicBezTo>
                  <a:cubicBezTo>
                    <a:pt x="81" y="14657"/>
                    <a:pt x="75" y="14699"/>
                    <a:pt x="68" y="14739"/>
                  </a:cubicBezTo>
                  <a:cubicBezTo>
                    <a:pt x="62" y="14790"/>
                    <a:pt x="57" y="14842"/>
                    <a:pt x="52" y="14896"/>
                  </a:cubicBezTo>
                  <a:cubicBezTo>
                    <a:pt x="48" y="14938"/>
                    <a:pt x="43" y="14978"/>
                    <a:pt x="39" y="15018"/>
                  </a:cubicBezTo>
                  <a:cubicBezTo>
                    <a:pt x="34" y="15073"/>
                    <a:pt x="30" y="15129"/>
                    <a:pt x="26" y="15184"/>
                  </a:cubicBezTo>
                  <a:cubicBezTo>
                    <a:pt x="24" y="15222"/>
                    <a:pt x="20" y="15260"/>
                    <a:pt x="17" y="15299"/>
                  </a:cubicBezTo>
                  <a:cubicBezTo>
                    <a:pt x="14" y="15362"/>
                    <a:pt x="11" y="15425"/>
                    <a:pt x="8" y="15490"/>
                  </a:cubicBezTo>
                  <a:cubicBezTo>
                    <a:pt x="7" y="15520"/>
                    <a:pt x="5" y="15553"/>
                    <a:pt x="5" y="15583"/>
                  </a:cubicBezTo>
                  <a:cubicBezTo>
                    <a:pt x="2" y="15679"/>
                    <a:pt x="0" y="15774"/>
                    <a:pt x="0" y="15870"/>
                  </a:cubicBezTo>
                  <a:cubicBezTo>
                    <a:pt x="-3" y="17855"/>
                    <a:pt x="635" y="19464"/>
                    <a:pt x="1599" y="20251"/>
                  </a:cubicBezTo>
                  <a:lnTo>
                    <a:pt x="2492" y="20979"/>
                  </a:lnTo>
                  <a:cubicBezTo>
                    <a:pt x="2482" y="20971"/>
                    <a:pt x="2472" y="20960"/>
                    <a:pt x="2462" y="20952"/>
                  </a:cubicBezTo>
                  <a:cubicBezTo>
                    <a:pt x="3001" y="21405"/>
                    <a:pt x="3643" y="21600"/>
                    <a:pt x="4334" y="21455"/>
                  </a:cubicBezTo>
                  <a:lnTo>
                    <a:pt x="18639" y="18440"/>
                  </a:lnTo>
                  <a:cubicBezTo>
                    <a:pt x="20265" y="18098"/>
                    <a:pt x="21586" y="15687"/>
                    <a:pt x="21589" y="13056"/>
                  </a:cubicBezTo>
                  <a:cubicBezTo>
                    <a:pt x="21597" y="11349"/>
                    <a:pt x="21039" y="9964"/>
                    <a:pt x="20200" y="9301"/>
                  </a:cubicBezTo>
                  <a:close/>
                </a:path>
              </a:pathLst>
            </a:custGeom>
            <a:solidFill>
              <a:srgbClr val="063951">
                <a:lumMod val="90000"/>
                <a:lumOff val="1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97" name="Shape">
              <a:extLst>
                <a:ext uri="{FF2B5EF4-FFF2-40B4-BE49-F238E27FC236}">
                  <a16:creationId xmlns:a16="http://schemas.microsoft.com/office/drawing/2014/main" id="{424F1BB6-F081-ADA3-1388-CB827940C994}"/>
                </a:ext>
              </a:extLst>
            </p:cNvPr>
            <p:cNvSpPr/>
            <p:nvPr/>
          </p:nvSpPr>
          <p:spPr>
            <a:xfrm>
              <a:off x="15367002" y="2679699"/>
              <a:ext cx="2062609" cy="1381035"/>
            </a:xfrm>
            <a:custGeom>
              <a:avLst/>
              <a:gdLst/>
              <a:ahLst/>
              <a:cxnLst>
                <a:cxn ang="0">
                  <a:pos x="wd2" y="hd2"/>
                </a:cxn>
                <a:cxn ang="5400000">
                  <a:pos x="wd2" y="hd2"/>
                </a:cxn>
                <a:cxn ang="10800000">
                  <a:pos x="wd2" y="hd2"/>
                </a:cxn>
                <a:cxn ang="16200000">
                  <a:pos x="wd2" y="hd2"/>
                </a:cxn>
              </a:cxnLst>
              <a:rect l="0" t="0" r="r" b="b"/>
              <a:pathLst>
                <a:path w="21593" h="20948" extrusionOk="0">
                  <a:moveTo>
                    <a:pt x="9186" y="60"/>
                  </a:moveTo>
                  <a:cubicBezTo>
                    <a:pt x="10933" y="-296"/>
                    <a:pt x="12443" y="954"/>
                    <a:pt x="13187" y="3077"/>
                  </a:cubicBezTo>
                  <a:cubicBezTo>
                    <a:pt x="13705" y="2520"/>
                    <a:pt x="14302" y="2141"/>
                    <a:pt x="14938" y="2012"/>
                  </a:cubicBezTo>
                  <a:cubicBezTo>
                    <a:pt x="16925" y="1607"/>
                    <a:pt x="18533" y="3797"/>
                    <a:pt x="18529" y="6907"/>
                  </a:cubicBezTo>
                  <a:cubicBezTo>
                    <a:pt x="18529" y="7373"/>
                    <a:pt x="18491" y="7833"/>
                    <a:pt x="18422" y="8280"/>
                  </a:cubicBezTo>
                  <a:cubicBezTo>
                    <a:pt x="18458" y="8270"/>
                    <a:pt x="18493" y="8261"/>
                    <a:pt x="18527" y="8253"/>
                  </a:cubicBezTo>
                  <a:cubicBezTo>
                    <a:pt x="20224" y="7908"/>
                    <a:pt x="21596" y="9779"/>
                    <a:pt x="21593" y="12431"/>
                  </a:cubicBezTo>
                  <a:cubicBezTo>
                    <a:pt x="21589" y="15084"/>
                    <a:pt x="20212" y="17515"/>
                    <a:pt x="18515" y="17860"/>
                  </a:cubicBezTo>
                  <a:lnTo>
                    <a:pt x="3591" y="20899"/>
                  </a:lnTo>
                  <a:cubicBezTo>
                    <a:pt x="1605" y="21304"/>
                    <a:pt x="-4" y="19112"/>
                    <a:pt x="0" y="16005"/>
                  </a:cubicBezTo>
                  <a:cubicBezTo>
                    <a:pt x="4" y="12897"/>
                    <a:pt x="1618" y="10048"/>
                    <a:pt x="3606" y="9644"/>
                  </a:cubicBezTo>
                  <a:cubicBezTo>
                    <a:pt x="4030" y="9557"/>
                    <a:pt x="4435" y="9590"/>
                    <a:pt x="4813" y="9725"/>
                  </a:cubicBezTo>
                  <a:cubicBezTo>
                    <a:pt x="4724" y="9187"/>
                    <a:pt x="4676" y="8615"/>
                    <a:pt x="4676" y="8018"/>
                  </a:cubicBezTo>
                  <a:cubicBezTo>
                    <a:pt x="4681" y="4129"/>
                    <a:pt x="6701" y="567"/>
                    <a:pt x="9186" y="60"/>
                  </a:cubicBezTo>
                  <a:close/>
                </a:path>
              </a:pathLst>
            </a:custGeom>
            <a:solidFill>
              <a:srgbClr val="4CC1EF">
                <a:lumMod val="50000"/>
              </a:srgbClr>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98" name="Shape">
              <a:extLst>
                <a:ext uri="{FF2B5EF4-FFF2-40B4-BE49-F238E27FC236}">
                  <a16:creationId xmlns:a16="http://schemas.microsoft.com/office/drawing/2014/main" id="{C3267D1F-7982-0A0E-1D91-6F0D9F90CA7B}"/>
                </a:ext>
              </a:extLst>
            </p:cNvPr>
            <p:cNvSpPr/>
            <p:nvPr/>
          </p:nvSpPr>
          <p:spPr>
            <a:xfrm>
              <a:off x="15608303" y="2943789"/>
              <a:ext cx="1857378" cy="1232105"/>
            </a:xfrm>
            <a:custGeom>
              <a:avLst/>
              <a:gdLst/>
              <a:ahLst/>
              <a:cxnLst>
                <a:cxn ang="0">
                  <a:pos x="wd2" y="hd2"/>
                </a:cxn>
                <a:cxn ang="5400000">
                  <a:pos x="wd2" y="hd2"/>
                </a:cxn>
                <a:cxn ang="10800000">
                  <a:pos x="wd2" y="hd2"/>
                </a:cxn>
                <a:cxn ang="16200000">
                  <a:pos x="wd2" y="hd2"/>
                </a:cxn>
              </a:cxnLst>
              <a:rect l="0" t="0" r="r" b="b"/>
              <a:pathLst>
                <a:path w="21597" h="21502" extrusionOk="0">
                  <a:moveTo>
                    <a:pt x="20214" y="9382"/>
                  </a:moveTo>
                  <a:cubicBezTo>
                    <a:pt x="20219" y="9386"/>
                    <a:pt x="20225" y="9390"/>
                    <a:pt x="20231" y="9395"/>
                  </a:cubicBezTo>
                  <a:lnTo>
                    <a:pt x="20231" y="9395"/>
                  </a:lnTo>
                  <a:cubicBezTo>
                    <a:pt x="20231" y="9395"/>
                    <a:pt x="20231" y="9395"/>
                    <a:pt x="20231" y="9395"/>
                  </a:cubicBezTo>
                  <a:lnTo>
                    <a:pt x="19196" y="8550"/>
                  </a:lnTo>
                  <a:cubicBezTo>
                    <a:pt x="19167" y="8526"/>
                    <a:pt x="19137" y="8504"/>
                    <a:pt x="19107" y="8482"/>
                  </a:cubicBezTo>
                  <a:cubicBezTo>
                    <a:pt x="19087" y="8466"/>
                    <a:pt x="19065" y="8451"/>
                    <a:pt x="19043" y="8437"/>
                  </a:cubicBezTo>
                  <a:cubicBezTo>
                    <a:pt x="19032" y="8431"/>
                    <a:pt x="19023" y="8424"/>
                    <a:pt x="19013" y="8417"/>
                  </a:cubicBezTo>
                  <a:cubicBezTo>
                    <a:pt x="18961" y="8384"/>
                    <a:pt x="18910" y="8353"/>
                    <a:pt x="18856" y="8324"/>
                  </a:cubicBezTo>
                  <a:cubicBezTo>
                    <a:pt x="18845" y="8318"/>
                    <a:pt x="18833" y="8313"/>
                    <a:pt x="18822" y="8307"/>
                  </a:cubicBezTo>
                  <a:cubicBezTo>
                    <a:pt x="18772" y="8280"/>
                    <a:pt x="18721" y="8258"/>
                    <a:pt x="18669" y="8236"/>
                  </a:cubicBezTo>
                  <a:cubicBezTo>
                    <a:pt x="18663" y="8234"/>
                    <a:pt x="18659" y="8231"/>
                    <a:pt x="18653" y="8229"/>
                  </a:cubicBezTo>
                  <a:cubicBezTo>
                    <a:pt x="18653" y="8229"/>
                    <a:pt x="18653" y="8229"/>
                    <a:pt x="18651" y="8229"/>
                  </a:cubicBezTo>
                  <a:cubicBezTo>
                    <a:pt x="18663" y="8043"/>
                    <a:pt x="18670" y="7855"/>
                    <a:pt x="18670" y="7666"/>
                  </a:cubicBezTo>
                  <a:cubicBezTo>
                    <a:pt x="18673" y="5667"/>
                    <a:pt x="18024" y="4054"/>
                    <a:pt x="17046" y="3282"/>
                  </a:cubicBezTo>
                  <a:cubicBezTo>
                    <a:pt x="17058" y="3291"/>
                    <a:pt x="17070" y="3300"/>
                    <a:pt x="17081" y="3309"/>
                  </a:cubicBezTo>
                  <a:lnTo>
                    <a:pt x="16046" y="2465"/>
                  </a:lnTo>
                  <a:cubicBezTo>
                    <a:pt x="16012" y="2438"/>
                    <a:pt x="15978" y="2411"/>
                    <a:pt x="15944" y="2385"/>
                  </a:cubicBezTo>
                  <a:cubicBezTo>
                    <a:pt x="15944" y="2385"/>
                    <a:pt x="15943" y="2385"/>
                    <a:pt x="15943" y="2383"/>
                  </a:cubicBezTo>
                  <a:cubicBezTo>
                    <a:pt x="15938" y="2380"/>
                    <a:pt x="15935" y="2378"/>
                    <a:pt x="15931" y="2374"/>
                  </a:cubicBezTo>
                  <a:cubicBezTo>
                    <a:pt x="15896" y="2349"/>
                    <a:pt x="15862" y="2325"/>
                    <a:pt x="15825" y="2301"/>
                  </a:cubicBezTo>
                  <a:cubicBezTo>
                    <a:pt x="15811" y="2292"/>
                    <a:pt x="15798" y="2285"/>
                    <a:pt x="15786" y="2276"/>
                  </a:cubicBezTo>
                  <a:cubicBezTo>
                    <a:pt x="15758" y="2258"/>
                    <a:pt x="15730" y="2241"/>
                    <a:pt x="15701" y="2225"/>
                  </a:cubicBezTo>
                  <a:cubicBezTo>
                    <a:pt x="15687" y="2216"/>
                    <a:pt x="15673" y="2210"/>
                    <a:pt x="15659" y="2201"/>
                  </a:cubicBezTo>
                  <a:cubicBezTo>
                    <a:pt x="15628" y="2183"/>
                    <a:pt x="15597" y="2168"/>
                    <a:pt x="15566" y="2152"/>
                  </a:cubicBezTo>
                  <a:cubicBezTo>
                    <a:pt x="15556" y="2148"/>
                    <a:pt x="15544" y="2141"/>
                    <a:pt x="15534" y="2136"/>
                  </a:cubicBezTo>
                  <a:cubicBezTo>
                    <a:pt x="15492" y="2117"/>
                    <a:pt x="15450" y="2099"/>
                    <a:pt x="15407" y="2081"/>
                  </a:cubicBezTo>
                  <a:cubicBezTo>
                    <a:pt x="15405" y="2081"/>
                    <a:pt x="15404" y="2079"/>
                    <a:pt x="15402" y="2079"/>
                  </a:cubicBezTo>
                  <a:cubicBezTo>
                    <a:pt x="15395" y="2077"/>
                    <a:pt x="15386" y="2074"/>
                    <a:pt x="15379" y="2070"/>
                  </a:cubicBezTo>
                  <a:cubicBezTo>
                    <a:pt x="15346" y="2057"/>
                    <a:pt x="15312" y="2046"/>
                    <a:pt x="15280" y="2035"/>
                  </a:cubicBezTo>
                  <a:cubicBezTo>
                    <a:pt x="15265" y="2030"/>
                    <a:pt x="15250" y="2026"/>
                    <a:pt x="15236" y="2021"/>
                  </a:cubicBezTo>
                  <a:cubicBezTo>
                    <a:pt x="15206" y="2012"/>
                    <a:pt x="15176" y="2006"/>
                    <a:pt x="15147" y="1997"/>
                  </a:cubicBezTo>
                  <a:cubicBezTo>
                    <a:pt x="15132" y="1992"/>
                    <a:pt x="15116" y="1990"/>
                    <a:pt x="15101" y="1986"/>
                  </a:cubicBezTo>
                  <a:cubicBezTo>
                    <a:pt x="15070" y="1979"/>
                    <a:pt x="15038" y="1972"/>
                    <a:pt x="15005" y="1968"/>
                  </a:cubicBezTo>
                  <a:cubicBezTo>
                    <a:pt x="14992" y="1966"/>
                    <a:pt x="14980" y="1964"/>
                    <a:pt x="14967" y="1961"/>
                  </a:cubicBezTo>
                  <a:cubicBezTo>
                    <a:pt x="14922" y="1955"/>
                    <a:pt x="14877" y="1950"/>
                    <a:pt x="14832" y="1946"/>
                  </a:cubicBezTo>
                  <a:cubicBezTo>
                    <a:pt x="14825" y="1946"/>
                    <a:pt x="14819" y="1946"/>
                    <a:pt x="14812" y="1944"/>
                  </a:cubicBezTo>
                  <a:cubicBezTo>
                    <a:pt x="14773" y="1941"/>
                    <a:pt x="14735" y="1939"/>
                    <a:pt x="14695" y="1939"/>
                  </a:cubicBezTo>
                  <a:cubicBezTo>
                    <a:pt x="14680" y="1939"/>
                    <a:pt x="14664" y="1939"/>
                    <a:pt x="14649" y="1939"/>
                  </a:cubicBezTo>
                  <a:cubicBezTo>
                    <a:pt x="14618" y="1939"/>
                    <a:pt x="14586" y="1941"/>
                    <a:pt x="14555" y="1941"/>
                  </a:cubicBezTo>
                  <a:cubicBezTo>
                    <a:pt x="14538" y="1941"/>
                    <a:pt x="14522" y="1944"/>
                    <a:pt x="14505" y="1944"/>
                  </a:cubicBezTo>
                  <a:cubicBezTo>
                    <a:pt x="14472" y="1946"/>
                    <a:pt x="14440" y="1950"/>
                    <a:pt x="14407" y="1955"/>
                  </a:cubicBezTo>
                  <a:cubicBezTo>
                    <a:pt x="14392" y="1957"/>
                    <a:pt x="14378" y="1959"/>
                    <a:pt x="14363" y="1959"/>
                  </a:cubicBezTo>
                  <a:cubicBezTo>
                    <a:pt x="14315" y="1966"/>
                    <a:pt x="14268" y="1975"/>
                    <a:pt x="14219" y="1984"/>
                  </a:cubicBezTo>
                  <a:cubicBezTo>
                    <a:pt x="14150" y="1999"/>
                    <a:pt x="14082" y="2017"/>
                    <a:pt x="14014" y="2037"/>
                  </a:cubicBezTo>
                  <a:cubicBezTo>
                    <a:pt x="14004" y="2039"/>
                    <a:pt x="13994" y="2043"/>
                    <a:pt x="13983" y="2046"/>
                  </a:cubicBezTo>
                  <a:cubicBezTo>
                    <a:pt x="13918" y="2066"/>
                    <a:pt x="13855" y="2090"/>
                    <a:pt x="13791" y="2117"/>
                  </a:cubicBezTo>
                  <a:cubicBezTo>
                    <a:pt x="13779" y="2121"/>
                    <a:pt x="13766" y="2128"/>
                    <a:pt x="13754" y="2132"/>
                  </a:cubicBezTo>
                  <a:cubicBezTo>
                    <a:pt x="13691" y="2159"/>
                    <a:pt x="13627" y="2190"/>
                    <a:pt x="13565" y="2223"/>
                  </a:cubicBezTo>
                  <a:cubicBezTo>
                    <a:pt x="13556" y="2227"/>
                    <a:pt x="13549" y="2232"/>
                    <a:pt x="13540" y="2236"/>
                  </a:cubicBezTo>
                  <a:cubicBezTo>
                    <a:pt x="13478" y="2269"/>
                    <a:pt x="13416" y="2305"/>
                    <a:pt x="13356" y="2345"/>
                  </a:cubicBezTo>
                  <a:cubicBezTo>
                    <a:pt x="13351" y="2347"/>
                    <a:pt x="13347" y="2351"/>
                    <a:pt x="13342" y="2354"/>
                  </a:cubicBezTo>
                  <a:cubicBezTo>
                    <a:pt x="13299" y="2380"/>
                    <a:pt x="13258" y="2409"/>
                    <a:pt x="13215" y="2438"/>
                  </a:cubicBezTo>
                  <a:cubicBezTo>
                    <a:pt x="13199" y="2449"/>
                    <a:pt x="13181" y="2462"/>
                    <a:pt x="13165" y="2476"/>
                  </a:cubicBezTo>
                  <a:cubicBezTo>
                    <a:pt x="13149" y="2489"/>
                    <a:pt x="13131" y="2500"/>
                    <a:pt x="13115" y="2513"/>
                  </a:cubicBezTo>
                  <a:cubicBezTo>
                    <a:pt x="13078" y="2542"/>
                    <a:pt x="13041" y="2573"/>
                    <a:pt x="13003" y="2604"/>
                  </a:cubicBezTo>
                  <a:cubicBezTo>
                    <a:pt x="12728" y="2152"/>
                    <a:pt x="12408" y="1773"/>
                    <a:pt x="12053" y="1487"/>
                  </a:cubicBezTo>
                  <a:cubicBezTo>
                    <a:pt x="12058" y="1489"/>
                    <a:pt x="12061" y="1494"/>
                    <a:pt x="12065" y="1496"/>
                  </a:cubicBezTo>
                  <a:lnTo>
                    <a:pt x="11030" y="652"/>
                  </a:lnTo>
                  <a:cubicBezTo>
                    <a:pt x="10988" y="618"/>
                    <a:pt x="10946" y="585"/>
                    <a:pt x="10903" y="552"/>
                  </a:cubicBezTo>
                  <a:cubicBezTo>
                    <a:pt x="10903" y="552"/>
                    <a:pt x="10901" y="552"/>
                    <a:pt x="10901" y="550"/>
                  </a:cubicBezTo>
                  <a:cubicBezTo>
                    <a:pt x="10897" y="547"/>
                    <a:pt x="10894" y="545"/>
                    <a:pt x="10889" y="541"/>
                  </a:cubicBezTo>
                  <a:cubicBezTo>
                    <a:pt x="10845" y="508"/>
                    <a:pt x="10799" y="477"/>
                    <a:pt x="10755" y="448"/>
                  </a:cubicBezTo>
                  <a:cubicBezTo>
                    <a:pt x="10739" y="437"/>
                    <a:pt x="10723" y="428"/>
                    <a:pt x="10706" y="417"/>
                  </a:cubicBezTo>
                  <a:cubicBezTo>
                    <a:pt x="10671" y="394"/>
                    <a:pt x="10635" y="372"/>
                    <a:pt x="10600" y="352"/>
                  </a:cubicBezTo>
                  <a:cubicBezTo>
                    <a:pt x="10582" y="341"/>
                    <a:pt x="10565" y="332"/>
                    <a:pt x="10547" y="324"/>
                  </a:cubicBezTo>
                  <a:cubicBezTo>
                    <a:pt x="10508" y="304"/>
                    <a:pt x="10472" y="284"/>
                    <a:pt x="10433" y="266"/>
                  </a:cubicBezTo>
                  <a:cubicBezTo>
                    <a:pt x="10418" y="259"/>
                    <a:pt x="10405" y="250"/>
                    <a:pt x="10390" y="244"/>
                  </a:cubicBezTo>
                  <a:cubicBezTo>
                    <a:pt x="10337" y="219"/>
                    <a:pt x="10286" y="197"/>
                    <a:pt x="10231" y="175"/>
                  </a:cubicBezTo>
                  <a:cubicBezTo>
                    <a:pt x="10229" y="175"/>
                    <a:pt x="10228" y="173"/>
                    <a:pt x="10226" y="173"/>
                  </a:cubicBezTo>
                  <a:cubicBezTo>
                    <a:pt x="10218" y="171"/>
                    <a:pt x="10210" y="166"/>
                    <a:pt x="10201" y="164"/>
                  </a:cubicBezTo>
                  <a:cubicBezTo>
                    <a:pt x="10158" y="148"/>
                    <a:pt x="10114" y="133"/>
                    <a:pt x="10070" y="117"/>
                  </a:cubicBezTo>
                  <a:cubicBezTo>
                    <a:pt x="10052" y="111"/>
                    <a:pt x="10033" y="106"/>
                    <a:pt x="10015" y="102"/>
                  </a:cubicBezTo>
                  <a:cubicBezTo>
                    <a:pt x="9978" y="91"/>
                    <a:pt x="9941" y="82"/>
                    <a:pt x="9903" y="71"/>
                  </a:cubicBezTo>
                  <a:cubicBezTo>
                    <a:pt x="9884" y="66"/>
                    <a:pt x="9865" y="62"/>
                    <a:pt x="9845" y="58"/>
                  </a:cubicBezTo>
                  <a:cubicBezTo>
                    <a:pt x="9806" y="49"/>
                    <a:pt x="9767" y="42"/>
                    <a:pt x="9727" y="35"/>
                  </a:cubicBezTo>
                  <a:cubicBezTo>
                    <a:pt x="9711" y="33"/>
                    <a:pt x="9695" y="29"/>
                    <a:pt x="9677" y="27"/>
                  </a:cubicBezTo>
                  <a:cubicBezTo>
                    <a:pt x="9621" y="18"/>
                    <a:pt x="9565" y="11"/>
                    <a:pt x="9509" y="7"/>
                  </a:cubicBezTo>
                  <a:cubicBezTo>
                    <a:pt x="9503" y="7"/>
                    <a:pt x="9495" y="7"/>
                    <a:pt x="9488" y="7"/>
                  </a:cubicBezTo>
                  <a:cubicBezTo>
                    <a:pt x="9438" y="2"/>
                    <a:pt x="9388" y="0"/>
                    <a:pt x="9336" y="0"/>
                  </a:cubicBezTo>
                  <a:cubicBezTo>
                    <a:pt x="9317" y="0"/>
                    <a:pt x="9298" y="0"/>
                    <a:pt x="9280" y="0"/>
                  </a:cubicBezTo>
                  <a:cubicBezTo>
                    <a:pt x="9240" y="0"/>
                    <a:pt x="9200" y="2"/>
                    <a:pt x="9160" y="4"/>
                  </a:cubicBezTo>
                  <a:cubicBezTo>
                    <a:pt x="9140" y="7"/>
                    <a:pt x="9119" y="7"/>
                    <a:pt x="9098" y="9"/>
                  </a:cubicBezTo>
                  <a:cubicBezTo>
                    <a:pt x="9057" y="11"/>
                    <a:pt x="9017" y="16"/>
                    <a:pt x="8976" y="22"/>
                  </a:cubicBezTo>
                  <a:cubicBezTo>
                    <a:pt x="8956" y="24"/>
                    <a:pt x="8939" y="27"/>
                    <a:pt x="8919" y="29"/>
                  </a:cubicBezTo>
                  <a:cubicBezTo>
                    <a:pt x="8860" y="38"/>
                    <a:pt x="8801" y="47"/>
                    <a:pt x="8741" y="60"/>
                  </a:cubicBezTo>
                  <a:cubicBezTo>
                    <a:pt x="8674" y="73"/>
                    <a:pt x="8608" y="91"/>
                    <a:pt x="8543" y="109"/>
                  </a:cubicBezTo>
                  <a:cubicBezTo>
                    <a:pt x="8524" y="113"/>
                    <a:pt x="8505" y="120"/>
                    <a:pt x="8485" y="126"/>
                  </a:cubicBezTo>
                  <a:cubicBezTo>
                    <a:pt x="8437" y="142"/>
                    <a:pt x="8386" y="157"/>
                    <a:pt x="8338" y="175"/>
                  </a:cubicBezTo>
                  <a:cubicBezTo>
                    <a:pt x="8320" y="182"/>
                    <a:pt x="8302" y="188"/>
                    <a:pt x="8285" y="195"/>
                  </a:cubicBezTo>
                  <a:cubicBezTo>
                    <a:pt x="8221" y="219"/>
                    <a:pt x="8156" y="246"/>
                    <a:pt x="8093" y="275"/>
                  </a:cubicBezTo>
                  <a:cubicBezTo>
                    <a:pt x="8084" y="279"/>
                    <a:pt x="8075" y="284"/>
                    <a:pt x="8066" y="288"/>
                  </a:cubicBezTo>
                  <a:cubicBezTo>
                    <a:pt x="8011" y="315"/>
                    <a:pt x="7955" y="341"/>
                    <a:pt x="7901" y="370"/>
                  </a:cubicBezTo>
                  <a:cubicBezTo>
                    <a:pt x="7881" y="381"/>
                    <a:pt x="7864" y="390"/>
                    <a:pt x="7844" y="401"/>
                  </a:cubicBezTo>
                  <a:cubicBezTo>
                    <a:pt x="7796" y="428"/>
                    <a:pt x="7748" y="457"/>
                    <a:pt x="7700" y="485"/>
                  </a:cubicBezTo>
                  <a:cubicBezTo>
                    <a:pt x="7685" y="494"/>
                    <a:pt x="7669" y="503"/>
                    <a:pt x="7654" y="512"/>
                  </a:cubicBezTo>
                  <a:cubicBezTo>
                    <a:pt x="7598" y="547"/>
                    <a:pt x="7540" y="585"/>
                    <a:pt x="7486" y="625"/>
                  </a:cubicBezTo>
                  <a:cubicBezTo>
                    <a:pt x="7481" y="627"/>
                    <a:pt x="7478" y="632"/>
                    <a:pt x="7474" y="634"/>
                  </a:cubicBezTo>
                  <a:cubicBezTo>
                    <a:pt x="7453" y="649"/>
                    <a:pt x="7431" y="665"/>
                    <a:pt x="7410" y="680"/>
                  </a:cubicBezTo>
                  <a:cubicBezTo>
                    <a:pt x="7367" y="711"/>
                    <a:pt x="7326" y="742"/>
                    <a:pt x="7283" y="776"/>
                  </a:cubicBezTo>
                  <a:cubicBezTo>
                    <a:pt x="7258" y="796"/>
                    <a:pt x="7235" y="816"/>
                    <a:pt x="7209" y="836"/>
                  </a:cubicBezTo>
                  <a:cubicBezTo>
                    <a:pt x="7171" y="867"/>
                    <a:pt x="7134" y="898"/>
                    <a:pt x="7097" y="931"/>
                  </a:cubicBezTo>
                  <a:cubicBezTo>
                    <a:pt x="7072" y="953"/>
                    <a:pt x="7047" y="977"/>
                    <a:pt x="7022" y="1000"/>
                  </a:cubicBezTo>
                  <a:cubicBezTo>
                    <a:pt x="6986" y="1033"/>
                    <a:pt x="6951" y="1066"/>
                    <a:pt x="6916" y="1099"/>
                  </a:cubicBezTo>
                  <a:cubicBezTo>
                    <a:pt x="6890" y="1124"/>
                    <a:pt x="6865" y="1148"/>
                    <a:pt x="6840" y="1175"/>
                  </a:cubicBezTo>
                  <a:cubicBezTo>
                    <a:pt x="6824" y="1192"/>
                    <a:pt x="6806" y="1208"/>
                    <a:pt x="6790" y="1226"/>
                  </a:cubicBezTo>
                  <a:cubicBezTo>
                    <a:pt x="6780" y="1237"/>
                    <a:pt x="6769" y="1250"/>
                    <a:pt x="6758" y="1261"/>
                  </a:cubicBezTo>
                  <a:cubicBezTo>
                    <a:pt x="6684" y="1339"/>
                    <a:pt x="6611" y="1418"/>
                    <a:pt x="6541" y="1503"/>
                  </a:cubicBezTo>
                  <a:cubicBezTo>
                    <a:pt x="6535" y="1509"/>
                    <a:pt x="6527" y="1516"/>
                    <a:pt x="6521" y="1525"/>
                  </a:cubicBezTo>
                  <a:cubicBezTo>
                    <a:pt x="6445" y="1616"/>
                    <a:pt x="6371" y="1711"/>
                    <a:pt x="6297" y="1808"/>
                  </a:cubicBezTo>
                  <a:cubicBezTo>
                    <a:pt x="6288" y="1820"/>
                    <a:pt x="6279" y="1831"/>
                    <a:pt x="6272" y="1842"/>
                  </a:cubicBezTo>
                  <a:cubicBezTo>
                    <a:pt x="6260" y="1857"/>
                    <a:pt x="6250" y="1875"/>
                    <a:pt x="6238" y="1890"/>
                  </a:cubicBezTo>
                  <a:cubicBezTo>
                    <a:pt x="6185" y="1964"/>
                    <a:pt x="6133" y="2037"/>
                    <a:pt x="6083" y="2114"/>
                  </a:cubicBezTo>
                  <a:cubicBezTo>
                    <a:pt x="6066" y="2139"/>
                    <a:pt x="6050" y="2163"/>
                    <a:pt x="6034" y="2187"/>
                  </a:cubicBezTo>
                  <a:cubicBezTo>
                    <a:pt x="5969" y="2287"/>
                    <a:pt x="5906" y="2387"/>
                    <a:pt x="5845" y="2491"/>
                  </a:cubicBezTo>
                  <a:cubicBezTo>
                    <a:pt x="5842" y="2496"/>
                    <a:pt x="5839" y="2500"/>
                    <a:pt x="5836" y="2504"/>
                  </a:cubicBezTo>
                  <a:cubicBezTo>
                    <a:pt x="5827" y="2520"/>
                    <a:pt x="5818" y="2538"/>
                    <a:pt x="5808" y="2555"/>
                  </a:cubicBezTo>
                  <a:cubicBezTo>
                    <a:pt x="5759" y="2640"/>
                    <a:pt x="5711" y="2728"/>
                    <a:pt x="5663" y="2817"/>
                  </a:cubicBezTo>
                  <a:cubicBezTo>
                    <a:pt x="5646" y="2850"/>
                    <a:pt x="5628" y="2883"/>
                    <a:pt x="5612" y="2917"/>
                  </a:cubicBezTo>
                  <a:cubicBezTo>
                    <a:pt x="5566" y="3005"/>
                    <a:pt x="5522" y="3096"/>
                    <a:pt x="5477" y="3187"/>
                  </a:cubicBezTo>
                  <a:cubicBezTo>
                    <a:pt x="5468" y="3205"/>
                    <a:pt x="5460" y="3222"/>
                    <a:pt x="5451" y="3240"/>
                  </a:cubicBezTo>
                  <a:cubicBezTo>
                    <a:pt x="5448" y="3247"/>
                    <a:pt x="5446" y="3251"/>
                    <a:pt x="5443" y="3258"/>
                  </a:cubicBezTo>
                  <a:cubicBezTo>
                    <a:pt x="5387" y="3378"/>
                    <a:pt x="5334" y="3502"/>
                    <a:pt x="5282" y="3626"/>
                  </a:cubicBezTo>
                  <a:cubicBezTo>
                    <a:pt x="5269" y="3657"/>
                    <a:pt x="5257" y="3688"/>
                    <a:pt x="5245" y="3719"/>
                  </a:cubicBezTo>
                  <a:cubicBezTo>
                    <a:pt x="5204" y="3821"/>
                    <a:pt x="5164" y="3925"/>
                    <a:pt x="5126" y="4031"/>
                  </a:cubicBezTo>
                  <a:cubicBezTo>
                    <a:pt x="5118" y="4051"/>
                    <a:pt x="5110" y="4071"/>
                    <a:pt x="5102" y="4091"/>
                  </a:cubicBezTo>
                  <a:cubicBezTo>
                    <a:pt x="5096" y="4107"/>
                    <a:pt x="5092" y="4122"/>
                    <a:pt x="5086" y="4138"/>
                  </a:cubicBezTo>
                  <a:cubicBezTo>
                    <a:pt x="5073" y="4173"/>
                    <a:pt x="5061" y="4209"/>
                    <a:pt x="5049" y="4244"/>
                  </a:cubicBezTo>
                  <a:cubicBezTo>
                    <a:pt x="5028" y="4306"/>
                    <a:pt x="5008" y="4368"/>
                    <a:pt x="4987" y="4430"/>
                  </a:cubicBezTo>
                  <a:cubicBezTo>
                    <a:pt x="4975" y="4468"/>
                    <a:pt x="4963" y="4506"/>
                    <a:pt x="4952" y="4543"/>
                  </a:cubicBezTo>
                  <a:cubicBezTo>
                    <a:pt x="4932" y="4605"/>
                    <a:pt x="4913" y="4670"/>
                    <a:pt x="4895" y="4732"/>
                  </a:cubicBezTo>
                  <a:cubicBezTo>
                    <a:pt x="4885" y="4769"/>
                    <a:pt x="4873" y="4805"/>
                    <a:pt x="4863" y="4843"/>
                  </a:cubicBezTo>
                  <a:cubicBezTo>
                    <a:pt x="4844" y="4914"/>
                    <a:pt x="4825" y="4984"/>
                    <a:pt x="4807" y="5055"/>
                  </a:cubicBezTo>
                  <a:cubicBezTo>
                    <a:pt x="4799" y="5086"/>
                    <a:pt x="4791" y="5117"/>
                    <a:pt x="4783" y="5148"/>
                  </a:cubicBezTo>
                  <a:cubicBezTo>
                    <a:pt x="4782" y="5155"/>
                    <a:pt x="4779" y="5164"/>
                    <a:pt x="4777" y="5171"/>
                  </a:cubicBezTo>
                  <a:cubicBezTo>
                    <a:pt x="4765" y="5222"/>
                    <a:pt x="4754" y="5273"/>
                    <a:pt x="4742" y="5326"/>
                  </a:cubicBezTo>
                  <a:cubicBezTo>
                    <a:pt x="4730" y="5377"/>
                    <a:pt x="4718" y="5428"/>
                    <a:pt x="4706" y="5481"/>
                  </a:cubicBezTo>
                  <a:cubicBezTo>
                    <a:pt x="4693" y="5541"/>
                    <a:pt x="4683" y="5601"/>
                    <a:pt x="4671" y="5660"/>
                  </a:cubicBezTo>
                  <a:cubicBezTo>
                    <a:pt x="4661" y="5711"/>
                    <a:pt x="4650" y="5762"/>
                    <a:pt x="4640" y="5816"/>
                  </a:cubicBezTo>
                  <a:cubicBezTo>
                    <a:pt x="4628" y="5878"/>
                    <a:pt x="4619" y="5937"/>
                    <a:pt x="4609" y="6000"/>
                  </a:cubicBezTo>
                  <a:cubicBezTo>
                    <a:pt x="4600" y="6050"/>
                    <a:pt x="4591" y="6101"/>
                    <a:pt x="4582" y="6155"/>
                  </a:cubicBezTo>
                  <a:cubicBezTo>
                    <a:pt x="4572" y="6217"/>
                    <a:pt x="4565" y="6281"/>
                    <a:pt x="4556" y="6343"/>
                  </a:cubicBezTo>
                  <a:cubicBezTo>
                    <a:pt x="4548" y="6394"/>
                    <a:pt x="4541" y="6445"/>
                    <a:pt x="4535" y="6498"/>
                  </a:cubicBezTo>
                  <a:cubicBezTo>
                    <a:pt x="4528" y="6562"/>
                    <a:pt x="4520" y="6629"/>
                    <a:pt x="4514" y="6693"/>
                  </a:cubicBezTo>
                  <a:cubicBezTo>
                    <a:pt x="4508" y="6744"/>
                    <a:pt x="4503" y="6795"/>
                    <a:pt x="4498" y="6844"/>
                  </a:cubicBezTo>
                  <a:cubicBezTo>
                    <a:pt x="4492" y="6913"/>
                    <a:pt x="4488" y="6981"/>
                    <a:pt x="4482" y="7050"/>
                  </a:cubicBezTo>
                  <a:cubicBezTo>
                    <a:pt x="4479" y="7099"/>
                    <a:pt x="4473" y="7148"/>
                    <a:pt x="4470" y="7196"/>
                  </a:cubicBezTo>
                  <a:cubicBezTo>
                    <a:pt x="4466" y="7272"/>
                    <a:pt x="4463" y="7349"/>
                    <a:pt x="4460" y="7427"/>
                  </a:cubicBezTo>
                  <a:cubicBezTo>
                    <a:pt x="4458" y="7469"/>
                    <a:pt x="4455" y="7509"/>
                    <a:pt x="4454" y="7551"/>
                  </a:cubicBezTo>
                  <a:cubicBezTo>
                    <a:pt x="4449" y="7668"/>
                    <a:pt x="4448" y="7788"/>
                    <a:pt x="4448" y="7906"/>
                  </a:cubicBezTo>
                  <a:cubicBezTo>
                    <a:pt x="4446" y="8497"/>
                    <a:pt x="4492" y="9062"/>
                    <a:pt x="4578" y="9590"/>
                  </a:cubicBezTo>
                  <a:cubicBezTo>
                    <a:pt x="4219" y="9459"/>
                    <a:pt x="3832" y="9426"/>
                    <a:pt x="3429" y="9512"/>
                  </a:cubicBezTo>
                  <a:cubicBezTo>
                    <a:pt x="3376" y="9523"/>
                    <a:pt x="3323" y="9537"/>
                    <a:pt x="3271" y="9552"/>
                  </a:cubicBezTo>
                  <a:cubicBezTo>
                    <a:pt x="3256" y="9557"/>
                    <a:pt x="3241" y="9561"/>
                    <a:pt x="3225" y="9566"/>
                  </a:cubicBezTo>
                  <a:cubicBezTo>
                    <a:pt x="3185" y="9577"/>
                    <a:pt x="3145" y="9590"/>
                    <a:pt x="3107" y="9605"/>
                  </a:cubicBezTo>
                  <a:cubicBezTo>
                    <a:pt x="3092" y="9610"/>
                    <a:pt x="3079" y="9616"/>
                    <a:pt x="3064" y="9621"/>
                  </a:cubicBezTo>
                  <a:cubicBezTo>
                    <a:pt x="3013" y="9641"/>
                    <a:pt x="2962" y="9661"/>
                    <a:pt x="2911" y="9685"/>
                  </a:cubicBezTo>
                  <a:cubicBezTo>
                    <a:pt x="2903" y="9687"/>
                    <a:pt x="2897" y="9692"/>
                    <a:pt x="2890" y="9696"/>
                  </a:cubicBezTo>
                  <a:cubicBezTo>
                    <a:pt x="2846" y="9716"/>
                    <a:pt x="2801" y="9738"/>
                    <a:pt x="2759" y="9763"/>
                  </a:cubicBezTo>
                  <a:cubicBezTo>
                    <a:pt x="2744" y="9772"/>
                    <a:pt x="2729" y="9778"/>
                    <a:pt x="2714" y="9787"/>
                  </a:cubicBezTo>
                  <a:cubicBezTo>
                    <a:pt x="2676" y="9809"/>
                    <a:pt x="2637" y="9831"/>
                    <a:pt x="2599" y="9854"/>
                  </a:cubicBezTo>
                  <a:cubicBezTo>
                    <a:pt x="2587" y="9860"/>
                    <a:pt x="2575" y="9869"/>
                    <a:pt x="2564" y="9876"/>
                  </a:cubicBezTo>
                  <a:cubicBezTo>
                    <a:pt x="2518" y="9905"/>
                    <a:pt x="2474" y="9933"/>
                    <a:pt x="2429" y="9967"/>
                  </a:cubicBezTo>
                  <a:cubicBezTo>
                    <a:pt x="2426" y="9969"/>
                    <a:pt x="2423" y="9971"/>
                    <a:pt x="2420" y="9973"/>
                  </a:cubicBezTo>
                  <a:cubicBezTo>
                    <a:pt x="2403" y="9984"/>
                    <a:pt x="2386" y="9998"/>
                    <a:pt x="2369" y="10011"/>
                  </a:cubicBezTo>
                  <a:cubicBezTo>
                    <a:pt x="2335" y="10035"/>
                    <a:pt x="2301" y="10062"/>
                    <a:pt x="2268" y="10089"/>
                  </a:cubicBezTo>
                  <a:cubicBezTo>
                    <a:pt x="2249" y="10104"/>
                    <a:pt x="2228" y="10122"/>
                    <a:pt x="2209" y="10137"/>
                  </a:cubicBezTo>
                  <a:cubicBezTo>
                    <a:pt x="2180" y="10162"/>
                    <a:pt x="2149" y="10188"/>
                    <a:pt x="2119" y="10215"/>
                  </a:cubicBezTo>
                  <a:cubicBezTo>
                    <a:pt x="2098" y="10233"/>
                    <a:pt x="2079" y="10253"/>
                    <a:pt x="2059" y="10270"/>
                  </a:cubicBezTo>
                  <a:cubicBezTo>
                    <a:pt x="2031" y="10297"/>
                    <a:pt x="2001" y="10323"/>
                    <a:pt x="1973" y="10350"/>
                  </a:cubicBezTo>
                  <a:cubicBezTo>
                    <a:pt x="1952" y="10370"/>
                    <a:pt x="1933" y="10390"/>
                    <a:pt x="1912" y="10410"/>
                  </a:cubicBezTo>
                  <a:cubicBezTo>
                    <a:pt x="1899" y="10423"/>
                    <a:pt x="1886" y="10437"/>
                    <a:pt x="1872" y="10450"/>
                  </a:cubicBezTo>
                  <a:cubicBezTo>
                    <a:pt x="1864" y="10459"/>
                    <a:pt x="1856" y="10470"/>
                    <a:pt x="1847" y="10479"/>
                  </a:cubicBezTo>
                  <a:cubicBezTo>
                    <a:pt x="1788" y="10541"/>
                    <a:pt x="1731" y="10605"/>
                    <a:pt x="1673" y="10671"/>
                  </a:cubicBezTo>
                  <a:cubicBezTo>
                    <a:pt x="1669" y="10678"/>
                    <a:pt x="1663" y="10683"/>
                    <a:pt x="1658" y="10689"/>
                  </a:cubicBezTo>
                  <a:cubicBezTo>
                    <a:pt x="1598" y="10762"/>
                    <a:pt x="1537" y="10838"/>
                    <a:pt x="1480" y="10915"/>
                  </a:cubicBezTo>
                  <a:cubicBezTo>
                    <a:pt x="1474" y="10924"/>
                    <a:pt x="1466" y="10933"/>
                    <a:pt x="1459" y="10942"/>
                  </a:cubicBezTo>
                  <a:cubicBezTo>
                    <a:pt x="1450" y="10955"/>
                    <a:pt x="1441" y="10968"/>
                    <a:pt x="1432" y="10980"/>
                  </a:cubicBezTo>
                  <a:cubicBezTo>
                    <a:pt x="1390" y="11037"/>
                    <a:pt x="1348" y="11097"/>
                    <a:pt x="1308" y="11157"/>
                  </a:cubicBezTo>
                  <a:cubicBezTo>
                    <a:pt x="1295" y="11177"/>
                    <a:pt x="1282" y="11194"/>
                    <a:pt x="1268" y="11214"/>
                  </a:cubicBezTo>
                  <a:cubicBezTo>
                    <a:pt x="1217" y="11294"/>
                    <a:pt x="1167" y="11374"/>
                    <a:pt x="1116" y="11458"/>
                  </a:cubicBezTo>
                  <a:cubicBezTo>
                    <a:pt x="1113" y="11463"/>
                    <a:pt x="1112" y="11465"/>
                    <a:pt x="1109" y="11469"/>
                  </a:cubicBezTo>
                  <a:cubicBezTo>
                    <a:pt x="1102" y="11483"/>
                    <a:pt x="1094" y="11496"/>
                    <a:pt x="1087" y="11509"/>
                  </a:cubicBezTo>
                  <a:cubicBezTo>
                    <a:pt x="1047" y="11578"/>
                    <a:pt x="1009" y="11647"/>
                    <a:pt x="970" y="11718"/>
                  </a:cubicBezTo>
                  <a:cubicBezTo>
                    <a:pt x="955" y="11744"/>
                    <a:pt x="942" y="11771"/>
                    <a:pt x="929" y="11797"/>
                  </a:cubicBezTo>
                  <a:cubicBezTo>
                    <a:pt x="892" y="11868"/>
                    <a:pt x="856" y="11941"/>
                    <a:pt x="821" y="12015"/>
                  </a:cubicBezTo>
                  <a:cubicBezTo>
                    <a:pt x="814" y="12030"/>
                    <a:pt x="806" y="12043"/>
                    <a:pt x="800" y="12057"/>
                  </a:cubicBezTo>
                  <a:cubicBezTo>
                    <a:pt x="799" y="12061"/>
                    <a:pt x="796" y="12065"/>
                    <a:pt x="794" y="12070"/>
                  </a:cubicBezTo>
                  <a:cubicBezTo>
                    <a:pt x="750" y="12165"/>
                    <a:pt x="707" y="12265"/>
                    <a:pt x="666" y="12362"/>
                  </a:cubicBezTo>
                  <a:cubicBezTo>
                    <a:pt x="656" y="12387"/>
                    <a:pt x="645" y="12411"/>
                    <a:pt x="636" y="12436"/>
                  </a:cubicBezTo>
                  <a:cubicBezTo>
                    <a:pt x="604" y="12518"/>
                    <a:pt x="571" y="12600"/>
                    <a:pt x="540" y="12684"/>
                  </a:cubicBezTo>
                  <a:cubicBezTo>
                    <a:pt x="535" y="12699"/>
                    <a:pt x="527" y="12717"/>
                    <a:pt x="521" y="12733"/>
                  </a:cubicBezTo>
                  <a:cubicBezTo>
                    <a:pt x="517" y="12746"/>
                    <a:pt x="512" y="12759"/>
                    <a:pt x="508" y="12770"/>
                  </a:cubicBezTo>
                  <a:cubicBezTo>
                    <a:pt x="498" y="12799"/>
                    <a:pt x="489" y="12828"/>
                    <a:pt x="478" y="12857"/>
                  </a:cubicBezTo>
                  <a:cubicBezTo>
                    <a:pt x="462" y="12905"/>
                    <a:pt x="444" y="12956"/>
                    <a:pt x="430" y="13005"/>
                  </a:cubicBezTo>
                  <a:cubicBezTo>
                    <a:pt x="419" y="13036"/>
                    <a:pt x="411" y="13065"/>
                    <a:pt x="402" y="13096"/>
                  </a:cubicBezTo>
                  <a:cubicBezTo>
                    <a:pt x="387" y="13147"/>
                    <a:pt x="371" y="13196"/>
                    <a:pt x="356" y="13247"/>
                  </a:cubicBezTo>
                  <a:cubicBezTo>
                    <a:pt x="347" y="13276"/>
                    <a:pt x="338" y="13307"/>
                    <a:pt x="331" y="13335"/>
                  </a:cubicBezTo>
                  <a:cubicBezTo>
                    <a:pt x="315" y="13391"/>
                    <a:pt x="300" y="13448"/>
                    <a:pt x="286" y="13506"/>
                  </a:cubicBezTo>
                  <a:cubicBezTo>
                    <a:pt x="281" y="13530"/>
                    <a:pt x="273" y="13555"/>
                    <a:pt x="267" y="13579"/>
                  </a:cubicBezTo>
                  <a:cubicBezTo>
                    <a:pt x="266" y="13586"/>
                    <a:pt x="264" y="13590"/>
                    <a:pt x="263" y="13597"/>
                  </a:cubicBezTo>
                  <a:cubicBezTo>
                    <a:pt x="252" y="13637"/>
                    <a:pt x="244" y="13679"/>
                    <a:pt x="235" y="13721"/>
                  </a:cubicBezTo>
                  <a:cubicBezTo>
                    <a:pt x="226" y="13763"/>
                    <a:pt x="216" y="13803"/>
                    <a:pt x="207" y="13845"/>
                  </a:cubicBezTo>
                  <a:cubicBezTo>
                    <a:pt x="196" y="13892"/>
                    <a:pt x="188" y="13940"/>
                    <a:pt x="179" y="13987"/>
                  </a:cubicBezTo>
                  <a:cubicBezTo>
                    <a:pt x="170" y="14029"/>
                    <a:pt x="162" y="14069"/>
                    <a:pt x="154" y="14111"/>
                  </a:cubicBezTo>
                  <a:cubicBezTo>
                    <a:pt x="145" y="14160"/>
                    <a:pt x="137" y="14209"/>
                    <a:pt x="128" y="14257"/>
                  </a:cubicBezTo>
                  <a:cubicBezTo>
                    <a:pt x="121" y="14300"/>
                    <a:pt x="114" y="14339"/>
                    <a:pt x="108" y="14382"/>
                  </a:cubicBezTo>
                  <a:cubicBezTo>
                    <a:pt x="100" y="14432"/>
                    <a:pt x="93" y="14483"/>
                    <a:pt x="87" y="14534"/>
                  </a:cubicBezTo>
                  <a:cubicBezTo>
                    <a:pt x="81" y="14574"/>
                    <a:pt x="75" y="14616"/>
                    <a:pt x="71" y="14656"/>
                  </a:cubicBezTo>
                  <a:cubicBezTo>
                    <a:pt x="65" y="14710"/>
                    <a:pt x="59" y="14761"/>
                    <a:pt x="53" y="14814"/>
                  </a:cubicBezTo>
                  <a:cubicBezTo>
                    <a:pt x="49" y="14854"/>
                    <a:pt x="44" y="14893"/>
                    <a:pt x="40" y="14933"/>
                  </a:cubicBezTo>
                  <a:cubicBezTo>
                    <a:pt x="34" y="14989"/>
                    <a:pt x="31" y="15046"/>
                    <a:pt x="27" y="15102"/>
                  </a:cubicBezTo>
                  <a:cubicBezTo>
                    <a:pt x="24" y="15139"/>
                    <a:pt x="21" y="15177"/>
                    <a:pt x="18" y="15215"/>
                  </a:cubicBezTo>
                  <a:cubicBezTo>
                    <a:pt x="13" y="15277"/>
                    <a:pt x="12" y="15341"/>
                    <a:pt x="9" y="15403"/>
                  </a:cubicBezTo>
                  <a:cubicBezTo>
                    <a:pt x="7" y="15434"/>
                    <a:pt x="6" y="15465"/>
                    <a:pt x="4" y="15496"/>
                  </a:cubicBezTo>
                  <a:cubicBezTo>
                    <a:pt x="1" y="15592"/>
                    <a:pt x="0" y="15685"/>
                    <a:pt x="0" y="15780"/>
                  </a:cubicBezTo>
                  <a:cubicBezTo>
                    <a:pt x="-3" y="17755"/>
                    <a:pt x="632" y="19355"/>
                    <a:pt x="1589" y="20137"/>
                  </a:cubicBezTo>
                  <a:lnTo>
                    <a:pt x="2624" y="20982"/>
                  </a:lnTo>
                  <a:cubicBezTo>
                    <a:pt x="2614" y="20973"/>
                    <a:pt x="2603" y="20964"/>
                    <a:pt x="2593" y="20955"/>
                  </a:cubicBezTo>
                  <a:cubicBezTo>
                    <a:pt x="3129" y="21405"/>
                    <a:pt x="3767" y="21600"/>
                    <a:pt x="4454" y="21454"/>
                  </a:cubicBezTo>
                  <a:lnTo>
                    <a:pt x="18666" y="18455"/>
                  </a:lnTo>
                  <a:cubicBezTo>
                    <a:pt x="20281" y="18114"/>
                    <a:pt x="21594" y="15716"/>
                    <a:pt x="21597" y="13098"/>
                  </a:cubicBezTo>
                  <a:cubicBezTo>
                    <a:pt x="21590" y="11416"/>
                    <a:pt x="21040" y="10044"/>
                    <a:pt x="20214" y="9382"/>
                  </a:cubicBezTo>
                  <a:close/>
                </a:path>
              </a:pathLst>
            </a:custGeom>
            <a:solidFill>
              <a:srgbClr val="4CC1EF">
                <a:lumMod val="75000"/>
              </a:srgb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99" name="Shape">
              <a:extLst>
                <a:ext uri="{FF2B5EF4-FFF2-40B4-BE49-F238E27FC236}">
                  <a16:creationId xmlns:a16="http://schemas.microsoft.com/office/drawing/2014/main" id="{C2345E4B-F62E-7EC3-B5DA-D5F130B1F381}"/>
                </a:ext>
              </a:extLst>
            </p:cNvPr>
            <p:cNvSpPr/>
            <p:nvPr/>
          </p:nvSpPr>
          <p:spPr>
            <a:xfrm>
              <a:off x="15697202" y="2984499"/>
              <a:ext cx="1768478" cy="1184034"/>
            </a:xfrm>
            <a:custGeom>
              <a:avLst/>
              <a:gdLst/>
              <a:ahLst/>
              <a:cxnLst>
                <a:cxn ang="0">
                  <a:pos x="wd2" y="hd2"/>
                </a:cxn>
                <a:cxn ang="5400000">
                  <a:pos x="wd2" y="hd2"/>
                </a:cxn>
                <a:cxn ang="10800000">
                  <a:pos x="wd2" y="hd2"/>
                </a:cxn>
                <a:cxn ang="16200000">
                  <a:pos x="wd2" y="hd2"/>
                </a:cxn>
              </a:cxnLst>
              <a:rect l="0" t="0" r="r" b="b"/>
              <a:pathLst>
                <a:path w="21592" h="20949" extrusionOk="0">
                  <a:moveTo>
                    <a:pt x="9185" y="60"/>
                  </a:moveTo>
                  <a:cubicBezTo>
                    <a:pt x="10933" y="-295"/>
                    <a:pt x="12443" y="954"/>
                    <a:pt x="13186" y="3075"/>
                  </a:cubicBezTo>
                  <a:cubicBezTo>
                    <a:pt x="13705" y="2518"/>
                    <a:pt x="14301" y="2138"/>
                    <a:pt x="14937" y="2010"/>
                  </a:cubicBezTo>
                  <a:cubicBezTo>
                    <a:pt x="16925" y="1606"/>
                    <a:pt x="18533" y="3797"/>
                    <a:pt x="18528" y="6906"/>
                  </a:cubicBezTo>
                  <a:cubicBezTo>
                    <a:pt x="18528" y="7372"/>
                    <a:pt x="18491" y="7832"/>
                    <a:pt x="18421" y="8279"/>
                  </a:cubicBezTo>
                  <a:cubicBezTo>
                    <a:pt x="18457" y="8270"/>
                    <a:pt x="18491" y="8261"/>
                    <a:pt x="18526" y="8252"/>
                  </a:cubicBezTo>
                  <a:cubicBezTo>
                    <a:pt x="20223" y="7906"/>
                    <a:pt x="21595" y="9778"/>
                    <a:pt x="21592" y="12430"/>
                  </a:cubicBezTo>
                  <a:cubicBezTo>
                    <a:pt x="21589" y="15083"/>
                    <a:pt x="20210" y="17514"/>
                    <a:pt x="18514" y="17860"/>
                  </a:cubicBezTo>
                  <a:lnTo>
                    <a:pt x="3591" y="20901"/>
                  </a:lnTo>
                  <a:cubicBezTo>
                    <a:pt x="1603" y="21305"/>
                    <a:pt x="-5" y="19114"/>
                    <a:pt x="0" y="16004"/>
                  </a:cubicBezTo>
                  <a:cubicBezTo>
                    <a:pt x="4" y="12897"/>
                    <a:pt x="1618" y="10048"/>
                    <a:pt x="3605" y="9643"/>
                  </a:cubicBezTo>
                  <a:cubicBezTo>
                    <a:pt x="4028" y="9558"/>
                    <a:pt x="4434" y="9589"/>
                    <a:pt x="4811" y="9722"/>
                  </a:cubicBezTo>
                  <a:cubicBezTo>
                    <a:pt x="4721" y="9185"/>
                    <a:pt x="4673" y="8614"/>
                    <a:pt x="4675" y="8014"/>
                  </a:cubicBezTo>
                  <a:cubicBezTo>
                    <a:pt x="4681" y="4129"/>
                    <a:pt x="6700" y="566"/>
                    <a:pt x="9185" y="60"/>
                  </a:cubicBezTo>
                  <a:close/>
                </a:path>
              </a:pathLst>
            </a:custGeom>
            <a:solidFill>
              <a:srgbClr val="4CC1EF"/>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100" name="Shape">
              <a:extLst>
                <a:ext uri="{FF2B5EF4-FFF2-40B4-BE49-F238E27FC236}">
                  <a16:creationId xmlns:a16="http://schemas.microsoft.com/office/drawing/2014/main" id="{5D2758EA-DB91-FD74-68BC-9F42E4577822}"/>
                </a:ext>
              </a:extLst>
            </p:cNvPr>
            <p:cNvSpPr/>
            <p:nvPr/>
          </p:nvSpPr>
          <p:spPr>
            <a:xfrm>
              <a:off x="15951202" y="3263900"/>
              <a:ext cx="1531373" cy="1013114"/>
            </a:xfrm>
            <a:custGeom>
              <a:avLst/>
              <a:gdLst/>
              <a:ahLst/>
              <a:cxnLst>
                <a:cxn ang="0">
                  <a:pos x="wd2" y="hd2"/>
                </a:cxn>
                <a:cxn ang="5400000">
                  <a:pos x="wd2" y="hd2"/>
                </a:cxn>
                <a:cxn ang="10800000">
                  <a:pos x="wd2" y="hd2"/>
                </a:cxn>
                <a:cxn ang="16200000">
                  <a:pos x="wd2" y="hd2"/>
                </a:cxn>
              </a:cxnLst>
              <a:rect l="0" t="0" r="r" b="b"/>
              <a:pathLst>
                <a:path w="21591" h="21504" extrusionOk="0">
                  <a:moveTo>
                    <a:pt x="20237" y="9470"/>
                  </a:moveTo>
                  <a:cubicBezTo>
                    <a:pt x="20243" y="9475"/>
                    <a:pt x="20248" y="9478"/>
                    <a:pt x="20255" y="9483"/>
                  </a:cubicBezTo>
                  <a:lnTo>
                    <a:pt x="19000" y="8456"/>
                  </a:lnTo>
                  <a:cubicBezTo>
                    <a:pt x="18971" y="8432"/>
                    <a:pt x="18941" y="8410"/>
                    <a:pt x="18912" y="8389"/>
                  </a:cubicBezTo>
                  <a:cubicBezTo>
                    <a:pt x="18901" y="8381"/>
                    <a:pt x="18889" y="8375"/>
                    <a:pt x="18878" y="8367"/>
                  </a:cubicBezTo>
                  <a:cubicBezTo>
                    <a:pt x="18830" y="8332"/>
                    <a:pt x="18781" y="8302"/>
                    <a:pt x="18731" y="8273"/>
                  </a:cubicBezTo>
                  <a:cubicBezTo>
                    <a:pt x="18719" y="8265"/>
                    <a:pt x="18708" y="8259"/>
                    <a:pt x="18695" y="8251"/>
                  </a:cubicBezTo>
                  <a:cubicBezTo>
                    <a:pt x="18704" y="8090"/>
                    <a:pt x="18710" y="7928"/>
                    <a:pt x="18710" y="7766"/>
                  </a:cubicBezTo>
                  <a:cubicBezTo>
                    <a:pt x="18712" y="5793"/>
                    <a:pt x="18076" y="4200"/>
                    <a:pt x="17118" y="3429"/>
                  </a:cubicBezTo>
                  <a:cubicBezTo>
                    <a:pt x="17125" y="3434"/>
                    <a:pt x="17132" y="3440"/>
                    <a:pt x="17138" y="3445"/>
                  </a:cubicBezTo>
                  <a:lnTo>
                    <a:pt x="15882" y="2418"/>
                  </a:lnTo>
                  <a:cubicBezTo>
                    <a:pt x="15848" y="2391"/>
                    <a:pt x="15814" y="2364"/>
                    <a:pt x="15779" y="2337"/>
                  </a:cubicBezTo>
                  <a:cubicBezTo>
                    <a:pt x="15754" y="2318"/>
                    <a:pt x="15728" y="2302"/>
                    <a:pt x="15703" y="2286"/>
                  </a:cubicBezTo>
                  <a:cubicBezTo>
                    <a:pt x="15693" y="2278"/>
                    <a:pt x="15682" y="2270"/>
                    <a:pt x="15669" y="2262"/>
                  </a:cubicBezTo>
                  <a:cubicBezTo>
                    <a:pt x="15610" y="2221"/>
                    <a:pt x="15549" y="2186"/>
                    <a:pt x="15487" y="2154"/>
                  </a:cubicBezTo>
                  <a:cubicBezTo>
                    <a:pt x="15474" y="2146"/>
                    <a:pt x="15460" y="2140"/>
                    <a:pt x="15447" y="2132"/>
                  </a:cubicBezTo>
                  <a:cubicBezTo>
                    <a:pt x="15388" y="2103"/>
                    <a:pt x="15329" y="2076"/>
                    <a:pt x="15268" y="2051"/>
                  </a:cubicBezTo>
                  <a:cubicBezTo>
                    <a:pt x="15261" y="2049"/>
                    <a:pt x="15256" y="2046"/>
                    <a:pt x="15249" y="2043"/>
                  </a:cubicBezTo>
                  <a:cubicBezTo>
                    <a:pt x="15247" y="2043"/>
                    <a:pt x="15243" y="2041"/>
                    <a:pt x="15241" y="2041"/>
                  </a:cubicBezTo>
                  <a:cubicBezTo>
                    <a:pt x="15179" y="2016"/>
                    <a:pt x="15116" y="1997"/>
                    <a:pt x="15052" y="1979"/>
                  </a:cubicBezTo>
                  <a:cubicBezTo>
                    <a:pt x="15037" y="1973"/>
                    <a:pt x="15023" y="1970"/>
                    <a:pt x="15009" y="1968"/>
                  </a:cubicBezTo>
                  <a:cubicBezTo>
                    <a:pt x="14942" y="1952"/>
                    <a:pt x="14874" y="1935"/>
                    <a:pt x="14806" y="1927"/>
                  </a:cubicBezTo>
                  <a:cubicBezTo>
                    <a:pt x="14797" y="1925"/>
                    <a:pt x="14788" y="1925"/>
                    <a:pt x="14778" y="1925"/>
                  </a:cubicBezTo>
                  <a:cubicBezTo>
                    <a:pt x="14715" y="1917"/>
                    <a:pt x="14651" y="1911"/>
                    <a:pt x="14584" y="1908"/>
                  </a:cubicBezTo>
                  <a:cubicBezTo>
                    <a:pt x="14572" y="1908"/>
                    <a:pt x="14559" y="1906"/>
                    <a:pt x="14547" y="1906"/>
                  </a:cubicBezTo>
                  <a:cubicBezTo>
                    <a:pt x="14477" y="1906"/>
                    <a:pt x="14407" y="1908"/>
                    <a:pt x="14335" y="1914"/>
                  </a:cubicBezTo>
                  <a:cubicBezTo>
                    <a:pt x="14321" y="1914"/>
                    <a:pt x="14305" y="1917"/>
                    <a:pt x="14291" y="1919"/>
                  </a:cubicBezTo>
                  <a:cubicBezTo>
                    <a:pt x="14217" y="1927"/>
                    <a:pt x="14144" y="1938"/>
                    <a:pt x="14069" y="1954"/>
                  </a:cubicBezTo>
                  <a:cubicBezTo>
                    <a:pt x="13988" y="1970"/>
                    <a:pt x="13907" y="1995"/>
                    <a:pt x="13827" y="2019"/>
                  </a:cubicBezTo>
                  <a:cubicBezTo>
                    <a:pt x="13800" y="2027"/>
                    <a:pt x="13775" y="2038"/>
                    <a:pt x="13750" y="2049"/>
                  </a:cubicBezTo>
                  <a:cubicBezTo>
                    <a:pt x="13696" y="2068"/>
                    <a:pt x="13642" y="2089"/>
                    <a:pt x="13590" y="2111"/>
                  </a:cubicBezTo>
                  <a:cubicBezTo>
                    <a:pt x="13560" y="2124"/>
                    <a:pt x="13531" y="2138"/>
                    <a:pt x="13501" y="2154"/>
                  </a:cubicBezTo>
                  <a:cubicBezTo>
                    <a:pt x="13453" y="2178"/>
                    <a:pt x="13404" y="2202"/>
                    <a:pt x="13358" y="2229"/>
                  </a:cubicBezTo>
                  <a:cubicBezTo>
                    <a:pt x="13327" y="2245"/>
                    <a:pt x="13297" y="2264"/>
                    <a:pt x="13266" y="2283"/>
                  </a:cubicBezTo>
                  <a:cubicBezTo>
                    <a:pt x="13220" y="2310"/>
                    <a:pt x="13173" y="2342"/>
                    <a:pt x="13128" y="2372"/>
                  </a:cubicBezTo>
                  <a:cubicBezTo>
                    <a:pt x="13111" y="2383"/>
                    <a:pt x="13093" y="2394"/>
                    <a:pt x="13075" y="2407"/>
                  </a:cubicBezTo>
                  <a:cubicBezTo>
                    <a:pt x="13057" y="2421"/>
                    <a:pt x="13041" y="2434"/>
                    <a:pt x="13023" y="2445"/>
                  </a:cubicBezTo>
                  <a:cubicBezTo>
                    <a:pt x="13007" y="2458"/>
                    <a:pt x="12991" y="2469"/>
                    <a:pt x="12973" y="2483"/>
                  </a:cubicBezTo>
                  <a:cubicBezTo>
                    <a:pt x="12960" y="2493"/>
                    <a:pt x="12948" y="2504"/>
                    <a:pt x="12933" y="2515"/>
                  </a:cubicBezTo>
                  <a:cubicBezTo>
                    <a:pt x="12701" y="2175"/>
                    <a:pt x="12437" y="1884"/>
                    <a:pt x="12154" y="1655"/>
                  </a:cubicBezTo>
                  <a:cubicBezTo>
                    <a:pt x="12158" y="1658"/>
                    <a:pt x="12162" y="1660"/>
                    <a:pt x="12165" y="1663"/>
                  </a:cubicBezTo>
                  <a:lnTo>
                    <a:pt x="10910" y="636"/>
                  </a:lnTo>
                  <a:cubicBezTo>
                    <a:pt x="10869" y="601"/>
                    <a:pt x="10826" y="569"/>
                    <a:pt x="10785" y="539"/>
                  </a:cubicBezTo>
                  <a:cubicBezTo>
                    <a:pt x="10785" y="539"/>
                    <a:pt x="10783" y="539"/>
                    <a:pt x="10783" y="536"/>
                  </a:cubicBezTo>
                  <a:cubicBezTo>
                    <a:pt x="10779" y="534"/>
                    <a:pt x="10776" y="531"/>
                    <a:pt x="10772" y="528"/>
                  </a:cubicBezTo>
                  <a:cubicBezTo>
                    <a:pt x="10727" y="496"/>
                    <a:pt x="10684" y="466"/>
                    <a:pt x="10640" y="437"/>
                  </a:cubicBezTo>
                  <a:cubicBezTo>
                    <a:pt x="10623" y="426"/>
                    <a:pt x="10607" y="418"/>
                    <a:pt x="10591" y="407"/>
                  </a:cubicBezTo>
                  <a:cubicBezTo>
                    <a:pt x="10557" y="385"/>
                    <a:pt x="10521" y="364"/>
                    <a:pt x="10487" y="345"/>
                  </a:cubicBezTo>
                  <a:cubicBezTo>
                    <a:pt x="10469" y="334"/>
                    <a:pt x="10453" y="326"/>
                    <a:pt x="10435" y="315"/>
                  </a:cubicBezTo>
                  <a:cubicBezTo>
                    <a:pt x="10398" y="294"/>
                    <a:pt x="10360" y="275"/>
                    <a:pt x="10323" y="259"/>
                  </a:cubicBezTo>
                  <a:cubicBezTo>
                    <a:pt x="10308" y="251"/>
                    <a:pt x="10294" y="245"/>
                    <a:pt x="10280" y="237"/>
                  </a:cubicBezTo>
                  <a:cubicBezTo>
                    <a:pt x="10228" y="213"/>
                    <a:pt x="10176" y="191"/>
                    <a:pt x="10122" y="170"/>
                  </a:cubicBezTo>
                  <a:cubicBezTo>
                    <a:pt x="10120" y="170"/>
                    <a:pt x="10119" y="167"/>
                    <a:pt x="10117" y="167"/>
                  </a:cubicBezTo>
                  <a:cubicBezTo>
                    <a:pt x="10108" y="164"/>
                    <a:pt x="10101" y="162"/>
                    <a:pt x="10092" y="159"/>
                  </a:cubicBezTo>
                  <a:cubicBezTo>
                    <a:pt x="10049" y="143"/>
                    <a:pt x="10006" y="127"/>
                    <a:pt x="9963" y="113"/>
                  </a:cubicBezTo>
                  <a:cubicBezTo>
                    <a:pt x="9945" y="108"/>
                    <a:pt x="9927" y="102"/>
                    <a:pt x="9909" y="97"/>
                  </a:cubicBezTo>
                  <a:cubicBezTo>
                    <a:pt x="9873" y="86"/>
                    <a:pt x="9836" y="75"/>
                    <a:pt x="9800" y="67"/>
                  </a:cubicBezTo>
                  <a:cubicBezTo>
                    <a:pt x="9780" y="62"/>
                    <a:pt x="9762" y="59"/>
                    <a:pt x="9742" y="54"/>
                  </a:cubicBezTo>
                  <a:cubicBezTo>
                    <a:pt x="9703" y="46"/>
                    <a:pt x="9664" y="38"/>
                    <a:pt x="9626" y="32"/>
                  </a:cubicBezTo>
                  <a:cubicBezTo>
                    <a:pt x="9610" y="30"/>
                    <a:pt x="9594" y="27"/>
                    <a:pt x="9578" y="24"/>
                  </a:cubicBezTo>
                  <a:cubicBezTo>
                    <a:pt x="9522" y="16"/>
                    <a:pt x="9467" y="8"/>
                    <a:pt x="9409" y="5"/>
                  </a:cubicBezTo>
                  <a:cubicBezTo>
                    <a:pt x="9402" y="5"/>
                    <a:pt x="9397" y="5"/>
                    <a:pt x="9390" y="5"/>
                  </a:cubicBezTo>
                  <a:cubicBezTo>
                    <a:pt x="9340" y="3"/>
                    <a:pt x="9289" y="0"/>
                    <a:pt x="9239" y="0"/>
                  </a:cubicBezTo>
                  <a:cubicBezTo>
                    <a:pt x="9221" y="0"/>
                    <a:pt x="9202" y="0"/>
                    <a:pt x="9184" y="0"/>
                  </a:cubicBezTo>
                  <a:cubicBezTo>
                    <a:pt x="9144" y="0"/>
                    <a:pt x="9105" y="3"/>
                    <a:pt x="9066" y="3"/>
                  </a:cubicBezTo>
                  <a:cubicBezTo>
                    <a:pt x="9046" y="3"/>
                    <a:pt x="9024" y="5"/>
                    <a:pt x="9005" y="5"/>
                  </a:cubicBezTo>
                  <a:cubicBezTo>
                    <a:pt x="8964" y="8"/>
                    <a:pt x="8924" y="13"/>
                    <a:pt x="8883" y="19"/>
                  </a:cubicBezTo>
                  <a:cubicBezTo>
                    <a:pt x="8865" y="22"/>
                    <a:pt x="8847" y="24"/>
                    <a:pt x="8827" y="27"/>
                  </a:cubicBezTo>
                  <a:cubicBezTo>
                    <a:pt x="8768" y="35"/>
                    <a:pt x="8709" y="46"/>
                    <a:pt x="8650" y="57"/>
                  </a:cubicBezTo>
                  <a:cubicBezTo>
                    <a:pt x="8584" y="70"/>
                    <a:pt x="8520" y="86"/>
                    <a:pt x="8455" y="105"/>
                  </a:cubicBezTo>
                  <a:cubicBezTo>
                    <a:pt x="8435" y="111"/>
                    <a:pt x="8417" y="116"/>
                    <a:pt x="8398" y="121"/>
                  </a:cubicBezTo>
                  <a:cubicBezTo>
                    <a:pt x="8349" y="137"/>
                    <a:pt x="8299" y="154"/>
                    <a:pt x="8251" y="170"/>
                  </a:cubicBezTo>
                  <a:cubicBezTo>
                    <a:pt x="8233" y="175"/>
                    <a:pt x="8215" y="183"/>
                    <a:pt x="8199" y="189"/>
                  </a:cubicBezTo>
                  <a:cubicBezTo>
                    <a:pt x="8135" y="213"/>
                    <a:pt x="8072" y="240"/>
                    <a:pt x="8009" y="267"/>
                  </a:cubicBezTo>
                  <a:cubicBezTo>
                    <a:pt x="8000" y="270"/>
                    <a:pt x="7991" y="275"/>
                    <a:pt x="7984" y="280"/>
                  </a:cubicBezTo>
                  <a:cubicBezTo>
                    <a:pt x="7929" y="305"/>
                    <a:pt x="7875" y="334"/>
                    <a:pt x="7821" y="361"/>
                  </a:cubicBezTo>
                  <a:cubicBezTo>
                    <a:pt x="7803" y="372"/>
                    <a:pt x="7784" y="380"/>
                    <a:pt x="7766" y="391"/>
                  </a:cubicBezTo>
                  <a:cubicBezTo>
                    <a:pt x="7717" y="418"/>
                    <a:pt x="7671" y="445"/>
                    <a:pt x="7622" y="474"/>
                  </a:cubicBezTo>
                  <a:cubicBezTo>
                    <a:pt x="7608" y="483"/>
                    <a:pt x="7592" y="493"/>
                    <a:pt x="7578" y="501"/>
                  </a:cubicBezTo>
                  <a:cubicBezTo>
                    <a:pt x="7522" y="536"/>
                    <a:pt x="7467" y="574"/>
                    <a:pt x="7411" y="612"/>
                  </a:cubicBezTo>
                  <a:cubicBezTo>
                    <a:pt x="7408" y="615"/>
                    <a:pt x="7404" y="617"/>
                    <a:pt x="7400" y="620"/>
                  </a:cubicBezTo>
                  <a:cubicBezTo>
                    <a:pt x="7379" y="636"/>
                    <a:pt x="7359" y="652"/>
                    <a:pt x="7338" y="666"/>
                  </a:cubicBezTo>
                  <a:cubicBezTo>
                    <a:pt x="7296" y="695"/>
                    <a:pt x="7254" y="728"/>
                    <a:pt x="7212" y="760"/>
                  </a:cubicBezTo>
                  <a:cubicBezTo>
                    <a:pt x="7187" y="779"/>
                    <a:pt x="7164" y="801"/>
                    <a:pt x="7139" y="819"/>
                  </a:cubicBezTo>
                  <a:cubicBezTo>
                    <a:pt x="7101" y="852"/>
                    <a:pt x="7064" y="881"/>
                    <a:pt x="7028" y="914"/>
                  </a:cubicBezTo>
                  <a:cubicBezTo>
                    <a:pt x="7003" y="935"/>
                    <a:pt x="6978" y="960"/>
                    <a:pt x="6953" y="981"/>
                  </a:cubicBezTo>
                  <a:cubicBezTo>
                    <a:pt x="6917" y="1014"/>
                    <a:pt x="6883" y="1046"/>
                    <a:pt x="6847" y="1081"/>
                  </a:cubicBezTo>
                  <a:cubicBezTo>
                    <a:pt x="6822" y="1105"/>
                    <a:pt x="6797" y="1129"/>
                    <a:pt x="6772" y="1156"/>
                  </a:cubicBezTo>
                  <a:cubicBezTo>
                    <a:pt x="6756" y="1173"/>
                    <a:pt x="6738" y="1189"/>
                    <a:pt x="6722" y="1205"/>
                  </a:cubicBezTo>
                  <a:cubicBezTo>
                    <a:pt x="6711" y="1216"/>
                    <a:pt x="6700" y="1229"/>
                    <a:pt x="6689" y="1240"/>
                  </a:cubicBezTo>
                  <a:cubicBezTo>
                    <a:pt x="6616" y="1318"/>
                    <a:pt x="6544" y="1396"/>
                    <a:pt x="6475" y="1480"/>
                  </a:cubicBezTo>
                  <a:cubicBezTo>
                    <a:pt x="6467" y="1488"/>
                    <a:pt x="6462" y="1493"/>
                    <a:pt x="6455" y="1501"/>
                  </a:cubicBezTo>
                  <a:cubicBezTo>
                    <a:pt x="6380" y="1590"/>
                    <a:pt x="6306" y="1687"/>
                    <a:pt x="6233" y="1782"/>
                  </a:cubicBezTo>
                  <a:cubicBezTo>
                    <a:pt x="6224" y="1793"/>
                    <a:pt x="6217" y="1803"/>
                    <a:pt x="6208" y="1814"/>
                  </a:cubicBezTo>
                  <a:cubicBezTo>
                    <a:pt x="6197" y="1830"/>
                    <a:pt x="6186" y="1846"/>
                    <a:pt x="6174" y="1863"/>
                  </a:cubicBezTo>
                  <a:cubicBezTo>
                    <a:pt x="6122" y="1935"/>
                    <a:pt x="6070" y="2008"/>
                    <a:pt x="6020" y="2084"/>
                  </a:cubicBezTo>
                  <a:cubicBezTo>
                    <a:pt x="6004" y="2108"/>
                    <a:pt x="5988" y="2132"/>
                    <a:pt x="5971" y="2156"/>
                  </a:cubicBezTo>
                  <a:cubicBezTo>
                    <a:pt x="5907" y="2254"/>
                    <a:pt x="5844" y="2356"/>
                    <a:pt x="5783" y="2458"/>
                  </a:cubicBezTo>
                  <a:cubicBezTo>
                    <a:pt x="5780" y="2464"/>
                    <a:pt x="5778" y="2466"/>
                    <a:pt x="5774" y="2472"/>
                  </a:cubicBezTo>
                  <a:cubicBezTo>
                    <a:pt x="5766" y="2488"/>
                    <a:pt x="5757" y="2504"/>
                    <a:pt x="5748" y="2520"/>
                  </a:cubicBezTo>
                  <a:cubicBezTo>
                    <a:pt x="5699" y="2604"/>
                    <a:pt x="5651" y="2690"/>
                    <a:pt x="5604" y="2779"/>
                  </a:cubicBezTo>
                  <a:cubicBezTo>
                    <a:pt x="5586" y="2812"/>
                    <a:pt x="5570" y="2844"/>
                    <a:pt x="5552" y="2879"/>
                  </a:cubicBezTo>
                  <a:cubicBezTo>
                    <a:pt x="5508" y="2968"/>
                    <a:pt x="5463" y="3057"/>
                    <a:pt x="5420" y="3148"/>
                  </a:cubicBezTo>
                  <a:cubicBezTo>
                    <a:pt x="5411" y="3167"/>
                    <a:pt x="5402" y="3184"/>
                    <a:pt x="5393" y="3202"/>
                  </a:cubicBezTo>
                  <a:cubicBezTo>
                    <a:pt x="5391" y="3208"/>
                    <a:pt x="5388" y="3213"/>
                    <a:pt x="5386" y="3219"/>
                  </a:cubicBezTo>
                  <a:cubicBezTo>
                    <a:pt x="5330" y="3337"/>
                    <a:pt x="5278" y="3458"/>
                    <a:pt x="5227" y="3582"/>
                  </a:cubicBezTo>
                  <a:cubicBezTo>
                    <a:pt x="5214" y="3612"/>
                    <a:pt x="5201" y="3644"/>
                    <a:pt x="5189" y="3674"/>
                  </a:cubicBezTo>
                  <a:cubicBezTo>
                    <a:pt x="5148" y="3777"/>
                    <a:pt x="5108" y="3879"/>
                    <a:pt x="5071" y="3984"/>
                  </a:cubicBezTo>
                  <a:cubicBezTo>
                    <a:pt x="5064" y="4006"/>
                    <a:pt x="5055" y="4025"/>
                    <a:pt x="5047" y="4043"/>
                  </a:cubicBezTo>
                  <a:cubicBezTo>
                    <a:pt x="5042" y="4060"/>
                    <a:pt x="5037" y="4076"/>
                    <a:pt x="5031" y="4089"/>
                  </a:cubicBezTo>
                  <a:cubicBezTo>
                    <a:pt x="5019" y="4124"/>
                    <a:pt x="5006" y="4159"/>
                    <a:pt x="4996" y="4194"/>
                  </a:cubicBezTo>
                  <a:cubicBezTo>
                    <a:pt x="4974" y="4256"/>
                    <a:pt x="4954" y="4316"/>
                    <a:pt x="4935" y="4378"/>
                  </a:cubicBezTo>
                  <a:cubicBezTo>
                    <a:pt x="4922" y="4415"/>
                    <a:pt x="4911" y="4453"/>
                    <a:pt x="4899" y="4491"/>
                  </a:cubicBezTo>
                  <a:cubicBezTo>
                    <a:pt x="4879" y="4553"/>
                    <a:pt x="4861" y="4615"/>
                    <a:pt x="4843" y="4680"/>
                  </a:cubicBezTo>
                  <a:cubicBezTo>
                    <a:pt x="4833" y="4717"/>
                    <a:pt x="4822" y="4752"/>
                    <a:pt x="4811" y="4790"/>
                  </a:cubicBezTo>
                  <a:cubicBezTo>
                    <a:pt x="4791" y="4860"/>
                    <a:pt x="4774" y="4930"/>
                    <a:pt x="4756" y="5000"/>
                  </a:cubicBezTo>
                  <a:cubicBezTo>
                    <a:pt x="4748" y="5030"/>
                    <a:pt x="4739" y="5060"/>
                    <a:pt x="4732" y="5092"/>
                  </a:cubicBezTo>
                  <a:cubicBezTo>
                    <a:pt x="4731" y="5100"/>
                    <a:pt x="4729" y="5105"/>
                    <a:pt x="4727" y="5114"/>
                  </a:cubicBezTo>
                  <a:cubicBezTo>
                    <a:pt x="4714" y="5165"/>
                    <a:pt x="4704" y="5216"/>
                    <a:pt x="4691" y="5267"/>
                  </a:cubicBezTo>
                  <a:cubicBezTo>
                    <a:pt x="4679" y="5318"/>
                    <a:pt x="4668" y="5370"/>
                    <a:pt x="4657" y="5421"/>
                  </a:cubicBezTo>
                  <a:cubicBezTo>
                    <a:pt x="4645" y="5480"/>
                    <a:pt x="4634" y="5539"/>
                    <a:pt x="4621" y="5599"/>
                  </a:cubicBezTo>
                  <a:cubicBezTo>
                    <a:pt x="4611" y="5650"/>
                    <a:pt x="4600" y="5701"/>
                    <a:pt x="4591" y="5752"/>
                  </a:cubicBezTo>
                  <a:cubicBezTo>
                    <a:pt x="4580" y="5814"/>
                    <a:pt x="4569" y="5874"/>
                    <a:pt x="4560" y="5936"/>
                  </a:cubicBezTo>
                  <a:cubicBezTo>
                    <a:pt x="4551" y="5987"/>
                    <a:pt x="4543" y="6038"/>
                    <a:pt x="4535" y="6089"/>
                  </a:cubicBezTo>
                  <a:cubicBezTo>
                    <a:pt x="4526" y="6151"/>
                    <a:pt x="4517" y="6216"/>
                    <a:pt x="4508" y="6278"/>
                  </a:cubicBezTo>
                  <a:cubicBezTo>
                    <a:pt x="4501" y="6329"/>
                    <a:pt x="4494" y="6381"/>
                    <a:pt x="4487" y="6429"/>
                  </a:cubicBezTo>
                  <a:cubicBezTo>
                    <a:pt x="4478" y="6494"/>
                    <a:pt x="4473" y="6561"/>
                    <a:pt x="4466" y="6629"/>
                  </a:cubicBezTo>
                  <a:cubicBezTo>
                    <a:pt x="4460" y="6677"/>
                    <a:pt x="4455" y="6726"/>
                    <a:pt x="4449" y="6774"/>
                  </a:cubicBezTo>
                  <a:cubicBezTo>
                    <a:pt x="4442" y="6844"/>
                    <a:pt x="4439" y="6914"/>
                    <a:pt x="4433" y="6987"/>
                  </a:cubicBezTo>
                  <a:cubicBezTo>
                    <a:pt x="4430" y="7033"/>
                    <a:pt x="4426" y="7079"/>
                    <a:pt x="4423" y="7125"/>
                  </a:cubicBezTo>
                  <a:cubicBezTo>
                    <a:pt x="4417" y="7200"/>
                    <a:pt x="4415" y="7278"/>
                    <a:pt x="4412" y="7354"/>
                  </a:cubicBezTo>
                  <a:cubicBezTo>
                    <a:pt x="4410" y="7394"/>
                    <a:pt x="4408" y="7435"/>
                    <a:pt x="4406" y="7475"/>
                  </a:cubicBezTo>
                  <a:cubicBezTo>
                    <a:pt x="4403" y="7591"/>
                    <a:pt x="4401" y="7709"/>
                    <a:pt x="4401" y="7828"/>
                  </a:cubicBezTo>
                  <a:cubicBezTo>
                    <a:pt x="4401" y="8413"/>
                    <a:pt x="4446" y="8974"/>
                    <a:pt x="4530" y="9499"/>
                  </a:cubicBezTo>
                  <a:cubicBezTo>
                    <a:pt x="4175" y="9370"/>
                    <a:pt x="3792" y="9338"/>
                    <a:pt x="3393" y="9421"/>
                  </a:cubicBezTo>
                  <a:cubicBezTo>
                    <a:pt x="3316" y="9437"/>
                    <a:pt x="3241" y="9459"/>
                    <a:pt x="3166" y="9483"/>
                  </a:cubicBezTo>
                  <a:cubicBezTo>
                    <a:pt x="3146" y="9489"/>
                    <a:pt x="3126" y="9497"/>
                    <a:pt x="3108" y="9502"/>
                  </a:cubicBezTo>
                  <a:cubicBezTo>
                    <a:pt x="3038" y="9526"/>
                    <a:pt x="2970" y="9553"/>
                    <a:pt x="2902" y="9583"/>
                  </a:cubicBezTo>
                  <a:cubicBezTo>
                    <a:pt x="2897" y="9586"/>
                    <a:pt x="2890" y="9588"/>
                    <a:pt x="2884" y="9591"/>
                  </a:cubicBezTo>
                  <a:cubicBezTo>
                    <a:pt x="2811" y="9623"/>
                    <a:pt x="2739" y="9664"/>
                    <a:pt x="2668" y="9704"/>
                  </a:cubicBezTo>
                  <a:cubicBezTo>
                    <a:pt x="2650" y="9715"/>
                    <a:pt x="2632" y="9726"/>
                    <a:pt x="2612" y="9737"/>
                  </a:cubicBezTo>
                  <a:cubicBezTo>
                    <a:pt x="2550" y="9774"/>
                    <a:pt x="2487" y="9815"/>
                    <a:pt x="2426" y="9855"/>
                  </a:cubicBezTo>
                  <a:cubicBezTo>
                    <a:pt x="2419" y="9861"/>
                    <a:pt x="2412" y="9863"/>
                    <a:pt x="2405" y="9869"/>
                  </a:cubicBezTo>
                  <a:cubicBezTo>
                    <a:pt x="2401" y="9871"/>
                    <a:pt x="2399" y="9874"/>
                    <a:pt x="2396" y="9874"/>
                  </a:cubicBezTo>
                  <a:cubicBezTo>
                    <a:pt x="2379" y="9885"/>
                    <a:pt x="2362" y="9898"/>
                    <a:pt x="2345" y="9912"/>
                  </a:cubicBezTo>
                  <a:cubicBezTo>
                    <a:pt x="2311" y="9936"/>
                    <a:pt x="2279" y="9960"/>
                    <a:pt x="2245" y="9987"/>
                  </a:cubicBezTo>
                  <a:cubicBezTo>
                    <a:pt x="2225" y="10003"/>
                    <a:pt x="2206" y="10020"/>
                    <a:pt x="2188" y="10036"/>
                  </a:cubicBezTo>
                  <a:cubicBezTo>
                    <a:pt x="2157" y="10060"/>
                    <a:pt x="2129" y="10087"/>
                    <a:pt x="2098" y="10111"/>
                  </a:cubicBezTo>
                  <a:cubicBezTo>
                    <a:pt x="2079" y="10130"/>
                    <a:pt x="2059" y="10146"/>
                    <a:pt x="2037" y="10165"/>
                  </a:cubicBezTo>
                  <a:cubicBezTo>
                    <a:pt x="2009" y="10192"/>
                    <a:pt x="1982" y="10216"/>
                    <a:pt x="1953" y="10243"/>
                  </a:cubicBezTo>
                  <a:cubicBezTo>
                    <a:pt x="1934" y="10262"/>
                    <a:pt x="1914" y="10284"/>
                    <a:pt x="1894" y="10303"/>
                  </a:cubicBezTo>
                  <a:cubicBezTo>
                    <a:pt x="1882" y="10316"/>
                    <a:pt x="1867" y="10330"/>
                    <a:pt x="1855" y="10343"/>
                  </a:cubicBezTo>
                  <a:cubicBezTo>
                    <a:pt x="1846" y="10351"/>
                    <a:pt x="1839" y="10362"/>
                    <a:pt x="1830" y="10370"/>
                  </a:cubicBezTo>
                  <a:cubicBezTo>
                    <a:pt x="1771" y="10432"/>
                    <a:pt x="1713" y="10497"/>
                    <a:pt x="1658" y="10561"/>
                  </a:cubicBezTo>
                  <a:cubicBezTo>
                    <a:pt x="1652" y="10567"/>
                    <a:pt x="1647" y="10572"/>
                    <a:pt x="1644" y="10578"/>
                  </a:cubicBezTo>
                  <a:cubicBezTo>
                    <a:pt x="1583" y="10650"/>
                    <a:pt x="1524" y="10726"/>
                    <a:pt x="1466" y="10804"/>
                  </a:cubicBezTo>
                  <a:cubicBezTo>
                    <a:pt x="1459" y="10812"/>
                    <a:pt x="1452" y="10820"/>
                    <a:pt x="1447" y="10828"/>
                  </a:cubicBezTo>
                  <a:cubicBezTo>
                    <a:pt x="1438" y="10842"/>
                    <a:pt x="1429" y="10855"/>
                    <a:pt x="1420" y="10866"/>
                  </a:cubicBezTo>
                  <a:cubicBezTo>
                    <a:pt x="1379" y="10923"/>
                    <a:pt x="1337" y="10982"/>
                    <a:pt x="1296" y="11044"/>
                  </a:cubicBezTo>
                  <a:cubicBezTo>
                    <a:pt x="1284" y="11063"/>
                    <a:pt x="1269" y="11082"/>
                    <a:pt x="1257" y="11103"/>
                  </a:cubicBezTo>
                  <a:cubicBezTo>
                    <a:pt x="1205" y="11181"/>
                    <a:pt x="1155" y="11262"/>
                    <a:pt x="1106" y="11346"/>
                  </a:cubicBezTo>
                  <a:cubicBezTo>
                    <a:pt x="1105" y="11349"/>
                    <a:pt x="1101" y="11354"/>
                    <a:pt x="1099" y="11357"/>
                  </a:cubicBezTo>
                  <a:cubicBezTo>
                    <a:pt x="1092" y="11370"/>
                    <a:pt x="1085" y="11384"/>
                    <a:pt x="1078" y="11397"/>
                  </a:cubicBezTo>
                  <a:cubicBezTo>
                    <a:pt x="1038" y="11464"/>
                    <a:pt x="1001" y="11535"/>
                    <a:pt x="963" y="11605"/>
                  </a:cubicBezTo>
                  <a:cubicBezTo>
                    <a:pt x="949" y="11632"/>
                    <a:pt x="936" y="11656"/>
                    <a:pt x="922" y="11683"/>
                  </a:cubicBezTo>
                  <a:cubicBezTo>
                    <a:pt x="886" y="11753"/>
                    <a:pt x="850" y="11826"/>
                    <a:pt x="816" y="11898"/>
                  </a:cubicBezTo>
                  <a:cubicBezTo>
                    <a:pt x="809" y="11912"/>
                    <a:pt x="802" y="11925"/>
                    <a:pt x="795" y="11942"/>
                  </a:cubicBezTo>
                  <a:cubicBezTo>
                    <a:pt x="793" y="11947"/>
                    <a:pt x="791" y="11950"/>
                    <a:pt x="789" y="11955"/>
                  </a:cubicBezTo>
                  <a:cubicBezTo>
                    <a:pt x="745" y="12049"/>
                    <a:pt x="704" y="12146"/>
                    <a:pt x="662" y="12246"/>
                  </a:cubicBezTo>
                  <a:cubicBezTo>
                    <a:pt x="652" y="12270"/>
                    <a:pt x="643" y="12295"/>
                    <a:pt x="634" y="12319"/>
                  </a:cubicBezTo>
                  <a:cubicBezTo>
                    <a:pt x="601" y="12400"/>
                    <a:pt x="569" y="12483"/>
                    <a:pt x="539" y="12567"/>
                  </a:cubicBezTo>
                  <a:cubicBezTo>
                    <a:pt x="533" y="12583"/>
                    <a:pt x="526" y="12599"/>
                    <a:pt x="521" y="12616"/>
                  </a:cubicBezTo>
                  <a:cubicBezTo>
                    <a:pt x="519" y="12624"/>
                    <a:pt x="516" y="12632"/>
                    <a:pt x="514" y="12637"/>
                  </a:cubicBezTo>
                  <a:cubicBezTo>
                    <a:pt x="471" y="12756"/>
                    <a:pt x="431" y="12880"/>
                    <a:pt x="394" y="13004"/>
                  </a:cubicBezTo>
                  <a:cubicBezTo>
                    <a:pt x="387" y="13028"/>
                    <a:pt x="379" y="13052"/>
                    <a:pt x="372" y="13076"/>
                  </a:cubicBezTo>
                  <a:cubicBezTo>
                    <a:pt x="335" y="13203"/>
                    <a:pt x="299" y="13333"/>
                    <a:pt x="268" y="13462"/>
                  </a:cubicBezTo>
                  <a:cubicBezTo>
                    <a:pt x="267" y="13465"/>
                    <a:pt x="267" y="13470"/>
                    <a:pt x="265" y="13473"/>
                  </a:cubicBezTo>
                  <a:cubicBezTo>
                    <a:pt x="254" y="13513"/>
                    <a:pt x="247" y="13554"/>
                    <a:pt x="236" y="13594"/>
                  </a:cubicBezTo>
                  <a:cubicBezTo>
                    <a:pt x="227" y="13634"/>
                    <a:pt x="216" y="13675"/>
                    <a:pt x="208" y="13718"/>
                  </a:cubicBezTo>
                  <a:cubicBezTo>
                    <a:pt x="197" y="13764"/>
                    <a:pt x="188" y="13812"/>
                    <a:pt x="179" y="13858"/>
                  </a:cubicBezTo>
                  <a:cubicBezTo>
                    <a:pt x="170" y="13899"/>
                    <a:pt x="163" y="13942"/>
                    <a:pt x="154" y="13982"/>
                  </a:cubicBezTo>
                  <a:cubicBezTo>
                    <a:pt x="145" y="14031"/>
                    <a:pt x="138" y="14079"/>
                    <a:pt x="129" y="14128"/>
                  </a:cubicBezTo>
                  <a:cubicBezTo>
                    <a:pt x="122" y="14168"/>
                    <a:pt x="114" y="14209"/>
                    <a:pt x="107" y="14252"/>
                  </a:cubicBezTo>
                  <a:cubicBezTo>
                    <a:pt x="100" y="14300"/>
                    <a:pt x="93" y="14351"/>
                    <a:pt x="86" y="14403"/>
                  </a:cubicBezTo>
                  <a:cubicBezTo>
                    <a:pt x="80" y="14443"/>
                    <a:pt x="73" y="14484"/>
                    <a:pt x="70" y="14524"/>
                  </a:cubicBezTo>
                  <a:cubicBezTo>
                    <a:pt x="62" y="14575"/>
                    <a:pt x="59" y="14626"/>
                    <a:pt x="54" y="14678"/>
                  </a:cubicBezTo>
                  <a:cubicBezTo>
                    <a:pt x="50" y="14718"/>
                    <a:pt x="45" y="14759"/>
                    <a:pt x="41" y="14799"/>
                  </a:cubicBezTo>
                  <a:cubicBezTo>
                    <a:pt x="36" y="14853"/>
                    <a:pt x="32" y="14907"/>
                    <a:pt x="28" y="14961"/>
                  </a:cubicBezTo>
                  <a:cubicBezTo>
                    <a:pt x="25" y="14998"/>
                    <a:pt x="21" y="15039"/>
                    <a:pt x="20" y="15077"/>
                  </a:cubicBezTo>
                  <a:cubicBezTo>
                    <a:pt x="16" y="15136"/>
                    <a:pt x="14" y="15198"/>
                    <a:pt x="11" y="15260"/>
                  </a:cubicBezTo>
                  <a:cubicBezTo>
                    <a:pt x="9" y="15292"/>
                    <a:pt x="7" y="15325"/>
                    <a:pt x="5" y="15357"/>
                  </a:cubicBezTo>
                  <a:cubicBezTo>
                    <a:pt x="2" y="15451"/>
                    <a:pt x="0" y="15546"/>
                    <a:pt x="0" y="15640"/>
                  </a:cubicBezTo>
                  <a:cubicBezTo>
                    <a:pt x="-2" y="17600"/>
                    <a:pt x="625" y="19185"/>
                    <a:pt x="1572" y="19961"/>
                  </a:cubicBezTo>
                  <a:lnTo>
                    <a:pt x="2827" y="20988"/>
                  </a:lnTo>
                  <a:cubicBezTo>
                    <a:pt x="2816" y="20980"/>
                    <a:pt x="2807" y="20969"/>
                    <a:pt x="2797" y="20961"/>
                  </a:cubicBezTo>
                  <a:cubicBezTo>
                    <a:pt x="3327" y="21409"/>
                    <a:pt x="3957" y="21600"/>
                    <a:pt x="4637" y="21457"/>
                  </a:cubicBezTo>
                  <a:lnTo>
                    <a:pt x="18692" y="18484"/>
                  </a:lnTo>
                  <a:cubicBezTo>
                    <a:pt x="20289" y="18147"/>
                    <a:pt x="21587" y="15767"/>
                    <a:pt x="21591" y="13171"/>
                  </a:cubicBezTo>
                  <a:cubicBezTo>
                    <a:pt x="21598" y="11486"/>
                    <a:pt x="21055" y="10125"/>
                    <a:pt x="20237" y="9470"/>
                  </a:cubicBezTo>
                  <a:close/>
                </a:path>
              </a:pathLst>
            </a:custGeom>
            <a:solidFill>
              <a:srgbClr val="4CC1EF">
                <a:lumMod val="60000"/>
                <a:lumOff val="40000"/>
              </a:srgb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Calibri" panose="020F0502020204030204"/>
              </a:endParaRPr>
            </a:p>
          </p:txBody>
        </p:sp>
        <p:sp>
          <p:nvSpPr>
            <p:cNvPr id="101" name="Shape">
              <a:extLst>
                <a:ext uri="{FF2B5EF4-FFF2-40B4-BE49-F238E27FC236}">
                  <a16:creationId xmlns:a16="http://schemas.microsoft.com/office/drawing/2014/main" id="{686C48D0-2802-012B-2E55-38B1A8C25F74}"/>
                </a:ext>
              </a:extLst>
            </p:cNvPr>
            <p:cNvSpPr/>
            <p:nvPr/>
          </p:nvSpPr>
          <p:spPr>
            <a:xfrm>
              <a:off x="16040100" y="3302000"/>
              <a:ext cx="1442340" cy="965747"/>
            </a:xfrm>
            <a:custGeom>
              <a:avLst/>
              <a:gdLst/>
              <a:ahLst/>
              <a:cxnLst>
                <a:cxn ang="0">
                  <a:pos x="wd2" y="hd2"/>
                </a:cxn>
                <a:cxn ang="5400000">
                  <a:pos x="wd2" y="hd2"/>
                </a:cxn>
                <a:cxn ang="10800000">
                  <a:pos x="wd2" y="hd2"/>
                </a:cxn>
                <a:cxn ang="16200000">
                  <a:pos x="wd2" y="hd2"/>
                </a:cxn>
              </a:cxnLst>
              <a:rect l="0" t="0" r="r" b="b"/>
              <a:pathLst>
                <a:path w="21592" h="20948" extrusionOk="0">
                  <a:moveTo>
                    <a:pt x="9185" y="60"/>
                  </a:moveTo>
                  <a:cubicBezTo>
                    <a:pt x="10932" y="-295"/>
                    <a:pt x="12443" y="953"/>
                    <a:pt x="13187" y="3077"/>
                  </a:cubicBezTo>
                  <a:cubicBezTo>
                    <a:pt x="13706" y="2520"/>
                    <a:pt x="14303" y="2140"/>
                    <a:pt x="14938" y="2011"/>
                  </a:cubicBezTo>
                  <a:cubicBezTo>
                    <a:pt x="16925" y="1606"/>
                    <a:pt x="18533" y="3799"/>
                    <a:pt x="18529" y="6906"/>
                  </a:cubicBezTo>
                  <a:cubicBezTo>
                    <a:pt x="18529" y="7371"/>
                    <a:pt x="18491" y="7832"/>
                    <a:pt x="18423" y="8278"/>
                  </a:cubicBezTo>
                  <a:cubicBezTo>
                    <a:pt x="18457" y="8270"/>
                    <a:pt x="18493" y="8259"/>
                    <a:pt x="18527" y="8253"/>
                  </a:cubicBezTo>
                  <a:cubicBezTo>
                    <a:pt x="20223" y="7909"/>
                    <a:pt x="21596" y="9779"/>
                    <a:pt x="21592" y="12432"/>
                  </a:cubicBezTo>
                  <a:cubicBezTo>
                    <a:pt x="21588" y="15085"/>
                    <a:pt x="20210" y="17514"/>
                    <a:pt x="18514" y="17862"/>
                  </a:cubicBezTo>
                  <a:lnTo>
                    <a:pt x="3591" y="20900"/>
                  </a:lnTo>
                  <a:cubicBezTo>
                    <a:pt x="1603" y="21305"/>
                    <a:pt x="-4" y="19112"/>
                    <a:pt x="0" y="16005"/>
                  </a:cubicBezTo>
                  <a:cubicBezTo>
                    <a:pt x="4" y="12898"/>
                    <a:pt x="1618" y="10049"/>
                    <a:pt x="3605" y="9644"/>
                  </a:cubicBezTo>
                  <a:cubicBezTo>
                    <a:pt x="4029" y="9559"/>
                    <a:pt x="4433" y="9592"/>
                    <a:pt x="4812" y="9724"/>
                  </a:cubicBezTo>
                  <a:cubicBezTo>
                    <a:pt x="4722" y="9187"/>
                    <a:pt x="4675" y="8614"/>
                    <a:pt x="4675" y="8016"/>
                  </a:cubicBezTo>
                  <a:cubicBezTo>
                    <a:pt x="4681" y="4126"/>
                    <a:pt x="6700" y="564"/>
                    <a:pt x="9185" y="60"/>
                  </a:cubicBezTo>
                  <a:close/>
                </a:path>
              </a:pathLst>
            </a:custGeom>
            <a:solidFill>
              <a:srgbClr val="4CC1EF">
                <a:lumMod val="40000"/>
                <a:lumOff val="60000"/>
              </a:srgbClr>
            </a:solidFill>
            <a:ln w="12700">
              <a:miter lim="400000"/>
            </a:ln>
          </p:spPr>
          <p:txBody>
            <a:bodyPr lIns="1152000" tIns="360000" rIns="1152000" bIns="38100" anchor="ctr"/>
            <a:lstStyle/>
            <a:p>
              <a:pPr marL="0" marR="0" lvl="0" indent="0" algn="ctr"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1100" b="0" i="0" u="none" strike="noStrike" kern="0" cap="none" spc="0" normalizeH="0" baseline="0" noProof="0" dirty="0">
                <a:ln>
                  <a:noFill/>
                </a:ln>
                <a:solidFill>
                  <a:prstClr val="black">
                    <a:lumMod val="95000"/>
                    <a:lumOff val="5000"/>
                  </a:prstClr>
                </a:solidFill>
                <a:effectLst/>
                <a:uLnTx/>
                <a:uFillTx/>
                <a:latin typeface="Calibri" panose="020F0502020204030204"/>
              </a:endParaRPr>
            </a:p>
          </p:txBody>
        </p:sp>
      </p:grpSp>
      <p:grpSp>
        <p:nvGrpSpPr>
          <p:cNvPr id="102" name="Graphic 11" descr="Lightbulb">
            <a:extLst>
              <a:ext uri="{FF2B5EF4-FFF2-40B4-BE49-F238E27FC236}">
                <a16:creationId xmlns:a16="http://schemas.microsoft.com/office/drawing/2014/main" id="{581BB3C8-D3E6-1BBE-CFC2-33199A746624}"/>
              </a:ext>
            </a:extLst>
          </p:cNvPr>
          <p:cNvGrpSpPr/>
          <p:nvPr/>
        </p:nvGrpSpPr>
        <p:grpSpPr>
          <a:xfrm>
            <a:off x="6945409" y="1261185"/>
            <a:ext cx="740704" cy="740704"/>
            <a:chOff x="6926177" y="1013535"/>
            <a:chExt cx="740704" cy="740704"/>
          </a:xfrm>
        </p:grpSpPr>
        <p:sp>
          <p:nvSpPr>
            <p:cNvPr id="103" name="Freeform: Shape 102">
              <a:extLst>
                <a:ext uri="{FF2B5EF4-FFF2-40B4-BE49-F238E27FC236}">
                  <a16:creationId xmlns:a16="http://schemas.microsoft.com/office/drawing/2014/main" id="{33A509DA-3BFC-1999-206F-8E9550D5DE1C}"/>
                </a:ext>
              </a:extLst>
            </p:cNvPr>
            <p:cNvSpPr/>
            <p:nvPr/>
          </p:nvSpPr>
          <p:spPr>
            <a:xfrm>
              <a:off x="7196225" y="1507337"/>
              <a:ext cx="200607" cy="46294"/>
            </a:xfrm>
            <a:custGeom>
              <a:avLst/>
              <a:gdLst>
                <a:gd name="connsiteX0" fmla="*/ 23147 w 200607"/>
                <a:gd name="connsiteY0" fmla="*/ 0 h 46294"/>
                <a:gd name="connsiteX1" fmla="*/ 177460 w 200607"/>
                <a:gd name="connsiteY1" fmla="*/ 0 h 46294"/>
                <a:gd name="connsiteX2" fmla="*/ 200607 w 200607"/>
                <a:gd name="connsiteY2" fmla="*/ 23147 h 46294"/>
                <a:gd name="connsiteX3" fmla="*/ 177460 w 200607"/>
                <a:gd name="connsiteY3" fmla="*/ 46294 h 46294"/>
                <a:gd name="connsiteX4" fmla="*/ 23147 w 200607"/>
                <a:gd name="connsiteY4" fmla="*/ 46294 h 46294"/>
                <a:gd name="connsiteX5" fmla="*/ 0 w 200607"/>
                <a:gd name="connsiteY5" fmla="*/ 23147 h 46294"/>
                <a:gd name="connsiteX6" fmla="*/ 23147 w 200607"/>
                <a:gd name="connsiteY6" fmla="*/ 0 h 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7" h="46294">
                  <a:moveTo>
                    <a:pt x="23147" y="0"/>
                  </a:moveTo>
                  <a:lnTo>
                    <a:pt x="177460" y="0"/>
                  </a:lnTo>
                  <a:cubicBezTo>
                    <a:pt x="190577" y="0"/>
                    <a:pt x="200607" y="10030"/>
                    <a:pt x="200607" y="23147"/>
                  </a:cubicBezTo>
                  <a:cubicBezTo>
                    <a:pt x="200607" y="36264"/>
                    <a:pt x="190577" y="46294"/>
                    <a:pt x="177460" y="46294"/>
                  </a:cubicBezTo>
                  <a:lnTo>
                    <a:pt x="23147" y="46294"/>
                  </a:lnTo>
                  <a:cubicBezTo>
                    <a:pt x="10030" y="46294"/>
                    <a:pt x="0" y="36264"/>
                    <a:pt x="0" y="23147"/>
                  </a:cubicBezTo>
                  <a:cubicBezTo>
                    <a:pt x="0" y="10030"/>
                    <a:pt x="10030" y="0"/>
                    <a:pt x="23147" y="0"/>
                  </a:cubicBezTo>
                  <a:close/>
                </a:path>
              </a:pathLst>
            </a:custGeom>
            <a:solidFill>
              <a:sysClr val="window" lastClr="FFFFFF"/>
            </a:solidFill>
            <a:ln w="76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4" name="Freeform: Shape 103">
              <a:extLst>
                <a:ext uri="{FF2B5EF4-FFF2-40B4-BE49-F238E27FC236}">
                  <a16:creationId xmlns:a16="http://schemas.microsoft.com/office/drawing/2014/main" id="{06C63D95-47AD-4531-6ACA-6D9285CD7B51}"/>
                </a:ext>
              </a:extLst>
            </p:cNvPr>
            <p:cNvSpPr/>
            <p:nvPr/>
          </p:nvSpPr>
          <p:spPr>
            <a:xfrm>
              <a:off x="7196225" y="1584494"/>
              <a:ext cx="200607" cy="46294"/>
            </a:xfrm>
            <a:custGeom>
              <a:avLst/>
              <a:gdLst>
                <a:gd name="connsiteX0" fmla="*/ 23147 w 200607"/>
                <a:gd name="connsiteY0" fmla="*/ 0 h 46294"/>
                <a:gd name="connsiteX1" fmla="*/ 177460 w 200607"/>
                <a:gd name="connsiteY1" fmla="*/ 0 h 46294"/>
                <a:gd name="connsiteX2" fmla="*/ 200607 w 200607"/>
                <a:gd name="connsiteY2" fmla="*/ 23147 h 46294"/>
                <a:gd name="connsiteX3" fmla="*/ 177460 w 200607"/>
                <a:gd name="connsiteY3" fmla="*/ 46294 h 46294"/>
                <a:gd name="connsiteX4" fmla="*/ 23147 w 200607"/>
                <a:gd name="connsiteY4" fmla="*/ 46294 h 46294"/>
                <a:gd name="connsiteX5" fmla="*/ 0 w 200607"/>
                <a:gd name="connsiteY5" fmla="*/ 23147 h 46294"/>
                <a:gd name="connsiteX6" fmla="*/ 23147 w 200607"/>
                <a:gd name="connsiteY6" fmla="*/ 0 h 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7" h="46294">
                  <a:moveTo>
                    <a:pt x="23147" y="0"/>
                  </a:moveTo>
                  <a:lnTo>
                    <a:pt x="177460" y="0"/>
                  </a:lnTo>
                  <a:cubicBezTo>
                    <a:pt x="190577" y="0"/>
                    <a:pt x="200607" y="10030"/>
                    <a:pt x="200607" y="23147"/>
                  </a:cubicBezTo>
                  <a:cubicBezTo>
                    <a:pt x="200607" y="36264"/>
                    <a:pt x="190577" y="46294"/>
                    <a:pt x="177460" y="46294"/>
                  </a:cubicBezTo>
                  <a:lnTo>
                    <a:pt x="23147" y="46294"/>
                  </a:lnTo>
                  <a:cubicBezTo>
                    <a:pt x="10030" y="46294"/>
                    <a:pt x="0" y="36264"/>
                    <a:pt x="0" y="23147"/>
                  </a:cubicBezTo>
                  <a:cubicBezTo>
                    <a:pt x="0" y="10030"/>
                    <a:pt x="10030" y="0"/>
                    <a:pt x="23147" y="0"/>
                  </a:cubicBezTo>
                  <a:close/>
                </a:path>
              </a:pathLst>
            </a:custGeom>
            <a:solidFill>
              <a:sysClr val="window" lastClr="FFFFFF"/>
            </a:solidFill>
            <a:ln w="76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5" name="Freeform: Shape 104">
              <a:extLst>
                <a:ext uri="{FF2B5EF4-FFF2-40B4-BE49-F238E27FC236}">
                  <a16:creationId xmlns:a16="http://schemas.microsoft.com/office/drawing/2014/main" id="{9A46E77D-CFBE-FCC9-0241-60FD6423B39D}"/>
                </a:ext>
              </a:extLst>
            </p:cNvPr>
            <p:cNvSpPr/>
            <p:nvPr/>
          </p:nvSpPr>
          <p:spPr>
            <a:xfrm>
              <a:off x="7246377" y="1661651"/>
              <a:ext cx="100303" cy="46294"/>
            </a:xfrm>
            <a:custGeom>
              <a:avLst/>
              <a:gdLst>
                <a:gd name="connsiteX0" fmla="*/ 0 w 100303"/>
                <a:gd name="connsiteY0" fmla="*/ 0 h 46294"/>
                <a:gd name="connsiteX1" fmla="*/ 50152 w 100303"/>
                <a:gd name="connsiteY1" fmla="*/ 46294 h 46294"/>
                <a:gd name="connsiteX2" fmla="*/ 100304 w 100303"/>
                <a:gd name="connsiteY2" fmla="*/ 0 h 46294"/>
                <a:gd name="connsiteX3" fmla="*/ 0 w 100303"/>
                <a:gd name="connsiteY3" fmla="*/ 0 h 46294"/>
              </a:gdLst>
              <a:ahLst/>
              <a:cxnLst>
                <a:cxn ang="0">
                  <a:pos x="connsiteX0" y="connsiteY0"/>
                </a:cxn>
                <a:cxn ang="0">
                  <a:pos x="connsiteX1" y="connsiteY1"/>
                </a:cxn>
                <a:cxn ang="0">
                  <a:pos x="connsiteX2" y="connsiteY2"/>
                </a:cxn>
                <a:cxn ang="0">
                  <a:pos x="connsiteX3" y="connsiteY3"/>
                </a:cxn>
              </a:cxnLst>
              <a:rect l="l" t="t" r="r" b="b"/>
              <a:pathLst>
                <a:path w="100303" h="46294">
                  <a:moveTo>
                    <a:pt x="0" y="0"/>
                  </a:moveTo>
                  <a:cubicBezTo>
                    <a:pt x="2315" y="26233"/>
                    <a:pt x="23919" y="46294"/>
                    <a:pt x="50152" y="46294"/>
                  </a:cubicBezTo>
                  <a:cubicBezTo>
                    <a:pt x="76385" y="46294"/>
                    <a:pt x="97989" y="26233"/>
                    <a:pt x="100304" y="0"/>
                  </a:cubicBezTo>
                  <a:lnTo>
                    <a:pt x="0" y="0"/>
                  </a:lnTo>
                  <a:close/>
                </a:path>
              </a:pathLst>
            </a:custGeom>
            <a:solidFill>
              <a:sysClr val="window" lastClr="FFFFFF"/>
            </a:solidFill>
            <a:ln w="76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06" name="Freeform: Shape 105">
              <a:extLst>
                <a:ext uri="{FF2B5EF4-FFF2-40B4-BE49-F238E27FC236}">
                  <a16:creationId xmlns:a16="http://schemas.microsoft.com/office/drawing/2014/main" id="{C636EC57-7D94-723C-B4DC-03DD63E8CC8A}"/>
                </a:ext>
              </a:extLst>
            </p:cNvPr>
            <p:cNvSpPr/>
            <p:nvPr/>
          </p:nvSpPr>
          <p:spPr>
            <a:xfrm>
              <a:off x="7095921" y="1059829"/>
              <a:ext cx="401214" cy="416646"/>
            </a:xfrm>
            <a:custGeom>
              <a:avLst/>
              <a:gdLst>
                <a:gd name="connsiteX0" fmla="*/ 200607 w 401214"/>
                <a:gd name="connsiteY0" fmla="*/ 0 h 416646"/>
                <a:gd name="connsiteX1" fmla="*/ 200607 w 401214"/>
                <a:gd name="connsiteY1" fmla="*/ 0 h 416646"/>
                <a:gd name="connsiteX2" fmla="*/ 200607 w 401214"/>
                <a:gd name="connsiteY2" fmla="*/ 0 h 416646"/>
                <a:gd name="connsiteX3" fmla="*/ 0 w 401214"/>
                <a:gd name="connsiteY3" fmla="*/ 198293 h 416646"/>
                <a:gd name="connsiteX4" fmla="*/ 0 w 401214"/>
                <a:gd name="connsiteY4" fmla="*/ 205237 h 416646"/>
                <a:gd name="connsiteX5" fmla="*/ 13888 w 401214"/>
                <a:gd name="connsiteY5" fmla="*/ 274678 h 416646"/>
                <a:gd name="connsiteX6" fmla="*/ 48609 w 401214"/>
                <a:gd name="connsiteY6" fmla="*/ 331774 h 416646"/>
                <a:gd name="connsiteX7" fmla="*/ 95674 w 401214"/>
                <a:gd name="connsiteY7" fmla="*/ 408159 h 416646"/>
                <a:gd name="connsiteX8" fmla="*/ 109562 w 401214"/>
                <a:gd name="connsiteY8" fmla="*/ 416646 h 416646"/>
                <a:gd name="connsiteX9" fmla="*/ 291652 w 401214"/>
                <a:gd name="connsiteY9" fmla="*/ 416646 h 416646"/>
                <a:gd name="connsiteX10" fmla="*/ 305540 w 401214"/>
                <a:gd name="connsiteY10" fmla="*/ 408159 h 416646"/>
                <a:gd name="connsiteX11" fmla="*/ 352606 w 401214"/>
                <a:gd name="connsiteY11" fmla="*/ 331774 h 416646"/>
                <a:gd name="connsiteX12" fmla="*/ 387326 w 401214"/>
                <a:gd name="connsiteY12" fmla="*/ 274678 h 416646"/>
                <a:gd name="connsiteX13" fmla="*/ 401215 w 401214"/>
                <a:gd name="connsiteY13" fmla="*/ 205237 h 416646"/>
                <a:gd name="connsiteX14" fmla="*/ 401215 w 401214"/>
                <a:gd name="connsiteY14" fmla="*/ 198293 h 416646"/>
                <a:gd name="connsiteX15" fmla="*/ 200607 w 401214"/>
                <a:gd name="connsiteY15" fmla="*/ 0 h 416646"/>
                <a:gd name="connsiteX16" fmla="*/ 354921 w 401214"/>
                <a:gd name="connsiteY16" fmla="*/ 204465 h 416646"/>
                <a:gd name="connsiteX17" fmla="*/ 344119 w 401214"/>
                <a:gd name="connsiteY17" fmla="*/ 258475 h 416646"/>
                <a:gd name="connsiteX18" fmla="*/ 317885 w 401214"/>
                <a:gd name="connsiteY18" fmla="*/ 300911 h 416646"/>
                <a:gd name="connsiteX19" fmla="*/ 273135 w 401214"/>
                <a:gd name="connsiteY19" fmla="*/ 370352 h 416646"/>
                <a:gd name="connsiteX20" fmla="*/ 200607 w 401214"/>
                <a:gd name="connsiteY20" fmla="*/ 370352 h 416646"/>
                <a:gd name="connsiteX21" fmla="*/ 128852 w 401214"/>
                <a:gd name="connsiteY21" fmla="*/ 370352 h 416646"/>
                <a:gd name="connsiteX22" fmla="*/ 84101 w 401214"/>
                <a:gd name="connsiteY22" fmla="*/ 300911 h 416646"/>
                <a:gd name="connsiteX23" fmla="*/ 57868 w 401214"/>
                <a:gd name="connsiteY23" fmla="*/ 258475 h 416646"/>
                <a:gd name="connsiteX24" fmla="*/ 47066 w 401214"/>
                <a:gd name="connsiteY24" fmla="*/ 204465 h 416646"/>
                <a:gd name="connsiteX25" fmla="*/ 47066 w 401214"/>
                <a:gd name="connsiteY25" fmla="*/ 198293 h 416646"/>
                <a:gd name="connsiteX26" fmla="*/ 201379 w 401214"/>
                <a:gd name="connsiteY26" fmla="*/ 45522 h 416646"/>
                <a:gd name="connsiteX27" fmla="*/ 201379 w 401214"/>
                <a:gd name="connsiteY27" fmla="*/ 45522 h 416646"/>
                <a:gd name="connsiteX28" fmla="*/ 201379 w 401214"/>
                <a:gd name="connsiteY28" fmla="*/ 45522 h 416646"/>
                <a:gd name="connsiteX29" fmla="*/ 201379 w 401214"/>
                <a:gd name="connsiteY29" fmla="*/ 45522 h 416646"/>
                <a:gd name="connsiteX30" fmla="*/ 201379 w 401214"/>
                <a:gd name="connsiteY30" fmla="*/ 45522 h 416646"/>
                <a:gd name="connsiteX31" fmla="*/ 201379 w 401214"/>
                <a:gd name="connsiteY31" fmla="*/ 45522 h 416646"/>
                <a:gd name="connsiteX32" fmla="*/ 201379 w 401214"/>
                <a:gd name="connsiteY32" fmla="*/ 45522 h 416646"/>
                <a:gd name="connsiteX33" fmla="*/ 355692 w 401214"/>
                <a:gd name="connsiteY33" fmla="*/ 198293 h 416646"/>
                <a:gd name="connsiteX34" fmla="*/ 355692 w 401214"/>
                <a:gd name="connsiteY34" fmla="*/ 204465 h 41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1214" h="416646">
                  <a:moveTo>
                    <a:pt x="200607" y="0"/>
                  </a:moveTo>
                  <a:cubicBezTo>
                    <a:pt x="200607" y="0"/>
                    <a:pt x="200607" y="0"/>
                    <a:pt x="200607" y="0"/>
                  </a:cubicBezTo>
                  <a:cubicBezTo>
                    <a:pt x="200607" y="0"/>
                    <a:pt x="200607" y="0"/>
                    <a:pt x="200607" y="0"/>
                  </a:cubicBezTo>
                  <a:cubicBezTo>
                    <a:pt x="91045" y="772"/>
                    <a:pt x="2315" y="88730"/>
                    <a:pt x="0" y="198293"/>
                  </a:cubicBezTo>
                  <a:lnTo>
                    <a:pt x="0" y="205237"/>
                  </a:lnTo>
                  <a:cubicBezTo>
                    <a:pt x="772" y="229155"/>
                    <a:pt x="5401" y="252302"/>
                    <a:pt x="13888" y="274678"/>
                  </a:cubicBezTo>
                  <a:cubicBezTo>
                    <a:pt x="22375" y="295510"/>
                    <a:pt x="33949" y="314799"/>
                    <a:pt x="48609" y="331774"/>
                  </a:cubicBezTo>
                  <a:cubicBezTo>
                    <a:pt x="67126" y="351834"/>
                    <a:pt x="87187" y="391184"/>
                    <a:pt x="95674" y="408159"/>
                  </a:cubicBezTo>
                  <a:cubicBezTo>
                    <a:pt x="97989" y="413560"/>
                    <a:pt x="103390" y="416646"/>
                    <a:pt x="109562" y="416646"/>
                  </a:cubicBezTo>
                  <a:lnTo>
                    <a:pt x="291652" y="416646"/>
                  </a:lnTo>
                  <a:cubicBezTo>
                    <a:pt x="297825" y="416646"/>
                    <a:pt x="303226" y="413560"/>
                    <a:pt x="305540" y="408159"/>
                  </a:cubicBezTo>
                  <a:cubicBezTo>
                    <a:pt x="314028" y="391184"/>
                    <a:pt x="334088" y="351834"/>
                    <a:pt x="352606" y="331774"/>
                  </a:cubicBezTo>
                  <a:cubicBezTo>
                    <a:pt x="367266" y="314799"/>
                    <a:pt x="379611" y="295510"/>
                    <a:pt x="387326" y="274678"/>
                  </a:cubicBezTo>
                  <a:cubicBezTo>
                    <a:pt x="395814" y="252302"/>
                    <a:pt x="400443" y="229155"/>
                    <a:pt x="401215" y="205237"/>
                  </a:cubicBezTo>
                  <a:lnTo>
                    <a:pt x="401215" y="198293"/>
                  </a:lnTo>
                  <a:cubicBezTo>
                    <a:pt x="398900" y="88730"/>
                    <a:pt x="310170" y="772"/>
                    <a:pt x="200607" y="0"/>
                  </a:cubicBezTo>
                  <a:close/>
                  <a:moveTo>
                    <a:pt x="354921" y="204465"/>
                  </a:moveTo>
                  <a:cubicBezTo>
                    <a:pt x="354149" y="222983"/>
                    <a:pt x="350291" y="241500"/>
                    <a:pt x="344119" y="258475"/>
                  </a:cubicBezTo>
                  <a:cubicBezTo>
                    <a:pt x="337946" y="273906"/>
                    <a:pt x="329459" y="288566"/>
                    <a:pt x="317885" y="300911"/>
                  </a:cubicBezTo>
                  <a:cubicBezTo>
                    <a:pt x="300139" y="322515"/>
                    <a:pt x="284708" y="345662"/>
                    <a:pt x="273135" y="370352"/>
                  </a:cubicBezTo>
                  <a:lnTo>
                    <a:pt x="200607" y="370352"/>
                  </a:lnTo>
                  <a:lnTo>
                    <a:pt x="128852" y="370352"/>
                  </a:lnTo>
                  <a:cubicBezTo>
                    <a:pt x="116507" y="345662"/>
                    <a:pt x="101075" y="322515"/>
                    <a:pt x="84101" y="300911"/>
                  </a:cubicBezTo>
                  <a:cubicBezTo>
                    <a:pt x="73299" y="288566"/>
                    <a:pt x="64040" y="273906"/>
                    <a:pt x="57868" y="258475"/>
                  </a:cubicBezTo>
                  <a:cubicBezTo>
                    <a:pt x="50923" y="241500"/>
                    <a:pt x="47837" y="222983"/>
                    <a:pt x="47066" y="204465"/>
                  </a:cubicBezTo>
                  <a:lnTo>
                    <a:pt x="47066" y="198293"/>
                  </a:lnTo>
                  <a:cubicBezTo>
                    <a:pt x="48609" y="114192"/>
                    <a:pt x="117278" y="46294"/>
                    <a:pt x="201379" y="45522"/>
                  </a:cubicBezTo>
                  <a:lnTo>
                    <a:pt x="201379" y="45522"/>
                  </a:lnTo>
                  <a:lnTo>
                    <a:pt x="201379" y="45522"/>
                  </a:lnTo>
                  <a:cubicBezTo>
                    <a:pt x="201379" y="45522"/>
                    <a:pt x="201379" y="45522"/>
                    <a:pt x="201379" y="45522"/>
                  </a:cubicBezTo>
                  <a:cubicBezTo>
                    <a:pt x="201379" y="45522"/>
                    <a:pt x="201379" y="45522"/>
                    <a:pt x="201379" y="45522"/>
                  </a:cubicBezTo>
                  <a:lnTo>
                    <a:pt x="201379" y="45522"/>
                  </a:lnTo>
                  <a:lnTo>
                    <a:pt x="201379" y="45522"/>
                  </a:lnTo>
                  <a:cubicBezTo>
                    <a:pt x="285480" y="46294"/>
                    <a:pt x="354149" y="113420"/>
                    <a:pt x="355692" y="198293"/>
                  </a:cubicBezTo>
                  <a:lnTo>
                    <a:pt x="355692" y="204465"/>
                  </a:lnTo>
                  <a:close/>
                </a:path>
              </a:pathLst>
            </a:custGeom>
            <a:solidFill>
              <a:sysClr val="window" lastClr="FFFFFF"/>
            </a:solidFill>
            <a:ln w="76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107" name="Graphic 10" descr="Puzzle">
            <a:extLst>
              <a:ext uri="{FF2B5EF4-FFF2-40B4-BE49-F238E27FC236}">
                <a16:creationId xmlns:a16="http://schemas.microsoft.com/office/drawing/2014/main" id="{2192FC61-B546-8449-4B1A-1AB71A93E9BF}"/>
              </a:ext>
            </a:extLst>
          </p:cNvPr>
          <p:cNvSpPr/>
          <p:nvPr/>
        </p:nvSpPr>
        <p:spPr>
          <a:xfrm>
            <a:off x="7652823" y="2318838"/>
            <a:ext cx="617253" cy="617253"/>
          </a:xfrm>
          <a:custGeom>
            <a:avLst/>
            <a:gdLst>
              <a:gd name="connsiteX0" fmla="*/ 398900 w 617253"/>
              <a:gd name="connsiteY0" fmla="*/ 468341 h 617253"/>
              <a:gd name="connsiteX1" fmla="*/ 365723 w 617253"/>
              <a:gd name="connsiteY1" fmla="*/ 366494 h 617253"/>
              <a:gd name="connsiteX2" fmla="*/ 371124 w 617253"/>
              <a:gd name="connsiteY2" fmla="*/ 361093 h 617253"/>
              <a:gd name="connsiteX3" fmla="*/ 474514 w 617253"/>
              <a:gd name="connsiteY3" fmla="*/ 392727 h 617253"/>
              <a:gd name="connsiteX4" fmla="*/ 529295 w 617253"/>
              <a:gd name="connsiteY4" fmla="*/ 436707 h 617253"/>
              <a:gd name="connsiteX5" fmla="*/ 617253 w 617253"/>
              <a:gd name="connsiteY5" fmla="*/ 348748 h 617253"/>
              <a:gd name="connsiteX6" fmla="*/ 486087 w 617253"/>
              <a:gd name="connsiteY6" fmla="*/ 217582 h 617253"/>
              <a:gd name="connsiteX7" fmla="*/ 530066 w 617253"/>
              <a:gd name="connsiteY7" fmla="*/ 162801 h 617253"/>
              <a:gd name="connsiteX8" fmla="*/ 561701 w 617253"/>
              <a:gd name="connsiteY8" fmla="*/ 59411 h 617253"/>
              <a:gd name="connsiteX9" fmla="*/ 556300 w 617253"/>
              <a:gd name="connsiteY9" fmla="*/ 54010 h 617253"/>
              <a:gd name="connsiteX10" fmla="*/ 454453 w 617253"/>
              <a:gd name="connsiteY10" fmla="*/ 87187 h 617253"/>
              <a:gd name="connsiteX11" fmla="*/ 399672 w 617253"/>
              <a:gd name="connsiteY11" fmla="*/ 131166 h 617253"/>
              <a:gd name="connsiteX12" fmla="*/ 268505 w 617253"/>
              <a:gd name="connsiteY12" fmla="*/ 0 h 617253"/>
              <a:gd name="connsiteX13" fmla="*/ 179775 w 617253"/>
              <a:gd name="connsiteY13" fmla="*/ 87959 h 617253"/>
              <a:gd name="connsiteX14" fmla="*/ 223754 w 617253"/>
              <a:gd name="connsiteY14" fmla="*/ 142740 h 617253"/>
              <a:gd name="connsiteX15" fmla="*/ 256932 w 617253"/>
              <a:gd name="connsiteY15" fmla="*/ 244587 h 617253"/>
              <a:gd name="connsiteX16" fmla="*/ 251531 w 617253"/>
              <a:gd name="connsiteY16" fmla="*/ 249988 h 617253"/>
              <a:gd name="connsiteX17" fmla="*/ 148141 w 617253"/>
              <a:gd name="connsiteY17" fmla="*/ 218353 h 617253"/>
              <a:gd name="connsiteX18" fmla="*/ 93360 w 617253"/>
              <a:gd name="connsiteY18" fmla="*/ 174374 h 617253"/>
              <a:gd name="connsiteX19" fmla="*/ 0 w 617253"/>
              <a:gd name="connsiteY19" fmla="*/ 268505 h 617253"/>
              <a:gd name="connsiteX20" fmla="*/ 131166 w 617253"/>
              <a:gd name="connsiteY20" fmla="*/ 399672 h 617253"/>
              <a:gd name="connsiteX21" fmla="*/ 87187 w 617253"/>
              <a:gd name="connsiteY21" fmla="*/ 454453 h 617253"/>
              <a:gd name="connsiteX22" fmla="*/ 55553 w 617253"/>
              <a:gd name="connsiteY22" fmla="*/ 557843 h 617253"/>
              <a:gd name="connsiteX23" fmla="*/ 60954 w 617253"/>
              <a:gd name="connsiteY23" fmla="*/ 563244 h 617253"/>
              <a:gd name="connsiteX24" fmla="*/ 162801 w 617253"/>
              <a:gd name="connsiteY24" fmla="*/ 530066 h 617253"/>
              <a:gd name="connsiteX25" fmla="*/ 217582 w 617253"/>
              <a:gd name="connsiteY25" fmla="*/ 486087 h 617253"/>
              <a:gd name="connsiteX26" fmla="*/ 348748 w 617253"/>
              <a:gd name="connsiteY26" fmla="*/ 617253 h 617253"/>
              <a:gd name="connsiteX27" fmla="*/ 442879 w 617253"/>
              <a:gd name="connsiteY27" fmla="*/ 523122 h 617253"/>
              <a:gd name="connsiteX28" fmla="*/ 398900 w 617253"/>
              <a:gd name="connsiteY28" fmla="*/ 468341 h 61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7253" h="617253">
                <a:moveTo>
                  <a:pt x="398900" y="468341"/>
                </a:moveTo>
                <a:cubicBezTo>
                  <a:pt x="347977" y="469884"/>
                  <a:pt x="329459" y="404301"/>
                  <a:pt x="365723" y="366494"/>
                </a:cubicBezTo>
                <a:lnTo>
                  <a:pt x="371124" y="361093"/>
                </a:lnTo>
                <a:cubicBezTo>
                  <a:pt x="408930" y="324830"/>
                  <a:pt x="476057" y="341804"/>
                  <a:pt x="474514" y="392727"/>
                </a:cubicBezTo>
                <a:cubicBezTo>
                  <a:pt x="473742" y="422047"/>
                  <a:pt x="508462" y="457539"/>
                  <a:pt x="529295" y="436707"/>
                </a:cubicBezTo>
                <a:lnTo>
                  <a:pt x="617253" y="348748"/>
                </a:lnTo>
                <a:lnTo>
                  <a:pt x="486087" y="217582"/>
                </a:lnTo>
                <a:cubicBezTo>
                  <a:pt x="465255" y="196750"/>
                  <a:pt x="500747" y="162029"/>
                  <a:pt x="530066" y="162801"/>
                </a:cubicBezTo>
                <a:cubicBezTo>
                  <a:pt x="580990" y="164344"/>
                  <a:pt x="597964" y="97217"/>
                  <a:pt x="561701" y="59411"/>
                </a:cubicBezTo>
                <a:lnTo>
                  <a:pt x="556300" y="54010"/>
                </a:lnTo>
                <a:cubicBezTo>
                  <a:pt x="518493" y="17746"/>
                  <a:pt x="452910" y="36264"/>
                  <a:pt x="454453" y="87187"/>
                </a:cubicBezTo>
                <a:cubicBezTo>
                  <a:pt x="455224" y="116507"/>
                  <a:pt x="420504" y="151999"/>
                  <a:pt x="399672" y="131166"/>
                </a:cubicBezTo>
                <a:lnTo>
                  <a:pt x="268505" y="0"/>
                </a:lnTo>
                <a:lnTo>
                  <a:pt x="179775" y="87959"/>
                </a:lnTo>
                <a:cubicBezTo>
                  <a:pt x="158943" y="108791"/>
                  <a:pt x="194435" y="143511"/>
                  <a:pt x="223754" y="142740"/>
                </a:cubicBezTo>
                <a:cubicBezTo>
                  <a:pt x="274678" y="141197"/>
                  <a:pt x="293195" y="206780"/>
                  <a:pt x="256932" y="244587"/>
                </a:cubicBezTo>
                <a:lnTo>
                  <a:pt x="251531" y="249988"/>
                </a:lnTo>
                <a:cubicBezTo>
                  <a:pt x="213724" y="286251"/>
                  <a:pt x="146598" y="269277"/>
                  <a:pt x="148141" y="218353"/>
                </a:cubicBezTo>
                <a:cubicBezTo>
                  <a:pt x="148912" y="189034"/>
                  <a:pt x="114192" y="153542"/>
                  <a:pt x="93360" y="174374"/>
                </a:cubicBezTo>
                <a:lnTo>
                  <a:pt x="0" y="268505"/>
                </a:lnTo>
                <a:lnTo>
                  <a:pt x="131166" y="399672"/>
                </a:lnTo>
                <a:cubicBezTo>
                  <a:pt x="151999" y="420504"/>
                  <a:pt x="116507" y="455224"/>
                  <a:pt x="87187" y="454453"/>
                </a:cubicBezTo>
                <a:cubicBezTo>
                  <a:pt x="36264" y="452910"/>
                  <a:pt x="19289" y="520036"/>
                  <a:pt x="55553" y="557843"/>
                </a:cubicBezTo>
                <a:lnTo>
                  <a:pt x="60954" y="563244"/>
                </a:lnTo>
                <a:cubicBezTo>
                  <a:pt x="98761" y="599507"/>
                  <a:pt x="164344" y="580990"/>
                  <a:pt x="162801" y="530066"/>
                </a:cubicBezTo>
                <a:cubicBezTo>
                  <a:pt x="162029" y="500747"/>
                  <a:pt x="196750" y="465255"/>
                  <a:pt x="217582" y="486087"/>
                </a:cubicBezTo>
                <a:lnTo>
                  <a:pt x="348748" y="617253"/>
                </a:lnTo>
                <a:lnTo>
                  <a:pt x="442879" y="523122"/>
                </a:lnTo>
                <a:cubicBezTo>
                  <a:pt x="463712" y="502290"/>
                  <a:pt x="428991" y="467569"/>
                  <a:pt x="398900" y="468341"/>
                </a:cubicBezTo>
                <a:close/>
              </a:path>
            </a:pathLst>
          </a:custGeom>
          <a:solidFill>
            <a:srgbClr val="000000"/>
          </a:solidFill>
          <a:ln w="7640" cap="flat">
            <a:noFill/>
            <a:prstDash val="solid"/>
            <a:miter/>
          </a:ln>
        </p:spPr>
        <p:txBody>
          <a:bodyPr rtlCol="0" anchor="ctr"/>
          <a:lstStyle/>
          <a:p>
            <a:endParaRPr lang="en-US">
              <a:solidFill>
                <a:prstClr val="black"/>
              </a:solidFill>
              <a:latin typeface="Calibri" panose="020F0502020204030204"/>
            </a:endParaRPr>
          </a:p>
        </p:txBody>
      </p:sp>
      <p:grpSp>
        <p:nvGrpSpPr>
          <p:cNvPr id="108" name="Graphic 9" descr="Users">
            <a:extLst>
              <a:ext uri="{FF2B5EF4-FFF2-40B4-BE49-F238E27FC236}">
                <a16:creationId xmlns:a16="http://schemas.microsoft.com/office/drawing/2014/main" id="{DA74E298-C4A6-DCBD-9228-31E8D7F30A4D}"/>
              </a:ext>
            </a:extLst>
          </p:cNvPr>
          <p:cNvGrpSpPr/>
          <p:nvPr/>
        </p:nvGrpSpPr>
        <p:grpSpPr>
          <a:xfrm>
            <a:off x="8361142" y="3487871"/>
            <a:ext cx="801956" cy="500268"/>
            <a:chOff x="8341910" y="3240221"/>
            <a:chExt cx="801956" cy="500268"/>
          </a:xfrm>
          <a:solidFill>
            <a:srgbClr val="000000"/>
          </a:solidFill>
        </p:grpSpPr>
        <p:sp>
          <p:nvSpPr>
            <p:cNvPr id="109" name="Freeform: Shape 108">
              <a:extLst>
                <a:ext uri="{FF2B5EF4-FFF2-40B4-BE49-F238E27FC236}">
                  <a16:creationId xmlns:a16="http://schemas.microsoft.com/office/drawing/2014/main" id="{AF22A23A-5D01-BC4C-46FF-B51299CAA398}"/>
                </a:ext>
              </a:extLst>
            </p:cNvPr>
            <p:cNvSpPr/>
            <p:nvPr/>
          </p:nvSpPr>
          <p:spPr>
            <a:xfrm>
              <a:off x="8427834" y="324022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sp>
          <p:nvSpPr>
            <p:cNvPr id="110" name="Freeform: Shape 109">
              <a:extLst>
                <a:ext uri="{FF2B5EF4-FFF2-40B4-BE49-F238E27FC236}">
                  <a16:creationId xmlns:a16="http://schemas.microsoft.com/office/drawing/2014/main" id="{7B5B3655-4F2E-96D8-2B28-60799E12971C}"/>
                </a:ext>
              </a:extLst>
            </p:cNvPr>
            <p:cNvSpPr/>
            <p:nvPr/>
          </p:nvSpPr>
          <p:spPr>
            <a:xfrm>
              <a:off x="8886095" y="324022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sp>
          <p:nvSpPr>
            <p:cNvPr id="111" name="Freeform: Shape 110">
              <a:extLst>
                <a:ext uri="{FF2B5EF4-FFF2-40B4-BE49-F238E27FC236}">
                  <a16:creationId xmlns:a16="http://schemas.microsoft.com/office/drawing/2014/main" id="{4D661A26-FF1B-7026-E86F-D218EE71E155}"/>
                </a:ext>
              </a:extLst>
            </p:cNvPr>
            <p:cNvSpPr/>
            <p:nvPr/>
          </p:nvSpPr>
          <p:spPr>
            <a:xfrm>
              <a:off x="8571041" y="3568642"/>
              <a:ext cx="343695" cy="171847"/>
            </a:xfrm>
            <a:custGeom>
              <a:avLst/>
              <a:gdLst>
                <a:gd name="connsiteX0" fmla="*/ 343696 w 343695"/>
                <a:gd name="connsiteY0" fmla="*/ 171848 h 171847"/>
                <a:gd name="connsiteX1" fmla="*/ 343696 w 343695"/>
                <a:gd name="connsiteY1" fmla="*/ 85924 h 171847"/>
                <a:gd name="connsiteX2" fmla="*/ 326511 w 343695"/>
                <a:gd name="connsiteY2" fmla="*/ 51554 h 171847"/>
                <a:gd name="connsiteX3" fmla="*/ 242496 w 343695"/>
                <a:gd name="connsiteY3" fmla="*/ 11457 h 171847"/>
                <a:gd name="connsiteX4" fmla="*/ 171848 w 343695"/>
                <a:gd name="connsiteY4" fmla="*/ 0 h 171847"/>
                <a:gd name="connsiteX5" fmla="*/ 101199 w 343695"/>
                <a:gd name="connsiteY5" fmla="*/ 11457 h 171847"/>
                <a:gd name="connsiteX6" fmla="*/ 17185 w 343695"/>
                <a:gd name="connsiteY6" fmla="*/ 51554 h 171847"/>
                <a:gd name="connsiteX7" fmla="*/ 0 w 343695"/>
                <a:gd name="connsiteY7" fmla="*/ 85924 h 171847"/>
                <a:gd name="connsiteX8" fmla="*/ 0 w 343695"/>
                <a:gd name="connsiteY8" fmla="*/ 171848 h 171847"/>
                <a:gd name="connsiteX9" fmla="*/ 343696 w 343695"/>
                <a:gd name="connsiteY9" fmla="*/ 171848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695" h="171847">
                  <a:moveTo>
                    <a:pt x="343696" y="171848"/>
                  </a:moveTo>
                  <a:lnTo>
                    <a:pt x="343696" y="85924"/>
                  </a:lnTo>
                  <a:cubicBezTo>
                    <a:pt x="343696" y="72558"/>
                    <a:pt x="337968" y="59192"/>
                    <a:pt x="326511" y="51554"/>
                  </a:cubicBezTo>
                  <a:cubicBezTo>
                    <a:pt x="303598" y="32460"/>
                    <a:pt x="273047" y="19094"/>
                    <a:pt x="242496" y="11457"/>
                  </a:cubicBezTo>
                  <a:cubicBezTo>
                    <a:pt x="221493" y="5728"/>
                    <a:pt x="196670" y="0"/>
                    <a:pt x="171848" y="0"/>
                  </a:cubicBezTo>
                  <a:cubicBezTo>
                    <a:pt x="148935" y="0"/>
                    <a:pt x="124112" y="3819"/>
                    <a:pt x="101199" y="11457"/>
                  </a:cubicBezTo>
                  <a:cubicBezTo>
                    <a:pt x="70649" y="19094"/>
                    <a:pt x="42007" y="34370"/>
                    <a:pt x="17185" y="51554"/>
                  </a:cubicBezTo>
                  <a:cubicBezTo>
                    <a:pt x="5728" y="61101"/>
                    <a:pt x="0" y="72558"/>
                    <a:pt x="0" y="85924"/>
                  </a:cubicBezTo>
                  <a:lnTo>
                    <a:pt x="0" y="171848"/>
                  </a:lnTo>
                  <a:lnTo>
                    <a:pt x="343696" y="171848"/>
                  </a:ln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sp>
          <p:nvSpPr>
            <p:cNvPr id="112" name="Freeform: Shape 111">
              <a:extLst>
                <a:ext uri="{FF2B5EF4-FFF2-40B4-BE49-F238E27FC236}">
                  <a16:creationId xmlns:a16="http://schemas.microsoft.com/office/drawing/2014/main" id="{4127DEDB-80E9-D5ED-5C01-515F94F505C0}"/>
                </a:ext>
              </a:extLst>
            </p:cNvPr>
            <p:cNvSpPr/>
            <p:nvPr/>
          </p:nvSpPr>
          <p:spPr>
            <a:xfrm>
              <a:off x="8656965" y="337388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sp>
          <p:nvSpPr>
            <p:cNvPr id="113" name="Freeform: Shape 112">
              <a:extLst>
                <a:ext uri="{FF2B5EF4-FFF2-40B4-BE49-F238E27FC236}">
                  <a16:creationId xmlns:a16="http://schemas.microsoft.com/office/drawing/2014/main" id="{DB93826C-A316-4BD1-37E6-9B03747946F8}"/>
                </a:ext>
              </a:extLst>
            </p:cNvPr>
            <p:cNvSpPr/>
            <p:nvPr/>
          </p:nvSpPr>
          <p:spPr>
            <a:xfrm>
              <a:off x="8832631" y="3434982"/>
              <a:ext cx="311235" cy="171847"/>
            </a:xfrm>
            <a:custGeom>
              <a:avLst/>
              <a:gdLst>
                <a:gd name="connsiteX0" fmla="*/ 294051 w 311235"/>
                <a:gd name="connsiteY0" fmla="*/ 51554 h 171847"/>
                <a:gd name="connsiteX1" fmla="*/ 210036 w 311235"/>
                <a:gd name="connsiteY1" fmla="*/ 11457 h 171847"/>
                <a:gd name="connsiteX2" fmla="*/ 139388 w 311235"/>
                <a:gd name="connsiteY2" fmla="*/ 0 h 171847"/>
                <a:gd name="connsiteX3" fmla="*/ 68739 w 311235"/>
                <a:gd name="connsiteY3" fmla="*/ 11457 h 171847"/>
                <a:gd name="connsiteX4" fmla="*/ 34370 w 311235"/>
                <a:gd name="connsiteY4" fmla="*/ 24822 h 171847"/>
                <a:gd name="connsiteX5" fmla="*/ 34370 w 311235"/>
                <a:gd name="connsiteY5" fmla="*/ 26732 h 171847"/>
                <a:gd name="connsiteX6" fmla="*/ 0 w 311235"/>
                <a:gd name="connsiteY6" fmla="*/ 110746 h 171847"/>
                <a:gd name="connsiteX7" fmla="*/ 87833 w 311235"/>
                <a:gd name="connsiteY7" fmla="*/ 154663 h 171847"/>
                <a:gd name="connsiteX8" fmla="*/ 103109 w 311235"/>
                <a:gd name="connsiteY8" fmla="*/ 171848 h 171847"/>
                <a:gd name="connsiteX9" fmla="*/ 311236 w 311235"/>
                <a:gd name="connsiteY9" fmla="*/ 171848 h 171847"/>
                <a:gd name="connsiteX10" fmla="*/ 311236 w 311235"/>
                <a:gd name="connsiteY10" fmla="*/ 85924 h 171847"/>
                <a:gd name="connsiteX11" fmla="*/ 294051 w 311235"/>
                <a:gd name="connsiteY11" fmla="*/ 51554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35" h="171847">
                  <a:moveTo>
                    <a:pt x="294051" y="51554"/>
                  </a:moveTo>
                  <a:cubicBezTo>
                    <a:pt x="271138" y="32460"/>
                    <a:pt x="240587" y="19094"/>
                    <a:pt x="210036" y="11457"/>
                  </a:cubicBezTo>
                  <a:cubicBezTo>
                    <a:pt x="189033" y="5728"/>
                    <a:pt x="164210" y="0"/>
                    <a:pt x="139388" y="0"/>
                  </a:cubicBezTo>
                  <a:cubicBezTo>
                    <a:pt x="116475" y="0"/>
                    <a:pt x="91652" y="3819"/>
                    <a:pt x="68739" y="11457"/>
                  </a:cubicBezTo>
                  <a:cubicBezTo>
                    <a:pt x="57283" y="15275"/>
                    <a:pt x="45826" y="19094"/>
                    <a:pt x="34370" y="24822"/>
                  </a:cubicBezTo>
                  <a:lnTo>
                    <a:pt x="34370" y="26732"/>
                  </a:lnTo>
                  <a:cubicBezTo>
                    <a:pt x="34370" y="59192"/>
                    <a:pt x="21004" y="89743"/>
                    <a:pt x="0" y="110746"/>
                  </a:cubicBezTo>
                  <a:cubicBezTo>
                    <a:pt x="36279" y="122203"/>
                    <a:pt x="64920" y="137478"/>
                    <a:pt x="87833" y="154663"/>
                  </a:cubicBezTo>
                  <a:cubicBezTo>
                    <a:pt x="93562" y="160391"/>
                    <a:pt x="99290" y="164210"/>
                    <a:pt x="103109" y="171848"/>
                  </a:cubicBezTo>
                  <a:lnTo>
                    <a:pt x="311236" y="171848"/>
                  </a:lnTo>
                  <a:lnTo>
                    <a:pt x="311236" y="85924"/>
                  </a:lnTo>
                  <a:cubicBezTo>
                    <a:pt x="311236" y="72558"/>
                    <a:pt x="305507" y="59192"/>
                    <a:pt x="294051" y="51554"/>
                  </a:cubicBez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sp>
          <p:nvSpPr>
            <p:cNvPr id="114" name="Freeform: Shape 113">
              <a:extLst>
                <a:ext uri="{FF2B5EF4-FFF2-40B4-BE49-F238E27FC236}">
                  <a16:creationId xmlns:a16="http://schemas.microsoft.com/office/drawing/2014/main" id="{9DF64EDE-6461-A5CD-FB57-7611DD7A5092}"/>
                </a:ext>
              </a:extLst>
            </p:cNvPr>
            <p:cNvSpPr/>
            <p:nvPr/>
          </p:nvSpPr>
          <p:spPr>
            <a:xfrm>
              <a:off x="8341910" y="3434982"/>
              <a:ext cx="311235" cy="171847"/>
            </a:xfrm>
            <a:custGeom>
              <a:avLst/>
              <a:gdLst>
                <a:gd name="connsiteX0" fmla="*/ 223402 w 311235"/>
                <a:gd name="connsiteY0" fmla="*/ 154663 h 171847"/>
                <a:gd name="connsiteX1" fmla="*/ 223402 w 311235"/>
                <a:gd name="connsiteY1" fmla="*/ 154663 h 171847"/>
                <a:gd name="connsiteX2" fmla="*/ 311236 w 311235"/>
                <a:gd name="connsiteY2" fmla="*/ 110746 h 171847"/>
                <a:gd name="connsiteX3" fmla="*/ 276866 w 311235"/>
                <a:gd name="connsiteY3" fmla="*/ 26732 h 171847"/>
                <a:gd name="connsiteX4" fmla="*/ 276866 w 311235"/>
                <a:gd name="connsiteY4" fmla="*/ 22913 h 171847"/>
                <a:gd name="connsiteX5" fmla="*/ 242496 w 311235"/>
                <a:gd name="connsiteY5" fmla="*/ 11457 h 171847"/>
                <a:gd name="connsiteX6" fmla="*/ 171848 w 311235"/>
                <a:gd name="connsiteY6" fmla="*/ 0 h 171847"/>
                <a:gd name="connsiteX7" fmla="*/ 101199 w 311235"/>
                <a:gd name="connsiteY7" fmla="*/ 11457 h 171847"/>
                <a:gd name="connsiteX8" fmla="*/ 17185 w 311235"/>
                <a:gd name="connsiteY8" fmla="*/ 51554 h 171847"/>
                <a:gd name="connsiteX9" fmla="*/ 0 w 311235"/>
                <a:gd name="connsiteY9" fmla="*/ 85924 h 171847"/>
                <a:gd name="connsiteX10" fmla="*/ 0 w 311235"/>
                <a:gd name="connsiteY10" fmla="*/ 171848 h 171847"/>
                <a:gd name="connsiteX11" fmla="*/ 206217 w 311235"/>
                <a:gd name="connsiteY11" fmla="*/ 171848 h 171847"/>
                <a:gd name="connsiteX12" fmla="*/ 223402 w 311235"/>
                <a:gd name="connsiteY12" fmla="*/ 154663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235" h="171847">
                  <a:moveTo>
                    <a:pt x="223402" y="154663"/>
                  </a:moveTo>
                  <a:lnTo>
                    <a:pt x="223402" y="154663"/>
                  </a:lnTo>
                  <a:cubicBezTo>
                    <a:pt x="250134" y="135569"/>
                    <a:pt x="280685" y="120294"/>
                    <a:pt x="311236" y="110746"/>
                  </a:cubicBezTo>
                  <a:cubicBezTo>
                    <a:pt x="290232" y="87833"/>
                    <a:pt x="276866" y="59192"/>
                    <a:pt x="276866" y="26732"/>
                  </a:cubicBezTo>
                  <a:cubicBezTo>
                    <a:pt x="276866" y="24822"/>
                    <a:pt x="276866" y="24822"/>
                    <a:pt x="276866" y="22913"/>
                  </a:cubicBezTo>
                  <a:cubicBezTo>
                    <a:pt x="265410" y="19094"/>
                    <a:pt x="253953" y="13366"/>
                    <a:pt x="242496" y="11457"/>
                  </a:cubicBezTo>
                  <a:cubicBezTo>
                    <a:pt x="221493" y="5728"/>
                    <a:pt x="196670" y="0"/>
                    <a:pt x="171848" y="0"/>
                  </a:cubicBezTo>
                  <a:cubicBezTo>
                    <a:pt x="148935" y="0"/>
                    <a:pt x="124112" y="3819"/>
                    <a:pt x="101199" y="11457"/>
                  </a:cubicBezTo>
                  <a:cubicBezTo>
                    <a:pt x="70649" y="21004"/>
                    <a:pt x="42007" y="34370"/>
                    <a:pt x="17185" y="51554"/>
                  </a:cubicBezTo>
                  <a:cubicBezTo>
                    <a:pt x="5728" y="59192"/>
                    <a:pt x="0" y="72558"/>
                    <a:pt x="0" y="85924"/>
                  </a:cubicBezTo>
                  <a:lnTo>
                    <a:pt x="0" y="171848"/>
                  </a:lnTo>
                  <a:lnTo>
                    <a:pt x="206217" y="171848"/>
                  </a:lnTo>
                  <a:cubicBezTo>
                    <a:pt x="211946" y="164210"/>
                    <a:pt x="215765" y="160391"/>
                    <a:pt x="223402" y="154663"/>
                  </a:cubicBezTo>
                  <a:close/>
                </a:path>
              </a:pathLst>
            </a:custGeom>
            <a:solidFill>
              <a:srgbClr val="000000"/>
            </a:solidFill>
            <a:ln w="9525" cap="flat">
              <a:noFill/>
              <a:prstDash val="solid"/>
              <a:miter/>
            </a:ln>
          </p:spPr>
          <p:txBody>
            <a:bodyPr rtlCol="0" anchor="ctr"/>
            <a:lstStyle/>
            <a:p>
              <a:endParaRPr lang="en-US">
                <a:solidFill>
                  <a:prstClr val="black"/>
                </a:solidFill>
                <a:latin typeface="Calibri" panose="020F0502020204030204"/>
              </a:endParaRPr>
            </a:p>
          </p:txBody>
        </p:sp>
      </p:grpSp>
      <p:grpSp>
        <p:nvGrpSpPr>
          <p:cNvPr id="115" name="Group 114">
            <a:extLst>
              <a:ext uri="{FF2B5EF4-FFF2-40B4-BE49-F238E27FC236}">
                <a16:creationId xmlns:a16="http://schemas.microsoft.com/office/drawing/2014/main" id="{DCA0470E-787D-CB9B-E8EF-EDA71739D658}"/>
              </a:ext>
            </a:extLst>
          </p:cNvPr>
          <p:cNvGrpSpPr/>
          <p:nvPr/>
        </p:nvGrpSpPr>
        <p:grpSpPr>
          <a:xfrm rot="21118915">
            <a:off x="7652823" y="4427102"/>
            <a:ext cx="2937088" cy="1290153"/>
            <a:chOff x="8921977" y="4073386"/>
            <a:chExt cx="2937088" cy="1290153"/>
          </a:xfrm>
        </p:grpSpPr>
        <p:sp>
          <p:nvSpPr>
            <p:cNvPr id="116" name="TextBox 115">
              <a:extLst>
                <a:ext uri="{FF2B5EF4-FFF2-40B4-BE49-F238E27FC236}">
                  <a16:creationId xmlns:a16="http://schemas.microsoft.com/office/drawing/2014/main" id="{913A8CB5-4C1B-A76A-5075-65BCFE6B0DE3}"/>
                </a:ext>
              </a:extLst>
            </p:cNvPr>
            <p:cNvSpPr txBox="1"/>
            <p:nvPr/>
          </p:nvSpPr>
          <p:spPr>
            <a:xfrm>
              <a:off x="8921977" y="4073386"/>
              <a:ext cx="2937088" cy="461665"/>
            </a:xfrm>
            <a:prstGeom prst="rect">
              <a:avLst/>
            </a:prstGeom>
            <a:noFill/>
          </p:spPr>
          <p:txBody>
            <a:bodyPr wrap="square" lIns="0" rIns="0" rtlCol="0" anchor="b">
              <a:spAutoFit/>
            </a:bodyPr>
            <a:lstStyle/>
            <a:p>
              <a:pPr algn="ctr"/>
              <a:r>
                <a:rPr lang="en-US" sz="2400" b="1" noProof="1">
                  <a:solidFill>
                    <a:prstClr val="black"/>
                  </a:solidFill>
                  <a:latin typeface="Calibri" panose="020F0502020204030204"/>
                </a:rPr>
                <a:t>Lorem Ipsum</a:t>
              </a:r>
            </a:p>
          </p:txBody>
        </p:sp>
        <p:sp>
          <p:nvSpPr>
            <p:cNvPr id="117" name="TextBox 116">
              <a:extLst>
                <a:ext uri="{FF2B5EF4-FFF2-40B4-BE49-F238E27FC236}">
                  <a16:creationId xmlns:a16="http://schemas.microsoft.com/office/drawing/2014/main" id="{2025EBF2-4CE4-18DF-1B1D-D34CFD4FF9B0}"/>
                </a:ext>
              </a:extLst>
            </p:cNvPr>
            <p:cNvSpPr txBox="1"/>
            <p:nvPr/>
          </p:nvSpPr>
          <p:spPr>
            <a:xfrm>
              <a:off x="8929772" y="4532542"/>
              <a:ext cx="2929293" cy="830997"/>
            </a:xfrm>
            <a:prstGeom prst="rect">
              <a:avLst/>
            </a:prstGeom>
            <a:noFill/>
          </p:spPr>
          <p:txBody>
            <a:bodyPr wrap="square" lIns="0" rIns="0" rtlCol="0" anchor="t">
              <a:spAutoFit/>
            </a:bodyPr>
            <a:lstStyle/>
            <a:p>
              <a:pPr algn="just"/>
              <a:r>
                <a:rPr lang="en-US" sz="1200" noProof="1">
                  <a:solidFill>
                    <a:prstClr val="black">
                      <a:lumMod val="65000"/>
                      <a:lumOff val="3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118" name="Group 117">
            <a:extLst>
              <a:ext uri="{FF2B5EF4-FFF2-40B4-BE49-F238E27FC236}">
                <a16:creationId xmlns:a16="http://schemas.microsoft.com/office/drawing/2014/main" id="{EC34E1AB-694C-7E06-7EE0-ED465C70F4C8}"/>
              </a:ext>
            </a:extLst>
          </p:cNvPr>
          <p:cNvGrpSpPr/>
          <p:nvPr/>
        </p:nvGrpSpPr>
        <p:grpSpPr>
          <a:xfrm>
            <a:off x="332936" y="2947244"/>
            <a:ext cx="2937088" cy="1290153"/>
            <a:chOff x="332936" y="2627766"/>
            <a:chExt cx="2937088" cy="1290153"/>
          </a:xfrm>
        </p:grpSpPr>
        <p:sp>
          <p:nvSpPr>
            <p:cNvPr id="119" name="TextBox 118">
              <a:extLst>
                <a:ext uri="{FF2B5EF4-FFF2-40B4-BE49-F238E27FC236}">
                  <a16:creationId xmlns:a16="http://schemas.microsoft.com/office/drawing/2014/main" id="{29529DFE-E31A-FB77-5A6A-BD71D44C6C22}"/>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400" b="1" noProof="1">
                  <a:solidFill>
                    <a:prstClr val="white"/>
                  </a:solidFill>
                  <a:latin typeface="Calibri" panose="020F0502020204030204"/>
                </a:rPr>
                <a:t>Lorem Ipsum</a:t>
              </a:r>
            </a:p>
          </p:txBody>
        </p:sp>
        <p:sp>
          <p:nvSpPr>
            <p:cNvPr id="120" name="TextBox 119">
              <a:extLst>
                <a:ext uri="{FF2B5EF4-FFF2-40B4-BE49-F238E27FC236}">
                  <a16:creationId xmlns:a16="http://schemas.microsoft.com/office/drawing/2014/main" id="{25EC11C8-AD9E-ED20-018A-11AC5BFC72A8}"/>
                </a:ext>
              </a:extLst>
            </p:cNvPr>
            <p:cNvSpPr txBox="1"/>
            <p:nvPr/>
          </p:nvSpPr>
          <p:spPr>
            <a:xfrm>
              <a:off x="340731" y="3086922"/>
              <a:ext cx="2929293" cy="830997"/>
            </a:xfrm>
            <a:prstGeom prst="rect">
              <a:avLst/>
            </a:prstGeom>
            <a:noFill/>
          </p:spPr>
          <p:txBody>
            <a:bodyPr wrap="square" lIns="0" rIns="0" rtlCol="0" anchor="t">
              <a:spAutoFit/>
            </a:bodyPr>
            <a:lstStyle/>
            <a:p>
              <a:pPr algn="just"/>
              <a:r>
                <a:rPr lang="en-US" sz="1200"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121" name="Group 120">
            <a:extLst>
              <a:ext uri="{FF2B5EF4-FFF2-40B4-BE49-F238E27FC236}">
                <a16:creationId xmlns:a16="http://schemas.microsoft.com/office/drawing/2014/main" id="{95EA9186-16B2-B449-24F3-ABFFFEF92ED3}"/>
              </a:ext>
            </a:extLst>
          </p:cNvPr>
          <p:cNvGrpSpPr/>
          <p:nvPr/>
        </p:nvGrpSpPr>
        <p:grpSpPr>
          <a:xfrm>
            <a:off x="332936" y="4652338"/>
            <a:ext cx="2937088" cy="1290153"/>
            <a:chOff x="332936" y="4652338"/>
            <a:chExt cx="2937088" cy="1290153"/>
          </a:xfrm>
        </p:grpSpPr>
        <p:sp>
          <p:nvSpPr>
            <p:cNvPr id="122" name="TextBox 121">
              <a:extLst>
                <a:ext uri="{FF2B5EF4-FFF2-40B4-BE49-F238E27FC236}">
                  <a16:creationId xmlns:a16="http://schemas.microsoft.com/office/drawing/2014/main" id="{D3E4AC83-339C-7E2A-8695-F3B6642F3A88}"/>
                </a:ext>
              </a:extLst>
            </p:cNvPr>
            <p:cNvSpPr txBox="1"/>
            <p:nvPr/>
          </p:nvSpPr>
          <p:spPr>
            <a:xfrm>
              <a:off x="332936" y="4652338"/>
              <a:ext cx="2937088" cy="461665"/>
            </a:xfrm>
            <a:prstGeom prst="rect">
              <a:avLst/>
            </a:prstGeom>
            <a:noFill/>
          </p:spPr>
          <p:txBody>
            <a:bodyPr wrap="square" lIns="0" rIns="0" rtlCol="0" anchor="b">
              <a:spAutoFit/>
            </a:bodyPr>
            <a:lstStyle/>
            <a:p>
              <a:pPr algn="r"/>
              <a:r>
                <a:rPr lang="en-US" sz="2400" b="1" noProof="1">
                  <a:solidFill>
                    <a:prstClr val="white"/>
                  </a:solidFill>
                  <a:latin typeface="Calibri" panose="020F0502020204030204"/>
                </a:rPr>
                <a:t>Lorem Ipsum</a:t>
              </a:r>
            </a:p>
          </p:txBody>
        </p:sp>
        <p:sp>
          <p:nvSpPr>
            <p:cNvPr id="123" name="TextBox 122">
              <a:extLst>
                <a:ext uri="{FF2B5EF4-FFF2-40B4-BE49-F238E27FC236}">
                  <a16:creationId xmlns:a16="http://schemas.microsoft.com/office/drawing/2014/main" id="{70D35A10-5A47-CEA7-6B8A-56FB870868A8}"/>
                </a:ext>
              </a:extLst>
            </p:cNvPr>
            <p:cNvSpPr txBox="1"/>
            <p:nvPr/>
          </p:nvSpPr>
          <p:spPr>
            <a:xfrm>
              <a:off x="340731" y="5111494"/>
              <a:ext cx="2929293" cy="830997"/>
            </a:xfrm>
            <a:prstGeom prst="rect">
              <a:avLst/>
            </a:prstGeom>
            <a:noFill/>
          </p:spPr>
          <p:txBody>
            <a:bodyPr wrap="square" lIns="0" rIns="0" rtlCol="0" anchor="t">
              <a:spAutoFit/>
            </a:bodyPr>
            <a:lstStyle/>
            <a:p>
              <a:pPr algn="just"/>
              <a:r>
                <a:rPr lang="en-US" sz="1200"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grpSp>
        <p:nvGrpSpPr>
          <p:cNvPr id="124" name="Group 123">
            <a:extLst>
              <a:ext uri="{FF2B5EF4-FFF2-40B4-BE49-F238E27FC236}">
                <a16:creationId xmlns:a16="http://schemas.microsoft.com/office/drawing/2014/main" id="{C03A9D0A-876D-C624-FCCA-713BACEAB500}"/>
              </a:ext>
            </a:extLst>
          </p:cNvPr>
          <p:cNvGrpSpPr/>
          <p:nvPr/>
        </p:nvGrpSpPr>
        <p:grpSpPr>
          <a:xfrm>
            <a:off x="340731" y="1242150"/>
            <a:ext cx="2937088" cy="1290153"/>
            <a:chOff x="332936" y="2627766"/>
            <a:chExt cx="2937088" cy="1290153"/>
          </a:xfrm>
        </p:grpSpPr>
        <p:sp>
          <p:nvSpPr>
            <p:cNvPr id="125" name="TextBox 124">
              <a:extLst>
                <a:ext uri="{FF2B5EF4-FFF2-40B4-BE49-F238E27FC236}">
                  <a16:creationId xmlns:a16="http://schemas.microsoft.com/office/drawing/2014/main" id="{630CC4B3-9898-37B5-3539-C162F554B868}"/>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400" b="1" noProof="1">
                  <a:solidFill>
                    <a:prstClr val="white"/>
                  </a:solidFill>
                  <a:latin typeface="Calibri" panose="020F0502020204030204"/>
                </a:rPr>
                <a:t>Lorem Ipsum</a:t>
              </a:r>
            </a:p>
          </p:txBody>
        </p:sp>
        <p:sp>
          <p:nvSpPr>
            <p:cNvPr id="126" name="TextBox 125">
              <a:extLst>
                <a:ext uri="{FF2B5EF4-FFF2-40B4-BE49-F238E27FC236}">
                  <a16:creationId xmlns:a16="http://schemas.microsoft.com/office/drawing/2014/main" id="{30B7A8B1-97E5-73BE-95F9-9A92F9E7126B}"/>
                </a:ext>
              </a:extLst>
            </p:cNvPr>
            <p:cNvSpPr txBox="1"/>
            <p:nvPr/>
          </p:nvSpPr>
          <p:spPr>
            <a:xfrm>
              <a:off x="340731" y="3086922"/>
              <a:ext cx="2929293" cy="830997"/>
            </a:xfrm>
            <a:prstGeom prst="rect">
              <a:avLst/>
            </a:prstGeom>
            <a:noFill/>
          </p:spPr>
          <p:txBody>
            <a:bodyPr wrap="square" lIns="0" rIns="0" rtlCol="0" anchor="t">
              <a:spAutoFit/>
            </a:bodyPr>
            <a:lstStyle/>
            <a:p>
              <a:pPr algn="just"/>
              <a:r>
                <a:rPr lang="en-US" sz="1200" noProof="1">
                  <a:solidFill>
                    <a:prstClr val="white">
                      <a:lumMod val="75000"/>
                    </a:prstClr>
                  </a:solidFill>
                  <a:latin typeface="Calibri" panose="020F0502020204030204"/>
                </a:rPr>
                <a:t>Lorem ipsum dolor sit amet, nibh est. A magna maecenas, quam magna nec quis, lorem nunc. Suspendisse viverra sodales mauris, cras pharetra proin egestas arcu erat dolor, at amet. </a:t>
              </a:r>
            </a:p>
          </p:txBody>
        </p:sp>
      </p:grpSp>
      <p:sp>
        <p:nvSpPr>
          <p:cNvPr id="127" name="Graphic 54" descr="Puzzle">
            <a:extLst>
              <a:ext uri="{FF2B5EF4-FFF2-40B4-BE49-F238E27FC236}">
                <a16:creationId xmlns:a16="http://schemas.microsoft.com/office/drawing/2014/main" id="{FFBBF756-0D84-48D3-DDD2-2F6B8F4C9A96}"/>
              </a:ext>
            </a:extLst>
          </p:cNvPr>
          <p:cNvSpPr/>
          <p:nvPr/>
        </p:nvSpPr>
        <p:spPr>
          <a:xfrm>
            <a:off x="748835" y="2870886"/>
            <a:ext cx="512080" cy="512080"/>
          </a:xfrm>
          <a:custGeom>
            <a:avLst/>
            <a:gdLst>
              <a:gd name="connsiteX0" fmla="*/ 330932 w 512080"/>
              <a:gd name="connsiteY0" fmla="*/ 388541 h 512080"/>
              <a:gd name="connsiteX1" fmla="*/ 303408 w 512080"/>
              <a:gd name="connsiteY1" fmla="*/ 304048 h 512080"/>
              <a:gd name="connsiteX2" fmla="*/ 307889 w 512080"/>
              <a:gd name="connsiteY2" fmla="*/ 299567 h 512080"/>
              <a:gd name="connsiteX3" fmla="*/ 393662 w 512080"/>
              <a:gd name="connsiteY3" fmla="*/ 325811 h 512080"/>
              <a:gd name="connsiteX4" fmla="*/ 439109 w 512080"/>
              <a:gd name="connsiteY4" fmla="*/ 362297 h 512080"/>
              <a:gd name="connsiteX5" fmla="*/ 512081 w 512080"/>
              <a:gd name="connsiteY5" fmla="*/ 289326 h 512080"/>
              <a:gd name="connsiteX6" fmla="*/ 403264 w 512080"/>
              <a:gd name="connsiteY6" fmla="*/ 180509 h 512080"/>
              <a:gd name="connsiteX7" fmla="*/ 439749 w 512080"/>
              <a:gd name="connsiteY7" fmla="*/ 135061 h 512080"/>
              <a:gd name="connsiteX8" fmla="*/ 465994 w 512080"/>
              <a:gd name="connsiteY8" fmla="*/ 49288 h 512080"/>
              <a:gd name="connsiteX9" fmla="*/ 461513 w 512080"/>
              <a:gd name="connsiteY9" fmla="*/ 44807 h 512080"/>
              <a:gd name="connsiteX10" fmla="*/ 377020 w 512080"/>
              <a:gd name="connsiteY10" fmla="*/ 72331 h 512080"/>
              <a:gd name="connsiteX11" fmla="*/ 331572 w 512080"/>
              <a:gd name="connsiteY11" fmla="*/ 108817 h 512080"/>
              <a:gd name="connsiteX12" fmla="*/ 222755 w 512080"/>
              <a:gd name="connsiteY12" fmla="*/ 0 h 512080"/>
              <a:gd name="connsiteX13" fmla="*/ 149144 w 512080"/>
              <a:gd name="connsiteY13" fmla="*/ 72972 h 512080"/>
              <a:gd name="connsiteX14" fmla="*/ 185629 w 512080"/>
              <a:gd name="connsiteY14" fmla="*/ 118419 h 512080"/>
              <a:gd name="connsiteX15" fmla="*/ 213154 w 512080"/>
              <a:gd name="connsiteY15" fmla="*/ 202912 h 512080"/>
              <a:gd name="connsiteX16" fmla="*/ 208673 w 512080"/>
              <a:gd name="connsiteY16" fmla="*/ 207393 h 512080"/>
              <a:gd name="connsiteX17" fmla="*/ 122899 w 512080"/>
              <a:gd name="connsiteY17" fmla="*/ 181149 h 512080"/>
              <a:gd name="connsiteX18" fmla="*/ 77452 w 512080"/>
              <a:gd name="connsiteY18" fmla="*/ 144663 h 512080"/>
              <a:gd name="connsiteX19" fmla="*/ 0 w 512080"/>
              <a:gd name="connsiteY19" fmla="*/ 222755 h 512080"/>
              <a:gd name="connsiteX20" fmla="*/ 108817 w 512080"/>
              <a:gd name="connsiteY20" fmla="*/ 331572 h 512080"/>
              <a:gd name="connsiteX21" fmla="*/ 72331 w 512080"/>
              <a:gd name="connsiteY21" fmla="*/ 377020 h 512080"/>
              <a:gd name="connsiteX22" fmla="*/ 46087 w 512080"/>
              <a:gd name="connsiteY22" fmla="*/ 462793 h 512080"/>
              <a:gd name="connsiteX23" fmla="*/ 50568 w 512080"/>
              <a:gd name="connsiteY23" fmla="*/ 467274 h 512080"/>
              <a:gd name="connsiteX24" fmla="*/ 135061 w 512080"/>
              <a:gd name="connsiteY24" fmla="*/ 439749 h 512080"/>
              <a:gd name="connsiteX25" fmla="*/ 180509 w 512080"/>
              <a:gd name="connsiteY25" fmla="*/ 403264 h 512080"/>
              <a:gd name="connsiteX26" fmla="*/ 289326 w 512080"/>
              <a:gd name="connsiteY26" fmla="*/ 512081 h 512080"/>
              <a:gd name="connsiteX27" fmla="*/ 367418 w 512080"/>
              <a:gd name="connsiteY27" fmla="*/ 433989 h 512080"/>
              <a:gd name="connsiteX28" fmla="*/ 330932 w 512080"/>
              <a:gd name="connsiteY28" fmla="*/ 388541 h 51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2080" h="512080">
                <a:moveTo>
                  <a:pt x="330932" y="388541"/>
                </a:moveTo>
                <a:cubicBezTo>
                  <a:pt x="288686" y="389822"/>
                  <a:pt x="273323" y="335413"/>
                  <a:pt x="303408" y="304048"/>
                </a:cubicBezTo>
                <a:lnTo>
                  <a:pt x="307889" y="299567"/>
                </a:lnTo>
                <a:cubicBezTo>
                  <a:pt x="339254" y="269483"/>
                  <a:pt x="394942" y="283565"/>
                  <a:pt x="393662" y="325811"/>
                </a:cubicBezTo>
                <a:cubicBezTo>
                  <a:pt x="393022" y="350135"/>
                  <a:pt x="421827" y="379580"/>
                  <a:pt x="439109" y="362297"/>
                </a:cubicBezTo>
                <a:lnTo>
                  <a:pt x="512081" y="289326"/>
                </a:lnTo>
                <a:lnTo>
                  <a:pt x="403264" y="180509"/>
                </a:lnTo>
                <a:cubicBezTo>
                  <a:pt x="385981" y="163226"/>
                  <a:pt x="415426" y="134421"/>
                  <a:pt x="439749" y="135061"/>
                </a:cubicBezTo>
                <a:cubicBezTo>
                  <a:pt x="481996" y="136342"/>
                  <a:pt x="496078" y="80653"/>
                  <a:pt x="465994" y="49288"/>
                </a:cubicBezTo>
                <a:lnTo>
                  <a:pt x="461513" y="44807"/>
                </a:lnTo>
                <a:cubicBezTo>
                  <a:pt x="430148" y="14722"/>
                  <a:pt x="375739" y="30085"/>
                  <a:pt x="377020" y="72331"/>
                </a:cubicBezTo>
                <a:cubicBezTo>
                  <a:pt x="377660" y="96655"/>
                  <a:pt x="348855" y="126100"/>
                  <a:pt x="331572" y="108817"/>
                </a:cubicBezTo>
                <a:lnTo>
                  <a:pt x="222755" y="0"/>
                </a:lnTo>
                <a:lnTo>
                  <a:pt x="149144" y="72972"/>
                </a:lnTo>
                <a:cubicBezTo>
                  <a:pt x="131861" y="90254"/>
                  <a:pt x="161305" y="119059"/>
                  <a:pt x="185629" y="118419"/>
                </a:cubicBezTo>
                <a:cubicBezTo>
                  <a:pt x="227876" y="117138"/>
                  <a:pt x="243238" y="171547"/>
                  <a:pt x="213154" y="202912"/>
                </a:cubicBezTo>
                <a:lnTo>
                  <a:pt x="208673" y="207393"/>
                </a:lnTo>
                <a:cubicBezTo>
                  <a:pt x="177308" y="237477"/>
                  <a:pt x="121619" y="223395"/>
                  <a:pt x="122899" y="181149"/>
                </a:cubicBezTo>
                <a:cubicBezTo>
                  <a:pt x="123540" y="156825"/>
                  <a:pt x="94735" y="127380"/>
                  <a:pt x="77452" y="144663"/>
                </a:cubicBezTo>
                <a:lnTo>
                  <a:pt x="0" y="222755"/>
                </a:lnTo>
                <a:lnTo>
                  <a:pt x="108817" y="331572"/>
                </a:lnTo>
                <a:cubicBezTo>
                  <a:pt x="126100" y="348855"/>
                  <a:pt x="96655" y="377660"/>
                  <a:pt x="72331" y="377020"/>
                </a:cubicBezTo>
                <a:cubicBezTo>
                  <a:pt x="30085" y="375739"/>
                  <a:pt x="16003" y="431428"/>
                  <a:pt x="46087" y="462793"/>
                </a:cubicBezTo>
                <a:lnTo>
                  <a:pt x="50568" y="467274"/>
                </a:lnTo>
                <a:cubicBezTo>
                  <a:pt x="81933" y="497359"/>
                  <a:pt x="136342" y="481996"/>
                  <a:pt x="135061" y="439749"/>
                </a:cubicBezTo>
                <a:cubicBezTo>
                  <a:pt x="134421" y="415426"/>
                  <a:pt x="163226" y="385981"/>
                  <a:pt x="180509" y="403264"/>
                </a:cubicBezTo>
                <a:lnTo>
                  <a:pt x="289326" y="512081"/>
                </a:lnTo>
                <a:lnTo>
                  <a:pt x="367418" y="433989"/>
                </a:lnTo>
                <a:cubicBezTo>
                  <a:pt x="384701" y="416706"/>
                  <a:pt x="355896" y="387901"/>
                  <a:pt x="330932" y="388541"/>
                </a:cubicBezTo>
                <a:close/>
              </a:path>
            </a:pathLst>
          </a:custGeom>
          <a:solidFill>
            <a:srgbClr val="4CC1EF">
              <a:lumMod val="75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nvGrpSpPr>
          <p:cNvPr id="128" name="Graphic 53" descr="Users">
            <a:extLst>
              <a:ext uri="{FF2B5EF4-FFF2-40B4-BE49-F238E27FC236}">
                <a16:creationId xmlns:a16="http://schemas.microsoft.com/office/drawing/2014/main" id="{DC152195-E869-B168-94F0-048229D3B0F4}"/>
              </a:ext>
            </a:extLst>
          </p:cNvPr>
          <p:cNvGrpSpPr/>
          <p:nvPr/>
        </p:nvGrpSpPr>
        <p:grpSpPr>
          <a:xfrm>
            <a:off x="736033" y="4715463"/>
            <a:ext cx="537684" cy="335412"/>
            <a:chOff x="736033" y="4715463"/>
            <a:chExt cx="537684" cy="335412"/>
          </a:xfrm>
          <a:solidFill>
            <a:srgbClr val="4CC1EF">
              <a:lumMod val="60000"/>
              <a:lumOff val="40000"/>
            </a:srgbClr>
          </a:solidFill>
        </p:grpSpPr>
        <p:sp>
          <p:nvSpPr>
            <p:cNvPr id="129" name="Freeform: Shape 128">
              <a:extLst>
                <a:ext uri="{FF2B5EF4-FFF2-40B4-BE49-F238E27FC236}">
                  <a16:creationId xmlns:a16="http://schemas.microsoft.com/office/drawing/2014/main" id="{A4424A22-2630-721D-8BEA-C04A8ABC41C7}"/>
                </a:ext>
              </a:extLst>
            </p:cNvPr>
            <p:cNvSpPr/>
            <p:nvPr/>
          </p:nvSpPr>
          <p:spPr>
            <a:xfrm>
              <a:off x="793642" y="4715463"/>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0" name="Freeform: Shape 129">
              <a:extLst>
                <a:ext uri="{FF2B5EF4-FFF2-40B4-BE49-F238E27FC236}">
                  <a16:creationId xmlns:a16="http://schemas.microsoft.com/office/drawing/2014/main" id="{34327E93-F0B9-FBCA-7B62-3B22F8A1781E}"/>
                </a:ext>
              </a:extLst>
            </p:cNvPr>
            <p:cNvSpPr/>
            <p:nvPr/>
          </p:nvSpPr>
          <p:spPr>
            <a:xfrm>
              <a:off x="1100890" y="4715463"/>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1" name="Freeform: Shape 130">
              <a:extLst>
                <a:ext uri="{FF2B5EF4-FFF2-40B4-BE49-F238E27FC236}">
                  <a16:creationId xmlns:a16="http://schemas.microsoft.com/office/drawing/2014/main" id="{4DEDDD7B-23D8-C3B0-AFE0-4448843E379C}"/>
                </a:ext>
              </a:extLst>
            </p:cNvPr>
            <p:cNvSpPr/>
            <p:nvPr/>
          </p:nvSpPr>
          <p:spPr>
            <a:xfrm>
              <a:off x="889657" y="4935657"/>
              <a:ext cx="230436" cy="115218"/>
            </a:xfrm>
            <a:custGeom>
              <a:avLst/>
              <a:gdLst>
                <a:gd name="connsiteX0" fmla="*/ 230436 w 230436"/>
                <a:gd name="connsiteY0" fmla="*/ 115218 h 115218"/>
                <a:gd name="connsiteX1" fmla="*/ 230436 w 230436"/>
                <a:gd name="connsiteY1" fmla="*/ 57609 h 115218"/>
                <a:gd name="connsiteX2" fmla="*/ 218915 w 230436"/>
                <a:gd name="connsiteY2" fmla="*/ 34565 h 115218"/>
                <a:gd name="connsiteX3" fmla="*/ 162586 w 230436"/>
                <a:gd name="connsiteY3" fmla="*/ 7681 h 115218"/>
                <a:gd name="connsiteX4" fmla="*/ 115218 w 230436"/>
                <a:gd name="connsiteY4" fmla="*/ 0 h 115218"/>
                <a:gd name="connsiteX5" fmla="*/ 67851 w 230436"/>
                <a:gd name="connsiteY5" fmla="*/ 7681 h 115218"/>
                <a:gd name="connsiteX6" fmla="*/ 11522 w 230436"/>
                <a:gd name="connsiteY6" fmla="*/ 34565 h 115218"/>
                <a:gd name="connsiteX7" fmla="*/ 0 w 230436"/>
                <a:gd name="connsiteY7" fmla="*/ 57609 h 115218"/>
                <a:gd name="connsiteX8" fmla="*/ 0 w 230436"/>
                <a:gd name="connsiteY8" fmla="*/ 115218 h 115218"/>
                <a:gd name="connsiteX9" fmla="*/ 230436 w 230436"/>
                <a:gd name="connsiteY9" fmla="*/ 115218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436" h="115218">
                  <a:moveTo>
                    <a:pt x="230436" y="115218"/>
                  </a:moveTo>
                  <a:lnTo>
                    <a:pt x="230436" y="57609"/>
                  </a:lnTo>
                  <a:cubicBezTo>
                    <a:pt x="230436" y="48648"/>
                    <a:pt x="226596" y="39686"/>
                    <a:pt x="218915" y="34565"/>
                  </a:cubicBezTo>
                  <a:cubicBezTo>
                    <a:pt x="203552" y="21763"/>
                    <a:pt x="183069" y="12802"/>
                    <a:pt x="162586" y="7681"/>
                  </a:cubicBezTo>
                  <a:cubicBezTo>
                    <a:pt x="148503" y="3841"/>
                    <a:pt x="131861" y="0"/>
                    <a:pt x="115218" y="0"/>
                  </a:cubicBezTo>
                  <a:cubicBezTo>
                    <a:pt x="99856" y="0"/>
                    <a:pt x="83213" y="2560"/>
                    <a:pt x="67851" y="7681"/>
                  </a:cubicBezTo>
                  <a:cubicBezTo>
                    <a:pt x="47367" y="12802"/>
                    <a:pt x="28164" y="23044"/>
                    <a:pt x="11522" y="34565"/>
                  </a:cubicBezTo>
                  <a:cubicBezTo>
                    <a:pt x="3841" y="40966"/>
                    <a:pt x="0" y="48648"/>
                    <a:pt x="0" y="57609"/>
                  </a:cubicBezTo>
                  <a:lnTo>
                    <a:pt x="0" y="115218"/>
                  </a:lnTo>
                  <a:lnTo>
                    <a:pt x="230436" y="115218"/>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2" name="Freeform: Shape 131">
              <a:extLst>
                <a:ext uri="{FF2B5EF4-FFF2-40B4-BE49-F238E27FC236}">
                  <a16:creationId xmlns:a16="http://schemas.microsoft.com/office/drawing/2014/main" id="{12697A10-1519-F90B-1805-F3E7A34AB3FE}"/>
                </a:ext>
              </a:extLst>
            </p:cNvPr>
            <p:cNvSpPr/>
            <p:nvPr/>
          </p:nvSpPr>
          <p:spPr>
            <a:xfrm>
              <a:off x="947266" y="4805077"/>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3" name="Freeform: Shape 132">
              <a:extLst>
                <a:ext uri="{FF2B5EF4-FFF2-40B4-BE49-F238E27FC236}">
                  <a16:creationId xmlns:a16="http://schemas.microsoft.com/office/drawing/2014/main" id="{8806DF16-32D2-7D6A-5BF5-3832D00F97C6}"/>
                </a:ext>
              </a:extLst>
            </p:cNvPr>
            <p:cNvSpPr/>
            <p:nvPr/>
          </p:nvSpPr>
          <p:spPr>
            <a:xfrm>
              <a:off x="1065045" y="4846043"/>
              <a:ext cx="208672" cy="115218"/>
            </a:xfrm>
            <a:custGeom>
              <a:avLst/>
              <a:gdLst>
                <a:gd name="connsiteX0" fmla="*/ 197151 w 208672"/>
                <a:gd name="connsiteY0" fmla="*/ 34565 h 115218"/>
                <a:gd name="connsiteX1" fmla="*/ 140822 w 208672"/>
                <a:gd name="connsiteY1" fmla="*/ 7681 h 115218"/>
                <a:gd name="connsiteX2" fmla="*/ 93455 w 208672"/>
                <a:gd name="connsiteY2" fmla="*/ 0 h 115218"/>
                <a:gd name="connsiteX3" fmla="*/ 46087 w 208672"/>
                <a:gd name="connsiteY3" fmla="*/ 7681 h 115218"/>
                <a:gd name="connsiteX4" fmla="*/ 23044 w 208672"/>
                <a:gd name="connsiteY4" fmla="*/ 16643 h 115218"/>
                <a:gd name="connsiteX5" fmla="*/ 23044 w 208672"/>
                <a:gd name="connsiteY5" fmla="*/ 17923 h 115218"/>
                <a:gd name="connsiteX6" fmla="*/ 0 w 208672"/>
                <a:gd name="connsiteY6" fmla="*/ 74252 h 115218"/>
                <a:gd name="connsiteX7" fmla="*/ 58889 w 208672"/>
                <a:gd name="connsiteY7" fmla="*/ 103696 h 115218"/>
                <a:gd name="connsiteX8" fmla="*/ 69131 w 208672"/>
                <a:gd name="connsiteY8" fmla="*/ 115218 h 115218"/>
                <a:gd name="connsiteX9" fmla="*/ 208673 w 208672"/>
                <a:gd name="connsiteY9" fmla="*/ 115218 h 115218"/>
                <a:gd name="connsiteX10" fmla="*/ 208673 w 208672"/>
                <a:gd name="connsiteY10" fmla="*/ 57609 h 115218"/>
                <a:gd name="connsiteX11" fmla="*/ 197151 w 208672"/>
                <a:gd name="connsiteY11" fmla="*/ 34565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672" h="115218">
                  <a:moveTo>
                    <a:pt x="197151" y="34565"/>
                  </a:moveTo>
                  <a:cubicBezTo>
                    <a:pt x="181789" y="21763"/>
                    <a:pt x="161305" y="12802"/>
                    <a:pt x="140822" y="7681"/>
                  </a:cubicBezTo>
                  <a:cubicBezTo>
                    <a:pt x="126740" y="3841"/>
                    <a:pt x="110097" y="0"/>
                    <a:pt x="93455" y="0"/>
                  </a:cubicBezTo>
                  <a:cubicBezTo>
                    <a:pt x="78092" y="0"/>
                    <a:pt x="61450" y="2560"/>
                    <a:pt x="46087" y="7681"/>
                  </a:cubicBezTo>
                  <a:cubicBezTo>
                    <a:pt x="38406" y="10242"/>
                    <a:pt x="30725" y="12802"/>
                    <a:pt x="23044" y="16643"/>
                  </a:cubicBezTo>
                  <a:lnTo>
                    <a:pt x="23044" y="17923"/>
                  </a:lnTo>
                  <a:cubicBezTo>
                    <a:pt x="23044" y="39686"/>
                    <a:pt x="14082" y="60169"/>
                    <a:pt x="0" y="74252"/>
                  </a:cubicBezTo>
                  <a:cubicBezTo>
                    <a:pt x="24324" y="81933"/>
                    <a:pt x="43527" y="92175"/>
                    <a:pt x="58889" y="103696"/>
                  </a:cubicBezTo>
                  <a:cubicBezTo>
                    <a:pt x="62730" y="107537"/>
                    <a:pt x="66571" y="110097"/>
                    <a:pt x="69131" y="115218"/>
                  </a:cubicBezTo>
                  <a:lnTo>
                    <a:pt x="208673" y="115218"/>
                  </a:lnTo>
                  <a:lnTo>
                    <a:pt x="208673" y="57609"/>
                  </a:lnTo>
                  <a:cubicBezTo>
                    <a:pt x="208673" y="48648"/>
                    <a:pt x="204832" y="39686"/>
                    <a:pt x="197151" y="34565"/>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4" name="Freeform: Shape 133">
              <a:extLst>
                <a:ext uri="{FF2B5EF4-FFF2-40B4-BE49-F238E27FC236}">
                  <a16:creationId xmlns:a16="http://schemas.microsoft.com/office/drawing/2014/main" id="{D3F53A65-0EF9-3680-395A-967C75553331}"/>
                </a:ext>
              </a:extLst>
            </p:cNvPr>
            <p:cNvSpPr/>
            <p:nvPr/>
          </p:nvSpPr>
          <p:spPr>
            <a:xfrm>
              <a:off x="736033" y="4846043"/>
              <a:ext cx="208672" cy="115218"/>
            </a:xfrm>
            <a:custGeom>
              <a:avLst/>
              <a:gdLst>
                <a:gd name="connsiteX0" fmla="*/ 149784 w 208672"/>
                <a:gd name="connsiteY0" fmla="*/ 103696 h 115218"/>
                <a:gd name="connsiteX1" fmla="*/ 149784 w 208672"/>
                <a:gd name="connsiteY1" fmla="*/ 103696 h 115218"/>
                <a:gd name="connsiteX2" fmla="*/ 208673 w 208672"/>
                <a:gd name="connsiteY2" fmla="*/ 74252 h 115218"/>
                <a:gd name="connsiteX3" fmla="*/ 185629 w 208672"/>
                <a:gd name="connsiteY3" fmla="*/ 17923 h 115218"/>
                <a:gd name="connsiteX4" fmla="*/ 185629 w 208672"/>
                <a:gd name="connsiteY4" fmla="*/ 15362 h 115218"/>
                <a:gd name="connsiteX5" fmla="*/ 162586 w 208672"/>
                <a:gd name="connsiteY5" fmla="*/ 7681 h 115218"/>
                <a:gd name="connsiteX6" fmla="*/ 115218 w 208672"/>
                <a:gd name="connsiteY6" fmla="*/ 0 h 115218"/>
                <a:gd name="connsiteX7" fmla="*/ 67851 w 208672"/>
                <a:gd name="connsiteY7" fmla="*/ 7681 h 115218"/>
                <a:gd name="connsiteX8" fmla="*/ 11522 w 208672"/>
                <a:gd name="connsiteY8" fmla="*/ 34565 h 115218"/>
                <a:gd name="connsiteX9" fmla="*/ 0 w 208672"/>
                <a:gd name="connsiteY9" fmla="*/ 57609 h 115218"/>
                <a:gd name="connsiteX10" fmla="*/ 0 w 208672"/>
                <a:gd name="connsiteY10" fmla="*/ 115218 h 115218"/>
                <a:gd name="connsiteX11" fmla="*/ 138262 w 208672"/>
                <a:gd name="connsiteY11" fmla="*/ 115218 h 115218"/>
                <a:gd name="connsiteX12" fmla="*/ 149784 w 208672"/>
                <a:gd name="connsiteY12" fmla="*/ 103696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672" h="115218">
                  <a:moveTo>
                    <a:pt x="149784" y="103696"/>
                  </a:moveTo>
                  <a:lnTo>
                    <a:pt x="149784" y="103696"/>
                  </a:lnTo>
                  <a:cubicBezTo>
                    <a:pt x="167706" y="90894"/>
                    <a:pt x="188190" y="80653"/>
                    <a:pt x="208673" y="74252"/>
                  </a:cubicBezTo>
                  <a:cubicBezTo>
                    <a:pt x="194591" y="58889"/>
                    <a:pt x="185629" y="39686"/>
                    <a:pt x="185629" y="17923"/>
                  </a:cubicBezTo>
                  <a:cubicBezTo>
                    <a:pt x="185629" y="16643"/>
                    <a:pt x="185629" y="16643"/>
                    <a:pt x="185629" y="15362"/>
                  </a:cubicBezTo>
                  <a:cubicBezTo>
                    <a:pt x="177948" y="12802"/>
                    <a:pt x="170267" y="8961"/>
                    <a:pt x="162586" y="7681"/>
                  </a:cubicBezTo>
                  <a:cubicBezTo>
                    <a:pt x="148503" y="3841"/>
                    <a:pt x="131861" y="0"/>
                    <a:pt x="115218" y="0"/>
                  </a:cubicBezTo>
                  <a:cubicBezTo>
                    <a:pt x="99856" y="0"/>
                    <a:pt x="83213" y="2560"/>
                    <a:pt x="67851" y="7681"/>
                  </a:cubicBezTo>
                  <a:cubicBezTo>
                    <a:pt x="47367" y="14082"/>
                    <a:pt x="28164" y="23044"/>
                    <a:pt x="11522" y="34565"/>
                  </a:cubicBezTo>
                  <a:cubicBezTo>
                    <a:pt x="3841" y="39686"/>
                    <a:pt x="0" y="48648"/>
                    <a:pt x="0" y="57609"/>
                  </a:cubicBezTo>
                  <a:lnTo>
                    <a:pt x="0" y="115218"/>
                  </a:lnTo>
                  <a:lnTo>
                    <a:pt x="138262" y="115218"/>
                  </a:lnTo>
                  <a:cubicBezTo>
                    <a:pt x="142102" y="110097"/>
                    <a:pt x="144663" y="107537"/>
                    <a:pt x="149784" y="103696"/>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nvGrpSpPr>
          <p:cNvPr id="135" name="Graphic 55" descr="Lightbulb">
            <a:extLst>
              <a:ext uri="{FF2B5EF4-FFF2-40B4-BE49-F238E27FC236}">
                <a16:creationId xmlns:a16="http://schemas.microsoft.com/office/drawing/2014/main" id="{DCF90C70-D956-8B24-2ED5-820EE3D855DD}"/>
              </a:ext>
            </a:extLst>
          </p:cNvPr>
          <p:cNvGrpSpPr/>
          <p:nvPr/>
        </p:nvGrpSpPr>
        <p:grpSpPr>
          <a:xfrm>
            <a:off x="697627" y="1094365"/>
            <a:ext cx="614497" cy="614497"/>
            <a:chOff x="697627" y="1094365"/>
            <a:chExt cx="614497" cy="614497"/>
          </a:xfrm>
          <a:solidFill>
            <a:srgbClr val="4CC1EF">
              <a:lumMod val="50000"/>
            </a:srgbClr>
          </a:solidFill>
        </p:grpSpPr>
        <p:sp>
          <p:nvSpPr>
            <p:cNvPr id="136" name="Freeform: Shape 135">
              <a:extLst>
                <a:ext uri="{FF2B5EF4-FFF2-40B4-BE49-F238E27FC236}">
                  <a16:creationId xmlns:a16="http://schemas.microsoft.com/office/drawing/2014/main" id="{3010481D-1A83-375F-8D68-A124CAFDB009}"/>
                </a:ext>
              </a:extLst>
            </p:cNvPr>
            <p:cNvSpPr/>
            <p:nvPr/>
          </p:nvSpPr>
          <p:spPr>
            <a:xfrm>
              <a:off x="921662" y="1504029"/>
              <a:ext cx="166426" cy="38406"/>
            </a:xfrm>
            <a:custGeom>
              <a:avLst/>
              <a:gdLst>
                <a:gd name="connsiteX0" fmla="*/ 19203 w 166426"/>
                <a:gd name="connsiteY0" fmla="*/ 0 h 38406"/>
                <a:gd name="connsiteX1" fmla="*/ 147223 w 166426"/>
                <a:gd name="connsiteY1" fmla="*/ 0 h 38406"/>
                <a:gd name="connsiteX2" fmla="*/ 166426 w 166426"/>
                <a:gd name="connsiteY2" fmla="*/ 19203 h 38406"/>
                <a:gd name="connsiteX3" fmla="*/ 147223 w 166426"/>
                <a:gd name="connsiteY3" fmla="*/ 38406 h 38406"/>
                <a:gd name="connsiteX4" fmla="*/ 19203 w 166426"/>
                <a:gd name="connsiteY4" fmla="*/ 38406 h 38406"/>
                <a:gd name="connsiteX5" fmla="*/ 0 w 166426"/>
                <a:gd name="connsiteY5" fmla="*/ 19203 h 38406"/>
                <a:gd name="connsiteX6" fmla="*/ 19203 w 166426"/>
                <a:gd name="connsiteY6" fmla="*/ 0 h 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426" h="38406">
                  <a:moveTo>
                    <a:pt x="19203" y="0"/>
                  </a:moveTo>
                  <a:lnTo>
                    <a:pt x="147223" y="0"/>
                  </a:lnTo>
                  <a:cubicBezTo>
                    <a:pt x="158105" y="0"/>
                    <a:pt x="166426" y="8321"/>
                    <a:pt x="166426" y="19203"/>
                  </a:cubicBezTo>
                  <a:cubicBezTo>
                    <a:pt x="166426" y="30085"/>
                    <a:pt x="158105" y="38406"/>
                    <a:pt x="147223" y="38406"/>
                  </a:cubicBezTo>
                  <a:lnTo>
                    <a:pt x="19203" y="38406"/>
                  </a:lnTo>
                  <a:cubicBezTo>
                    <a:pt x="8321" y="38406"/>
                    <a:pt x="0" y="30085"/>
                    <a:pt x="0" y="19203"/>
                  </a:cubicBezTo>
                  <a:cubicBezTo>
                    <a:pt x="0" y="8321"/>
                    <a:pt x="8321" y="0"/>
                    <a:pt x="19203" y="0"/>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7" name="Freeform: Shape 136">
              <a:extLst>
                <a:ext uri="{FF2B5EF4-FFF2-40B4-BE49-F238E27FC236}">
                  <a16:creationId xmlns:a16="http://schemas.microsoft.com/office/drawing/2014/main" id="{66C1B5A7-ACE2-4953-A2DF-21B8C11786E4}"/>
                </a:ext>
              </a:extLst>
            </p:cNvPr>
            <p:cNvSpPr/>
            <p:nvPr/>
          </p:nvSpPr>
          <p:spPr>
            <a:xfrm>
              <a:off x="921662" y="1568039"/>
              <a:ext cx="166426" cy="38406"/>
            </a:xfrm>
            <a:custGeom>
              <a:avLst/>
              <a:gdLst>
                <a:gd name="connsiteX0" fmla="*/ 19203 w 166426"/>
                <a:gd name="connsiteY0" fmla="*/ 0 h 38406"/>
                <a:gd name="connsiteX1" fmla="*/ 147223 w 166426"/>
                <a:gd name="connsiteY1" fmla="*/ 0 h 38406"/>
                <a:gd name="connsiteX2" fmla="*/ 166426 w 166426"/>
                <a:gd name="connsiteY2" fmla="*/ 19203 h 38406"/>
                <a:gd name="connsiteX3" fmla="*/ 147223 w 166426"/>
                <a:gd name="connsiteY3" fmla="*/ 38406 h 38406"/>
                <a:gd name="connsiteX4" fmla="*/ 19203 w 166426"/>
                <a:gd name="connsiteY4" fmla="*/ 38406 h 38406"/>
                <a:gd name="connsiteX5" fmla="*/ 0 w 166426"/>
                <a:gd name="connsiteY5" fmla="*/ 19203 h 38406"/>
                <a:gd name="connsiteX6" fmla="*/ 19203 w 166426"/>
                <a:gd name="connsiteY6" fmla="*/ 0 h 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426" h="38406">
                  <a:moveTo>
                    <a:pt x="19203" y="0"/>
                  </a:moveTo>
                  <a:lnTo>
                    <a:pt x="147223" y="0"/>
                  </a:lnTo>
                  <a:cubicBezTo>
                    <a:pt x="158105" y="0"/>
                    <a:pt x="166426" y="8321"/>
                    <a:pt x="166426" y="19203"/>
                  </a:cubicBezTo>
                  <a:cubicBezTo>
                    <a:pt x="166426" y="30085"/>
                    <a:pt x="158105" y="38406"/>
                    <a:pt x="147223" y="38406"/>
                  </a:cubicBezTo>
                  <a:lnTo>
                    <a:pt x="19203" y="38406"/>
                  </a:lnTo>
                  <a:cubicBezTo>
                    <a:pt x="8321" y="38406"/>
                    <a:pt x="0" y="30085"/>
                    <a:pt x="0" y="19203"/>
                  </a:cubicBezTo>
                  <a:cubicBezTo>
                    <a:pt x="0" y="8321"/>
                    <a:pt x="8321" y="0"/>
                    <a:pt x="19203" y="0"/>
                  </a:cubicBez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8" name="Freeform: Shape 137">
              <a:extLst>
                <a:ext uri="{FF2B5EF4-FFF2-40B4-BE49-F238E27FC236}">
                  <a16:creationId xmlns:a16="http://schemas.microsoft.com/office/drawing/2014/main" id="{FDAD8258-1B66-870F-3187-11E75D3B8B29}"/>
                </a:ext>
              </a:extLst>
            </p:cNvPr>
            <p:cNvSpPr/>
            <p:nvPr/>
          </p:nvSpPr>
          <p:spPr>
            <a:xfrm>
              <a:off x="963268" y="1632049"/>
              <a:ext cx="83213" cy="38406"/>
            </a:xfrm>
            <a:custGeom>
              <a:avLst/>
              <a:gdLst>
                <a:gd name="connsiteX0" fmla="*/ 0 w 83213"/>
                <a:gd name="connsiteY0" fmla="*/ 0 h 38406"/>
                <a:gd name="connsiteX1" fmla="*/ 41607 w 83213"/>
                <a:gd name="connsiteY1" fmla="*/ 38406 h 38406"/>
                <a:gd name="connsiteX2" fmla="*/ 83213 w 83213"/>
                <a:gd name="connsiteY2" fmla="*/ 0 h 38406"/>
                <a:gd name="connsiteX3" fmla="*/ 0 w 83213"/>
                <a:gd name="connsiteY3" fmla="*/ 0 h 38406"/>
              </a:gdLst>
              <a:ahLst/>
              <a:cxnLst>
                <a:cxn ang="0">
                  <a:pos x="connsiteX0" y="connsiteY0"/>
                </a:cxn>
                <a:cxn ang="0">
                  <a:pos x="connsiteX1" y="connsiteY1"/>
                </a:cxn>
                <a:cxn ang="0">
                  <a:pos x="connsiteX2" y="connsiteY2"/>
                </a:cxn>
                <a:cxn ang="0">
                  <a:pos x="connsiteX3" y="connsiteY3"/>
                </a:cxn>
              </a:cxnLst>
              <a:rect l="l" t="t" r="r" b="b"/>
              <a:pathLst>
                <a:path w="83213" h="38406">
                  <a:moveTo>
                    <a:pt x="0" y="0"/>
                  </a:moveTo>
                  <a:cubicBezTo>
                    <a:pt x="1920" y="21763"/>
                    <a:pt x="19843" y="38406"/>
                    <a:pt x="41607" y="38406"/>
                  </a:cubicBezTo>
                  <a:cubicBezTo>
                    <a:pt x="63370" y="38406"/>
                    <a:pt x="81293" y="21763"/>
                    <a:pt x="83213" y="0"/>
                  </a:cubicBezTo>
                  <a:lnTo>
                    <a:pt x="0" y="0"/>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9" name="Freeform: Shape 138">
              <a:extLst>
                <a:ext uri="{FF2B5EF4-FFF2-40B4-BE49-F238E27FC236}">
                  <a16:creationId xmlns:a16="http://schemas.microsoft.com/office/drawing/2014/main" id="{5E024E0F-DD1F-A95A-BEF0-FF32D43C3718}"/>
                </a:ext>
              </a:extLst>
            </p:cNvPr>
            <p:cNvSpPr/>
            <p:nvPr/>
          </p:nvSpPr>
          <p:spPr>
            <a:xfrm>
              <a:off x="838449" y="1132771"/>
              <a:ext cx="332852" cy="345654"/>
            </a:xfrm>
            <a:custGeom>
              <a:avLst/>
              <a:gdLst>
                <a:gd name="connsiteX0" fmla="*/ 166426 w 332852"/>
                <a:gd name="connsiteY0" fmla="*/ 0 h 345654"/>
                <a:gd name="connsiteX1" fmla="*/ 166426 w 332852"/>
                <a:gd name="connsiteY1" fmla="*/ 0 h 345654"/>
                <a:gd name="connsiteX2" fmla="*/ 166426 w 332852"/>
                <a:gd name="connsiteY2" fmla="*/ 0 h 345654"/>
                <a:gd name="connsiteX3" fmla="*/ 0 w 332852"/>
                <a:gd name="connsiteY3" fmla="*/ 164506 h 345654"/>
                <a:gd name="connsiteX4" fmla="*/ 0 w 332852"/>
                <a:gd name="connsiteY4" fmla="*/ 170267 h 345654"/>
                <a:gd name="connsiteX5" fmla="*/ 11522 w 332852"/>
                <a:gd name="connsiteY5" fmla="*/ 227876 h 345654"/>
                <a:gd name="connsiteX6" fmla="*/ 40326 w 332852"/>
                <a:gd name="connsiteY6" fmla="*/ 275243 h 345654"/>
                <a:gd name="connsiteX7" fmla="*/ 79373 w 332852"/>
                <a:gd name="connsiteY7" fmla="*/ 338613 h 345654"/>
                <a:gd name="connsiteX8" fmla="*/ 90894 w 332852"/>
                <a:gd name="connsiteY8" fmla="*/ 345655 h 345654"/>
                <a:gd name="connsiteX9" fmla="*/ 241958 w 332852"/>
                <a:gd name="connsiteY9" fmla="*/ 345655 h 345654"/>
                <a:gd name="connsiteX10" fmla="*/ 253480 w 332852"/>
                <a:gd name="connsiteY10" fmla="*/ 338613 h 345654"/>
                <a:gd name="connsiteX11" fmla="*/ 292526 w 332852"/>
                <a:gd name="connsiteY11" fmla="*/ 275243 h 345654"/>
                <a:gd name="connsiteX12" fmla="*/ 321331 w 332852"/>
                <a:gd name="connsiteY12" fmla="*/ 227876 h 345654"/>
                <a:gd name="connsiteX13" fmla="*/ 332853 w 332852"/>
                <a:gd name="connsiteY13" fmla="*/ 170267 h 345654"/>
                <a:gd name="connsiteX14" fmla="*/ 332853 w 332852"/>
                <a:gd name="connsiteY14" fmla="*/ 164506 h 345654"/>
                <a:gd name="connsiteX15" fmla="*/ 166426 w 332852"/>
                <a:gd name="connsiteY15" fmla="*/ 0 h 345654"/>
                <a:gd name="connsiteX16" fmla="*/ 294446 w 332852"/>
                <a:gd name="connsiteY16" fmla="*/ 169627 h 345654"/>
                <a:gd name="connsiteX17" fmla="*/ 285485 w 332852"/>
                <a:gd name="connsiteY17" fmla="*/ 214434 h 345654"/>
                <a:gd name="connsiteX18" fmla="*/ 263722 w 332852"/>
                <a:gd name="connsiteY18" fmla="*/ 249639 h 345654"/>
                <a:gd name="connsiteX19" fmla="*/ 226596 w 332852"/>
                <a:gd name="connsiteY19" fmla="*/ 307249 h 345654"/>
                <a:gd name="connsiteX20" fmla="*/ 166426 w 332852"/>
                <a:gd name="connsiteY20" fmla="*/ 307249 h 345654"/>
                <a:gd name="connsiteX21" fmla="*/ 106897 w 332852"/>
                <a:gd name="connsiteY21" fmla="*/ 307249 h 345654"/>
                <a:gd name="connsiteX22" fmla="*/ 69771 w 332852"/>
                <a:gd name="connsiteY22" fmla="*/ 249639 h 345654"/>
                <a:gd name="connsiteX23" fmla="*/ 48008 w 332852"/>
                <a:gd name="connsiteY23" fmla="*/ 214434 h 345654"/>
                <a:gd name="connsiteX24" fmla="*/ 39046 w 332852"/>
                <a:gd name="connsiteY24" fmla="*/ 169627 h 345654"/>
                <a:gd name="connsiteX25" fmla="*/ 39046 w 332852"/>
                <a:gd name="connsiteY25" fmla="*/ 164506 h 345654"/>
                <a:gd name="connsiteX26" fmla="*/ 167066 w 332852"/>
                <a:gd name="connsiteY26" fmla="*/ 37766 h 345654"/>
                <a:gd name="connsiteX27" fmla="*/ 167066 w 332852"/>
                <a:gd name="connsiteY27" fmla="*/ 37766 h 345654"/>
                <a:gd name="connsiteX28" fmla="*/ 167066 w 332852"/>
                <a:gd name="connsiteY28" fmla="*/ 37766 h 345654"/>
                <a:gd name="connsiteX29" fmla="*/ 167066 w 332852"/>
                <a:gd name="connsiteY29" fmla="*/ 37766 h 345654"/>
                <a:gd name="connsiteX30" fmla="*/ 167066 w 332852"/>
                <a:gd name="connsiteY30" fmla="*/ 37766 h 345654"/>
                <a:gd name="connsiteX31" fmla="*/ 167066 w 332852"/>
                <a:gd name="connsiteY31" fmla="*/ 37766 h 345654"/>
                <a:gd name="connsiteX32" fmla="*/ 167066 w 332852"/>
                <a:gd name="connsiteY32" fmla="*/ 37766 h 345654"/>
                <a:gd name="connsiteX33" fmla="*/ 295087 w 332852"/>
                <a:gd name="connsiteY33" fmla="*/ 164506 h 345654"/>
                <a:gd name="connsiteX34" fmla="*/ 295087 w 332852"/>
                <a:gd name="connsiteY34" fmla="*/ 169627 h 34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2852" h="345654">
                  <a:moveTo>
                    <a:pt x="166426" y="0"/>
                  </a:moveTo>
                  <a:cubicBezTo>
                    <a:pt x="166426" y="0"/>
                    <a:pt x="166426" y="0"/>
                    <a:pt x="166426" y="0"/>
                  </a:cubicBezTo>
                  <a:cubicBezTo>
                    <a:pt x="166426" y="0"/>
                    <a:pt x="166426" y="0"/>
                    <a:pt x="166426" y="0"/>
                  </a:cubicBezTo>
                  <a:cubicBezTo>
                    <a:pt x="75532" y="640"/>
                    <a:pt x="1920" y="73612"/>
                    <a:pt x="0" y="164506"/>
                  </a:cubicBezTo>
                  <a:lnTo>
                    <a:pt x="0" y="170267"/>
                  </a:lnTo>
                  <a:cubicBezTo>
                    <a:pt x="640" y="190110"/>
                    <a:pt x="4481" y="209313"/>
                    <a:pt x="11522" y="227876"/>
                  </a:cubicBezTo>
                  <a:cubicBezTo>
                    <a:pt x="18563" y="245159"/>
                    <a:pt x="28164" y="261161"/>
                    <a:pt x="40326" y="275243"/>
                  </a:cubicBezTo>
                  <a:cubicBezTo>
                    <a:pt x="55689" y="291886"/>
                    <a:pt x="72331" y="324531"/>
                    <a:pt x="79373" y="338613"/>
                  </a:cubicBezTo>
                  <a:cubicBezTo>
                    <a:pt x="81293" y="343094"/>
                    <a:pt x="85774" y="345655"/>
                    <a:pt x="90894" y="345655"/>
                  </a:cubicBezTo>
                  <a:lnTo>
                    <a:pt x="241958" y="345655"/>
                  </a:lnTo>
                  <a:cubicBezTo>
                    <a:pt x="247079" y="345655"/>
                    <a:pt x="251560" y="343094"/>
                    <a:pt x="253480" y="338613"/>
                  </a:cubicBezTo>
                  <a:cubicBezTo>
                    <a:pt x="260521" y="324531"/>
                    <a:pt x="277164" y="291886"/>
                    <a:pt x="292526" y="275243"/>
                  </a:cubicBezTo>
                  <a:cubicBezTo>
                    <a:pt x="304688" y="261161"/>
                    <a:pt x="314930" y="245159"/>
                    <a:pt x="321331" y="227876"/>
                  </a:cubicBezTo>
                  <a:cubicBezTo>
                    <a:pt x="328372" y="209313"/>
                    <a:pt x="332212" y="190110"/>
                    <a:pt x="332853" y="170267"/>
                  </a:cubicBezTo>
                  <a:lnTo>
                    <a:pt x="332853" y="164506"/>
                  </a:lnTo>
                  <a:cubicBezTo>
                    <a:pt x="330932" y="73612"/>
                    <a:pt x="257321" y="640"/>
                    <a:pt x="166426" y="0"/>
                  </a:cubicBezTo>
                  <a:close/>
                  <a:moveTo>
                    <a:pt x="294446" y="169627"/>
                  </a:moveTo>
                  <a:cubicBezTo>
                    <a:pt x="293806" y="184989"/>
                    <a:pt x="290606" y="200352"/>
                    <a:pt x="285485" y="214434"/>
                  </a:cubicBezTo>
                  <a:cubicBezTo>
                    <a:pt x="280364" y="227236"/>
                    <a:pt x="273323" y="239398"/>
                    <a:pt x="263722" y="249639"/>
                  </a:cubicBezTo>
                  <a:cubicBezTo>
                    <a:pt x="248999" y="267562"/>
                    <a:pt x="236197" y="286765"/>
                    <a:pt x="226596" y="307249"/>
                  </a:cubicBezTo>
                  <a:lnTo>
                    <a:pt x="166426" y="307249"/>
                  </a:lnTo>
                  <a:lnTo>
                    <a:pt x="106897" y="307249"/>
                  </a:lnTo>
                  <a:cubicBezTo>
                    <a:pt x="96655" y="286765"/>
                    <a:pt x="83853" y="267562"/>
                    <a:pt x="69771" y="249639"/>
                  </a:cubicBezTo>
                  <a:cubicBezTo>
                    <a:pt x="60810" y="239398"/>
                    <a:pt x="53128" y="227236"/>
                    <a:pt x="48008" y="214434"/>
                  </a:cubicBezTo>
                  <a:cubicBezTo>
                    <a:pt x="42247" y="200352"/>
                    <a:pt x="39686" y="184989"/>
                    <a:pt x="39046" y="169627"/>
                  </a:cubicBezTo>
                  <a:lnTo>
                    <a:pt x="39046" y="164506"/>
                  </a:lnTo>
                  <a:cubicBezTo>
                    <a:pt x="40326" y="94735"/>
                    <a:pt x="97295" y="38406"/>
                    <a:pt x="167066" y="37766"/>
                  </a:cubicBezTo>
                  <a:lnTo>
                    <a:pt x="167066" y="37766"/>
                  </a:lnTo>
                  <a:lnTo>
                    <a:pt x="167066" y="37766"/>
                  </a:lnTo>
                  <a:cubicBezTo>
                    <a:pt x="167066" y="37766"/>
                    <a:pt x="167066" y="37766"/>
                    <a:pt x="167066" y="37766"/>
                  </a:cubicBezTo>
                  <a:cubicBezTo>
                    <a:pt x="167066" y="37766"/>
                    <a:pt x="167066" y="37766"/>
                    <a:pt x="167066" y="37766"/>
                  </a:cubicBezTo>
                  <a:lnTo>
                    <a:pt x="167066" y="37766"/>
                  </a:lnTo>
                  <a:lnTo>
                    <a:pt x="167066" y="37766"/>
                  </a:lnTo>
                  <a:cubicBezTo>
                    <a:pt x="236837" y="38406"/>
                    <a:pt x="293806" y="94095"/>
                    <a:pt x="295087" y="164506"/>
                  </a:cubicBezTo>
                  <a:lnTo>
                    <a:pt x="295087" y="169627"/>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Tree>
    <p:extLst>
      <p:ext uri="{BB962C8B-B14F-4D97-AF65-F5344CB8AC3E}">
        <p14:creationId xmlns:p14="http://schemas.microsoft.com/office/powerpoint/2010/main" val="2944778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p:txBody>
          <a:bodyPr/>
          <a:lstStyle/>
          <a:p>
            <a:r>
              <a:rPr lang="en-US" dirty="0"/>
              <a:t>Infographic Clouds – Slide Template</a:t>
            </a:r>
          </a:p>
        </p:txBody>
      </p:sp>
      <p:grpSp>
        <p:nvGrpSpPr>
          <p:cNvPr id="33" name="Group 32">
            <a:extLst>
              <a:ext uri="{FF2B5EF4-FFF2-40B4-BE49-F238E27FC236}">
                <a16:creationId xmlns:a16="http://schemas.microsoft.com/office/drawing/2014/main" id="{A93EF40E-4951-48C5-BE62-A940AF09EED2}"/>
              </a:ext>
            </a:extLst>
          </p:cNvPr>
          <p:cNvGrpSpPr/>
          <p:nvPr/>
        </p:nvGrpSpPr>
        <p:grpSpPr>
          <a:xfrm>
            <a:off x="4420955" y="973431"/>
            <a:ext cx="6952048" cy="5142536"/>
            <a:chOff x="15273057" y="2642602"/>
            <a:chExt cx="2209518" cy="1634412"/>
          </a:xfrm>
        </p:grpSpPr>
        <p:sp>
          <p:nvSpPr>
            <p:cNvPr id="34" name="Shape">
              <a:extLst>
                <a:ext uri="{FF2B5EF4-FFF2-40B4-BE49-F238E27FC236}">
                  <a16:creationId xmlns:a16="http://schemas.microsoft.com/office/drawing/2014/main" id="{32951099-338A-4A88-B9A6-288150AB43ED}"/>
                </a:ext>
              </a:extLst>
            </p:cNvPr>
            <p:cNvSpPr/>
            <p:nvPr/>
          </p:nvSpPr>
          <p:spPr>
            <a:xfrm>
              <a:off x="15273057" y="2642602"/>
              <a:ext cx="2151517" cy="1429231"/>
            </a:xfrm>
            <a:custGeom>
              <a:avLst/>
              <a:gdLst/>
              <a:ahLst/>
              <a:cxnLst>
                <a:cxn ang="0">
                  <a:pos x="wd2" y="hd2"/>
                </a:cxn>
                <a:cxn ang="5400000">
                  <a:pos x="wd2" y="hd2"/>
                </a:cxn>
                <a:cxn ang="10800000">
                  <a:pos x="wd2" y="hd2"/>
                </a:cxn>
                <a:cxn ang="16200000">
                  <a:pos x="wd2" y="hd2"/>
                </a:cxn>
              </a:cxnLst>
              <a:rect l="0" t="0" r="r" b="b"/>
              <a:pathLst>
                <a:path w="21590" h="21502" extrusionOk="0">
                  <a:moveTo>
                    <a:pt x="20200" y="9301"/>
                  </a:moveTo>
                  <a:cubicBezTo>
                    <a:pt x="20209" y="9309"/>
                    <a:pt x="20218" y="9314"/>
                    <a:pt x="20227" y="9322"/>
                  </a:cubicBezTo>
                  <a:cubicBezTo>
                    <a:pt x="20228" y="9322"/>
                    <a:pt x="20228" y="9324"/>
                    <a:pt x="20230" y="9324"/>
                  </a:cubicBezTo>
                  <a:lnTo>
                    <a:pt x="20230" y="9324"/>
                  </a:lnTo>
                  <a:lnTo>
                    <a:pt x="19336" y="8596"/>
                  </a:lnTo>
                  <a:cubicBezTo>
                    <a:pt x="19307" y="8573"/>
                    <a:pt x="19278" y="8550"/>
                    <a:pt x="19248" y="8527"/>
                  </a:cubicBezTo>
                  <a:cubicBezTo>
                    <a:pt x="19248" y="8527"/>
                    <a:pt x="19247" y="8527"/>
                    <a:pt x="19247" y="8525"/>
                  </a:cubicBezTo>
                  <a:cubicBezTo>
                    <a:pt x="19243" y="8523"/>
                    <a:pt x="19241" y="8522"/>
                    <a:pt x="19237" y="8518"/>
                  </a:cubicBezTo>
                  <a:cubicBezTo>
                    <a:pt x="19207" y="8497"/>
                    <a:pt x="19177" y="8476"/>
                    <a:pt x="19146" y="8455"/>
                  </a:cubicBezTo>
                  <a:cubicBezTo>
                    <a:pt x="19135" y="8447"/>
                    <a:pt x="19123" y="8441"/>
                    <a:pt x="19113" y="8434"/>
                  </a:cubicBezTo>
                  <a:cubicBezTo>
                    <a:pt x="19089" y="8418"/>
                    <a:pt x="19065" y="8403"/>
                    <a:pt x="19041" y="8390"/>
                  </a:cubicBezTo>
                  <a:cubicBezTo>
                    <a:pt x="19029" y="8382"/>
                    <a:pt x="19016" y="8376"/>
                    <a:pt x="19005" y="8369"/>
                  </a:cubicBezTo>
                  <a:cubicBezTo>
                    <a:pt x="18978" y="8353"/>
                    <a:pt x="18951" y="8340"/>
                    <a:pt x="18925" y="8329"/>
                  </a:cubicBezTo>
                  <a:cubicBezTo>
                    <a:pt x="18916" y="8325"/>
                    <a:pt x="18905" y="8319"/>
                    <a:pt x="18897" y="8315"/>
                  </a:cubicBezTo>
                  <a:cubicBezTo>
                    <a:pt x="18861" y="8298"/>
                    <a:pt x="18824" y="8283"/>
                    <a:pt x="18787" y="8269"/>
                  </a:cubicBezTo>
                  <a:cubicBezTo>
                    <a:pt x="18786" y="8269"/>
                    <a:pt x="18784" y="8267"/>
                    <a:pt x="18783" y="8267"/>
                  </a:cubicBezTo>
                  <a:cubicBezTo>
                    <a:pt x="18777" y="8265"/>
                    <a:pt x="18769" y="8264"/>
                    <a:pt x="18763" y="8260"/>
                  </a:cubicBezTo>
                  <a:cubicBezTo>
                    <a:pt x="18735" y="8248"/>
                    <a:pt x="18705" y="8239"/>
                    <a:pt x="18677" y="8231"/>
                  </a:cubicBezTo>
                  <a:cubicBezTo>
                    <a:pt x="18665" y="8227"/>
                    <a:pt x="18652" y="8223"/>
                    <a:pt x="18639" y="8220"/>
                  </a:cubicBezTo>
                  <a:cubicBezTo>
                    <a:pt x="18638" y="8220"/>
                    <a:pt x="18638" y="8220"/>
                    <a:pt x="18637" y="8220"/>
                  </a:cubicBezTo>
                  <a:cubicBezTo>
                    <a:pt x="18652" y="8009"/>
                    <a:pt x="18659" y="7797"/>
                    <a:pt x="18661" y="7583"/>
                  </a:cubicBezTo>
                  <a:cubicBezTo>
                    <a:pt x="18663" y="5573"/>
                    <a:pt x="18010" y="3951"/>
                    <a:pt x="17026" y="3176"/>
                  </a:cubicBezTo>
                  <a:cubicBezTo>
                    <a:pt x="17037" y="3185"/>
                    <a:pt x="17049" y="3193"/>
                    <a:pt x="17060" y="3202"/>
                  </a:cubicBezTo>
                  <a:lnTo>
                    <a:pt x="16167" y="2474"/>
                  </a:lnTo>
                  <a:cubicBezTo>
                    <a:pt x="16132" y="2448"/>
                    <a:pt x="16098" y="2421"/>
                    <a:pt x="16063" y="2394"/>
                  </a:cubicBezTo>
                  <a:cubicBezTo>
                    <a:pt x="16062" y="2394"/>
                    <a:pt x="16062" y="2392"/>
                    <a:pt x="16061" y="2392"/>
                  </a:cubicBezTo>
                  <a:cubicBezTo>
                    <a:pt x="16057" y="2390"/>
                    <a:pt x="16053" y="2386"/>
                    <a:pt x="16049" y="2384"/>
                  </a:cubicBezTo>
                  <a:cubicBezTo>
                    <a:pt x="16015" y="2360"/>
                    <a:pt x="15979" y="2335"/>
                    <a:pt x="15944" y="2312"/>
                  </a:cubicBezTo>
                  <a:cubicBezTo>
                    <a:pt x="15931" y="2304"/>
                    <a:pt x="15918" y="2295"/>
                    <a:pt x="15904" y="2287"/>
                  </a:cubicBezTo>
                  <a:cubicBezTo>
                    <a:pt x="15876" y="2270"/>
                    <a:pt x="15847" y="2253"/>
                    <a:pt x="15819" y="2235"/>
                  </a:cubicBezTo>
                  <a:cubicBezTo>
                    <a:pt x="15805" y="2228"/>
                    <a:pt x="15791" y="2220"/>
                    <a:pt x="15777" y="2213"/>
                  </a:cubicBezTo>
                  <a:cubicBezTo>
                    <a:pt x="15745" y="2195"/>
                    <a:pt x="15714" y="2180"/>
                    <a:pt x="15682" y="2165"/>
                  </a:cubicBezTo>
                  <a:cubicBezTo>
                    <a:pt x="15672" y="2159"/>
                    <a:pt x="15661" y="2153"/>
                    <a:pt x="15651" y="2149"/>
                  </a:cubicBezTo>
                  <a:cubicBezTo>
                    <a:pt x="15609" y="2130"/>
                    <a:pt x="15565" y="2111"/>
                    <a:pt x="15522" y="2094"/>
                  </a:cubicBezTo>
                  <a:cubicBezTo>
                    <a:pt x="15521" y="2094"/>
                    <a:pt x="15518" y="2092"/>
                    <a:pt x="15517" y="2092"/>
                  </a:cubicBezTo>
                  <a:cubicBezTo>
                    <a:pt x="15509" y="2088"/>
                    <a:pt x="15500" y="2086"/>
                    <a:pt x="15493" y="2085"/>
                  </a:cubicBezTo>
                  <a:cubicBezTo>
                    <a:pt x="15459" y="2073"/>
                    <a:pt x="15426" y="2060"/>
                    <a:pt x="15393" y="2050"/>
                  </a:cubicBezTo>
                  <a:cubicBezTo>
                    <a:pt x="15378" y="2046"/>
                    <a:pt x="15364" y="2041"/>
                    <a:pt x="15349" y="2037"/>
                  </a:cubicBezTo>
                  <a:cubicBezTo>
                    <a:pt x="15319" y="2029"/>
                    <a:pt x="15290" y="2020"/>
                    <a:pt x="15259" y="2014"/>
                  </a:cubicBezTo>
                  <a:cubicBezTo>
                    <a:pt x="15244" y="2010"/>
                    <a:pt x="15229" y="2006"/>
                    <a:pt x="15212" y="2002"/>
                  </a:cubicBezTo>
                  <a:cubicBezTo>
                    <a:pt x="15180" y="1995"/>
                    <a:pt x="15148" y="1989"/>
                    <a:pt x="15115" y="1983"/>
                  </a:cubicBezTo>
                  <a:cubicBezTo>
                    <a:pt x="15103" y="1981"/>
                    <a:pt x="15090" y="1978"/>
                    <a:pt x="15077" y="1976"/>
                  </a:cubicBezTo>
                  <a:cubicBezTo>
                    <a:pt x="15032" y="1968"/>
                    <a:pt x="14987" y="1964"/>
                    <a:pt x="14941" y="1960"/>
                  </a:cubicBezTo>
                  <a:cubicBezTo>
                    <a:pt x="14934" y="1960"/>
                    <a:pt x="14927" y="1960"/>
                    <a:pt x="14920" y="1958"/>
                  </a:cubicBezTo>
                  <a:cubicBezTo>
                    <a:pt x="14881" y="1957"/>
                    <a:pt x="14841" y="1955"/>
                    <a:pt x="14802" y="1953"/>
                  </a:cubicBezTo>
                  <a:cubicBezTo>
                    <a:pt x="14787" y="1953"/>
                    <a:pt x="14771" y="1953"/>
                    <a:pt x="14756" y="1953"/>
                  </a:cubicBezTo>
                  <a:cubicBezTo>
                    <a:pt x="14724" y="1953"/>
                    <a:pt x="14692" y="1955"/>
                    <a:pt x="14660" y="1955"/>
                  </a:cubicBezTo>
                  <a:cubicBezTo>
                    <a:pt x="14644" y="1955"/>
                    <a:pt x="14627" y="1957"/>
                    <a:pt x="14611" y="1958"/>
                  </a:cubicBezTo>
                  <a:cubicBezTo>
                    <a:pt x="14578" y="1960"/>
                    <a:pt x="14544" y="1964"/>
                    <a:pt x="14513" y="1968"/>
                  </a:cubicBezTo>
                  <a:cubicBezTo>
                    <a:pt x="14497" y="1970"/>
                    <a:pt x="14483" y="1972"/>
                    <a:pt x="14468" y="1974"/>
                  </a:cubicBezTo>
                  <a:cubicBezTo>
                    <a:pt x="14421" y="1981"/>
                    <a:pt x="14372" y="1989"/>
                    <a:pt x="14324" y="1999"/>
                  </a:cubicBezTo>
                  <a:cubicBezTo>
                    <a:pt x="14255" y="2014"/>
                    <a:pt x="14186" y="2031"/>
                    <a:pt x="14117" y="2052"/>
                  </a:cubicBezTo>
                  <a:cubicBezTo>
                    <a:pt x="14107" y="2056"/>
                    <a:pt x="14096" y="2058"/>
                    <a:pt x="14086" y="2062"/>
                  </a:cubicBezTo>
                  <a:cubicBezTo>
                    <a:pt x="14021" y="2083"/>
                    <a:pt x="13956" y="2106"/>
                    <a:pt x="13892" y="2132"/>
                  </a:cubicBezTo>
                  <a:cubicBezTo>
                    <a:pt x="13879" y="2138"/>
                    <a:pt x="13868" y="2142"/>
                    <a:pt x="13855" y="2148"/>
                  </a:cubicBezTo>
                  <a:cubicBezTo>
                    <a:pt x="13791" y="2174"/>
                    <a:pt x="13727" y="2205"/>
                    <a:pt x="13664" y="2237"/>
                  </a:cubicBezTo>
                  <a:cubicBezTo>
                    <a:pt x="13655" y="2241"/>
                    <a:pt x="13647" y="2247"/>
                    <a:pt x="13638" y="2251"/>
                  </a:cubicBezTo>
                  <a:cubicBezTo>
                    <a:pt x="13576" y="2285"/>
                    <a:pt x="13513" y="2320"/>
                    <a:pt x="13452" y="2360"/>
                  </a:cubicBezTo>
                  <a:cubicBezTo>
                    <a:pt x="13447" y="2362"/>
                    <a:pt x="13443" y="2365"/>
                    <a:pt x="13438" y="2367"/>
                  </a:cubicBezTo>
                  <a:cubicBezTo>
                    <a:pt x="13395" y="2394"/>
                    <a:pt x="13353" y="2423"/>
                    <a:pt x="13311" y="2453"/>
                  </a:cubicBezTo>
                  <a:cubicBezTo>
                    <a:pt x="13294" y="2465"/>
                    <a:pt x="13276" y="2478"/>
                    <a:pt x="13260" y="2491"/>
                  </a:cubicBezTo>
                  <a:cubicBezTo>
                    <a:pt x="13243" y="2503"/>
                    <a:pt x="13227" y="2516"/>
                    <a:pt x="13210" y="2530"/>
                  </a:cubicBezTo>
                  <a:cubicBezTo>
                    <a:pt x="13154" y="2572"/>
                    <a:pt x="13099" y="2616"/>
                    <a:pt x="13044" y="2663"/>
                  </a:cubicBezTo>
                  <a:cubicBezTo>
                    <a:pt x="12747" y="2134"/>
                    <a:pt x="12393" y="1699"/>
                    <a:pt x="11993" y="1376"/>
                  </a:cubicBezTo>
                  <a:cubicBezTo>
                    <a:pt x="11997" y="1379"/>
                    <a:pt x="12001" y="1381"/>
                    <a:pt x="12004" y="1385"/>
                  </a:cubicBezTo>
                  <a:lnTo>
                    <a:pt x="11111" y="657"/>
                  </a:lnTo>
                  <a:cubicBezTo>
                    <a:pt x="11069" y="623"/>
                    <a:pt x="11026" y="590"/>
                    <a:pt x="10982" y="558"/>
                  </a:cubicBezTo>
                  <a:cubicBezTo>
                    <a:pt x="10982" y="558"/>
                    <a:pt x="10981" y="556"/>
                    <a:pt x="10981" y="556"/>
                  </a:cubicBezTo>
                  <a:cubicBezTo>
                    <a:pt x="10977" y="554"/>
                    <a:pt x="10973" y="550"/>
                    <a:pt x="10970" y="548"/>
                  </a:cubicBezTo>
                  <a:cubicBezTo>
                    <a:pt x="10925" y="516"/>
                    <a:pt x="10879" y="485"/>
                    <a:pt x="10833" y="455"/>
                  </a:cubicBezTo>
                  <a:cubicBezTo>
                    <a:pt x="10818" y="445"/>
                    <a:pt x="10801" y="434"/>
                    <a:pt x="10785" y="424"/>
                  </a:cubicBezTo>
                  <a:cubicBezTo>
                    <a:pt x="10749" y="401"/>
                    <a:pt x="10713" y="380"/>
                    <a:pt x="10678" y="359"/>
                  </a:cubicBezTo>
                  <a:cubicBezTo>
                    <a:pt x="10660" y="350"/>
                    <a:pt x="10642" y="340"/>
                    <a:pt x="10626" y="331"/>
                  </a:cubicBezTo>
                  <a:cubicBezTo>
                    <a:pt x="10587" y="310"/>
                    <a:pt x="10549" y="290"/>
                    <a:pt x="10511" y="271"/>
                  </a:cubicBezTo>
                  <a:cubicBezTo>
                    <a:pt x="10497" y="264"/>
                    <a:pt x="10482" y="256"/>
                    <a:pt x="10468" y="250"/>
                  </a:cubicBezTo>
                  <a:cubicBezTo>
                    <a:pt x="10415" y="225"/>
                    <a:pt x="10362" y="203"/>
                    <a:pt x="10308" y="182"/>
                  </a:cubicBezTo>
                  <a:cubicBezTo>
                    <a:pt x="10307" y="182"/>
                    <a:pt x="10304" y="180"/>
                    <a:pt x="10303" y="180"/>
                  </a:cubicBezTo>
                  <a:cubicBezTo>
                    <a:pt x="10294" y="176"/>
                    <a:pt x="10285" y="174"/>
                    <a:pt x="10278" y="170"/>
                  </a:cubicBezTo>
                  <a:cubicBezTo>
                    <a:pt x="10234" y="153"/>
                    <a:pt x="10191" y="138"/>
                    <a:pt x="10146" y="124"/>
                  </a:cubicBezTo>
                  <a:cubicBezTo>
                    <a:pt x="10129" y="118"/>
                    <a:pt x="10109" y="113"/>
                    <a:pt x="10092" y="107"/>
                  </a:cubicBezTo>
                  <a:cubicBezTo>
                    <a:pt x="10055" y="96"/>
                    <a:pt x="10018" y="86"/>
                    <a:pt x="9979" y="76"/>
                  </a:cubicBezTo>
                  <a:cubicBezTo>
                    <a:pt x="9960" y="71"/>
                    <a:pt x="9940" y="67"/>
                    <a:pt x="9921" y="63"/>
                  </a:cubicBezTo>
                  <a:cubicBezTo>
                    <a:pt x="9881" y="53"/>
                    <a:pt x="9842" y="48"/>
                    <a:pt x="9802" y="40"/>
                  </a:cubicBezTo>
                  <a:cubicBezTo>
                    <a:pt x="9786" y="36"/>
                    <a:pt x="9769" y="34"/>
                    <a:pt x="9751" y="31"/>
                  </a:cubicBezTo>
                  <a:cubicBezTo>
                    <a:pt x="9695" y="23"/>
                    <a:pt x="9638" y="15"/>
                    <a:pt x="9582" y="10"/>
                  </a:cubicBezTo>
                  <a:cubicBezTo>
                    <a:pt x="9575" y="10"/>
                    <a:pt x="9568" y="10"/>
                    <a:pt x="9561" y="8"/>
                  </a:cubicBezTo>
                  <a:cubicBezTo>
                    <a:pt x="9510" y="4"/>
                    <a:pt x="9461" y="2"/>
                    <a:pt x="9410" y="0"/>
                  </a:cubicBezTo>
                  <a:cubicBezTo>
                    <a:pt x="9391" y="0"/>
                    <a:pt x="9372" y="0"/>
                    <a:pt x="9354" y="0"/>
                  </a:cubicBezTo>
                  <a:cubicBezTo>
                    <a:pt x="9314" y="0"/>
                    <a:pt x="9273" y="2"/>
                    <a:pt x="9233" y="4"/>
                  </a:cubicBezTo>
                  <a:cubicBezTo>
                    <a:pt x="9212" y="6"/>
                    <a:pt x="9192" y="6"/>
                    <a:pt x="9170" y="8"/>
                  </a:cubicBezTo>
                  <a:cubicBezTo>
                    <a:pt x="9129" y="11"/>
                    <a:pt x="9087" y="15"/>
                    <a:pt x="9047" y="21"/>
                  </a:cubicBezTo>
                  <a:cubicBezTo>
                    <a:pt x="9027" y="23"/>
                    <a:pt x="9010" y="25"/>
                    <a:pt x="8991" y="29"/>
                  </a:cubicBezTo>
                  <a:cubicBezTo>
                    <a:pt x="8931" y="36"/>
                    <a:pt x="8871" y="48"/>
                    <a:pt x="8811" y="59"/>
                  </a:cubicBezTo>
                  <a:cubicBezTo>
                    <a:pt x="8745" y="73"/>
                    <a:pt x="8678" y="90"/>
                    <a:pt x="8612" y="109"/>
                  </a:cubicBezTo>
                  <a:cubicBezTo>
                    <a:pt x="8593" y="115"/>
                    <a:pt x="8574" y="120"/>
                    <a:pt x="8555" y="126"/>
                  </a:cubicBezTo>
                  <a:cubicBezTo>
                    <a:pt x="8505" y="141"/>
                    <a:pt x="8455" y="159"/>
                    <a:pt x="8406" y="176"/>
                  </a:cubicBezTo>
                  <a:cubicBezTo>
                    <a:pt x="8388" y="182"/>
                    <a:pt x="8370" y="189"/>
                    <a:pt x="8352" y="195"/>
                  </a:cubicBezTo>
                  <a:cubicBezTo>
                    <a:pt x="8287" y="220"/>
                    <a:pt x="8223" y="246"/>
                    <a:pt x="8160" y="275"/>
                  </a:cubicBezTo>
                  <a:cubicBezTo>
                    <a:pt x="8151" y="279"/>
                    <a:pt x="8142" y="285"/>
                    <a:pt x="8133" y="289"/>
                  </a:cubicBezTo>
                  <a:cubicBezTo>
                    <a:pt x="8077" y="315"/>
                    <a:pt x="8022" y="342"/>
                    <a:pt x="7967" y="371"/>
                  </a:cubicBezTo>
                  <a:cubicBezTo>
                    <a:pt x="7948" y="380"/>
                    <a:pt x="7929" y="392"/>
                    <a:pt x="7910" y="401"/>
                  </a:cubicBezTo>
                  <a:cubicBezTo>
                    <a:pt x="7861" y="428"/>
                    <a:pt x="7813" y="457"/>
                    <a:pt x="7765" y="485"/>
                  </a:cubicBezTo>
                  <a:cubicBezTo>
                    <a:pt x="7749" y="495"/>
                    <a:pt x="7734" y="504"/>
                    <a:pt x="7719" y="512"/>
                  </a:cubicBezTo>
                  <a:cubicBezTo>
                    <a:pt x="7661" y="548"/>
                    <a:pt x="7605" y="585"/>
                    <a:pt x="7549" y="625"/>
                  </a:cubicBezTo>
                  <a:cubicBezTo>
                    <a:pt x="7545" y="627"/>
                    <a:pt x="7541" y="631"/>
                    <a:pt x="7538" y="634"/>
                  </a:cubicBezTo>
                  <a:cubicBezTo>
                    <a:pt x="7516" y="650"/>
                    <a:pt x="7494" y="667"/>
                    <a:pt x="7473" y="682"/>
                  </a:cubicBezTo>
                  <a:cubicBezTo>
                    <a:pt x="7431" y="713"/>
                    <a:pt x="7387" y="745"/>
                    <a:pt x="7347" y="778"/>
                  </a:cubicBezTo>
                  <a:cubicBezTo>
                    <a:pt x="7321" y="797"/>
                    <a:pt x="7297" y="818"/>
                    <a:pt x="7273" y="839"/>
                  </a:cubicBezTo>
                  <a:cubicBezTo>
                    <a:pt x="7234" y="869"/>
                    <a:pt x="7196" y="902"/>
                    <a:pt x="7159" y="934"/>
                  </a:cubicBezTo>
                  <a:cubicBezTo>
                    <a:pt x="7134" y="957"/>
                    <a:pt x="7108" y="980"/>
                    <a:pt x="7083" y="1003"/>
                  </a:cubicBezTo>
                  <a:cubicBezTo>
                    <a:pt x="7047" y="1036"/>
                    <a:pt x="7011" y="1070"/>
                    <a:pt x="6976" y="1104"/>
                  </a:cubicBezTo>
                  <a:cubicBezTo>
                    <a:pt x="6950" y="1129"/>
                    <a:pt x="6925" y="1154"/>
                    <a:pt x="6899" y="1179"/>
                  </a:cubicBezTo>
                  <a:cubicBezTo>
                    <a:pt x="6883" y="1196"/>
                    <a:pt x="6865" y="1211"/>
                    <a:pt x="6848" y="1229"/>
                  </a:cubicBezTo>
                  <a:cubicBezTo>
                    <a:pt x="6827" y="1251"/>
                    <a:pt x="6804" y="1276"/>
                    <a:pt x="6782" y="1299"/>
                  </a:cubicBezTo>
                  <a:cubicBezTo>
                    <a:pt x="6767" y="1315"/>
                    <a:pt x="6751" y="1332"/>
                    <a:pt x="6737" y="1347"/>
                  </a:cubicBezTo>
                  <a:cubicBezTo>
                    <a:pt x="6683" y="1406"/>
                    <a:pt x="6629" y="1467"/>
                    <a:pt x="6576" y="1530"/>
                  </a:cubicBezTo>
                  <a:cubicBezTo>
                    <a:pt x="6569" y="1538"/>
                    <a:pt x="6561" y="1548"/>
                    <a:pt x="6555" y="1555"/>
                  </a:cubicBezTo>
                  <a:cubicBezTo>
                    <a:pt x="6509" y="1611"/>
                    <a:pt x="6463" y="1668"/>
                    <a:pt x="6417" y="1727"/>
                  </a:cubicBezTo>
                  <a:cubicBezTo>
                    <a:pt x="6402" y="1746"/>
                    <a:pt x="6387" y="1767"/>
                    <a:pt x="6372" y="1786"/>
                  </a:cubicBezTo>
                  <a:cubicBezTo>
                    <a:pt x="6356" y="1806"/>
                    <a:pt x="6341" y="1827"/>
                    <a:pt x="6326" y="1846"/>
                  </a:cubicBezTo>
                  <a:cubicBezTo>
                    <a:pt x="6314" y="1861"/>
                    <a:pt x="6303" y="1878"/>
                    <a:pt x="6291" y="1893"/>
                  </a:cubicBezTo>
                  <a:cubicBezTo>
                    <a:pt x="6238" y="1966"/>
                    <a:pt x="6186" y="2041"/>
                    <a:pt x="6135" y="2117"/>
                  </a:cubicBezTo>
                  <a:cubicBezTo>
                    <a:pt x="6118" y="2142"/>
                    <a:pt x="6101" y="2167"/>
                    <a:pt x="6085" y="2192"/>
                  </a:cubicBezTo>
                  <a:cubicBezTo>
                    <a:pt x="6020" y="2291"/>
                    <a:pt x="5956" y="2392"/>
                    <a:pt x="5894" y="2497"/>
                  </a:cubicBezTo>
                  <a:cubicBezTo>
                    <a:pt x="5891" y="2503"/>
                    <a:pt x="5887" y="2507"/>
                    <a:pt x="5885" y="2511"/>
                  </a:cubicBezTo>
                  <a:cubicBezTo>
                    <a:pt x="5875" y="2528"/>
                    <a:pt x="5867" y="2545"/>
                    <a:pt x="5857" y="2560"/>
                  </a:cubicBezTo>
                  <a:cubicBezTo>
                    <a:pt x="5807" y="2646"/>
                    <a:pt x="5759" y="2734"/>
                    <a:pt x="5711" y="2822"/>
                  </a:cubicBezTo>
                  <a:cubicBezTo>
                    <a:pt x="5694" y="2855"/>
                    <a:pt x="5676" y="2889"/>
                    <a:pt x="5659" y="2923"/>
                  </a:cubicBezTo>
                  <a:cubicBezTo>
                    <a:pt x="5613" y="3013"/>
                    <a:pt x="5567" y="3103"/>
                    <a:pt x="5524" y="3195"/>
                  </a:cubicBezTo>
                  <a:cubicBezTo>
                    <a:pt x="5515" y="3214"/>
                    <a:pt x="5506" y="3231"/>
                    <a:pt x="5497" y="3248"/>
                  </a:cubicBezTo>
                  <a:cubicBezTo>
                    <a:pt x="5495" y="3254"/>
                    <a:pt x="5492" y="3260"/>
                    <a:pt x="5490" y="3265"/>
                  </a:cubicBezTo>
                  <a:cubicBezTo>
                    <a:pt x="5434" y="3386"/>
                    <a:pt x="5380" y="3510"/>
                    <a:pt x="5328" y="3634"/>
                  </a:cubicBezTo>
                  <a:cubicBezTo>
                    <a:pt x="5315" y="3665"/>
                    <a:pt x="5302" y="3695"/>
                    <a:pt x="5291" y="3728"/>
                  </a:cubicBezTo>
                  <a:cubicBezTo>
                    <a:pt x="5249" y="3831"/>
                    <a:pt x="5209" y="3936"/>
                    <a:pt x="5170" y="4041"/>
                  </a:cubicBezTo>
                  <a:cubicBezTo>
                    <a:pt x="5162" y="4062"/>
                    <a:pt x="5153" y="4081"/>
                    <a:pt x="5146" y="4102"/>
                  </a:cubicBezTo>
                  <a:cubicBezTo>
                    <a:pt x="5141" y="4117"/>
                    <a:pt x="5135" y="4135"/>
                    <a:pt x="5129" y="4150"/>
                  </a:cubicBezTo>
                  <a:cubicBezTo>
                    <a:pt x="5116" y="4186"/>
                    <a:pt x="5104" y="4223"/>
                    <a:pt x="5092" y="4259"/>
                  </a:cubicBezTo>
                  <a:cubicBezTo>
                    <a:pt x="5070" y="4320"/>
                    <a:pt x="5050" y="4383"/>
                    <a:pt x="5030" y="4446"/>
                  </a:cubicBezTo>
                  <a:cubicBezTo>
                    <a:pt x="5017" y="4484"/>
                    <a:pt x="5005" y="4523"/>
                    <a:pt x="4994" y="4561"/>
                  </a:cubicBezTo>
                  <a:cubicBezTo>
                    <a:pt x="4975" y="4624"/>
                    <a:pt x="4956" y="4687"/>
                    <a:pt x="4937" y="4752"/>
                  </a:cubicBezTo>
                  <a:cubicBezTo>
                    <a:pt x="4926" y="4790"/>
                    <a:pt x="4915" y="4826"/>
                    <a:pt x="4905" y="4865"/>
                  </a:cubicBezTo>
                  <a:cubicBezTo>
                    <a:pt x="4886" y="4935"/>
                    <a:pt x="4867" y="5006"/>
                    <a:pt x="4849" y="5079"/>
                  </a:cubicBezTo>
                  <a:cubicBezTo>
                    <a:pt x="4841" y="5109"/>
                    <a:pt x="4832" y="5140"/>
                    <a:pt x="4824" y="5170"/>
                  </a:cubicBezTo>
                  <a:cubicBezTo>
                    <a:pt x="4823" y="5178"/>
                    <a:pt x="4821" y="5186"/>
                    <a:pt x="4818" y="5193"/>
                  </a:cubicBezTo>
                  <a:cubicBezTo>
                    <a:pt x="4805" y="5245"/>
                    <a:pt x="4794" y="5296"/>
                    <a:pt x="4782" y="5350"/>
                  </a:cubicBezTo>
                  <a:cubicBezTo>
                    <a:pt x="4771" y="5401"/>
                    <a:pt x="4758" y="5453"/>
                    <a:pt x="4747" y="5505"/>
                  </a:cubicBezTo>
                  <a:cubicBezTo>
                    <a:pt x="4734" y="5564"/>
                    <a:pt x="4723" y="5625"/>
                    <a:pt x="4710" y="5686"/>
                  </a:cubicBezTo>
                  <a:cubicBezTo>
                    <a:pt x="4700" y="5738"/>
                    <a:pt x="4688" y="5789"/>
                    <a:pt x="4679" y="5841"/>
                  </a:cubicBezTo>
                  <a:cubicBezTo>
                    <a:pt x="4668" y="5902"/>
                    <a:pt x="4658" y="5965"/>
                    <a:pt x="4647" y="6026"/>
                  </a:cubicBezTo>
                  <a:cubicBezTo>
                    <a:pt x="4638" y="6078"/>
                    <a:pt x="4629" y="6129"/>
                    <a:pt x="4621" y="6181"/>
                  </a:cubicBezTo>
                  <a:cubicBezTo>
                    <a:pt x="4610" y="6244"/>
                    <a:pt x="4603" y="6309"/>
                    <a:pt x="4594" y="6372"/>
                  </a:cubicBezTo>
                  <a:cubicBezTo>
                    <a:pt x="4586" y="6424"/>
                    <a:pt x="4579" y="6475"/>
                    <a:pt x="4572" y="6527"/>
                  </a:cubicBezTo>
                  <a:cubicBezTo>
                    <a:pt x="4564" y="6592"/>
                    <a:pt x="4558" y="6659"/>
                    <a:pt x="4550" y="6726"/>
                  </a:cubicBezTo>
                  <a:cubicBezTo>
                    <a:pt x="4545" y="6775"/>
                    <a:pt x="4539" y="6827"/>
                    <a:pt x="4534" y="6876"/>
                  </a:cubicBezTo>
                  <a:cubicBezTo>
                    <a:pt x="4528" y="6947"/>
                    <a:pt x="4522" y="7018"/>
                    <a:pt x="4517" y="7089"/>
                  </a:cubicBezTo>
                  <a:cubicBezTo>
                    <a:pt x="4513" y="7136"/>
                    <a:pt x="4510" y="7182"/>
                    <a:pt x="4506" y="7230"/>
                  </a:cubicBezTo>
                  <a:cubicBezTo>
                    <a:pt x="4501" y="7310"/>
                    <a:pt x="4498" y="7389"/>
                    <a:pt x="4494" y="7469"/>
                  </a:cubicBezTo>
                  <a:cubicBezTo>
                    <a:pt x="4493" y="7507"/>
                    <a:pt x="4491" y="7547"/>
                    <a:pt x="4489" y="7585"/>
                  </a:cubicBezTo>
                  <a:cubicBezTo>
                    <a:pt x="4485" y="7704"/>
                    <a:pt x="4483" y="7824"/>
                    <a:pt x="4483" y="7943"/>
                  </a:cubicBezTo>
                  <a:cubicBezTo>
                    <a:pt x="4483" y="8166"/>
                    <a:pt x="4489" y="8384"/>
                    <a:pt x="4501" y="8600"/>
                  </a:cubicBezTo>
                  <a:cubicBezTo>
                    <a:pt x="4510" y="8743"/>
                    <a:pt x="4520" y="8885"/>
                    <a:pt x="4534" y="9024"/>
                  </a:cubicBezTo>
                  <a:cubicBezTo>
                    <a:pt x="4540" y="9093"/>
                    <a:pt x="4548" y="9164"/>
                    <a:pt x="4557" y="9232"/>
                  </a:cubicBezTo>
                  <a:cubicBezTo>
                    <a:pt x="4573" y="9370"/>
                    <a:pt x="4593" y="9506"/>
                    <a:pt x="4613" y="9637"/>
                  </a:cubicBezTo>
                  <a:cubicBezTo>
                    <a:pt x="4251" y="9506"/>
                    <a:pt x="3862" y="9473"/>
                    <a:pt x="3456" y="9557"/>
                  </a:cubicBezTo>
                  <a:cubicBezTo>
                    <a:pt x="3402" y="9569"/>
                    <a:pt x="3349" y="9582"/>
                    <a:pt x="3296" y="9597"/>
                  </a:cubicBezTo>
                  <a:cubicBezTo>
                    <a:pt x="3281" y="9601"/>
                    <a:pt x="3266" y="9607"/>
                    <a:pt x="3251" y="9611"/>
                  </a:cubicBezTo>
                  <a:cubicBezTo>
                    <a:pt x="3211" y="9622"/>
                    <a:pt x="3170" y="9635"/>
                    <a:pt x="3131" y="9651"/>
                  </a:cubicBezTo>
                  <a:cubicBezTo>
                    <a:pt x="3117" y="9656"/>
                    <a:pt x="3103" y="9660"/>
                    <a:pt x="3089" y="9666"/>
                  </a:cubicBezTo>
                  <a:cubicBezTo>
                    <a:pt x="3036" y="9685"/>
                    <a:pt x="2985" y="9706"/>
                    <a:pt x="2935" y="9731"/>
                  </a:cubicBezTo>
                  <a:cubicBezTo>
                    <a:pt x="2927" y="9735"/>
                    <a:pt x="2921" y="9739"/>
                    <a:pt x="2913" y="9741"/>
                  </a:cubicBezTo>
                  <a:cubicBezTo>
                    <a:pt x="2868" y="9762"/>
                    <a:pt x="2825" y="9783"/>
                    <a:pt x="2780" y="9807"/>
                  </a:cubicBezTo>
                  <a:cubicBezTo>
                    <a:pt x="2765" y="9815"/>
                    <a:pt x="2750" y="9825"/>
                    <a:pt x="2734" y="9832"/>
                  </a:cubicBezTo>
                  <a:cubicBezTo>
                    <a:pt x="2695" y="9853"/>
                    <a:pt x="2657" y="9876"/>
                    <a:pt x="2618" y="9901"/>
                  </a:cubicBezTo>
                  <a:cubicBezTo>
                    <a:pt x="2607" y="9909"/>
                    <a:pt x="2594" y="9916"/>
                    <a:pt x="2583" y="9924"/>
                  </a:cubicBezTo>
                  <a:cubicBezTo>
                    <a:pt x="2537" y="9953"/>
                    <a:pt x="2492" y="9983"/>
                    <a:pt x="2448" y="10014"/>
                  </a:cubicBezTo>
                  <a:cubicBezTo>
                    <a:pt x="2445" y="10016"/>
                    <a:pt x="2441" y="10018"/>
                    <a:pt x="2439" y="10021"/>
                  </a:cubicBezTo>
                  <a:cubicBezTo>
                    <a:pt x="2421" y="10033"/>
                    <a:pt x="2404" y="10046"/>
                    <a:pt x="2387" y="10060"/>
                  </a:cubicBezTo>
                  <a:cubicBezTo>
                    <a:pt x="2352" y="10084"/>
                    <a:pt x="2319" y="10109"/>
                    <a:pt x="2286" y="10136"/>
                  </a:cubicBezTo>
                  <a:cubicBezTo>
                    <a:pt x="2265" y="10151"/>
                    <a:pt x="2246" y="10169"/>
                    <a:pt x="2226" y="10186"/>
                  </a:cubicBezTo>
                  <a:cubicBezTo>
                    <a:pt x="2195" y="10211"/>
                    <a:pt x="2165" y="10235"/>
                    <a:pt x="2135" y="10262"/>
                  </a:cubicBezTo>
                  <a:cubicBezTo>
                    <a:pt x="2115" y="10279"/>
                    <a:pt x="2095" y="10298"/>
                    <a:pt x="2074" y="10318"/>
                  </a:cubicBezTo>
                  <a:cubicBezTo>
                    <a:pt x="2045" y="10344"/>
                    <a:pt x="2017" y="10371"/>
                    <a:pt x="1989" y="10398"/>
                  </a:cubicBezTo>
                  <a:cubicBezTo>
                    <a:pt x="1968" y="10417"/>
                    <a:pt x="1948" y="10438"/>
                    <a:pt x="1928" y="10459"/>
                  </a:cubicBezTo>
                  <a:cubicBezTo>
                    <a:pt x="1915" y="10472"/>
                    <a:pt x="1901" y="10486"/>
                    <a:pt x="1887" y="10499"/>
                  </a:cubicBezTo>
                  <a:cubicBezTo>
                    <a:pt x="1878" y="10509"/>
                    <a:pt x="1870" y="10518"/>
                    <a:pt x="1861" y="10528"/>
                  </a:cubicBezTo>
                  <a:cubicBezTo>
                    <a:pt x="1803" y="10591"/>
                    <a:pt x="1744" y="10654"/>
                    <a:pt x="1687" y="10721"/>
                  </a:cubicBezTo>
                  <a:cubicBezTo>
                    <a:pt x="1682" y="10726"/>
                    <a:pt x="1675" y="10732"/>
                    <a:pt x="1670" y="10740"/>
                  </a:cubicBezTo>
                  <a:cubicBezTo>
                    <a:pt x="1609" y="10812"/>
                    <a:pt x="1549" y="10889"/>
                    <a:pt x="1491" y="10967"/>
                  </a:cubicBezTo>
                  <a:cubicBezTo>
                    <a:pt x="1484" y="10977"/>
                    <a:pt x="1477" y="10984"/>
                    <a:pt x="1470" y="10992"/>
                  </a:cubicBezTo>
                  <a:cubicBezTo>
                    <a:pt x="1461" y="11005"/>
                    <a:pt x="1452" y="11019"/>
                    <a:pt x="1443" y="11030"/>
                  </a:cubicBezTo>
                  <a:cubicBezTo>
                    <a:pt x="1401" y="11089"/>
                    <a:pt x="1359" y="11149"/>
                    <a:pt x="1319" y="11210"/>
                  </a:cubicBezTo>
                  <a:cubicBezTo>
                    <a:pt x="1306" y="11229"/>
                    <a:pt x="1292" y="11248"/>
                    <a:pt x="1279" y="11269"/>
                  </a:cubicBezTo>
                  <a:cubicBezTo>
                    <a:pt x="1227" y="11349"/>
                    <a:pt x="1176" y="11430"/>
                    <a:pt x="1126" y="11514"/>
                  </a:cubicBezTo>
                  <a:cubicBezTo>
                    <a:pt x="1124" y="11517"/>
                    <a:pt x="1121" y="11521"/>
                    <a:pt x="1120" y="11525"/>
                  </a:cubicBezTo>
                  <a:cubicBezTo>
                    <a:pt x="1112" y="11538"/>
                    <a:pt x="1106" y="11552"/>
                    <a:pt x="1098" y="11565"/>
                  </a:cubicBezTo>
                  <a:cubicBezTo>
                    <a:pt x="1059" y="11634"/>
                    <a:pt x="1019" y="11705"/>
                    <a:pt x="981" y="11775"/>
                  </a:cubicBezTo>
                  <a:cubicBezTo>
                    <a:pt x="967" y="11802"/>
                    <a:pt x="953" y="11829"/>
                    <a:pt x="939" y="11856"/>
                  </a:cubicBezTo>
                  <a:cubicBezTo>
                    <a:pt x="902" y="11926"/>
                    <a:pt x="866" y="11999"/>
                    <a:pt x="830" y="12073"/>
                  </a:cubicBezTo>
                  <a:cubicBezTo>
                    <a:pt x="823" y="12089"/>
                    <a:pt x="816" y="12102"/>
                    <a:pt x="809" y="12117"/>
                  </a:cubicBezTo>
                  <a:cubicBezTo>
                    <a:pt x="806" y="12121"/>
                    <a:pt x="805" y="12127"/>
                    <a:pt x="802" y="12131"/>
                  </a:cubicBezTo>
                  <a:cubicBezTo>
                    <a:pt x="758" y="12228"/>
                    <a:pt x="714" y="12326"/>
                    <a:pt x="672" y="12427"/>
                  </a:cubicBezTo>
                  <a:cubicBezTo>
                    <a:pt x="662" y="12452"/>
                    <a:pt x="652" y="12477"/>
                    <a:pt x="642" y="12501"/>
                  </a:cubicBezTo>
                  <a:cubicBezTo>
                    <a:pt x="609" y="12584"/>
                    <a:pt x="577" y="12668"/>
                    <a:pt x="545" y="12752"/>
                  </a:cubicBezTo>
                  <a:cubicBezTo>
                    <a:pt x="539" y="12769"/>
                    <a:pt x="532" y="12784"/>
                    <a:pt x="526" y="12801"/>
                  </a:cubicBezTo>
                  <a:cubicBezTo>
                    <a:pt x="521" y="12815"/>
                    <a:pt x="517" y="12826"/>
                    <a:pt x="513" y="12840"/>
                  </a:cubicBezTo>
                  <a:cubicBezTo>
                    <a:pt x="503" y="12868"/>
                    <a:pt x="493" y="12897"/>
                    <a:pt x="484" y="12926"/>
                  </a:cubicBezTo>
                  <a:cubicBezTo>
                    <a:pt x="467" y="12975"/>
                    <a:pt x="451" y="13025"/>
                    <a:pt x="434" y="13075"/>
                  </a:cubicBezTo>
                  <a:cubicBezTo>
                    <a:pt x="424" y="13105"/>
                    <a:pt x="415" y="13136"/>
                    <a:pt x="405" y="13166"/>
                  </a:cubicBezTo>
                  <a:cubicBezTo>
                    <a:pt x="389" y="13216"/>
                    <a:pt x="374" y="13268"/>
                    <a:pt x="359" y="13319"/>
                  </a:cubicBezTo>
                  <a:cubicBezTo>
                    <a:pt x="350" y="13350"/>
                    <a:pt x="341" y="13378"/>
                    <a:pt x="333" y="13409"/>
                  </a:cubicBezTo>
                  <a:cubicBezTo>
                    <a:pt x="318" y="13466"/>
                    <a:pt x="303" y="13524"/>
                    <a:pt x="288" y="13581"/>
                  </a:cubicBezTo>
                  <a:cubicBezTo>
                    <a:pt x="281" y="13606"/>
                    <a:pt x="275" y="13631"/>
                    <a:pt x="268" y="13655"/>
                  </a:cubicBezTo>
                  <a:cubicBezTo>
                    <a:pt x="267" y="13661"/>
                    <a:pt x="266" y="13667"/>
                    <a:pt x="263" y="13673"/>
                  </a:cubicBezTo>
                  <a:cubicBezTo>
                    <a:pt x="253" y="13715"/>
                    <a:pt x="244" y="13755"/>
                    <a:pt x="235" y="13797"/>
                  </a:cubicBezTo>
                  <a:cubicBezTo>
                    <a:pt x="226" y="13839"/>
                    <a:pt x="216" y="13879"/>
                    <a:pt x="207" y="13921"/>
                  </a:cubicBezTo>
                  <a:cubicBezTo>
                    <a:pt x="197" y="13969"/>
                    <a:pt x="188" y="14017"/>
                    <a:pt x="178" y="14066"/>
                  </a:cubicBezTo>
                  <a:cubicBezTo>
                    <a:pt x="170" y="14108"/>
                    <a:pt x="161" y="14148"/>
                    <a:pt x="154" y="14190"/>
                  </a:cubicBezTo>
                  <a:cubicBezTo>
                    <a:pt x="145" y="14240"/>
                    <a:pt x="137" y="14288"/>
                    <a:pt x="128" y="14338"/>
                  </a:cubicBezTo>
                  <a:cubicBezTo>
                    <a:pt x="121" y="14380"/>
                    <a:pt x="114" y="14422"/>
                    <a:pt x="108" y="14464"/>
                  </a:cubicBezTo>
                  <a:cubicBezTo>
                    <a:pt x="100" y="14513"/>
                    <a:pt x="94" y="14565"/>
                    <a:pt x="86" y="14615"/>
                  </a:cubicBezTo>
                  <a:cubicBezTo>
                    <a:pt x="81" y="14657"/>
                    <a:pt x="75" y="14699"/>
                    <a:pt x="68" y="14739"/>
                  </a:cubicBezTo>
                  <a:cubicBezTo>
                    <a:pt x="62" y="14790"/>
                    <a:pt x="57" y="14842"/>
                    <a:pt x="52" y="14896"/>
                  </a:cubicBezTo>
                  <a:cubicBezTo>
                    <a:pt x="48" y="14938"/>
                    <a:pt x="43" y="14978"/>
                    <a:pt x="39" y="15018"/>
                  </a:cubicBezTo>
                  <a:cubicBezTo>
                    <a:pt x="34" y="15073"/>
                    <a:pt x="30" y="15129"/>
                    <a:pt x="26" y="15184"/>
                  </a:cubicBezTo>
                  <a:cubicBezTo>
                    <a:pt x="24" y="15222"/>
                    <a:pt x="20" y="15260"/>
                    <a:pt x="17" y="15299"/>
                  </a:cubicBezTo>
                  <a:cubicBezTo>
                    <a:pt x="14" y="15362"/>
                    <a:pt x="11" y="15425"/>
                    <a:pt x="8" y="15490"/>
                  </a:cubicBezTo>
                  <a:cubicBezTo>
                    <a:pt x="7" y="15520"/>
                    <a:pt x="5" y="15553"/>
                    <a:pt x="5" y="15583"/>
                  </a:cubicBezTo>
                  <a:cubicBezTo>
                    <a:pt x="2" y="15679"/>
                    <a:pt x="0" y="15774"/>
                    <a:pt x="0" y="15870"/>
                  </a:cubicBezTo>
                  <a:cubicBezTo>
                    <a:pt x="-3" y="17855"/>
                    <a:pt x="635" y="19464"/>
                    <a:pt x="1599" y="20251"/>
                  </a:cubicBezTo>
                  <a:lnTo>
                    <a:pt x="2492" y="20979"/>
                  </a:lnTo>
                  <a:cubicBezTo>
                    <a:pt x="2482" y="20971"/>
                    <a:pt x="2472" y="20960"/>
                    <a:pt x="2462" y="20952"/>
                  </a:cubicBezTo>
                  <a:cubicBezTo>
                    <a:pt x="3001" y="21405"/>
                    <a:pt x="3643" y="21600"/>
                    <a:pt x="4334" y="21455"/>
                  </a:cubicBezTo>
                  <a:lnTo>
                    <a:pt x="18639" y="18440"/>
                  </a:lnTo>
                  <a:cubicBezTo>
                    <a:pt x="20265" y="18098"/>
                    <a:pt x="21586" y="15687"/>
                    <a:pt x="21589" y="13056"/>
                  </a:cubicBezTo>
                  <a:cubicBezTo>
                    <a:pt x="21597" y="11349"/>
                    <a:pt x="21039" y="9964"/>
                    <a:pt x="20200" y="9301"/>
                  </a:cubicBezTo>
                  <a:close/>
                </a:path>
              </a:pathLst>
            </a:custGeom>
            <a:solidFill>
              <a:schemeClr val="tx2">
                <a:lumMod val="90000"/>
                <a:lumOff val="1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Shape">
              <a:extLst>
                <a:ext uri="{FF2B5EF4-FFF2-40B4-BE49-F238E27FC236}">
                  <a16:creationId xmlns:a16="http://schemas.microsoft.com/office/drawing/2014/main" id="{FE7C2D2E-4C39-4EB8-A97F-0DC611E06085}"/>
                </a:ext>
              </a:extLst>
            </p:cNvPr>
            <p:cNvSpPr/>
            <p:nvPr/>
          </p:nvSpPr>
          <p:spPr>
            <a:xfrm>
              <a:off x="15367002" y="2679699"/>
              <a:ext cx="2062609" cy="1381035"/>
            </a:xfrm>
            <a:custGeom>
              <a:avLst/>
              <a:gdLst/>
              <a:ahLst/>
              <a:cxnLst>
                <a:cxn ang="0">
                  <a:pos x="wd2" y="hd2"/>
                </a:cxn>
                <a:cxn ang="5400000">
                  <a:pos x="wd2" y="hd2"/>
                </a:cxn>
                <a:cxn ang="10800000">
                  <a:pos x="wd2" y="hd2"/>
                </a:cxn>
                <a:cxn ang="16200000">
                  <a:pos x="wd2" y="hd2"/>
                </a:cxn>
              </a:cxnLst>
              <a:rect l="0" t="0" r="r" b="b"/>
              <a:pathLst>
                <a:path w="21593" h="20948" extrusionOk="0">
                  <a:moveTo>
                    <a:pt x="9186" y="60"/>
                  </a:moveTo>
                  <a:cubicBezTo>
                    <a:pt x="10933" y="-296"/>
                    <a:pt x="12443" y="954"/>
                    <a:pt x="13187" y="3077"/>
                  </a:cubicBezTo>
                  <a:cubicBezTo>
                    <a:pt x="13705" y="2520"/>
                    <a:pt x="14302" y="2141"/>
                    <a:pt x="14938" y="2012"/>
                  </a:cubicBezTo>
                  <a:cubicBezTo>
                    <a:pt x="16925" y="1607"/>
                    <a:pt x="18533" y="3797"/>
                    <a:pt x="18529" y="6907"/>
                  </a:cubicBezTo>
                  <a:cubicBezTo>
                    <a:pt x="18529" y="7373"/>
                    <a:pt x="18491" y="7833"/>
                    <a:pt x="18422" y="8280"/>
                  </a:cubicBezTo>
                  <a:cubicBezTo>
                    <a:pt x="18458" y="8270"/>
                    <a:pt x="18493" y="8261"/>
                    <a:pt x="18527" y="8253"/>
                  </a:cubicBezTo>
                  <a:cubicBezTo>
                    <a:pt x="20224" y="7908"/>
                    <a:pt x="21596" y="9779"/>
                    <a:pt x="21593" y="12431"/>
                  </a:cubicBezTo>
                  <a:cubicBezTo>
                    <a:pt x="21589" y="15084"/>
                    <a:pt x="20212" y="17515"/>
                    <a:pt x="18515" y="17860"/>
                  </a:cubicBezTo>
                  <a:lnTo>
                    <a:pt x="3591" y="20899"/>
                  </a:lnTo>
                  <a:cubicBezTo>
                    <a:pt x="1605" y="21304"/>
                    <a:pt x="-4" y="19112"/>
                    <a:pt x="0" y="16005"/>
                  </a:cubicBezTo>
                  <a:cubicBezTo>
                    <a:pt x="4" y="12897"/>
                    <a:pt x="1618" y="10048"/>
                    <a:pt x="3606" y="9644"/>
                  </a:cubicBezTo>
                  <a:cubicBezTo>
                    <a:pt x="4030" y="9557"/>
                    <a:pt x="4435" y="9590"/>
                    <a:pt x="4813" y="9725"/>
                  </a:cubicBezTo>
                  <a:cubicBezTo>
                    <a:pt x="4724" y="9187"/>
                    <a:pt x="4676" y="8615"/>
                    <a:pt x="4676" y="8018"/>
                  </a:cubicBezTo>
                  <a:cubicBezTo>
                    <a:pt x="4681" y="4129"/>
                    <a:pt x="6701" y="567"/>
                    <a:pt x="9186" y="60"/>
                  </a:cubicBezTo>
                  <a:close/>
                </a:path>
              </a:pathLst>
            </a:custGeom>
            <a:solidFill>
              <a:schemeClr val="accent3">
                <a:lumMod val="5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Shape">
              <a:extLst>
                <a:ext uri="{FF2B5EF4-FFF2-40B4-BE49-F238E27FC236}">
                  <a16:creationId xmlns:a16="http://schemas.microsoft.com/office/drawing/2014/main" id="{F6B2CCB2-DF37-49BC-8CDC-BCF06F6D6015}"/>
                </a:ext>
              </a:extLst>
            </p:cNvPr>
            <p:cNvSpPr/>
            <p:nvPr/>
          </p:nvSpPr>
          <p:spPr>
            <a:xfrm>
              <a:off x="15608303" y="2943789"/>
              <a:ext cx="1857378" cy="1232105"/>
            </a:xfrm>
            <a:custGeom>
              <a:avLst/>
              <a:gdLst/>
              <a:ahLst/>
              <a:cxnLst>
                <a:cxn ang="0">
                  <a:pos x="wd2" y="hd2"/>
                </a:cxn>
                <a:cxn ang="5400000">
                  <a:pos x="wd2" y="hd2"/>
                </a:cxn>
                <a:cxn ang="10800000">
                  <a:pos x="wd2" y="hd2"/>
                </a:cxn>
                <a:cxn ang="16200000">
                  <a:pos x="wd2" y="hd2"/>
                </a:cxn>
              </a:cxnLst>
              <a:rect l="0" t="0" r="r" b="b"/>
              <a:pathLst>
                <a:path w="21597" h="21502" extrusionOk="0">
                  <a:moveTo>
                    <a:pt x="20214" y="9382"/>
                  </a:moveTo>
                  <a:cubicBezTo>
                    <a:pt x="20219" y="9386"/>
                    <a:pt x="20225" y="9390"/>
                    <a:pt x="20231" y="9395"/>
                  </a:cubicBezTo>
                  <a:lnTo>
                    <a:pt x="20231" y="9395"/>
                  </a:lnTo>
                  <a:cubicBezTo>
                    <a:pt x="20231" y="9395"/>
                    <a:pt x="20231" y="9395"/>
                    <a:pt x="20231" y="9395"/>
                  </a:cubicBezTo>
                  <a:lnTo>
                    <a:pt x="19196" y="8550"/>
                  </a:lnTo>
                  <a:cubicBezTo>
                    <a:pt x="19167" y="8526"/>
                    <a:pt x="19137" y="8504"/>
                    <a:pt x="19107" y="8482"/>
                  </a:cubicBezTo>
                  <a:cubicBezTo>
                    <a:pt x="19087" y="8466"/>
                    <a:pt x="19065" y="8451"/>
                    <a:pt x="19043" y="8437"/>
                  </a:cubicBezTo>
                  <a:cubicBezTo>
                    <a:pt x="19032" y="8431"/>
                    <a:pt x="19023" y="8424"/>
                    <a:pt x="19013" y="8417"/>
                  </a:cubicBezTo>
                  <a:cubicBezTo>
                    <a:pt x="18961" y="8384"/>
                    <a:pt x="18910" y="8353"/>
                    <a:pt x="18856" y="8324"/>
                  </a:cubicBezTo>
                  <a:cubicBezTo>
                    <a:pt x="18845" y="8318"/>
                    <a:pt x="18833" y="8313"/>
                    <a:pt x="18822" y="8307"/>
                  </a:cubicBezTo>
                  <a:cubicBezTo>
                    <a:pt x="18772" y="8280"/>
                    <a:pt x="18721" y="8258"/>
                    <a:pt x="18669" y="8236"/>
                  </a:cubicBezTo>
                  <a:cubicBezTo>
                    <a:pt x="18663" y="8234"/>
                    <a:pt x="18659" y="8231"/>
                    <a:pt x="18653" y="8229"/>
                  </a:cubicBezTo>
                  <a:cubicBezTo>
                    <a:pt x="18653" y="8229"/>
                    <a:pt x="18653" y="8229"/>
                    <a:pt x="18651" y="8229"/>
                  </a:cubicBezTo>
                  <a:cubicBezTo>
                    <a:pt x="18663" y="8043"/>
                    <a:pt x="18670" y="7855"/>
                    <a:pt x="18670" y="7666"/>
                  </a:cubicBezTo>
                  <a:cubicBezTo>
                    <a:pt x="18673" y="5667"/>
                    <a:pt x="18024" y="4054"/>
                    <a:pt x="17046" y="3282"/>
                  </a:cubicBezTo>
                  <a:cubicBezTo>
                    <a:pt x="17058" y="3291"/>
                    <a:pt x="17070" y="3300"/>
                    <a:pt x="17081" y="3309"/>
                  </a:cubicBezTo>
                  <a:lnTo>
                    <a:pt x="16046" y="2465"/>
                  </a:lnTo>
                  <a:cubicBezTo>
                    <a:pt x="16012" y="2438"/>
                    <a:pt x="15978" y="2411"/>
                    <a:pt x="15944" y="2385"/>
                  </a:cubicBezTo>
                  <a:cubicBezTo>
                    <a:pt x="15944" y="2385"/>
                    <a:pt x="15943" y="2385"/>
                    <a:pt x="15943" y="2383"/>
                  </a:cubicBezTo>
                  <a:cubicBezTo>
                    <a:pt x="15938" y="2380"/>
                    <a:pt x="15935" y="2378"/>
                    <a:pt x="15931" y="2374"/>
                  </a:cubicBezTo>
                  <a:cubicBezTo>
                    <a:pt x="15896" y="2349"/>
                    <a:pt x="15862" y="2325"/>
                    <a:pt x="15825" y="2301"/>
                  </a:cubicBezTo>
                  <a:cubicBezTo>
                    <a:pt x="15811" y="2292"/>
                    <a:pt x="15798" y="2285"/>
                    <a:pt x="15786" y="2276"/>
                  </a:cubicBezTo>
                  <a:cubicBezTo>
                    <a:pt x="15758" y="2258"/>
                    <a:pt x="15730" y="2241"/>
                    <a:pt x="15701" y="2225"/>
                  </a:cubicBezTo>
                  <a:cubicBezTo>
                    <a:pt x="15687" y="2216"/>
                    <a:pt x="15673" y="2210"/>
                    <a:pt x="15659" y="2201"/>
                  </a:cubicBezTo>
                  <a:cubicBezTo>
                    <a:pt x="15628" y="2183"/>
                    <a:pt x="15597" y="2168"/>
                    <a:pt x="15566" y="2152"/>
                  </a:cubicBezTo>
                  <a:cubicBezTo>
                    <a:pt x="15556" y="2148"/>
                    <a:pt x="15544" y="2141"/>
                    <a:pt x="15534" y="2136"/>
                  </a:cubicBezTo>
                  <a:cubicBezTo>
                    <a:pt x="15492" y="2117"/>
                    <a:pt x="15450" y="2099"/>
                    <a:pt x="15407" y="2081"/>
                  </a:cubicBezTo>
                  <a:cubicBezTo>
                    <a:pt x="15405" y="2081"/>
                    <a:pt x="15404" y="2079"/>
                    <a:pt x="15402" y="2079"/>
                  </a:cubicBezTo>
                  <a:cubicBezTo>
                    <a:pt x="15395" y="2077"/>
                    <a:pt x="15386" y="2074"/>
                    <a:pt x="15379" y="2070"/>
                  </a:cubicBezTo>
                  <a:cubicBezTo>
                    <a:pt x="15346" y="2057"/>
                    <a:pt x="15312" y="2046"/>
                    <a:pt x="15280" y="2035"/>
                  </a:cubicBezTo>
                  <a:cubicBezTo>
                    <a:pt x="15265" y="2030"/>
                    <a:pt x="15250" y="2026"/>
                    <a:pt x="15236" y="2021"/>
                  </a:cubicBezTo>
                  <a:cubicBezTo>
                    <a:pt x="15206" y="2012"/>
                    <a:pt x="15176" y="2006"/>
                    <a:pt x="15147" y="1997"/>
                  </a:cubicBezTo>
                  <a:cubicBezTo>
                    <a:pt x="15132" y="1992"/>
                    <a:pt x="15116" y="1990"/>
                    <a:pt x="15101" y="1986"/>
                  </a:cubicBezTo>
                  <a:cubicBezTo>
                    <a:pt x="15070" y="1979"/>
                    <a:pt x="15038" y="1972"/>
                    <a:pt x="15005" y="1968"/>
                  </a:cubicBezTo>
                  <a:cubicBezTo>
                    <a:pt x="14992" y="1966"/>
                    <a:pt x="14980" y="1964"/>
                    <a:pt x="14967" y="1961"/>
                  </a:cubicBezTo>
                  <a:cubicBezTo>
                    <a:pt x="14922" y="1955"/>
                    <a:pt x="14877" y="1950"/>
                    <a:pt x="14832" y="1946"/>
                  </a:cubicBezTo>
                  <a:cubicBezTo>
                    <a:pt x="14825" y="1946"/>
                    <a:pt x="14819" y="1946"/>
                    <a:pt x="14812" y="1944"/>
                  </a:cubicBezTo>
                  <a:cubicBezTo>
                    <a:pt x="14773" y="1941"/>
                    <a:pt x="14735" y="1939"/>
                    <a:pt x="14695" y="1939"/>
                  </a:cubicBezTo>
                  <a:cubicBezTo>
                    <a:pt x="14680" y="1939"/>
                    <a:pt x="14664" y="1939"/>
                    <a:pt x="14649" y="1939"/>
                  </a:cubicBezTo>
                  <a:cubicBezTo>
                    <a:pt x="14618" y="1939"/>
                    <a:pt x="14586" y="1941"/>
                    <a:pt x="14555" y="1941"/>
                  </a:cubicBezTo>
                  <a:cubicBezTo>
                    <a:pt x="14538" y="1941"/>
                    <a:pt x="14522" y="1944"/>
                    <a:pt x="14505" y="1944"/>
                  </a:cubicBezTo>
                  <a:cubicBezTo>
                    <a:pt x="14472" y="1946"/>
                    <a:pt x="14440" y="1950"/>
                    <a:pt x="14407" y="1955"/>
                  </a:cubicBezTo>
                  <a:cubicBezTo>
                    <a:pt x="14392" y="1957"/>
                    <a:pt x="14378" y="1959"/>
                    <a:pt x="14363" y="1959"/>
                  </a:cubicBezTo>
                  <a:cubicBezTo>
                    <a:pt x="14315" y="1966"/>
                    <a:pt x="14268" y="1975"/>
                    <a:pt x="14219" y="1984"/>
                  </a:cubicBezTo>
                  <a:cubicBezTo>
                    <a:pt x="14150" y="1999"/>
                    <a:pt x="14082" y="2017"/>
                    <a:pt x="14014" y="2037"/>
                  </a:cubicBezTo>
                  <a:cubicBezTo>
                    <a:pt x="14004" y="2039"/>
                    <a:pt x="13994" y="2043"/>
                    <a:pt x="13983" y="2046"/>
                  </a:cubicBezTo>
                  <a:cubicBezTo>
                    <a:pt x="13918" y="2066"/>
                    <a:pt x="13855" y="2090"/>
                    <a:pt x="13791" y="2117"/>
                  </a:cubicBezTo>
                  <a:cubicBezTo>
                    <a:pt x="13779" y="2121"/>
                    <a:pt x="13766" y="2128"/>
                    <a:pt x="13754" y="2132"/>
                  </a:cubicBezTo>
                  <a:cubicBezTo>
                    <a:pt x="13691" y="2159"/>
                    <a:pt x="13627" y="2190"/>
                    <a:pt x="13565" y="2223"/>
                  </a:cubicBezTo>
                  <a:cubicBezTo>
                    <a:pt x="13556" y="2227"/>
                    <a:pt x="13549" y="2232"/>
                    <a:pt x="13540" y="2236"/>
                  </a:cubicBezTo>
                  <a:cubicBezTo>
                    <a:pt x="13478" y="2269"/>
                    <a:pt x="13416" y="2305"/>
                    <a:pt x="13356" y="2345"/>
                  </a:cubicBezTo>
                  <a:cubicBezTo>
                    <a:pt x="13351" y="2347"/>
                    <a:pt x="13347" y="2351"/>
                    <a:pt x="13342" y="2354"/>
                  </a:cubicBezTo>
                  <a:cubicBezTo>
                    <a:pt x="13299" y="2380"/>
                    <a:pt x="13258" y="2409"/>
                    <a:pt x="13215" y="2438"/>
                  </a:cubicBezTo>
                  <a:cubicBezTo>
                    <a:pt x="13199" y="2449"/>
                    <a:pt x="13181" y="2462"/>
                    <a:pt x="13165" y="2476"/>
                  </a:cubicBezTo>
                  <a:cubicBezTo>
                    <a:pt x="13149" y="2489"/>
                    <a:pt x="13131" y="2500"/>
                    <a:pt x="13115" y="2513"/>
                  </a:cubicBezTo>
                  <a:cubicBezTo>
                    <a:pt x="13078" y="2542"/>
                    <a:pt x="13041" y="2573"/>
                    <a:pt x="13003" y="2604"/>
                  </a:cubicBezTo>
                  <a:cubicBezTo>
                    <a:pt x="12728" y="2152"/>
                    <a:pt x="12408" y="1773"/>
                    <a:pt x="12053" y="1487"/>
                  </a:cubicBezTo>
                  <a:cubicBezTo>
                    <a:pt x="12058" y="1489"/>
                    <a:pt x="12061" y="1494"/>
                    <a:pt x="12065" y="1496"/>
                  </a:cubicBezTo>
                  <a:lnTo>
                    <a:pt x="11030" y="652"/>
                  </a:lnTo>
                  <a:cubicBezTo>
                    <a:pt x="10988" y="618"/>
                    <a:pt x="10946" y="585"/>
                    <a:pt x="10903" y="552"/>
                  </a:cubicBezTo>
                  <a:cubicBezTo>
                    <a:pt x="10903" y="552"/>
                    <a:pt x="10901" y="552"/>
                    <a:pt x="10901" y="550"/>
                  </a:cubicBezTo>
                  <a:cubicBezTo>
                    <a:pt x="10897" y="547"/>
                    <a:pt x="10894" y="545"/>
                    <a:pt x="10889" y="541"/>
                  </a:cubicBezTo>
                  <a:cubicBezTo>
                    <a:pt x="10845" y="508"/>
                    <a:pt x="10799" y="477"/>
                    <a:pt x="10755" y="448"/>
                  </a:cubicBezTo>
                  <a:cubicBezTo>
                    <a:pt x="10739" y="437"/>
                    <a:pt x="10723" y="428"/>
                    <a:pt x="10706" y="417"/>
                  </a:cubicBezTo>
                  <a:cubicBezTo>
                    <a:pt x="10671" y="394"/>
                    <a:pt x="10635" y="372"/>
                    <a:pt x="10600" y="352"/>
                  </a:cubicBezTo>
                  <a:cubicBezTo>
                    <a:pt x="10582" y="341"/>
                    <a:pt x="10565" y="332"/>
                    <a:pt x="10547" y="324"/>
                  </a:cubicBezTo>
                  <a:cubicBezTo>
                    <a:pt x="10508" y="304"/>
                    <a:pt x="10472" y="284"/>
                    <a:pt x="10433" y="266"/>
                  </a:cubicBezTo>
                  <a:cubicBezTo>
                    <a:pt x="10418" y="259"/>
                    <a:pt x="10405" y="250"/>
                    <a:pt x="10390" y="244"/>
                  </a:cubicBezTo>
                  <a:cubicBezTo>
                    <a:pt x="10337" y="219"/>
                    <a:pt x="10286" y="197"/>
                    <a:pt x="10231" y="175"/>
                  </a:cubicBezTo>
                  <a:cubicBezTo>
                    <a:pt x="10229" y="175"/>
                    <a:pt x="10228" y="173"/>
                    <a:pt x="10226" y="173"/>
                  </a:cubicBezTo>
                  <a:cubicBezTo>
                    <a:pt x="10218" y="171"/>
                    <a:pt x="10210" y="166"/>
                    <a:pt x="10201" y="164"/>
                  </a:cubicBezTo>
                  <a:cubicBezTo>
                    <a:pt x="10158" y="148"/>
                    <a:pt x="10114" y="133"/>
                    <a:pt x="10070" y="117"/>
                  </a:cubicBezTo>
                  <a:cubicBezTo>
                    <a:pt x="10052" y="111"/>
                    <a:pt x="10033" y="106"/>
                    <a:pt x="10015" y="102"/>
                  </a:cubicBezTo>
                  <a:cubicBezTo>
                    <a:pt x="9978" y="91"/>
                    <a:pt x="9941" y="82"/>
                    <a:pt x="9903" y="71"/>
                  </a:cubicBezTo>
                  <a:cubicBezTo>
                    <a:pt x="9884" y="66"/>
                    <a:pt x="9865" y="62"/>
                    <a:pt x="9845" y="58"/>
                  </a:cubicBezTo>
                  <a:cubicBezTo>
                    <a:pt x="9806" y="49"/>
                    <a:pt x="9767" y="42"/>
                    <a:pt x="9727" y="35"/>
                  </a:cubicBezTo>
                  <a:cubicBezTo>
                    <a:pt x="9711" y="33"/>
                    <a:pt x="9695" y="29"/>
                    <a:pt x="9677" y="27"/>
                  </a:cubicBezTo>
                  <a:cubicBezTo>
                    <a:pt x="9621" y="18"/>
                    <a:pt x="9565" y="11"/>
                    <a:pt x="9509" y="7"/>
                  </a:cubicBezTo>
                  <a:cubicBezTo>
                    <a:pt x="9503" y="7"/>
                    <a:pt x="9495" y="7"/>
                    <a:pt x="9488" y="7"/>
                  </a:cubicBezTo>
                  <a:cubicBezTo>
                    <a:pt x="9438" y="2"/>
                    <a:pt x="9388" y="0"/>
                    <a:pt x="9336" y="0"/>
                  </a:cubicBezTo>
                  <a:cubicBezTo>
                    <a:pt x="9317" y="0"/>
                    <a:pt x="9298" y="0"/>
                    <a:pt x="9280" y="0"/>
                  </a:cubicBezTo>
                  <a:cubicBezTo>
                    <a:pt x="9240" y="0"/>
                    <a:pt x="9200" y="2"/>
                    <a:pt x="9160" y="4"/>
                  </a:cubicBezTo>
                  <a:cubicBezTo>
                    <a:pt x="9140" y="7"/>
                    <a:pt x="9119" y="7"/>
                    <a:pt x="9098" y="9"/>
                  </a:cubicBezTo>
                  <a:cubicBezTo>
                    <a:pt x="9057" y="11"/>
                    <a:pt x="9017" y="16"/>
                    <a:pt x="8976" y="22"/>
                  </a:cubicBezTo>
                  <a:cubicBezTo>
                    <a:pt x="8956" y="24"/>
                    <a:pt x="8939" y="27"/>
                    <a:pt x="8919" y="29"/>
                  </a:cubicBezTo>
                  <a:cubicBezTo>
                    <a:pt x="8860" y="38"/>
                    <a:pt x="8801" y="47"/>
                    <a:pt x="8741" y="60"/>
                  </a:cubicBezTo>
                  <a:cubicBezTo>
                    <a:pt x="8674" y="73"/>
                    <a:pt x="8608" y="91"/>
                    <a:pt x="8543" y="109"/>
                  </a:cubicBezTo>
                  <a:cubicBezTo>
                    <a:pt x="8524" y="113"/>
                    <a:pt x="8505" y="120"/>
                    <a:pt x="8485" y="126"/>
                  </a:cubicBezTo>
                  <a:cubicBezTo>
                    <a:pt x="8437" y="142"/>
                    <a:pt x="8386" y="157"/>
                    <a:pt x="8338" y="175"/>
                  </a:cubicBezTo>
                  <a:cubicBezTo>
                    <a:pt x="8320" y="182"/>
                    <a:pt x="8302" y="188"/>
                    <a:pt x="8285" y="195"/>
                  </a:cubicBezTo>
                  <a:cubicBezTo>
                    <a:pt x="8221" y="219"/>
                    <a:pt x="8156" y="246"/>
                    <a:pt x="8093" y="275"/>
                  </a:cubicBezTo>
                  <a:cubicBezTo>
                    <a:pt x="8084" y="279"/>
                    <a:pt x="8075" y="284"/>
                    <a:pt x="8066" y="288"/>
                  </a:cubicBezTo>
                  <a:cubicBezTo>
                    <a:pt x="8011" y="315"/>
                    <a:pt x="7955" y="341"/>
                    <a:pt x="7901" y="370"/>
                  </a:cubicBezTo>
                  <a:cubicBezTo>
                    <a:pt x="7881" y="381"/>
                    <a:pt x="7864" y="390"/>
                    <a:pt x="7844" y="401"/>
                  </a:cubicBezTo>
                  <a:cubicBezTo>
                    <a:pt x="7796" y="428"/>
                    <a:pt x="7748" y="457"/>
                    <a:pt x="7700" y="485"/>
                  </a:cubicBezTo>
                  <a:cubicBezTo>
                    <a:pt x="7685" y="494"/>
                    <a:pt x="7669" y="503"/>
                    <a:pt x="7654" y="512"/>
                  </a:cubicBezTo>
                  <a:cubicBezTo>
                    <a:pt x="7598" y="547"/>
                    <a:pt x="7540" y="585"/>
                    <a:pt x="7486" y="625"/>
                  </a:cubicBezTo>
                  <a:cubicBezTo>
                    <a:pt x="7481" y="627"/>
                    <a:pt x="7478" y="632"/>
                    <a:pt x="7474" y="634"/>
                  </a:cubicBezTo>
                  <a:cubicBezTo>
                    <a:pt x="7453" y="649"/>
                    <a:pt x="7431" y="665"/>
                    <a:pt x="7410" y="680"/>
                  </a:cubicBezTo>
                  <a:cubicBezTo>
                    <a:pt x="7367" y="711"/>
                    <a:pt x="7326" y="742"/>
                    <a:pt x="7283" y="776"/>
                  </a:cubicBezTo>
                  <a:cubicBezTo>
                    <a:pt x="7258" y="796"/>
                    <a:pt x="7235" y="816"/>
                    <a:pt x="7209" y="836"/>
                  </a:cubicBezTo>
                  <a:cubicBezTo>
                    <a:pt x="7171" y="867"/>
                    <a:pt x="7134" y="898"/>
                    <a:pt x="7097" y="931"/>
                  </a:cubicBezTo>
                  <a:cubicBezTo>
                    <a:pt x="7072" y="953"/>
                    <a:pt x="7047" y="977"/>
                    <a:pt x="7022" y="1000"/>
                  </a:cubicBezTo>
                  <a:cubicBezTo>
                    <a:pt x="6986" y="1033"/>
                    <a:pt x="6951" y="1066"/>
                    <a:pt x="6916" y="1099"/>
                  </a:cubicBezTo>
                  <a:cubicBezTo>
                    <a:pt x="6890" y="1124"/>
                    <a:pt x="6865" y="1148"/>
                    <a:pt x="6840" y="1175"/>
                  </a:cubicBezTo>
                  <a:cubicBezTo>
                    <a:pt x="6824" y="1192"/>
                    <a:pt x="6806" y="1208"/>
                    <a:pt x="6790" y="1226"/>
                  </a:cubicBezTo>
                  <a:cubicBezTo>
                    <a:pt x="6780" y="1237"/>
                    <a:pt x="6769" y="1250"/>
                    <a:pt x="6758" y="1261"/>
                  </a:cubicBezTo>
                  <a:cubicBezTo>
                    <a:pt x="6684" y="1339"/>
                    <a:pt x="6611" y="1418"/>
                    <a:pt x="6541" y="1503"/>
                  </a:cubicBezTo>
                  <a:cubicBezTo>
                    <a:pt x="6535" y="1509"/>
                    <a:pt x="6527" y="1516"/>
                    <a:pt x="6521" y="1525"/>
                  </a:cubicBezTo>
                  <a:cubicBezTo>
                    <a:pt x="6445" y="1616"/>
                    <a:pt x="6371" y="1711"/>
                    <a:pt x="6297" y="1808"/>
                  </a:cubicBezTo>
                  <a:cubicBezTo>
                    <a:pt x="6288" y="1820"/>
                    <a:pt x="6279" y="1831"/>
                    <a:pt x="6272" y="1842"/>
                  </a:cubicBezTo>
                  <a:cubicBezTo>
                    <a:pt x="6260" y="1857"/>
                    <a:pt x="6250" y="1875"/>
                    <a:pt x="6238" y="1890"/>
                  </a:cubicBezTo>
                  <a:cubicBezTo>
                    <a:pt x="6185" y="1964"/>
                    <a:pt x="6133" y="2037"/>
                    <a:pt x="6083" y="2114"/>
                  </a:cubicBezTo>
                  <a:cubicBezTo>
                    <a:pt x="6066" y="2139"/>
                    <a:pt x="6050" y="2163"/>
                    <a:pt x="6034" y="2187"/>
                  </a:cubicBezTo>
                  <a:cubicBezTo>
                    <a:pt x="5969" y="2287"/>
                    <a:pt x="5906" y="2387"/>
                    <a:pt x="5845" y="2491"/>
                  </a:cubicBezTo>
                  <a:cubicBezTo>
                    <a:pt x="5842" y="2496"/>
                    <a:pt x="5839" y="2500"/>
                    <a:pt x="5836" y="2504"/>
                  </a:cubicBezTo>
                  <a:cubicBezTo>
                    <a:pt x="5827" y="2520"/>
                    <a:pt x="5818" y="2538"/>
                    <a:pt x="5808" y="2555"/>
                  </a:cubicBezTo>
                  <a:cubicBezTo>
                    <a:pt x="5759" y="2640"/>
                    <a:pt x="5711" y="2728"/>
                    <a:pt x="5663" y="2817"/>
                  </a:cubicBezTo>
                  <a:cubicBezTo>
                    <a:pt x="5646" y="2850"/>
                    <a:pt x="5628" y="2883"/>
                    <a:pt x="5612" y="2917"/>
                  </a:cubicBezTo>
                  <a:cubicBezTo>
                    <a:pt x="5566" y="3005"/>
                    <a:pt x="5522" y="3096"/>
                    <a:pt x="5477" y="3187"/>
                  </a:cubicBezTo>
                  <a:cubicBezTo>
                    <a:pt x="5468" y="3205"/>
                    <a:pt x="5460" y="3222"/>
                    <a:pt x="5451" y="3240"/>
                  </a:cubicBezTo>
                  <a:cubicBezTo>
                    <a:pt x="5448" y="3247"/>
                    <a:pt x="5446" y="3251"/>
                    <a:pt x="5443" y="3258"/>
                  </a:cubicBezTo>
                  <a:cubicBezTo>
                    <a:pt x="5387" y="3378"/>
                    <a:pt x="5334" y="3502"/>
                    <a:pt x="5282" y="3626"/>
                  </a:cubicBezTo>
                  <a:cubicBezTo>
                    <a:pt x="5269" y="3657"/>
                    <a:pt x="5257" y="3688"/>
                    <a:pt x="5245" y="3719"/>
                  </a:cubicBezTo>
                  <a:cubicBezTo>
                    <a:pt x="5204" y="3821"/>
                    <a:pt x="5164" y="3925"/>
                    <a:pt x="5126" y="4031"/>
                  </a:cubicBezTo>
                  <a:cubicBezTo>
                    <a:pt x="5118" y="4051"/>
                    <a:pt x="5110" y="4071"/>
                    <a:pt x="5102" y="4091"/>
                  </a:cubicBezTo>
                  <a:cubicBezTo>
                    <a:pt x="5096" y="4107"/>
                    <a:pt x="5092" y="4122"/>
                    <a:pt x="5086" y="4138"/>
                  </a:cubicBezTo>
                  <a:cubicBezTo>
                    <a:pt x="5073" y="4173"/>
                    <a:pt x="5061" y="4209"/>
                    <a:pt x="5049" y="4244"/>
                  </a:cubicBezTo>
                  <a:cubicBezTo>
                    <a:pt x="5028" y="4306"/>
                    <a:pt x="5008" y="4368"/>
                    <a:pt x="4987" y="4430"/>
                  </a:cubicBezTo>
                  <a:cubicBezTo>
                    <a:pt x="4975" y="4468"/>
                    <a:pt x="4963" y="4506"/>
                    <a:pt x="4952" y="4543"/>
                  </a:cubicBezTo>
                  <a:cubicBezTo>
                    <a:pt x="4932" y="4605"/>
                    <a:pt x="4913" y="4670"/>
                    <a:pt x="4895" y="4732"/>
                  </a:cubicBezTo>
                  <a:cubicBezTo>
                    <a:pt x="4885" y="4769"/>
                    <a:pt x="4873" y="4805"/>
                    <a:pt x="4863" y="4843"/>
                  </a:cubicBezTo>
                  <a:cubicBezTo>
                    <a:pt x="4844" y="4914"/>
                    <a:pt x="4825" y="4984"/>
                    <a:pt x="4807" y="5055"/>
                  </a:cubicBezTo>
                  <a:cubicBezTo>
                    <a:pt x="4799" y="5086"/>
                    <a:pt x="4791" y="5117"/>
                    <a:pt x="4783" y="5148"/>
                  </a:cubicBezTo>
                  <a:cubicBezTo>
                    <a:pt x="4782" y="5155"/>
                    <a:pt x="4779" y="5164"/>
                    <a:pt x="4777" y="5171"/>
                  </a:cubicBezTo>
                  <a:cubicBezTo>
                    <a:pt x="4765" y="5222"/>
                    <a:pt x="4754" y="5273"/>
                    <a:pt x="4742" y="5326"/>
                  </a:cubicBezTo>
                  <a:cubicBezTo>
                    <a:pt x="4730" y="5377"/>
                    <a:pt x="4718" y="5428"/>
                    <a:pt x="4706" y="5481"/>
                  </a:cubicBezTo>
                  <a:cubicBezTo>
                    <a:pt x="4693" y="5541"/>
                    <a:pt x="4683" y="5601"/>
                    <a:pt x="4671" y="5660"/>
                  </a:cubicBezTo>
                  <a:cubicBezTo>
                    <a:pt x="4661" y="5711"/>
                    <a:pt x="4650" y="5762"/>
                    <a:pt x="4640" y="5816"/>
                  </a:cubicBezTo>
                  <a:cubicBezTo>
                    <a:pt x="4628" y="5878"/>
                    <a:pt x="4619" y="5937"/>
                    <a:pt x="4609" y="6000"/>
                  </a:cubicBezTo>
                  <a:cubicBezTo>
                    <a:pt x="4600" y="6050"/>
                    <a:pt x="4591" y="6101"/>
                    <a:pt x="4582" y="6155"/>
                  </a:cubicBezTo>
                  <a:cubicBezTo>
                    <a:pt x="4572" y="6217"/>
                    <a:pt x="4565" y="6281"/>
                    <a:pt x="4556" y="6343"/>
                  </a:cubicBezTo>
                  <a:cubicBezTo>
                    <a:pt x="4548" y="6394"/>
                    <a:pt x="4541" y="6445"/>
                    <a:pt x="4535" y="6498"/>
                  </a:cubicBezTo>
                  <a:cubicBezTo>
                    <a:pt x="4528" y="6562"/>
                    <a:pt x="4520" y="6629"/>
                    <a:pt x="4514" y="6693"/>
                  </a:cubicBezTo>
                  <a:cubicBezTo>
                    <a:pt x="4508" y="6744"/>
                    <a:pt x="4503" y="6795"/>
                    <a:pt x="4498" y="6844"/>
                  </a:cubicBezTo>
                  <a:cubicBezTo>
                    <a:pt x="4492" y="6913"/>
                    <a:pt x="4488" y="6981"/>
                    <a:pt x="4482" y="7050"/>
                  </a:cubicBezTo>
                  <a:cubicBezTo>
                    <a:pt x="4479" y="7099"/>
                    <a:pt x="4473" y="7148"/>
                    <a:pt x="4470" y="7196"/>
                  </a:cubicBezTo>
                  <a:cubicBezTo>
                    <a:pt x="4466" y="7272"/>
                    <a:pt x="4463" y="7349"/>
                    <a:pt x="4460" y="7427"/>
                  </a:cubicBezTo>
                  <a:cubicBezTo>
                    <a:pt x="4458" y="7469"/>
                    <a:pt x="4455" y="7509"/>
                    <a:pt x="4454" y="7551"/>
                  </a:cubicBezTo>
                  <a:cubicBezTo>
                    <a:pt x="4449" y="7668"/>
                    <a:pt x="4448" y="7788"/>
                    <a:pt x="4448" y="7906"/>
                  </a:cubicBezTo>
                  <a:cubicBezTo>
                    <a:pt x="4446" y="8497"/>
                    <a:pt x="4492" y="9062"/>
                    <a:pt x="4578" y="9590"/>
                  </a:cubicBezTo>
                  <a:cubicBezTo>
                    <a:pt x="4219" y="9459"/>
                    <a:pt x="3832" y="9426"/>
                    <a:pt x="3429" y="9512"/>
                  </a:cubicBezTo>
                  <a:cubicBezTo>
                    <a:pt x="3376" y="9523"/>
                    <a:pt x="3323" y="9537"/>
                    <a:pt x="3271" y="9552"/>
                  </a:cubicBezTo>
                  <a:cubicBezTo>
                    <a:pt x="3256" y="9557"/>
                    <a:pt x="3241" y="9561"/>
                    <a:pt x="3225" y="9566"/>
                  </a:cubicBezTo>
                  <a:cubicBezTo>
                    <a:pt x="3185" y="9577"/>
                    <a:pt x="3145" y="9590"/>
                    <a:pt x="3107" y="9605"/>
                  </a:cubicBezTo>
                  <a:cubicBezTo>
                    <a:pt x="3092" y="9610"/>
                    <a:pt x="3079" y="9616"/>
                    <a:pt x="3064" y="9621"/>
                  </a:cubicBezTo>
                  <a:cubicBezTo>
                    <a:pt x="3013" y="9641"/>
                    <a:pt x="2962" y="9661"/>
                    <a:pt x="2911" y="9685"/>
                  </a:cubicBezTo>
                  <a:cubicBezTo>
                    <a:pt x="2903" y="9687"/>
                    <a:pt x="2897" y="9692"/>
                    <a:pt x="2890" y="9696"/>
                  </a:cubicBezTo>
                  <a:cubicBezTo>
                    <a:pt x="2846" y="9716"/>
                    <a:pt x="2801" y="9738"/>
                    <a:pt x="2759" y="9763"/>
                  </a:cubicBezTo>
                  <a:cubicBezTo>
                    <a:pt x="2744" y="9772"/>
                    <a:pt x="2729" y="9778"/>
                    <a:pt x="2714" y="9787"/>
                  </a:cubicBezTo>
                  <a:cubicBezTo>
                    <a:pt x="2676" y="9809"/>
                    <a:pt x="2637" y="9831"/>
                    <a:pt x="2599" y="9854"/>
                  </a:cubicBezTo>
                  <a:cubicBezTo>
                    <a:pt x="2587" y="9860"/>
                    <a:pt x="2575" y="9869"/>
                    <a:pt x="2564" y="9876"/>
                  </a:cubicBezTo>
                  <a:cubicBezTo>
                    <a:pt x="2518" y="9905"/>
                    <a:pt x="2474" y="9933"/>
                    <a:pt x="2429" y="9967"/>
                  </a:cubicBezTo>
                  <a:cubicBezTo>
                    <a:pt x="2426" y="9969"/>
                    <a:pt x="2423" y="9971"/>
                    <a:pt x="2420" y="9973"/>
                  </a:cubicBezTo>
                  <a:cubicBezTo>
                    <a:pt x="2403" y="9984"/>
                    <a:pt x="2386" y="9998"/>
                    <a:pt x="2369" y="10011"/>
                  </a:cubicBezTo>
                  <a:cubicBezTo>
                    <a:pt x="2335" y="10035"/>
                    <a:pt x="2301" y="10062"/>
                    <a:pt x="2268" y="10089"/>
                  </a:cubicBezTo>
                  <a:cubicBezTo>
                    <a:pt x="2249" y="10104"/>
                    <a:pt x="2228" y="10122"/>
                    <a:pt x="2209" y="10137"/>
                  </a:cubicBezTo>
                  <a:cubicBezTo>
                    <a:pt x="2180" y="10162"/>
                    <a:pt x="2149" y="10188"/>
                    <a:pt x="2119" y="10215"/>
                  </a:cubicBezTo>
                  <a:cubicBezTo>
                    <a:pt x="2098" y="10233"/>
                    <a:pt x="2079" y="10253"/>
                    <a:pt x="2059" y="10270"/>
                  </a:cubicBezTo>
                  <a:cubicBezTo>
                    <a:pt x="2031" y="10297"/>
                    <a:pt x="2001" y="10323"/>
                    <a:pt x="1973" y="10350"/>
                  </a:cubicBezTo>
                  <a:cubicBezTo>
                    <a:pt x="1952" y="10370"/>
                    <a:pt x="1933" y="10390"/>
                    <a:pt x="1912" y="10410"/>
                  </a:cubicBezTo>
                  <a:cubicBezTo>
                    <a:pt x="1899" y="10423"/>
                    <a:pt x="1886" y="10437"/>
                    <a:pt x="1872" y="10450"/>
                  </a:cubicBezTo>
                  <a:cubicBezTo>
                    <a:pt x="1864" y="10459"/>
                    <a:pt x="1856" y="10470"/>
                    <a:pt x="1847" y="10479"/>
                  </a:cubicBezTo>
                  <a:cubicBezTo>
                    <a:pt x="1788" y="10541"/>
                    <a:pt x="1731" y="10605"/>
                    <a:pt x="1673" y="10671"/>
                  </a:cubicBezTo>
                  <a:cubicBezTo>
                    <a:pt x="1669" y="10678"/>
                    <a:pt x="1663" y="10683"/>
                    <a:pt x="1658" y="10689"/>
                  </a:cubicBezTo>
                  <a:cubicBezTo>
                    <a:pt x="1598" y="10762"/>
                    <a:pt x="1537" y="10838"/>
                    <a:pt x="1480" y="10915"/>
                  </a:cubicBezTo>
                  <a:cubicBezTo>
                    <a:pt x="1474" y="10924"/>
                    <a:pt x="1466" y="10933"/>
                    <a:pt x="1459" y="10942"/>
                  </a:cubicBezTo>
                  <a:cubicBezTo>
                    <a:pt x="1450" y="10955"/>
                    <a:pt x="1441" y="10968"/>
                    <a:pt x="1432" y="10980"/>
                  </a:cubicBezTo>
                  <a:cubicBezTo>
                    <a:pt x="1390" y="11037"/>
                    <a:pt x="1348" y="11097"/>
                    <a:pt x="1308" y="11157"/>
                  </a:cubicBezTo>
                  <a:cubicBezTo>
                    <a:pt x="1295" y="11177"/>
                    <a:pt x="1282" y="11194"/>
                    <a:pt x="1268" y="11214"/>
                  </a:cubicBezTo>
                  <a:cubicBezTo>
                    <a:pt x="1217" y="11294"/>
                    <a:pt x="1167" y="11374"/>
                    <a:pt x="1116" y="11458"/>
                  </a:cubicBezTo>
                  <a:cubicBezTo>
                    <a:pt x="1113" y="11463"/>
                    <a:pt x="1112" y="11465"/>
                    <a:pt x="1109" y="11469"/>
                  </a:cubicBezTo>
                  <a:cubicBezTo>
                    <a:pt x="1102" y="11483"/>
                    <a:pt x="1094" y="11496"/>
                    <a:pt x="1087" y="11509"/>
                  </a:cubicBezTo>
                  <a:cubicBezTo>
                    <a:pt x="1047" y="11578"/>
                    <a:pt x="1009" y="11647"/>
                    <a:pt x="970" y="11718"/>
                  </a:cubicBezTo>
                  <a:cubicBezTo>
                    <a:pt x="955" y="11744"/>
                    <a:pt x="942" y="11771"/>
                    <a:pt x="929" y="11797"/>
                  </a:cubicBezTo>
                  <a:cubicBezTo>
                    <a:pt x="892" y="11868"/>
                    <a:pt x="856" y="11941"/>
                    <a:pt x="821" y="12015"/>
                  </a:cubicBezTo>
                  <a:cubicBezTo>
                    <a:pt x="814" y="12030"/>
                    <a:pt x="806" y="12043"/>
                    <a:pt x="800" y="12057"/>
                  </a:cubicBezTo>
                  <a:cubicBezTo>
                    <a:pt x="799" y="12061"/>
                    <a:pt x="796" y="12065"/>
                    <a:pt x="794" y="12070"/>
                  </a:cubicBezTo>
                  <a:cubicBezTo>
                    <a:pt x="750" y="12165"/>
                    <a:pt x="707" y="12265"/>
                    <a:pt x="666" y="12362"/>
                  </a:cubicBezTo>
                  <a:cubicBezTo>
                    <a:pt x="656" y="12387"/>
                    <a:pt x="645" y="12411"/>
                    <a:pt x="636" y="12436"/>
                  </a:cubicBezTo>
                  <a:cubicBezTo>
                    <a:pt x="604" y="12518"/>
                    <a:pt x="571" y="12600"/>
                    <a:pt x="540" y="12684"/>
                  </a:cubicBezTo>
                  <a:cubicBezTo>
                    <a:pt x="535" y="12699"/>
                    <a:pt x="527" y="12717"/>
                    <a:pt x="521" y="12733"/>
                  </a:cubicBezTo>
                  <a:cubicBezTo>
                    <a:pt x="517" y="12746"/>
                    <a:pt x="512" y="12759"/>
                    <a:pt x="508" y="12770"/>
                  </a:cubicBezTo>
                  <a:cubicBezTo>
                    <a:pt x="498" y="12799"/>
                    <a:pt x="489" y="12828"/>
                    <a:pt x="478" y="12857"/>
                  </a:cubicBezTo>
                  <a:cubicBezTo>
                    <a:pt x="462" y="12905"/>
                    <a:pt x="444" y="12956"/>
                    <a:pt x="430" y="13005"/>
                  </a:cubicBezTo>
                  <a:cubicBezTo>
                    <a:pt x="419" y="13036"/>
                    <a:pt x="411" y="13065"/>
                    <a:pt x="402" y="13096"/>
                  </a:cubicBezTo>
                  <a:cubicBezTo>
                    <a:pt x="387" y="13147"/>
                    <a:pt x="371" y="13196"/>
                    <a:pt x="356" y="13247"/>
                  </a:cubicBezTo>
                  <a:cubicBezTo>
                    <a:pt x="347" y="13276"/>
                    <a:pt x="338" y="13307"/>
                    <a:pt x="331" y="13335"/>
                  </a:cubicBezTo>
                  <a:cubicBezTo>
                    <a:pt x="315" y="13391"/>
                    <a:pt x="300" y="13448"/>
                    <a:pt x="286" y="13506"/>
                  </a:cubicBezTo>
                  <a:cubicBezTo>
                    <a:pt x="281" y="13530"/>
                    <a:pt x="273" y="13555"/>
                    <a:pt x="267" y="13579"/>
                  </a:cubicBezTo>
                  <a:cubicBezTo>
                    <a:pt x="266" y="13586"/>
                    <a:pt x="264" y="13590"/>
                    <a:pt x="263" y="13597"/>
                  </a:cubicBezTo>
                  <a:cubicBezTo>
                    <a:pt x="252" y="13637"/>
                    <a:pt x="244" y="13679"/>
                    <a:pt x="235" y="13721"/>
                  </a:cubicBezTo>
                  <a:cubicBezTo>
                    <a:pt x="226" y="13763"/>
                    <a:pt x="216" y="13803"/>
                    <a:pt x="207" y="13845"/>
                  </a:cubicBezTo>
                  <a:cubicBezTo>
                    <a:pt x="196" y="13892"/>
                    <a:pt x="188" y="13940"/>
                    <a:pt x="179" y="13987"/>
                  </a:cubicBezTo>
                  <a:cubicBezTo>
                    <a:pt x="170" y="14029"/>
                    <a:pt x="162" y="14069"/>
                    <a:pt x="154" y="14111"/>
                  </a:cubicBezTo>
                  <a:cubicBezTo>
                    <a:pt x="145" y="14160"/>
                    <a:pt x="137" y="14209"/>
                    <a:pt x="128" y="14257"/>
                  </a:cubicBezTo>
                  <a:cubicBezTo>
                    <a:pt x="121" y="14300"/>
                    <a:pt x="114" y="14339"/>
                    <a:pt x="108" y="14382"/>
                  </a:cubicBezTo>
                  <a:cubicBezTo>
                    <a:pt x="100" y="14432"/>
                    <a:pt x="93" y="14483"/>
                    <a:pt x="87" y="14534"/>
                  </a:cubicBezTo>
                  <a:cubicBezTo>
                    <a:pt x="81" y="14574"/>
                    <a:pt x="75" y="14616"/>
                    <a:pt x="71" y="14656"/>
                  </a:cubicBezTo>
                  <a:cubicBezTo>
                    <a:pt x="65" y="14710"/>
                    <a:pt x="59" y="14761"/>
                    <a:pt x="53" y="14814"/>
                  </a:cubicBezTo>
                  <a:cubicBezTo>
                    <a:pt x="49" y="14854"/>
                    <a:pt x="44" y="14893"/>
                    <a:pt x="40" y="14933"/>
                  </a:cubicBezTo>
                  <a:cubicBezTo>
                    <a:pt x="34" y="14989"/>
                    <a:pt x="31" y="15046"/>
                    <a:pt x="27" y="15102"/>
                  </a:cubicBezTo>
                  <a:cubicBezTo>
                    <a:pt x="24" y="15139"/>
                    <a:pt x="21" y="15177"/>
                    <a:pt x="18" y="15215"/>
                  </a:cubicBezTo>
                  <a:cubicBezTo>
                    <a:pt x="13" y="15277"/>
                    <a:pt x="12" y="15341"/>
                    <a:pt x="9" y="15403"/>
                  </a:cubicBezTo>
                  <a:cubicBezTo>
                    <a:pt x="7" y="15434"/>
                    <a:pt x="6" y="15465"/>
                    <a:pt x="4" y="15496"/>
                  </a:cubicBezTo>
                  <a:cubicBezTo>
                    <a:pt x="1" y="15592"/>
                    <a:pt x="0" y="15685"/>
                    <a:pt x="0" y="15780"/>
                  </a:cubicBezTo>
                  <a:cubicBezTo>
                    <a:pt x="-3" y="17755"/>
                    <a:pt x="632" y="19355"/>
                    <a:pt x="1589" y="20137"/>
                  </a:cubicBezTo>
                  <a:lnTo>
                    <a:pt x="2624" y="20982"/>
                  </a:lnTo>
                  <a:cubicBezTo>
                    <a:pt x="2614" y="20973"/>
                    <a:pt x="2603" y="20964"/>
                    <a:pt x="2593" y="20955"/>
                  </a:cubicBezTo>
                  <a:cubicBezTo>
                    <a:pt x="3129" y="21405"/>
                    <a:pt x="3767" y="21600"/>
                    <a:pt x="4454" y="21454"/>
                  </a:cubicBezTo>
                  <a:lnTo>
                    <a:pt x="18666" y="18455"/>
                  </a:lnTo>
                  <a:cubicBezTo>
                    <a:pt x="20281" y="18114"/>
                    <a:pt x="21594" y="15716"/>
                    <a:pt x="21597" y="13098"/>
                  </a:cubicBezTo>
                  <a:cubicBezTo>
                    <a:pt x="21590" y="11416"/>
                    <a:pt x="21040" y="10044"/>
                    <a:pt x="20214" y="9382"/>
                  </a:cubicBezTo>
                  <a:close/>
                </a:path>
              </a:pathLst>
            </a:custGeom>
            <a:solidFill>
              <a:schemeClr val="accent3">
                <a:lumMod val="75000"/>
              </a:scheme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Shape">
              <a:extLst>
                <a:ext uri="{FF2B5EF4-FFF2-40B4-BE49-F238E27FC236}">
                  <a16:creationId xmlns:a16="http://schemas.microsoft.com/office/drawing/2014/main" id="{4086261C-734E-4F49-B0BC-38C2E8322D8B}"/>
                </a:ext>
              </a:extLst>
            </p:cNvPr>
            <p:cNvSpPr/>
            <p:nvPr/>
          </p:nvSpPr>
          <p:spPr>
            <a:xfrm>
              <a:off x="15697202" y="2984499"/>
              <a:ext cx="1768478" cy="1184034"/>
            </a:xfrm>
            <a:custGeom>
              <a:avLst/>
              <a:gdLst/>
              <a:ahLst/>
              <a:cxnLst>
                <a:cxn ang="0">
                  <a:pos x="wd2" y="hd2"/>
                </a:cxn>
                <a:cxn ang="5400000">
                  <a:pos x="wd2" y="hd2"/>
                </a:cxn>
                <a:cxn ang="10800000">
                  <a:pos x="wd2" y="hd2"/>
                </a:cxn>
                <a:cxn ang="16200000">
                  <a:pos x="wd2" y="hd2"/>
                </a:cxn>
              </a:cxnLst>
              <a:rect l="0" t="0" r="r" b="b"/>
              <a:pathLst>
                <a:path w="21592" h="20949" extrusionOk="0">
                  <a:moveTo>
                    <a:pt x="9185" y="60"/>
                  </a:moveTo>
                  <a:cubicBezTo>
                    <a:pt x="10933" y="-295"/>
                    <a:pt x="12443" y="954"/>
                    <a:pt x="13186" y="3075"/>
                  </a:cubicBezTo>
                  <a:cubicBezTo>
                    <a:pt x="13705" y="2518"/>
                    <a:pt x="14301" y="2138"/>
                    <a:pt x="14937" y="2010"/>
                  </a:cubicBezTo>
                  <a:cubicBezTo>
                    <a:pt x="16925" y="1606"/>
                    <a:pt x="18533" y="3797"/>
                    <a:pt x="18528" y="6906"/>
                  </a:cubicBezTo>
                  <a:cubicBezTo>
                    <a:pt x="18528" y="7372"/>
                    <a:pt x="18491" y="7832"/>
                    <a:pt x="18421" y="8279"/>
                  </a:cubicBezTo>
                  <a:cubicBezTo>
                    <a:pt x="18457" y="8270"/>
                    <a:pt x="18491" y="8261"/>
                    <a:pt x="18526" y="8252"/>
                  </a:cubicBezTo>
                  <a:cubicBezTo>
                    <a:pt x="20223" y="7906"/>
                    <a:pt x="21595" y="9778"/>
                    <a:pt x="21592" y="12430"/>
                  </a:cubicBezTo>
                  <a:cubicBezTo>
                    <a:pt x="21589" y="15083"/>
                    <a:pt x="20210" y="17514"/>
                    <a:pt x="18514" y="17860"/>
                  </a:cubicBezTo>
                  <a:lnTo>
                    <a:pt x="3591" y="20901"/>
                  </a:lnTo>
                  <a:cubicBezTo>
                    <a:pt x="1603" y="21305"/>
                    <a:pt x="-5" y="19114"/>
                    <a:pt x="0" y="16004"/>
                  </a:cubicBezTo>
                  <a:cubicBezTo>
                    <a:pt x="4" y="12897"/>
                    <a:pt x="1618" y="10048"/>
                    <a:pt x="3605" y="9643"/>
                  </a:cubicBezTo>
                  <a:cubicBezTo>
                    <a:pt x="4028" y="9558"/>
                    <a:pt x="4434" y="9589"/>
                    <a:pt x="4811" y="9722"/>
                  </a:cubicBezTo>
                  <a:cubicBezTo>
                    <a:pt x="4721" y="9185"/>
                    <a:pt x="4673" y="8614"/>
                    <a:pt x="4675" y="8014"/>
                  </a:cubicBezTo>
                  <a:cubicBezTo>
                    <a:pt x="4681" y="4129"/>
                    <a:pt x="6700" y="566"/>
                    <a:pt x="9185" y="60"/>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Shape">
              <a:extLst>
                <a:ext uri="{FF2B5EF4-FFF2-40B4-BE49-F238E27FC236}">
                  <a16:creationId xmlns:a16="http://schemas.microsoft.com/office/drawing/2014/main" id="{25B4D968-BA4F-44A7-B3A5-3E2816C54D6C}"/>
                </a:ext>
              </a:extLst>
            </p:cNvPr>
            <p:cNvSpPr/>
            <p:nvPr/>
          </p:nvSpPr>
          <p:spPr>
            <a:xfrm>
              <a:off x="15951202" y="3263900"/>
              <a:ext cx="1531373" cy="1013114"/>
            </a:xfrm>
            <a:custGeom>
              <a:avLst/>
              <a:gdLst/>
              <a:ahLst/>
              <a:cxnLst>
                <a:cxn ang="0">
                  <a:pos x="wd2" y="hd2"/>
                </a:cxn>
                <a:cxn ang="5400000">
                  <a:pos x="wd2" y="hd2"/>
                </a:cxn>
                <a:cxn ang="10800000">
                  <a:pos x="wd2" y="hd2"/>
                </a:cxn>
                <a:cxn ang="16200000">
                  <a:pos x="wd2" y="hd2"/>
                </a:cxn>
              </a:cxnLst>
              <a:rect l="0" t="0" r="r" b="b"/>
              <a:pathLst>
                <a:path w="21591" h="21504" extrusionOk="0">
                  <a:moveTo>
                    <a:pt x="20237" y="9470"/>
                  </a:moveTo>
                  <a:cubicBezTo>
                    <a:pt x="20243" y="9475"/>
                    <a:pt x="20248" y="9478"/>
                    <a:pt x="20255" y="9483"/>
                  </a:cubicBezTo>
                  <a:lnTo>
                    <a:pt x="19000" y="8456"/>
                  </a:lnTo>
                  <a:cubicBezTo>
                    <a:pt x="18971" y="8432"/>
                    <a:pt x="18941" y="8410"/>
                    <a:pt x="18912" y="8389"/>
                  </a:cubicBezTo>
                  <a:cubicBezTo>
                    <a:pt x="18901" y="8381"/>
                    <a:pt x="18889" y="8375"/>
                    <a:pt x="18878" y="8367"/>
                  </a:cubicBezTo>
                  <a:cubicBezTo>
                    <a:pt x="18830" y="8332"/>
                    <a:pt x="18781" y="8302"/>
                    <a:pt x="18731" y="8273"/>
                  </a:cubicBezTo>
                  <a:cubicBezTo>
                    <a:pt x="18719" y="8265"/>
                    <a:pt x="18708" y="8259"/>
                    <a:pt x="18695" y="8251"/>
                  </a:cubicBezTo>
                  <a:cubicBezTo>
                    <a:pt x="18704" y="8090"/>
                    <a:pt x="18710" y="7928"/>
                    <a:pt x="18710" y="7766"/>
                  </a:cubicBezTo>
                  <a:cubicBezTo>
                    <a:pt x="18712" y="5793"/>
                    <a:pt x="18076" y="4200"/>
                    <a:pt x="17118" y="3429"/>
                  </a:cubicBezTo>
                  <a:cubicBezTo>
                    <a:pt x="17125" y="3434"/>
                    <a:pt x="17132" y="3440"/>
                    <a:pt x="17138" y="3445"/>
                  </a:cubicBezTo>
                  <a:lnTo>
                    <a:pt x="15882" y="2418"/>
                  </a:lnTo>
                  <a:cubicBezTo>
                    <a:pt x="15848" y="2391"/>
                    <a:pt x="15814" y="2364"/>
                    <a:pt x="15779" y="2337"/>
                  </a:cubicBezTo>
                  <a:cubicBezTo>
                    <a:pt x="15754" y="2318"/>
                    <a:pt x="15728" y="2302"/>
                    <a:pt x="15703" y="2286"/>
                  </a:cubicBezTo>
                  <a:cubicBezTo>
                    <a:pt x="15693" y="2278"/>
                    <a:pt x="15682" y="2270"/>
                    <a:pt x="15669" y="2262"/>
                  </a:cubicBezTo>
                  <a:cubicBezTo>
                    <a:pt x="15610" y="2221"/>
                    <a:pt x="15549" y="2186"/>
                    <a:pt x="15487" y="2154"/>
                  </a:cubicBezTo>
                  <a:cubicBezTo>
                    <a:pt x="15474" y="2146"/>
                    <a:pt x="15460" y="2140"/>
                    <a:pt x="15447" y="2132"/>
                  </a:cubicBezTo>
                  <a:cubicBezTo>
                    <a:pt x="15388" y="2103"/>
                    <a:pt x="15329" y="2076"/>
                    <a:pt x="15268" y="2051"/>
                  </a:cubicBezTo>
                  <a:cubicBezTo>
                    <a:pt x="15261" y="2049"/>
                    <a:pt x="15256" y="2046"/>
                    <a:pt x="15249" y="2043"/>
                  </a:cubicBezTo>
                  <a:cubicBezTo>
                    <a:pt x="15247" y="2043"/>
                    <a:pt x="15243" y="2041"/>
                    <a:pt x="15241" y="2041"/>
                  </a:cubicBezTo>
                  <a:cubicBezTo>
                    <a:pt x="15179" y="2016"/>
                    <a:pt x="15116" y="1997"/>
                    <a:pt x="15052" y="1979"/>
                  </a:cubicBezTo>
                  <a:cubicBezTo>
                    <a:pt x="15037" y="1973"/>
                    <a:pt x="15023" y="1970"/>
                    <a:pt x="15009" y="1968"/>
                  </a:cubicBezTo>
                  <a:cubicBezTo>
                    <a:pt x="14942" y="1952"/>
                    <a:pt x="14874" y="1935"/>
                    <a:pt x="14806" y="1927"/>
                  </a:cubicBezTo>
                  <a:cubicBezTo>
                    <a:pt x="14797" y="1925"/>
                    <a:pt x="14788" y="1925"/>
                    <a:pt x="14778" y="1925"/>
                  </a:cubicBezTo>
                  <a:cubicBezTo>
                    <a:pt x="14715" y="1917"/>
                    <a:pt x="14651" y="1911"/>
                    <a:pt x="14584" y="1908"/>
                  </a:cubicBezTo>
                  <a:cubicBezTo>
                    <a:pt x="14572" y="1908"/>
                    <a:pt x="14559" y="1906"/>
                    <a:pt x="14547" y="1906"/>
                  </a:cubicBezTo>
                  <a:cubicBezTo>
                    <a:pt x="14477" y="1906"/>
                    <a:pt x="14407" y="1908"/>
                    <a:pt x="14335" y="1914"/>
                  </a:cubicBezTo>
                  <a:cubicBezTo>
                    <a:pt x="14321" y="1914"/>
                    <a:pt x="14305" y="1917"/>
                    <a:pt x="14291" y="1919"/>
                  </a:cubicBezTo>
                  <a:cubicBezTo>
                    <a:pt x="14217" y="1927"/>
                    <a:pt x="14144" y="1938"/>
                    <a:pt x="14069" y="1954"/>
                  </a:cubicBezTo>
                  <a:cubicBezTo>
                    <a:pt x="13988" y="1970"/>
                    <a:pt x="13907" y="1995"/>
                    <a:pt x="13827" y="2019"/>
                  </a:cubicBezTo>
                  <a:cubicBezTo>
                    <a:pt x="13800" y="2027"/>
                    <a:pt x="13775" y="2038"/>
                    <a:pt x="13750" y="2049"/>
                  </a:cubicBezTo>
                  <a:cubicBezTo>
                    <a:pt x="13696" y="2068"/>
                    <a:pt x="13642" y="2089"/>
                    <a:pt x="13590" y="2111"/>
                  </a:cubicBezTo>
                  <a:cubicBezTo>
                    <a:pt x="13560" y="2124"/>
                    <a:pt x="13531" y="2138"/>
                    <a:pt x="13501" y="2154"/>
                  </a:cubicBezTo>
                  <a:cubicBezTo>
                    <a:pt x="13453" y="2178"/>
                    <a:pt x="13404" y="2202"/>
                    <a:pt x="13358" y="2229"/>
                  </a:cubicBezTo>
                  <a:cubicBezTo>
                    <a:pt x="13327" y="2245"/>
                    <a:pt x="13297" y="2264"/>
                    <a:pt x="13266" y="2283"/>
                  </a:cubicBezTo>
                  <a:cubicBezTo>
                    <a:pt x="13220" y="2310"/>
                    <a:pt x="13173" y="2342"/>
                    <a:pt x="13128" y="2372"/>
                  </a:cubicBezTo>
                  <a:cubicBezTo>
                    <a:pt x="13111" y="2383"/>
                    <a:pt x="13093" y="2394"/>
                    <a:pt x="13075" y="2407"/>
                  </a:cubicBezTo>
                  <a:cubicBezTo>
                    <a:pt x="13057" y="2421"/>
                    <a:pt x="13041" y="2434"/>
                    <a:pt x="13023" y="2445"/>
                  </a:cubicBezTo>
                  <a:cubicBezTo>
                    <a:pt x="13007" y="2458"/>
                    <a:pt x="12991" y="2469"/>
                    <a:pt x="12973" y="2483"/>
                  </a:cubicBezTo>
                  <a:cubicBezTo>
                    <a:pt x="12960" y="2493"/>
                    <a:pt x="12948" y="2504"/>
                    <a:pt x="12933" y="2515"/>
                  </a:cubicBezTo>
                  <a:cubicBezTo>
                    <a:pt x="12701" y="2175"/>
                    <a:pt x="12437" y="1884"/>
                    <a:pt x="12154" y="1655"/>
                  </a:cubicBezTo>
                  <a:cubicBezTo>
                    <a:pt x="12158" y="1658"/>
                    <a:pt x="12162" y="1660"/>
                    <a:pt x="12165" y="1663"/>
                  </a:cubicBezTo>
                  <a:lnTo>
                    <a:pt x="10910" y="636"/>
                  </a:lnTo>
                  <a:cubicBezTo>
                    <a:pt x="10869" y="601"/>
                    <a:pt x="10826" y="569"/>
                    <a:pt x="10785" y="539"/>
                  </a:cubicBezTo>
                  <a:cubicBezTo>
                    <a:pt x="10785" y="539"/>
                    <a:pt x="10783" y="539"/>
                    <a:pt x="10783" y="536"/>
                  </a:cubicBezTo>
                  <a:cubicBezTo>
                    <a:pt x="10779" y="534"/>
                    <a:pt x="10776" y="531"/>
                    <a:pt x="10772" y="528"/>
                  </a:cubicBezTo>
                  <a:cubicBezTo>
                    <a:pt x="10727" y="496"/>
                    <a:pt x="10684" y="466"/>
                    <a:pt x="10640" y="437"/>
                  </a:cubicBezTo>
                  <a:cubicBezTo>
                    <a:pt x="10623" y="426"/>
                    <a:pt x="10607" y="418"/>
                    <a:pt x="10591" y="407"/>
                  </a:cubicBezTo>
                  <a:cubicBezTo>
                    <a:pt x="10557" y="385"/>
                    <a:pt x="10521" y="364"/>
                    <a:pt x="10487" y="345"/>
                  </a:cubicBezTo>
                  <a:cubicBezTo>
                    <a:pt x="10469" y="334"/>
                    <a:pt x="10453" y="326"/>
                    <a:pt x="10435" y="315"/>
                  </a:cubicBezTo>
                  <a:cubicBezTo>
                    <a:pt x="10398" y="294"/>
                    <a:pt x="10360" y="275"/>
                    <a:pt x="10323" y="259"/>
                  </a:cubicBezTo>
                  <a:cubicBezTo>
                    <a:pt x="10308" y="251"/>
                    <a:pt x="10294" y="245"/>
                    <a:pt x="10280" y="237"/>
                  </a:cubicBezTo>
                  <a:cubicBezTo>
                    <a:pt x="10228" y="213"/>
                    <a:pt x="10176" y="191"/>
                    <a:pt x="10122" y="170"/>
                  </a:cubicBezTo>
                  <a:cubicBezTo>
                    <a:pt x="10120" y="170"/>
                    <a:pt x="10119" y="167"/>
                    <a:pt x="10117" y="167"/>
                  </a:cubicBezTo>
                  <a:cubicBezTo>
                    <a:pt x="10108" y="164"/>
                    <a:pt x="10101" y="162"/>
                    <a:pt x="10092" y="159"/>
                  </a:cubicBezTo>
                  <a:cubicBezTo>
                    <a:pt x="10049" y="143"/>
                    <a:pt x="10006" y="127"/>
                    <a:pt x="9963" y="113"/>
                  </a:cubicBezTo>
                  <a:cubicBezTo>
                    <a:pt x="9945" y="108"/>
                    <a:pt x="9927" y="102"/>
                    <a:pt x="9909" y="97"/>
                  </a:cubicBezTo>
                  <a:cubicBezTo>
                    <a:pt x="9873" y="86"/>
                    <a:pt x="9836" y="75"/>
                    <a:pt x="9800" y="67"/>
                  </a:cubicBezTo>
                  <a:cubicBezTo>
                    <a:pt x="9780" y="62"/>
                    <a:pt x="9762" y="59"/>
                    <a:pt x="9742" y="54"/>
                  </a:cubicBezTo>
                  <a:cubicBezTo>
                    <a:pt x="9703" y="46"/>
                    <a:pt x="9664" y="38"/>
                    <a:pt x="9626" y="32"/>
                  </a:cubicBezTo>
                  <a:cubicBezTo>
                    <a:pt x="9610" y="30"/>
                    <a:pt x="9594" y="27"/>
                    <a:pt x="9578" y="24"/>
                  </a:cubicBezTo>
                  <a:cubicBezTo>
                    <a:pt x="9522" y="16"/>
                    <a:pt x="9467" y="8"/>
                    <a:pt x="9409" y="5"/>
                  </a:cubicBezTo>
                  <a:cubicBezTo>
                    <a:pt x="9402" y="5"/>
                    <a:pt x="9397" y="5"/>
                    <a:pt x="9390" y="5"/>
                  </a:cubicBezTo>
                  <a:cubicBezTo>
                    <a:pt x="9340" y="3"/>
                    <a:pt x="9289" y="0"/>
                    <a:pt x="9239" y="0"/>
                  </a:cubicBezTo>
                  <a:cubicBezTo>
                    <a:pt x="9221" y="0"/>
                    <a:pt x="9202" y="0"/>
                    <a:pt x="9184" y="0"/>
                  </a:cubicBezTo>
                  <a:cubicBezTo>
                    <a:pt x="9144" y="0"/>
                    <a:pt x="9105" y="3"/>
                    <a:pt x="9066" y="3"/>
                  </a:cubicBezTo>
                  <a:cubicBezTo>
                    <a:pt x="9046" y="3"/>
                    <a:pt x="9024" y="5"/>
                    <a:pt x="9005" y="5"/>
                  </a:cubicBezTo>
                  <a:cubicBezTo>
                    <a:pt x="8964" y="8"/>
                    <a:pt x="8924" y="13"/>
                    <a:pt x="8883" y="19"/>
                  </a:cubicBezTo>
                  <a:cubicBezTo>
                    <a:pt x="8865" y="22"/>
                    <a:pt x="8847" y="24"/>
                    <a:pt x="8827" y="27"/>
                  </a:cubicBezTo>
                  <a:cubicBezTo>
                    <a:pt x="8768" y="35"/>
                    <a:pt x="8709" y="46"/>
                    <a:pt x="8650" y="57"/>
                  </a:cubicBezTo>
                  <a:cubicBezTo>
                    <a:pt x="8584" y="70"/>
                    <a:pt x="8520" y="86"/>
                    <a:pt x="8455" y="105"/>
                  </a:cubicBezTo>
                  <a:cubicBezTo>
                    <a:pt x="8435" y="111"/>
                    <a:pt x="8417" y="116"/>
                    <a:pt x="8398" y="121"/>
                  </a:cubicBezTo>
                  <a:cubicBezTo>
                    <a:pt x="8349" y="137"/>
                    <a:pt x="8299" y="154"/>
                    <a:pt x="8251" y="170"/>
                  </a:cubicBezTo>
                  <a:cubicBezTo>
                    <a:pt x="8233" y="175"/>
                    <a:pt x="8215" y="183"/>
                    <a:pt x="8199" y="189"/>
                  </a:cubicBezTo>
                  <a:cubicBezTo>
                    <a:pt x="8135" y="213"/>
                    <a:pt x="8072" y="240"/>
                    <a:pt x="8009" y="267"/>
                  </a:cubicBezTo>
                  <a:cubicBezTo>
                    <a:pt x="8000" y="270"/>
                    <a:pt x="7991" y="275"/>
                    <a:pt x="7984" y="280"/>
                  </a:cubicBezTo>
                  <a:cubicBezTo>
                    <a:pt x="7929" y="305"/>
                    <a:pt x="7875" y="334"/>
                    <a:pt x="7821" y="361"/>
                  </a:cubicBezTo>
                  <a:cubicBezTo>
                    <a:pt x="7803" y="372"/>
                    <a:pt x="7784" y="380"/>
                    <a:pt x="7766" y="391"/>
                  </a:cubicBezTo>
                  <a:cubicBezTo>
                    <a:pt x="7717" y="418"/>
                    <a:pt x="7671" y="445"/>
                    <a:pt x="7622" y="474"/>
                  </a:cubicBezTo>
                  <a:cubicBezTo>
                    <a:pt x="7608" y="483"/>
                    <a:pt x="7592" y="493"/>
                    <a:pt x="7578" y="501"/>
                  </a:cubicBezTo>
                  <a:cubicBezTo>
                    <a:pt x="7522" y="536"/>
                    <a:pt x="7467" y="574"/>
                    <a:pt x="7411" y="612"/>
                  </a:cubicBezTo>
                  <a:cubicBezTo>
                    <a:pt x="7408" y="615"/>
                    <a:pt x="7404" y="617"/>
                    <a:pt x="7400" y="620"/>
                  </a:cubicBezTo>
                  <a:cubicBezTo>
                    <a:pt x="7379" y="636"/>
                    <a:pt x="7359" y="652"/>
                    <a:pt x="7338" y="666"/>
                  </a:cubicBezTo>
                  <a:cubicBezTo>
                    <a:pt x="7296" y="695"/>
                    <a:pt x="7254" y="728"/>
                    <a:pt x="7212" y="760"/>
                  </a:cubicBezTo>
                  <a:cubicBezTo>
                    <a:pt x="7187" y="779"/>
                    <a:pt x="7164" y="801"/>
                    <a:pt x="7139" y="819"/>
                  </a:cubicBezTo>
                  <a:cubicBezTo>
                    <a:pt x="7101" y="852"/>
                    <a:pt x="7064" y="881"/>
                    <a:pt x="7028" y="914"/>
                  </a:cubicBezTo>
                  <a:cubicBezTo>
                    <a:pt x="7003" y="935"/>
                    <a:pt x="6978" y="960"/>
                    <a:pt x="6953" y="981"/>
                  </a:cubicBezTo>
                  <a:cubicBezTo>
                    <a:pt x="6917" y="1014"/>
                    <a:pt x="6883" y="1046"/>
                    <a:pt x="6847" y="1081"/>
                  </a:cubicBezTo>
                  <a:cubicBezTo>
                    <a:pt x="6822" y="1105"/>
                    <a:pt x="6797" y="1129"/>
                    <a:pt x="6772" y="1156"/>
                  </a:cubicBezTo>
                  <a:cubicBezTo>
                    <a:pt x="6756" y="1173"/>
                    <a:pt x="6738" y="1189"/>
                    <a:pt x="6722" y="1205"/>
                  </a:cubicBezTo>
                  <a:cubicBezTo>
                    <a:pt x="6711" y="1216"/>
                    <a:pt x="6700" y="1229"/>
                    <a:pt x="6689" y="1240"/>
                  </a:cubicBezTo>
                  <a:cubicBezTo>
                    <a:pt x="6616" y="1318"/>
                    <a:pt x="6544" y="1396"/>
                    <a:pt x="6475" y="1480"/>
                  </a:cubicBezTo>
                  <a:cubicBezTo>
                    <a:pt x="6467" y="1488"/>
                    <a:pt x="6462" y="1493"/>
                    <a:pt x="6455" y="1501"/>
                  </a:cubicBezTo>
                  <a:cubicBezTo>
                    <a:pt x="6380" y="1590"/>
                    <a:pt x="6306" y="1687"/>
                    <a:pt x="6233" y="1782"/>
                  </a:cubicBezTo>
                  <a:cubicBezTo>
                    <a:pt x="6224" y="1793"/>
                    <a:pt x="6217" y="1803"/>
                    <a:pt x="6208" y="1814"/>
                  </a:cubicBezTo>
                  <a:cubicBezTo>
                    <a:pt x="6197" y="1830"/>
                    <a:pt x="6186" y="1846"/>
                    <a:pt x="6174" y="1863"/>
                  </a:cubicBezTo>
                  <a:cubicBezTo>
                    <a:pt x="6122" y="1935"/>
                    <a:pt x="6070" y="2008"/>
                    <a:pt x="6020" y="2084"/>
                  </a:cubicBezTo>
                  <a:cubicBezTo>
                    <a:pt x="6004" y="2108"/>
                    <a:pt x="5988" y="2132"/>
                    <a:pt x="5971" y="2156"/>
                  </a:cubicBezTo>
                  <a:cubicBezTo>
                    <a:pt x="5907" y="2254"/>
                    <a:pt x="5844" y="2356"/>
                    <a:pt x="5783" y="2458"/>
                  </a:cubicBezTo>
                  <a:cubicBezTo>
                    <a:pt x="5780" y="2464"/>
                    <a:pt x="5778" y="2466"/>
                    <a:pt x="5774" y="2472"/>
                  </a:cubicBezTo>
                  <a:cubicBezTo>
                    <a:pt x="5766" y="2488"/>
                    <a:pt x="5757" y="2504"/>
                    <a:pt x="5748" y="2520"/>
                  </a:cubicBezTo>
                  <a:cubicBezTo>
                    <a:pt x="5699" y="2604"/>
                    <a:pt x="5651" y="2690"/>
                    <a:pt x="5604" y="2779"/>
                  </a:cubicBezTo>
                  <a:cubicBezTo>
                    <a:pt x="5586" y="2812"/>
                    <a:pt x="5570" y="2844"/>
                    <a:pt x="5552" y="2879"/>
                  </a:cubicBezTo>
                  <a:cubicBezTo>
                    <a:pt x="5508" y="2968"/>
                    <a:pt x="5463" y="3057"/>
                    <a:pt x="5420" y="3148"/>
                  </a:cubicBezTo>
                  <a:cubicBezTo>
                    <a:pt x="5411" y="3167"/>
                    <a:pt x="5402" y="3184"/>
                    <a:pt x="5393" y="3202"/>
                  </a:cubicBezTo>
                  <a:cubicBezTo>
                    <a:pt x="5391" y="3208"/>
                    <a:pt x="5388" y="3213"/>
                    <a:pt x="5386" y="3219"/>
                  </a:cubicBezTo>
                  <a:cubicBezTo>
                    <a:pt x="5330" y="3337"/>
                    <a:pt x="5278" y="3458"/>
                    <a:pt x="5227" y="3582"/>
                  </a:cubicBezTo>
                  <a:cubicBezTo>
                    <a:pt x="5214" y="3612"/>
                    <a:pt x="5201" y="3644"/>
                    <a:pt x="5189" y="3674"/>
                  </a:cubicBezTo>
                  <a:cubicBezTo>
                    <a:pt x="5148" y="3777"/>
                    <a:pt x="5108" y="3879"/>
                    <a:pt x="5071" y="3984"/>
                  </a:cubicBezTo>
                  <a:cubicBezTo>
                    <a:pt x="5064" y="4006"/>
                    <a:pt x="5055" y="4025"/>
                    <a:pt x="5047" y="4043"/>
                  </a:cubicBezTo>
                  <a:cubicBezTo>
                    <a:pt x="5042" y="4060"/>
                    <a:pt x="5037" y="4076"/>
                    <a:pt x="5031" y="4089"/>
                  </a:cubicBezTo>
                  <a:cubicBezTo>
                    <a:pt x="5019" y="4124"/>
                    <a:pt x="5006" y="4159"/>
                    <a:pt x="4996" y="4194"/>
                  </a:cubicBezTo>
                  <a:cubicBezTo>
                    <a:pt x="4974" y="4256"/>
                    <a:pt x="4954" y="4316"/>
                    <a:pt x="4935" y="4378"/>
                  </a:cubicBezTo>
                  <a:cubicBezTo>
                    <a:pt x="4922" y="4415"/>
                    <a:pt x="4911" y="4453"/>
                    <a:pt x="4899" y="4491"/>
                  </a:cubicBezTo>
                  <a:cubicBezTo>
                    <a:pt x="4879" y="4553"/>
                    <a:pt x="4861" y="4615"/>
                    <a:pt x="4843" y="4680"/>
                  </a:cubicBezTo>
                  <a:cubicBezTo>
                    <a:pt x="4833" y="4717"/>
                    <a:pt x="4822" y="4752"/>
                    <a:pt x="4811" y="4790"/>
                  </a:cubicBezTo>
                  <a:cubicBezTo>
                    <a:pt x="4791" y="4860"/>
                    <a:pt x="4774" y="4930"/>
                    <a:pt x="4756" y="5000"/>
                  </a:cubicBezTo>
                  <a:cubicBezTo>
                    <a:pt x="4748" y="5030"/>
                    <a:pt x="4739" y="5060"/>
                    <a:pt x="4732" y="5092"/>
                  </a:cubicBezTo>
                  <a:cubicBezTo>
                    <a:pt x="4731" y="5100"/>
                    <a:pt x="4729" y="5105"/>
                    <a:pt x="4727" y="5114"/>
                  </a:cubicBezTo>
                  <a:cubicBezTo>
                    <a:pt x="4714" y="5165"/>
                    <a:pt x="4704" y="5216"/>
                    <a:pt x="4691" y="5267"/>
                  </a:cubicBezTo>
                  <a:cubicBezTo>
                    <a:pt x="4679" y="5318"/>
                    <a:pt x="4668" y="5370"/>
                    <a:pt x="4657" y="5421"/>
                  </a:cubicBezTo>
                  <a:cubicBezTo>
                    <a:pt x="4645" y="5480"/>
                    <a:pt x="4634" y="5539"/>
                    <a:pt x="4621" y="5599"/>
                  </a:cubicBezTo>
                  <a:cubicBezTo>
                    <a:pt x="4611" y="5650"/>
                    <a:pt x="4600" y="5701"/>
                    <a:pt x="4591" y="5752"/>
                  </a:cubicBezTo>
                  <a:cubicBezTo>
                    <a:pt x="4580" y="5814"/>
                    <a:pt x="4569" y="5874"/>
                    <a:pt x="4560" y="5936"/>
                  </a:cubicBezTo>
                  <a:cubicBezTo>
                    <a:pt x="4551" y="5987"/>
                    <a:pt x="4543" y="6038"/>
                    <a:pt x="4535" y="6089"/>
                  </a:cubicBezTo>
                  <a:cubicBezTo>
                    <a:pt x="4526" y="6151"/>
                    <a:pt x="4517" y="6216"/>
                    <a:pt x="4508" y="6278"/>
                  </a:cubicBezTo>
                  <a:cubicBezTo>
                    <a:pt x="4501" y="6329"/>
                    <a:pt x="4494" y="6381"/>
                    <a:pt x="4487" y="6429"/>
                  </a:cubicBezTo>
                  <a:cubicBezTo>
                    <a:pt x="4478" y="6494"/>
                    <a:pt x="4473" y="6561"/>
                    <a:pt x="4466" y="6629"/>
                  </a:cubicBezTo>
                  <a:cubicBezTo>
                    <a:pt x="4460" y="6677"/>
                    <a:pt x="4455" y="6726"/>
                    <a:pt x="4449" y="6774"/>
                  </a:cubicBezTo>
                  <a:cubicBezTo>
                    <a:pt x="4442" y="6844"/>
                    <a:pt x="4439" y="6914"/>
                    <a:pt x="4433" y="6987"/>
                  </a:cubicBezTo>
                  <a:cubicBezTo>
                    <a:pt x="4430" y="7033"/>
                    <a:pt x="4426" y="7079"/>
                    <a:pt x="4423" y="7125"/>
                  </a:cubicBezTo>
                  <a:cubicBezTo>
                    <a:pt x="4417" y="7200"/>
                    <a:pt x="4415" y="7278"/>
                    <a:pt x="4412" y="7354"/>
                  </a:cubicBezTo>
                  <a:cubicBezTo>
                    <a:pt x="4410" y="7394"/>
                    <a:pt x="4408" y="7435"/>
                    <a:pt x="4406" y="7475"/>
                  </a:cubicBezTo>
                  <a:cubicBezTo>
                    <a:pt x="4403" y="7591"/>
                    <a:pt x="4401" y="7709"/>
                    <a:pt x="4401" y="7828"/>
                  </a:cubicBezTo>
                  <a:cubicBezTo>
                    <a:pt x="4401" y="8413"/>
                    <a:pt x="4446" y="8974"/>
                    <a:pt x="4530" y="9499"/>
                  </a:cubicBezTo>
                  <a:cubicBezTo>
                    <a:pt x="4175" y="9370"/>
                    <a:pt x="3792" y="9338"/>
                    <a:pt x="3393" y="9421"/>
                  </a:cubicBezTo>
                  <a:cubicBezTo>
                    <a:pt x="3316" y="9437"/>
                    <a:pt x="3241" y="9459"/>
                    <a:pt x="3166" y="9483"/>
                  </a:cubicBezTo>
                  <a:cubicBezTo>
                    <a:pt x="3146" y="9489"/>
                    <a:pt x="3126" y="9497"/>
                    <a:pt x="3108" y="9502"/>
                  </a:cubicBezTo>
                  <a:cubicBezTo>
                    <a:pt x="3038" y="9526"/>
                    <a:pt x="2970" y="9553"/>
                    <a:pt x="2902" y="9583"/>
                  </a:cubicBezTo>
                  <a:cubicBezTo>
                    <a:pt x="2897" y="9586"/>
                    <a:pt x="2890" y="9588"/>
                    <a:pt x="2884" y="9591"/>
                  </a:cubicBezTo>
                  <a:cubicBezTo>
                    <a:pt x="2811" y="9623"/>
                    <a:pt x="2739" y="9664"/>
                    <a:pt x="2668" y="9704"/>
                  </a:cubicBezTo>
                  <a:cubicBezTo>
                    <a:pt x="2650" y="9715"/>
                    <a:pt x="2632" y="9726"/>
                    <a:pt x="2612" y="9737"/>
                  </a:cubicBezTo>
                  <a:cubicBezTo>
                    <a:pt x="2550" y="9774"/>
                    <a:pt x="2487" y="9815"/>
                    <a:pt x="2426" y="9855"/>
                  </a:cubicBezTo>
                  <a:cubicBezTo>
                    <a:pt x="2419" y="9861"/>
                    <a:pt x="2412" y="9863"/>
                    <a:pt x="2405" y="9869"/>
                  </a:cubicBezTo>
                  <a:cubicBezTo>
                    <a:pt x="2401" y="9871"/>
                    <a:pt x="2399" y="9874"/>
                    <a:pt x="2396" y="9874"/>
                  </a:cubicBezTo>
                  <a:cubicBezTo>
                    <a:pt x="2379" y="9885"/>
                    <a:pt x="2362" y="9898"/>
                    <a:pt x="2345" y="9912"/>
                  </a:cubicBezTo>
                  <a:cubicBezTo>
                    <a:pt x="2311" y="9936"/>
                    <a:pt x="2279" y="9960"/>
                    <a:pt x="2245" y="9987"/>
                  </a:cubicBezTo>
                  <a:cubicBezTo>
                    <a:pt x="2225" y="10003"/>
                    <a:pt x="2206" y="10020"/>
                    <a:pt x="2188" y="10036"/>
                  </a:cubicBezTo>
                  <a:cubicBezTo>
                    <a:pt x="2157" y="10060"/>
                    <a:pt x="2129" y="10087"/>
                    <a:pt x="2098" y="10111"/>
                  </a:cubicBezTo>
                  <a:cubicBezTo>
                    <a:pt x="2079" y="10130"/>
                    <a:pt x="2059" y="10146"/>
                    <a:pt x="2037" y="10165"/>
                  </a:cubicBezTo>
                  <a:cubicBezTo>
                    <a:pt x="2009" y="10192"/>
                    <a:pt x="1982" y="10216"/>
                    <a:pt x="1953" y="10243"/>
                  </a:cubicBezTo>
                  <a:cubicBezTo>
                    <a:pt x="1934" y="10262"/>
                    <a:pt x="1914" y="10284"/>
                    <a:pt x="1894" y="10303"/>
                  </a:cubicBezTo>
                  <a:cubicBezTo>
                    <a:pt x="1882" y="10316"/>
                    <a:pt x="1867" y="10330"/>
                    <a:pt x="1855" y="10343"/>
                  </a:cubicBezTo>
                  <a:cubicBezTo>
                    <a:pt x="1846" y="10351"/>
                    <a:pt x="1839" y="10362"/>
                    <a:pt x="1830" y="10370"/>
                  </a:cubicBezTo>
                  <a:cubicBezTo>
                    <a:pt x="1771" y="10432"/>
                    <a:pt x="1713" y="10497"/>
                    <a:pt x="1658" y="10561"/>
                  </a:cubicBezTo>
                  <a:cubicBezTo>
                    <a:pt x="1652" y="10567"/>
                    <a:pt x="1647" y="10572"/>
                    <a:pt x="1644" y="10578"/>
                  </a:cubicBezTo>
                  <a:cubicBezTo>
                    <a:pt x="1583" y="10650"/>
                    <a:pt x="1524" y="10726"/>
                    <a:pt x="1466" y="10804"/>
                  </a:cubicBezTo>
                  <a:cubicBezTo>
                    <a:pt x="1459" y="10812"/>
                    <a:pt x="1452" y="10820"/>
                    <a:pt x="1447" y="10828"/>
                  </a:cubicBezTo>
                  <a:cubicBezTo>
                    <a:pt x="1438" y="10842"/>
                    <a:pt x="1429" y="10855"/>
                    <a:pt x="1420" y="10866"/>
                  </a:cubicBezTo>
                  <a:cubicBezTo>
                    <a:pt x="1379" y="10923"/>
                    <a:pt x="1337" y="10982"/>
                    <a:pt x="1296" y="11044"/>
                  </a:cubicBezTo>
                  <a:cubicBezTo>
                    <a:pt x="1284" y="11063"/>
                    <a:pt x="1269" y="11082"/>
                    <a:pt x="1257" y="11103"/>
                  </a:cubicBezTo>
                  <a:cubicBezTo>
                    <a:pt x="1205" y="11181"/>
                    <a:pt x="1155" y="11262"/>
                    <a:pt x="1106" y="11346"/>
                  </a:cubicBezTo>
                  <a:cubicBezTo>
                    <a:pt x="1105" y="11349"/>
                    <a:pt x="1101" y="11354"/>
                    <a:pt x="1099" y="11357"/>
                  </a:cubicBezTo>
                  <a:cubicBezTo>
                    <a:pt x="1092" y="11370"/>
                    <a:pt x="1085" y="11384"/>
                    <a:pt x="1078" y="11397"/>
                  </a:cubicBezTo>
                  <a:cubicBezTo>
                    <a:pt x="1038" y="11464"/>
                    <a:pt x="1001" y="11535"/>
                    <a:pt x="963" y="11605"/>
                  </a:cubicBezTo>
                  <a:cubicBezTo>
                    <a:pt x="949" y="11632"/>
                    <a:pt x="936" y="11656"/>
                    <a:pt x="922" y="11683"/>
                  </a:cubicBezTo>
                  <a:cubicBezTo>
                    <a:pt x="886" y="11753"/>
                    <a:pt x="850" y="11826"/>
                    <a:pt x="816" y="11898"/>
                  </a:cubicBezTo>
                  <a:cubicBezTo>
                    <a:pt x="809" y="11912"/>
                    <a:pt x="802" y="11925"/>
                    <a:pt x="795" y="11942"/>
                  </a:cubicBezTo>
                  <a:cubicBezTo>
                    <a:pt x="793" y="11947"/>
                    <a:pt x="791" y="11950"/>
                    <a:pt x="789" y="11955"/>
                  </a:cubicBezTo>
                  <a:cubicBezTo>
                    <a:pt x="745" y="12049"/>
                    <a:pt x="704" y="12146"/>
                    <a:pt x="662" y="12246"/>
                  </a:cubicBezTo>
                  <a:cubicBezTo>
                    <a:pt x="652" y="12270"/>
                    <a:pt x="643" y="12295"/>
                    <a:pt x="634" y="12319"/>
                  </a:cubicBezTo>
                  <a:cubicBezTo>
                    <a:pt x="601" y="12400"/>
                    <a:pt x="569" y="12483"/>
                    <a:pt x="539" y="12567"/>
                  </a:cubicBezTo>
                  <a:cubicBezTo>
                    <a:pt x="533" y="12583"/>
                    <a:pt x="526" y="12599"/>
                    <a:pt x="521" y="12616"/>
                  </a:cubicBezTo>
                  <a:cubicBezTo>
                    <a:pt x="519" y="12624"/>
                    <a:pt x="516" y="12632"/>
                    <a:pt x="514" y="12637"/>
                  </a:cubicBezTo>
                  <a:cubicBezTo>
                    <a:pt x="471" y="12756"/>
                    <a:pt x="431" y="12880"/>
                    <a:pt x="394" y="13004"/>
                  </a:cubicBezTo>
                  <a:cubicBezTo>
                    <a:pt x="387" y="13028"/>
                    <a:pt x="379" y="13052"/>
                    <a:pt x="372" y="13076"/>
                  </a:cubicBezTo>
                  <a:cubicBezTo>
                    <a:pt x="335" y="13203"/>
                    <a:pt x="299" y="13333"/>
                    <a:pt x="268" y="13462"/>
                  </a:cubicBezTo>
                  <a:cubicBezTo>
                    <a:pt x="267" y="13465"/>
                    <a:pt x="267" y="13470"/>
                    <a:pt x="265" y="13473"/>
                  </a:cubicBezTo>
                  <a:cubicBezTo>
                    <a:pt x="254" y="13513"/>
                    <a:pt x="247" y="13554"/>
                    <a:pt x="236" y="13594"/>
                  </a:cubicBezTo>
                  <a:cubicBezTo>
                    <a:pt x="227" y="13634"/>
                    <a:pt x="216" y="13675"/>
                    <a:pt x="208" y="13718"/>
                  </a:cubicBezTo>
                  <a:cubicBezTo>
                    <a:pt x="197" y="13764"/>
                    <a:pt x="188" y="13812"/>
                    <a:pt x="179" y="13858"/>
                  </a:cubicBezTo>
                  <a:cubicBezTo>
                    <a:pt x="170" y="13899"/>
                    <a:pt x="163" y="13942"/>
                    <a:pt x="154" y="13982"/>
                  </a:cubicBezTo>
                  <a:cubicBezTo>
                    <a:pt x="145" y="14031"/>
                    <a:pt x="138" y="14079"/>
                    <a:pt x="129" y="14128"/>
                  </a:cubicBezTo>
                  <a:cubicBezTo>
                    <a:pt x="122" y="14168"/>
                    <a:pt x="114" y="14209"/>
                    <a:pt x="107" y="14252"/>
                  </a:cubicBezTo>
                  <a:cubicBezTo>
                    <a:pt x="100" y="14300"/>
                    <a:pt x="93" y="14351"/>
                    <a:pt x="86" y="14403"/>
                  </a:cubicBezTo>
                  <a:cubicBezTo>
                    <a:pt x="80" y="14443"/>
                    <a:pt x="73" y="14484"/>
                    <a:pt x="70" y="14524"/>
                  </a:cubicBezTo>
                  <a:cubicBezTo>
                    <a:pt x="62" y="14575"/>
                    <a:pt x="59" y="14626"/>
                    <a:pt x="54" y="14678"/>
                  </a:cubicBezTo>
                  <a:cubicBezTo>
                    <a:pt x="50" y="14718"/>
                    <a:pt x="45" y="14759"/>
                    <a:pt x="41" y="14799"/>
                  </a:cubicBezTo>
                  <a:cubicBezTo>
                    <a:pt x="36" y="14853"/>
                    <a:pt x="32" y="14907"/>
                    <a:pt x="28" y="14961"/>
                  </a:cubicBezTo>
                  <a:cubicBezTo>
                    <a:pt x="25" y="14998"/>
                    <a:pt x="21" y="15039"/>
                    <a:pt x="20" y="15077"/>
                  </a:cubicBezTo>
                  <a:cubicBezTo>
                    <a:pt x="16" y="15136"/>
                    <a:pt x="14" y="15198"/>
                    <a:pt x="11" y="15260"/>
                  </a:cubicBezTo>
                  <a:cubicBezTo>
                    <a:pt x="9" y="15292"/>
                    <a:pt x="7" y="15325"/>
                    <a:pt x="5" y="15357"/>
                  </a:cubicBezTo>
                  <a:cubicBezTo>
                    <a:pt x="2" y="15451"/>
                    <a:pt x="0" y="15546"/>
                    <a:pt x="0" y="15640"/>
                  </a:cubicBezTo>
                  <a:cubicBezTo>
                    <a:pt x="-2" y="17600"/>
                    <a:pt x="625" y="19185"/>
                    <a:pt x="1572" y="19961"/>
                  </a:cubicBezTo>
                  <a:lnTo>
                    <a:pt x="2827" y="20988"/>
                  </a:lnTo>
                  <a:cubicBezTo>
                    <a:pt x="2816" y="20980"/>
                    <a:pt x="2807" y="20969"/>
                    <a:pt x="2797" y="20961"/>
                  </a:cubicBezTo>
                  <a:cubicBezTo>
                    <a:pt x="3327" y="21409"/>
                    <a:pt x="3957" y="21600"/>
                    <a:pt x="4637" y="21457"/>
                  </a:cubicBezTo>
                  <a:lnTo>
                    <a:pt x="18692" y="18484"/>
                  </a:lnTo>
                  <a:cubicBezTo>
                    <a:pt x="20289" y="18147"/>
                    <a:pt x="21587" y="15767"/>
                    <a:pt x="21591" y="13171"/>
                  </a:cubicBezTo>
                  <a:cubicBezTo>
                    <a:pt x="21598" y="11486"/>
                    <a:pt x="21055" y="10125"/>
                    <a:pt x="20237" y="9470"/>
                  </a:cubicBezTo>
                  <a:close/>
                </a:path>
              </a:pathLst>
            </a:custGeom>
            <a:solidFill>
              <a:schemeClr val="accent3">
                <a:lumMod val="60000"/>
                <a:lumOff val="40000"/>
              </a:schemeClr>
            </a:solidFill>
            <a:ln w="12700">
              <a:miter lim="400000"/>
            </a:ln>
            <a:effectLst>
              <a:outerShdw blurRad="165100" dist="63500" dir="13500000" algn="br" rotWithShape="0">
                <a:prstClr val="black">
                  <a:alpha val="40000"/>
                </a:prstClr>
              </a:outerShdw>
            </a:effectLst>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Shape">
              <a:extLst>
                <a:ext uri="{FF2B5EF4-FFF2-40B4-BE49-F238E27FC236}">
                  <a16:creationId xmlns:a16="http://schemas.microsoft.com/office/drawing/2014/main" id="{7BFBE42C-70F1-41BD-A51D-2B1961EF1DE6}"/>
                </a:ext>
              </a:extLst>
            </p:cNvPr>
            <p:cNvSpPr/>
            <p:nvPr/>
          </p:nvSpPr>
          <p:spPr>
            <a:xfrm>
              <a:off x="16040100" y="3302000"/>
              <a:ext cx="1442340" cy="965747"/>
            </a:xfrm>
            <a:custGeom>
              <a:avLst/>
              <a:gdLst/>
              <a:ahLst/>
              <a:cxnLst>
                <a:cxn ang="0">
                  <a:pos x="wd2" y="hd2"/>
                </a:cxn>
                <a:cxn ang="5400000">
                  <a:pos x="wd2" y="hd2"/>
                </a:cxn>
                <a:cxn ang="10800000">
                  <a:pos x="wd2" y="hd2"/>
                </a:cxn>
                <a:cxn ang="16200000">
                  <a:pos x="wd2" y="hd2"/>
                </a:cxn>
              </a:cxnLst>
              <a:rect l="0" t="0" r="r" b="b"/>
              <a:pathLst>
                <a:path w="21592" h="20948" extrusionOk="0">
                  <a:moveTo>
                    <a:pt x="9185" y="60"/>
                  </a:moveTo>
                  <a:cubicBezTo>
                    <a:pt x="10932" y="-295"/>
                    <a:pt x="12443" y="953"/>
                    <a:pt x="13187" y="3077"/>
                  </a:cubicBezTo>
                  <a:cubicBezTo>
                    <a:pt x="13706" y="2520"/>
                    <a:pt x="14303" y="2140"/>
                    <a:pt x="14938" y="2011"/>
                  </a:cubicBezTo>
                  <a:cubicBezTo>
                    <a:pt x="16925" y="1606"/>
                    <a:pt x="18533" y="3799"/>
                    <a:pt x="18529" y="6906"/>
                  </a:cubicBezTo>
                  <a:cubicBezTo>
                    <a:pt x="18529" y="7371"/>
                    <a:pt x="18491" y="7832"/>
                    <a:pt x="18423" y="8278"/>
                  </a:cubicBezTo>
                  <a:cubicBezTo>
                    <a:pt x="18457" y="8270"/>
                    <a:pt x="18493" y="8259"/>
                    <a:pt x="18527" y="8253"/>
                  </a:cubicBezTo>
                  <a:cubicBezTo>
                    <a:pt x="20223" y="7909"/>
                    <a:pt x="21596" y="9779"/>
                    <a:pt x="21592" y="12432"/>
                  </a:cubicBezTo>
                  <a:cubicBezTo>
                    <a:pt x="21588" y="15085"/>
                    <a:pt x="20210" y="17514"/>
                    <a:pt x="18514" y="17862"/>
                  </a:cubicBezTo>
                  <a:lnTo>
                    <a:pt x="3591" y="20900"/>
                  </a:lnTo>
                  <a:cubicBezTo>
                    <a:pt x="1603" y="21305"/>
                    <a:pt x="-4" y="19112"/>
                    <a:pt x="0" y="16005"/>
                  </a:cubicBezTo>
                  <a:cubicBezTo>
                    <a:pt x="4" y="12898"/>
                    <a:pt x="1618" y="10049"/>
                    <a:pt x="3605" y="9644"/>
                  </a:cubicBezTo>
                  <a:cubicBezTo>
                    <a:pt x="4029" y="9559"/>
                    <a:pt x="4433" y="9592"/>
                    <a:pt x="4812" y="9724"/>
                  </a:cubicBezTo>
                  <a:cubicBezTo>
                    <a:pt x="4722" y="9187"/>
                    <a:pt x="4675" y="8614"/>
                    <a:pt x="4675" y="8016"/>
                  </a:cubicBezTo>
                  <a:cubicBezTo>
                    <a:pt x="4681" y="4126"/>
                    <a:pt x="6700" y="564"/>
                    <a:pt x="9185" y="60"/>
                  </a:cubicBezTo>
                  <a:close/>
                </a:path>
              </a:pathLst>
            </a:custGeom>
            <a:solidFill>
              <a:schemeClr val="accent3">
                <a:lumMod val="40000"/>
                <a:lumOff val="60000"/>
              </a:schemeClr>
            </a:solidFill>
            <a:ln w="12700">
              <a:miter lim="400000"/>
            </a:ln>
          </p:spPr>
          <p:txBody>
            <a:bodyPr lIns="1152000" tIns="360000" rIns="11520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1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pSp>
      <p:grpSp>
        <p:nvGrpSpPr>
          <p:cNvPr id="3" name="Graphic 11" descr="Lightbulb">
            <a:extLst>
              <a:ext uri="{FF2B5EF4-FFF2-40B4-BE49-F238E27FC236}">
                <a16:creationId xmlns:a16="http://schemas.microsoft.com/office/drawing/2014/main" id="{189FE366-19E3-4A59-9782-8ED7113ECCE9}"/>
              </a:ext>
            </a:extLst>
          </p:cNvPr>
          <p:cNvGrpSpPr/>
          <p:nvPr/>
        </p:nvGrpSpPr>
        <p:grpSpPr>
          <a:xfrm>
            <a:off x="6945409" y="1261185"/>
            <a:ext cx="740704" cy="740704"/>
            <a:chOff x="6926177" y="1013535"/>
            <a:chExt cx="740704" cy="740704"/>
          </a:xfrm>
        </p:grpSpPr>
        <p:sp>
          <p:nvSpPr>
            <p:cNvPr id="4" name="Freeform: Shape 3">
              <a:extLst>
                <a:ext uri="{FF2B5EF4-FFF2-40B4-BE49-F238E27FC236}">
                  <a16:creationId xmlns:a16="http://schemas.microsoft.com/office/drawing/2014/main" id="{6FAE064E-ADF5-4C6B-9F11-A836C6B1F787}"/>
                </a:ext>
              </a:extLst>
            </p:cNvPr>
            <p:cNvSpPr/>
            <p:nvPr/>
          </p:nvSpPr>
          <p:spPr>
            <a:xfrm>
              <a:off x="7196225" y="1507337"/>
              <a:ext cx="200607" cy="46294"/>
            </a:xfrm>
            <a:custGeom>
              <a:avLst/>
              <a:gdLst>
                <a:gd name="connsiteX0" fmla="*/ 23147 w 200607"/>
                <a:gd name="connsiteY0" fmla="*/ 0 h 46294"/>
                <a:gd name="connsiteX1" fmla="*/ 177460 w 200607"/>
                <a:gd name="connsiteY1" fmla="*/ 0 h 46294"/>
                <a:gd name="connsiteX2" fmla="*/ 200607 w 200607"/>
                <a:gd name="connsiteY2" fmla="*/ 23147 h 46294"/>
                <a:gd name="connsiteX3" fmla="*/ 177460 w 200607"/>
                <a:gd name="connsiteY3" fmla="*/ 46294 h 46294"/>
                <a:gd name="connsiteX4" fmla="*/ 23147 w 200607"/>
                <a:gd name="connsiteY4" fmla="*/ 46294 h 46294"/>
                <a:gd name="connsiteX5" fmla="*/ 0 w 200607"/>
                <a:gd name="connsiteY5" fmla="*/ 23147 h 46294"/>
                <a:gd name="connsiteX6" fmla="*/ 23147 w 200607"/>
                <a:gd name="connsiteY6" fmla="*/ 0 h 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7" h="46294">
                  <a:moveTo>
                    <a:pt x="23147" y="0"/>
                  </a:moveTo>
                  <a:lnTo>
                    <a:pt x="177460" y="0"/>
                  </a:lnTo>
                  <a:cubicBezTo>
                    <a:pt x="190577" y="0"/>
                    <a:pt x="200607" y="10030"/>
                    <a:pt x="200607" y="23147"/>
                  </a:cubicBezTo>
                  <a:cubicBezTo>
                    <a:pt x="200607" y="36264"/>
                    <a:pt x="190577" y="46294"/>
                    <a:pt x="177460" y="46294"/>
                  </a:cubicBezTo>
                  <a:lnTo>
                    <a:pt x="23147" y="46294"/>
                  </a:lnTo>
                  <a:cubicBezTo>
                    <a:pt x="10030" y="46294"/>
                    <a:pt x="0" y="36264"/>
                    <a:pt x="0" y="23147"/>
                  </a:cubicBezTo>
                  <a:cubicBezTo>
                    <a:pt x="0" y="10030"/>
                    <a:pt x="10030" y="0"/>
                    <a:pt x="23147" y="0"/>
                  </a:cubicBezTo>
                  <a:close/>
                </a:path>
              </a:pathLst>
            </a:custGeom>
            <a:solidFill>
              <a:schemeClr val="bg1"/>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B4CA4AB9-7D5E-4865-BC21-A03B08924875}"/>
                </a:ext>
              </a:extLst>
            </p:cNvPr>
            <p:cNvSpPr/>
            <p:nvPr/>
          </p:nvSpPr>
          <p:spPr>
            <a:xfrm>
              <a:off x="7196225" y="1584494"/>
              <a:ext cx="200607" cy="46294"/>
            </a:xfrm>
            <a:custGeom>
              <a:avLst/>
              <a:gdLst>
                <a:gd name="connsiteX0" fmla="*/ 23147 w 200607"/>
                <a:gd name="connsiteY0" fmla="*/ 0 h 46294"/>
                <a:gd name="connsiteX1" fmla="*/ 177460 w 200607"/>
                <a:gd name="connsiteY1" fmla="*/ 0 h 46294"/>
                <a:gd name="connsiteX2" fmla="*/ 200607 w 200607"/>
                <a:gd name="connsiteY2" fmla="*/ 23147 h 46294"/>
                <a:gd name="connsiteX3" fmla="*/ 177460 w 200607"/>
                <a:gd name="connsiteY3" fmla="*/ 46294 h 46294"/>
                <a:gd name="connsiteX4" fmla="*/ 23147 w 200607"/>
                <a:gd name="connsiteY4" fmla="*/ 46294 h 46294"/>
                <a:gd name="connsiteX5" fmla="*/ 0 w 200607"/>
                <a:gd name="connsiteY5" fmla="*/ 23147 h 46294"/>
                <a:gd name="connsiteX6" fmla="*/ 23147 w 200607"/>
                <a:gd name="connsiteY6" fmla="*/ 0 h 4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7" h="46294">
                  <a:moveTo>
                    <a:pt x="23147" y="0"/>
                  </a:moveTo>
                  <a:lnTo>
                    <a:pt x="177460" y="0"/>
                  </a:lnTo>
                  <a:cubicBezTo>
                    <a:pt x="190577" y="0"/>
                    <a:pt x="200607" y="10030"/>
                    <a:pt x="200607" y="23147"/>
                  </a:cubicBezTo>
                  <a:cubicBezTo>
                    <a:pt x="200607" y="36264"/>
                    <a:pt x="190577" y="46294"/>
                    <a:pt x="177460" y="46294"/>
                  </a:cubicBezTo>
                  <a:lnTo>
                    <a:pt x="23147" y="46294"/>
                  </a:lnTo>
                  <a:cubicBezTo>
                    <a:pt x="10030" y="46294"/>
                    <a:pt x="0" y="36264"/>
                    <a:pt x="0" y="23147"/>
                  </a:cubicBezTo>
                  <a:cubicBezTo>
                    <a:pt x="0" y="10030"/>
                    <a:pt x="10030" y="0"/>
                    <a:pt x="23147" y="0"/>
                  </a:cubicBezTo>
                  <a:close/>
                </a:path>
              </a:pathLst>
            </a:custGeom>
            <a:solidFill>
              <a:schemeClr val="bg1"/>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747F259E-2A6D-4414-9993-11640FA3D18B}"/>
                </a:ext>
              </a:extLst>
            </p:cNvPr>
            <p:cNvSpPr/>
            <p:nvPr/>
          </p:nvSpPr>
          <p:spPr>
            <a:xfrm>
              <a:off x="7246377" y="1661651"/>
              <a:ext cx="100303" cy="46294"/>
            </a:xfrm>
            <a:custGeom>
              <a:avLst/>
              <a:gdLst>
                <a:gd name="connsiteX0" fmla="*/ 0 w 100303"/>
                <a:gd name="connsiteY0" fmla="*/ 0 h 46294"/>
                <a:gd name="connsiteX1" fmla="*/ 50152 w 100303"/>
                <a:gd name="connsiteY1" fmla="*/ 46294 h 46294"/>
                <a:gd name="connsiteX2" fmla="*/ 100304 w 100303"/>
                <a:gd name="connsiteY2" fmla="*/ 0 h 46294"/>
                <a:gd name="connsiteX3" fmla="*/ 0 w 100303"/>
                <a:gd name="connsiteY3" fmla="*/ 0 h 46294"/>
              </a:gdLst>
              <a:ahLst/>
              <a:cxnLst>
                <a:cxn ang="0">
                  <a:pos x="connsiteX0" y="connsiteY0"/>
                </a:cxn>
                <a:cxn ang="0">
                  <a:pos x="connsiteX1" y="connsiteY1"/>
                </a:cxn>
                <a:cxn ang="0">
                  <a:pos x="connsiteX2" y="connsiteY2"/>
                </a:cxn>
                <a:cxn ang="0">
                  <a:pos x="connsiteX3" y="connsiteY3"/>
                </a:cxn>
              </a:cxnLst>
              <a:rect l="l" t="t" r="r" b="b"/>
              <a:pathLst>
                <a:path w="100303" h="46294">
                  <a:moveTo>
                    <a:pt x="0" y="0"/>
                  </a:moveTo>
                  <a:cubicBezTo>
                    <a:pt x="2315" y="26233"/>
                    <a:pt x="23919" y="46294"/>
                    <a:pt x="50152" y="46294"/>
                  </a:cubicBezTo>
                  <a:cubicBezTo>
                    <a:pt x="76385" y="46294"/>
                    <a:pt x="97989" y="26233"/>
                    <a:pt x="100304" y="0"/>
                  </a:cubicBezTo>
                  <a:lnTo>
                    <a:pt x="0" y="0"/>
                  </a:lnTo>
                  <a:close/>
                </a:path>
              </a:pathLst>
            </a:custGeom>
            <a:solidFill>
              <a:schemeClr val="bg1"/>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1D73496A-C5CA-4881-BBDD-B8D3FC9C4E85}"/>
                </a:ext>
              </a:extLst>
            </p:cNvPr>
            <p:cNvSpPr/>
            <p:nvPr/>
          </p:nvSpPr>
          <p:spPr>
            <a:xfrm>
              <a:off x="7095921" y="1059829"/>
              <a:ext cx="401214" cy="416646"/>
            </a:xfrm>
            <a:custGeom>
              <a:avLst/>
              <a:gdLst>
                <a:gd name="connsiteX0" fmla="*/ 200607 w 401214"/>
                <a:gd name="connsiteY0" fmla="*/ 0 h 416646"/>
                <a:gd name="connsiteX1" fmla="*/ 200607 w 401214"/>
                <a:gd name="connsiteY1" fmla="*/ 0 h 416646"/>
                <a:gd name="connsiteX2" fmla="*/ 200607 w 401214"/>
                <a:gd name="connsiteY2" fmla="*/ 0 h 416646"/>
                <a:gd name="connsiteX3" fmla="*/ 0 w 401214"/>
                <a:gd name="connsiteY3" fmla="*/ 198293 h 416646"/>
                <a:gd name="connsiteX4" fmla="*/ 0 w 401214"/>
                <a:gd name="connsiteY4" fmla="*/ 205237 h 416646"/>
                <a:gd name="connsiteX5" fmla="*/ 13888 w 401214"/>
                <a:gd name="connsiteY5" fmla="*/ 274678 h 416646"/>
                <a:gd name="connsiteX6" fmla="*/ 48609 w 401214"/>
                <a:gd name="connsiteY6" fmla="*/ 331774 h 416646"/>
                <a:gd name="connsiteX7" fmla="*/ 95674 w 401214"/>
                <a:gd name="connsiteY7" fmla="*/ 408159 h 416646"/>
                <a:gd name="connsiteX8" fmla="*/ 109562 w 401214"/>
                <a:gd name="connsiteY8" fmla="*/ 416646 h 416646"/>
                <a:gd name="connsiteX9" fmla="*/ 291652 w 401214"/>
                <a:gd name="connsiteY9" fmla="*/ 416646 h 416646"/>
                <a:gd name="connsiteX10" fmla="*/ 305540 w 401214"/>
                <a:gd name="connsiteY10" fmla="*/ 408159 h 416646"/>
                <a:gd name="connsiteX11" fmla="*/ 352606 w 401214"/>
                <a:gd name="connsiteY11" fmla="*/ 331774 h 416646"/>
                <a:gd name="connsiteX12" fmla="*/ 387326 w 401214"/>
                <a:gd name="connsiteY12" fmla="*/ 274678 h 416646"/>
                <a:gd name="connsiteX13" fmla="*/ 401215 w 401214"/>
                <a:gd name="connsiteY13" fmla="*/ 205237 h 416646"/>
                <a:gd name="connsiteX14" fmla="*/ 401215 w 401214"/>
                <a:gd name="connsiteY14" fmla="*/ 198293 h 416646"/>
                <a:gd name="connsiteX15" fmla="*/ 200607 w 401214"/>
                <a:gd name="connsiteY15" fmla="*/ 0 h 416646"/>
                <a:gd name="connsiteX16" fmla="*/ 354921 w 401214"/>
                <a:gd name="connsiteY16" fmla="*/ 204465 h 416646"/>
                <a:gd name="connsiteX17" fmla="*/ 344119 w 401214"/>
                <a:gd name="connsiteY17" fmla="*/ 258475 h 416646"/>
                <a:gd name="connsiteX18" fmla="*/ 317885 w 401214"/>
                <a:gd name="connsiteY18" fmla="*/ 300911 h 416646"/>
                <a:gd name="connsiteX19" fmla="*/ 273135 w 401214"/>
                <a:gd name="connsiteY19" fmla="*/ 370352 h 416646"/>
                <a:gd name="connsiteX20" fmla="*/ 200607 w 401214"/>
                <a:gd name="connsiteY20" fmla="*/ 370352 h 416646"/>
                <a:gd name="connsiteX21" fmla="*/ 128852 w 401214"/>
                <a:gd name="connsiteY21" fmla="*/ 370352 h 416646"/>
                <a:gd name="connsiteX22" fmla="*/ 84101 w 401214"/>
                <a:gd name="connsiteY22" fmla="*/ 300911 h 416646"/>
                <a:gd name="connsiteX23" fmla="*/ 57868 w 401214"/>
                <a:gd name="connsiteY23" fmla="*/ 258475 h 416646"/>
                <a:gd name="connsiteX24" fmla="*/ 47066 w 401214"/>
                <a:gd name="connsiteY24" fmla="*/ 204465 h 416646"/>
                <a:gd name="connsiteX25" fmla="*/ 47066 w 401214"/>
                <a:gd name="connsiteY25" fmla="*/ 198293 h 416646"/>
                <a:gd name="connsiteX26" fmla="*/ 201379 w 401214"/>
                <a:gd name="connsiteY26" fmla="*/ 45522 h 416646"/>
                <a:gd name="connsiteX27" fmla="*/ 201379 w 401214"/>
                <a:gd name="connsiteY27" fmla="*/ 45522 h 416646"/>
                <a:gd name="connsiteX28" fmla="*/ 201379 w 401214"/>
                <a:gd name="connsiteY28" fmla="*/ 45522 h 416646"/>
                <a:gd name="connsiteX29" fmla="*/ 201379 w 401214"/>
                <a:gd name="connsiteY29" fmla="*/ 45522 h 416646"/>
                <a:gd name="connsiteX30" fmla="*/ 201379 w 401214"/>
                <a:gd name="connsiteY30" fmla="*/ 45522 h 416646"/>
                <a:gd name="connsiteX31" fmla="*/ 201379 w 401214"/>
                <a:gd name="connsiteY31" fmla="*/ 45522 h 416646"/>
                <a:gd name="connsiteX32" fmla="*/ 201379 w 401214"/>
                <a:gd name="connsiteY32" fmla="*/ 45522 h 416646"/>
                <a:gd name="connsiteX33" fmla="*/ 355692 w 401214"/>
                <a:gd name="connsiteY33" fmla="*/ 198293 h 416646"/>
                <a:gd name="connsiteX34" fmla="*/ 355692 w 401214"/>
                <a:gd name="connsiteY34" fmla="*/ 204465 h 41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1214" h="416646">
                  <a:moveTo>
                    <a:pt x="200607" y="0"/>
                  </a:moveTo>
                  <a:cubicBezTo>
                    <a:pt x="200607" y="0"/>
                    <a:pt x="200607" y="0"/>
                    <a:pt x="200607" y="0"/>
                  </a:cubicBezTo>
                  <a:cubicBezTo>
                    <a:pt x="200607" y="0"/>
                    <a:pt x="200607" y="0"/>
                    <a:pt x="200607" y="0"/>
                  </a:cubicBezTo>
                  <a:cubicBezTo>
                    <a:pt x="91045" y="772"/>
                    <a:pt x="2315" y="88730"/>
                    <a:pt x="0" y="198293"/>
                  </a:cubicBezTo>
                  <a:lnTo>
                    <a:pt x="0" y="205237"/>
                  </a:lnTo>
                  <a:cubicBezTo>
                    <a:pt x="772" y="229155"/>
                    <a:pt x="5401" y="252302"/>
                    <a:pt x="13888" y="274678"/>
                  </a:cubicBezTo>
                  <a:cubicBezTo>
                    <a:pt x="22375" y="295510"/>
                    <a:pt x="33949" y="314799"/>
                    <a:pt x="48609" y="331774"/>
                  </a:cubicBezTo>
                  <a:cubicBezTo>
                    <a:pt x="67126" y="351834"/>
                    <a:pt x="87187" y="391184"/>
                    <a:pt x="95674" y="408159"/>
                  </a:cubicBezTo>
                  <a:cubicBezTo>
                    <a:pt x="97989" y="413560"/>
                    <a:pt x="103390" y="416646"/>
                    <a:pt x="109562" y="416646"/>
                  </a:cubicBezTo>
                  <a:lnTo>
                    <a:pt x="291652" y="416646"/>
                  </a:lnTo>
                  <a:cubicBezTo>
                    <a:pt x="297825" y="416646"/>
                    <a:pt x="303226" y="413560"/>
                    <a:pt x="305540" y="408159"/>
                  </a:cubicBezTo>
                  <a:cubicBezTo>
                    <a:pt x="314028" y="391184"/>
                    <a:pt x="334088" y="351834"/>
                    <a:pt x="352606" y="331774"/>
                  </a:cubicBezTo>
                  <a:cubicBezTo>
                    <a:pt x="367266" y="314799"/>
                    <a:pt x="379611" y="295510"/>
                    <a:pt x="387326" y="274678"/>
                  </a:cubicBezTo>
                  <a:cubicBezTo>
                    <a:pt x="395814" y="252302"/>
                    <a:pt x="400443" y="229155"/>
                    <a:pt x="401215" y="205237"/>
                  </a:cubicBezTo>
                  <a:lnTo>
                    <a:pt x="401215" y="198293"/>
                  </a:lnTo>
                  <a:cubicBezTo>
                    <a:pt x="398900" y="88730"/>
                    <a:pt x="310170" y="772"/>
                    <a:pt x="200607" y="0"/>
                  </a:cubicBezTo>
                  <a:close/>
                  <a:moveTo>
                    <a:pt x="354921" y="204465"/>
                  </a:moveTo>
                  <a:cubicBezTo>
                    <a:pt x="354149" y="222983"/>
                    <a:pt x="350291" y="241500"/>
                    <a:pt x="344119" y="258475"/>
                  </a:cubicBezTo>
                  <a:cubicBezTo>
                    <a:pt x="337946" y="273906"/>
                    <a:pt x="329459" y="288566"/>
                    <a:pt x="317885" y="300911"/>
                  </a:cubicBezTo>
                  <a:cubicBezTo>
                    <a:pt x="300139" y="322515"/>
                    <a:pt x="284708" y="345662"/>
                    <a:pt x="273135" y="370352"/>
                  </a:cubicBezTo>
                  <a:lnTo>
                    <a:pt x="200607" y="370352"/>
                  </a:lnTo>
                  <a:lnTo>
                    <a:pt x="128852" y="370352"/>
                  </a:lnTo>
                  <a:cubicBezTo>
                    <a:pt x="116507" y="345662"/>
                    <a:pt x="101075" y="322515"/>
                    <a:pt x="84101" y="300911"/>
                  </a:cubicBezTo>
                  <a:cubicBezTo>
                    <a:pt x="73299" y="288566"/>
                    <a:pt x="64040" y="273906"/>
                    <a:pt x="57868" y="258475"/>
                  </a:cubicBezTo>
                  <a:cubicBezTo>
                    <a:pt x="50923" y="241500"/>
                    <a:pt x="47837" y="222983"/>
                    <a:pt x="47066" y="204465"/>
                  </a:cubicBezTo>
                  <a:lnTo>
                    <a:pt x="47066" y="198293"/>
                  </a:lnTo>
                  <a:cubicBezTo>
                    <a:pt x="48609" y="114192"/>
                    <a:pt x="117278" y="46294"/>
                    <a:pt x="201379" y="45522"/>
                  </a:cubicBezTo>
                  <a:lnTo>
                    <a:pt x="201379" y="45522"/>
                  </a:lnTo>
                  <a:lnTo>
                    <a:pt x="201379" y="45522"/>
                  </a:lnTo>
                  <a:cubicBezTo>
                    <a:pt x="201379" y="45522"/>
                    <a:pt x="201379" y="45522"/>
                    <a:pt x="201379" y="45522"/>
                  </a:cubicBezTo>
                  <a:cubicBezTo>
                    <a:pt x="201379" y="45522"/>
                    <a:pt x="201379" y="45522"/>
                    <a:pt x="201379" y="45522"/>
                  </a:cubicBezTo>
                  <a:lnTo>
                    <a:pt x="201379" y="45522"/>
                  </a:lnTo>
                  <a:lnTo>
                    <a:pt x="201379" y="45522"/>
                  </a:lnTo>
                  <a:cubicBezTo>
                    <a:pt x="285480" y="46294"/>
                    <a:pt x="354149" y="113420"/>
                    <a:pt x="355692" y="198293"/>
                  </a:cubicBezTo>
                  <a:lnTo>
                    <a:pt x="355692" y="204465"/>
                  </a:lnTo>
                  <a:close/>
                </a:path>
              </a:pathLst>
            </a:custGeom>
            <a:solidFill>
              <a:schemeClr val="bg1"/>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 name="Graphic 10" descr="Puzzle">
            <a:extLst>
              <a:ext uri="{FF2B5EF4-FFF2-40B4-BE49-F238E27FC236}">
                <a16:creationId xmlns:a16="http://schemas.microsoft.com/office/drawing/2014/main" id="{8B0EF5BC-0472-4695-BE67-F2C992D31FC4}"/>
              </a:ext>
            </a:extLst>
          </p:cNvPr>
          <p:cNvSpPr/>
          <p:nvPr/>
        </p:nvSpPr>
        <p:spPr>
          <a:xfrm>
            <a:off x="7652823" y="2318838"/>
            <a:ext cx="617253" cy="617253"/>
          </a:xfrm>
          <a:custGeom>
            <a:avLst/>
            <a:gdLst>
              <a:gd name="connsiteX0" fmla="*/ 398900 w 617253"/>
              <a:gd name="connsiteY0" fmla="*/ 468341 h 617253"/>
              <a:gd name="connsiteX1" fmla="*/ 365723 w 617253"/>
              <a:gd name="connsiteY1" fmla="*/ 366494 h 617253"/>
              <a:gd name="connsiteX2" fmla="*/ 371124 w 617253"/>
              <a:gd name="connsiteY2" fmla="*/ 361093 h 617253"/>
              <a:gd name="connsiteX3" fmla="*/ 474514 w 617253"/>
              <a:gd name="connsiteY3" fmla="*/ 392727 h 617253"/>
              <a:gd name="connsiteX4" fmla="*/ 529295 w 617253"/>
              <a:gd name="connsiteY4" fmla="*/ 436707 h 617253"/>
              <a:gd name="connsiteX5" fmla="*/ 617253 w 617253"/>
              <a:gd name="connsiteY5" fmla="*/ 348748 h 617253"/>
              <a:gd name="connsiteX6" fmla="*/ 486087 w 617253"/>
              <a:gd name="connsiteY6" fmla="*/ 217582 h 617253"/>
              <a:gd name="connsiteX7" fmla="*/ 530066 w 617253"/>
              <a:gd name="connsiteY7" fmla="*/ 162801 h 617253"/>
              <a:gd name="connsiteX8" fmla="*/ 561701 w 617253"/>
              <a:gd name="connsiteY8" fmla="*/ 59411 h 617253"/>
              <a:gd name="connsiteX9" fmla="*/ 556300 w 617253"/>
              <a:gd name="connsiteY9" fmla="*/ 54010 h 617253"/>
              <a:gd name="connsiteX10" fmla="*/ 454453 w 617253"/>
              <a:gd name="connsiteY10" fmla="*/ 87187 h 617253"/>
              <a:gd name="connsiteX11" fmla="*/ 399672 w 617253"/>
              <a:gd name="connsiteY11" fmla="*/ 131166 h 617253"/>
              <a:gd name="connsiteX12" fmla="*/ 268505 w 617253"/>
              <a:gd name="connsiteY12" fmla="*/ 0 h 617253"/>
              <a:gd name="connsiteX13" fmla="*/ 179775 w 617253"/>
              <a:gd name="connsiteY13" fmla="*/ 87959 h 617253"/>
              <a:gd name="connsiteX14" fmla="*/ 223754 w 617253"/>
              <a:gd name="connsiteY14" fmla="*/ 142740 h 617253"/>
              <a:gd name="connsiteX15" fmla="*/ 256932 w 617253"/>
              <a:gd name="connsiteY15" fmla="*/ 244587 h 617253"/>
              <a:gd name="connsiteX16" fmla="*/ 251531 w 617253"/>
              <a:gd name="connsiteY16" fmla="*/ 249988 h 617253"/>
              <a:gd name="connsiteX17" fmla="*/ 148141 w 617253"/>
              <a:gd name="connsiteY17" fmla="*/ 218353 h 617253"/>
              <a:gd name="connsiteX18" fmla="*/ 93360 w 617253"/>
              <a:gd name="connsiteY18" fmla="*/ 174374 h 617253"/>
              <a:gd name="connsiteX19" fmla="*/ 0 w 617253"/>
              <a:gd name="connsiteY19" fmla="*/ 268505 h 617253"/>
              <a:gd name="connsiteX20" fmla="*/ 131166 w 617253"/>
              <a:gd name="connsiteY20" fmla="*/ 399672 h 617253"/>
              <a:gd name="connsiteX21" fmla="*/ 87187 w 617253"/>
              <a:gd name="connsiteY21" fmla="*/ 454453 h 617253"/>
              <a:gd name="connsiteX22" fmla="*/ 55553 w 617253"/>
              <a:gd name="connsiteY22" fmla="*/ 557843 h 617253"/>
              <a:gd name="connsiteX23" fmla="*/ 60954 w 617253"/>
              <a:gd name="connsiteY23" fmla="*/ 563244 h 617253"/>
              <a:gd name="connsiteX24" fmla="*/ 162801 w 617253"/>
              <a:gd name="connsiteY24" fmla="*/ 530066 h 617253"/>
              <a:gd name="connsiteX25" fmla="*/ 217582 w 617253"/>
              <a:gd name="connsiteY25" fmla="*/ 486087 h 617253"/>
              <a:gd name="connsiteX26" fmla="*/ 348748 w 617253"/>
              <a:gd name="connsiteY26" fmla="*/ 617253 h 617253"/>
              <a:gd name="connsiteX27" fmla="*/ 442879 w 617253"/>
              <a:gd name="connsiteY27" fmla="*/ 523122 h 617253"/>
              <a:gd name="connsiteX28" fmla="*/ 398900 w 617253"/>
              <a:gd name="connsiteY28" fmla="*/ 468341 h 61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7253" h="617253">
                <a:moveTo>
                  <a:pt x="398900" y="468341"/>
                </a:moveTo>
                <a:cubicBezTo>
                  <a:pt x="347977" y="469884"/>
                  <a:pt x="329459" y="404301"/>
                  <a:pt x="365723" y="366494"/>
                </a:cubicBezTo>
                <a:lnTo>
                  <a:pt x="371124" y="361093"/>
                </a:lnTo>
                <a:cubicBezTo>
                  <a:pt x="408930" y="324830"/>
                  <a:pt x="476057" y="341804"/>
                  <a:pt x="474514" y="392727"/>
                </a:cubicBezTo>
                <a:cubicBezTo>
                  <a:pt x="473742" y="422047"/>
                  <a:pt x="508462" y="457539"/>
                  <a:pt x="529295" y="436707"/>
                </a:cubicBezTo>
                <a:lnTo>
                  <a:pt x="617253" y="348748"/>
                </a:lnTo>
                <a:lnTo>
                  <a:pt x="486087" y="217582"/>
                </a:lnTo>
                <a:cubicBezTo>
                  <a:pt x="465255" y="196750"/>
                  <a:pt x="500747" y="162029"/>
                  <a:pt x="530066" y="162801"/>
                </a:cubicBezTo>
                <a:cubicBezTo>
                  <a:pt x="580990" y="164344"/>
                  <a:pt x="597964" y="97217"/>
                  <a:pt x="561701" y="59411"/>
                </a:cubicBezTo>
                <a:lnTo>
                  <a:pt x="556300" y="54010"/>
                </a:lnTo>
                <a:cubicBezTo>
                  <a:pt x="518493" y="17746"/>
                  <a:pt x="452910" y="36264"/>
                  <a:pt x="454453" y="87187"/>
                </a:cubicBezTo>
                <a:cubicBezTo>
                  <a:pt x="455224" y="116507"/>
                  <a:pt x="420504" y="151999"/>
                  <a:pt x="399672" y="131166"/>
                </a:cubicBezTo>
                <a:lnTo>
                  <a:pt x="268505" y="0"/>
                </a:lnTo>
                <a:lnTo>
                  <a:pt x="179775" y="87959"/>
                </a:lnTo>
                <a:cubicBezTo>
                  <a:pt x="158943" y="108791"/>
                  <a:pt x="194435" y="143511"/>
                  <a:pt x="223754" y="142740"/>
                </a:cubicBezTo>
                <a:cubicBezTo>
                  <a:pt x="274678" y="141197"/>
                  <a:pt x="293195" y="206780"/>
                  <a:pt x="256932" y="244587"/>
                </a:cubicBezTo>
                <a:lnTo>
                  <a:pt x="251531" y="249988"/>
                </a:lnTo>
                <a:cubicBezTo>
                  <a:pt x="213724" y="286251"/>
                  <a:pt x="146598" y="269277"/>
                  <a:pt x="148141" y="218353"/>
                </a:cubicBezTo>
                <a:cubicBezTo>
                  <a:pt x="148912" y="189034"/>
                  <a:pt x="114192" y="153542"/>
                  <a:pt x="93360" y="174374"/>
                </a:cubicBezTo>
                <a:lnTo>
                  <a:pt x="0" y="268505"/>
                </a:lnTo>
                <a:lnTo>
                  <a:pt x="131166" y="399672"/>
                </a:lnTo>
                <a:cubicBezTo>
                  <a:pt x="151999" y="420504"/>
                  <a:pt x="116507" y="455224"/>
                  <a:pt x="87187" y="454453"/>
                </a:cubicBezTo>
                <a:cubicBezTo>
                  <a:pt x="36264" y="452910"/>
                  <a:pt x="19289" y="520036"/>
                  <a:pt x="55553" y="557843"/>
                </a:cubicBezTo>
                <a:lnTo>
                  <a:pt x="60954" y="563244"/>
                </a:lnTo>
                <a:cubicBezTo>
                  <a:pt x="98761" y="599507"/>
                  <a:pt x="164344" y="580990"/>
                  <a:pt x="162801" y="530066"/>
                </a:cubicBezTo>
                <a:cubicBezTo>
                  <a:pt x="162029" y="500747"/>
                  <a:pt x="196750" y="465255"/>
                  <a:pt x="217582" y="486087"/>
                </a:cubicBezTo>
                <a:lnTo>
                  <a:pt x="348748" y="617253"/>
                </a:lnTo>
                <a:lnTo>
                  <a:pt x="442879" y="523122"/>
                </a:lnTo>
                <a:cubicBezTo>
                  <a:pt x="463712" y="502290"/>
                  <a:pt x="428991" y="467569"/>
                  <a:pt x="398900" y="468341"/>
                </a:cubicBezTo>
                <a:close/>
              </a:path>
            </a:pathLst>
          </a:custGeom>
          <a:solidFill>
            <a:srgbClr val="000000"/>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 name="Graphic 9" descr="Users">
            <a:extLst>
              <a:ext uri="{FF2B5EF4-FFF2-40B4-BE49-F238E27FC236}">
                <a16:creationId xmlns:a16="http://schemas.microsoft.com/office/drawing/2014/main" id="{579DAACB-A66A-4360-A3D5-A8943B34F0C6}"/>
              </a:ext>
            </a:extLst>
          </p:cNvPr>
          <p:cNvGrpSpPr/>
          <p:nvPr/>
        </p:nvGrpSpPr>
        <p:grpSpPr>
          <a:xfrm>
            <a:off x="8361142" y="3487871"/>
            <a:ext cx="801956" cy="500268"/>
            <a:chOff x="8341910" y="3240221"/>
            <a:chExt cx="801956" cy="500268"/>
          </a:xfrm>
          <a:solidFill>
            <a:srgbClr val="000000"/>
          </a:solidFill>
        </p:grpSpPr>
        <p:sp>
          <p:nvSpPr>
            <p:cNvPr id="13" name="Freeform: Shape 12">
              <a:extLst>
                <a:ext uri="{FF2B5EF4-FFF2-40B4-BE49-F238E27FC236}">
                  <a16:creationId xmlns:a16="http://schemas.microsoft.com/office/drawing/2014/main" id="{2B971940-325E-436E-B072-80A459870ECD}"/>
                </a:ext>
              </a:extLst>
            </p:cNvPr>
            <p:cNvSpPr/>
            <p:nvPr/>
          </p:nvSpPr>
          <p:spPr>
            <a:xfrm>
              <a:off x="8427834" y="324022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A1E38DFD-DD0A-4357-A40E-89725E8A7653}"/>
                </a:ext>
              </a:extLst>
            </p:cNvPr>
            <p:cNvSpPr/>
            <p:nvPr/>
          </p:nvSpPr>
          <p:spPr>
            <a:xfrm>
              <a:off x="8886095" y="324022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3979F39-EE66-4BF6-9C79-6B3C1E0D8021}"/>
                </a:ext>
              </a:extLst>
            </p:cNvPr>
            <p:cNvSpPr/>
            <p:nvPr/>
          </p:nvSpPr>
          <p:spPr>
            <a:xfrm>
              <a:off x="8571041" y="3568642"/>
              <a:ext cx="343695" cy="171847"/>
            </a:xfrm>
            <a:custGeom>
              <a:avLst/>
              <a:gdLst>
                <a:gd name="connsiteX0" fmla="*/ 343696 w 343695"/>
                <a:gd name="connsiteY0" fmla="*/ 171848 h 171847"/>
                <a:gd name="connsiteX1" fmla="*/ 343696 w 343695"/>
                <a:gd name="connsiteY1" fmla="*/ 85924 h 171847"/>
                <a:gd name="connsiteX2" fmla="*/ 326511 w 343695"/>
                <a:gd name="connsiteY2" fmla="*/ 51554 h 171847"/>
                <a:gd name="connsiteX3" fmla="*/ 242496 w 343695"/>
                <a:gd name="connsiteY3" fmla="*/ 11457 h 171847"/>
                <a:gd name="connsiteX4" fmla="*/ 171848 w 343695"/>
                <a:gd name="connsiteY4" fmla="*/ 0 h 171847"/>
                <a:gd name="connsiteX5" fmla="*/ 101199 w 343695"/>
                <a:gd name="connsiteY5" fmla="*/ 11457 h 171847"/>
                <a:gd name="connsiteX6" fmla="*/ 17185 w 343695"/>
                <a:gd name="connsiteY6" fmla="*/ 51554 h 171847"/>
                <a:gd name="connsiteX7" fmla="*/ 0 w 343695"/>
                <a:gd name="connsiteY7" fmla="*/ 85924 h 171847"/>
                <a:gd name="connsiteX8" fmla="*/ 0 w 343695"/>
                <a:gd name="connsiteY8" fmla="*/ 171848 h 171847"/>
                <a:gd name="connsiteX9" fmla="*/ 343696 w 343695"/>
                <a:gd name="connsiteY9" fmla="*/ 171848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695" h="171847">
                  <a:moveTo>
                    <a:pt x="343696" y="171848"/>
                  </a:moveTo>
                  <a:lnTo>
                    <a:pt x="343696" y="85924"/>
                  </a:lnTo>
                  <a:cubicBezTo>
                    <a:pt x="343696" y="72558"/>
                    <a:pt x="337968" y="59192"/>
                    <a:pt x="326511" y="51554"/>
                  </a:cubicBezTo>
                  <a:cubicBezTo>
                    <a:pt x="303598" y="32460"/>
                    <a:pt x="273047" y="19094"/>
                    <a:pt x="242496" y="11457"/>
                  </a:cubicBezTo>
                  <a:cubicBezTo>
                    <a:pt x="221493" y="5728"/>
                    <a:pt x="196670" y="0"/>
                    <a:pt x="171848" y="0"/>
                  </a:cubicBezTo>
                  <a:cubicBezTo>
                    <a:pt x="148935" y="0"/>
                    <a:pt x="124112" y="3819"/>
                    <a:pt x="101199" y="11457"/>
                  </a:cubicBezTo>
                  <a:cubicBezTo>
                    <a:pt x="70649" y="19094"/>
                    <a:pt x="42007" y="34370"/>
                    <a:pt x="17185" y="51554"/>
                  </a:cubicBezTo>
                  <a:cubicBezTo>
                    <a:pt x="5728" y="61101"/>
                    <a:pt x="0" y="72558"/>
                    <a:pt x="0" y="85924"/>
                  </a:cubicBezTo>
                  <a:lnTo>
                    <a:pt x="0" y="171848"/>
                  </a:lnTo>
                  <a:lnTo>
                    <a:pt x="343696" y="17184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D11CED96-A326-4422-BF5F-ADF98390B131}"/>
                </a:ext>
              </a:extLst>
            </p:cNvPr>
            <p:cNvSpPr/>
            <p:nvPr/>
          </p:nvSpPr>
          <p:spPr>
            <a:xfrm>
              <a:off x="8656965" y="3373881"/>
              <a:ext cx="171847" cy="171847"/>
            </a:xfrm>
            <a:custGeom>
              <a:avLst/>
              <a:gdLst>
                <a:gd name="connsiteX0" fmla="*/ 171848 w 171847"/>
                <a:gd name="connsiteY0" fmla="*/ 85924 h 171847"/>
                <a:gd name="connsiteX1" fmla="*/ 85924 w 171847"/>
                <a:gd name="connsiteY1" fmla="*/ 171848 h 171847"/>
                <a:gd name="connsiteX2" fmla="*/ 0 w 171847"/>
                <a:gd name="connsiteY2" fmla="*/ 85924 h 171847"/>
                <a:gd name="connsiteX3" fmla="*/ 85924 w 171847"/>
                <a:gd name="connsiteY3" fmla="*/ 0 h 171847"/>
                <a:gd name="connsiteX4" fmla="*/ 171848 w 171847"/>
                <a:gd name="connsiteY4" fmla="*/ 85924 h 17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47" h="171847">
                  <a:moveTo>
                    <a:pt x="171848" y="85924"/>
                  </a:moveTo>
                  <a:cubicBezTo>
                    <a:pt x="171848" y="133378"/>
                    <a:pt x="133378" y="171848"/>
                    <a:pt x="85924" y="171848"/>
                  </a:cubicBezTo>
                  <a:cubicBezTo>
                    <a:pt x="38469" y="171848"/>
                    <a:pt x="0" y="133378"/>
                    <a:pt x="0" y="85924"/>
                  </a:cubicBezTo>
                  <a:cubicBezTo>
                    <a:pt x="0" y="38469"/>
                    <a:pt x="38469" y="0"/>
                    <a:pt x="85924" y="0"/>
                  </a:cubicBezTo>
                  <a:cubicBezTo>
                    <a:pt x="133378" y="0"/>
                    <a:pt x="171848" y="38469"/>
                    <a:pt x="171848" y="85924"/>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05C8155A-7147-4750-8997-68DC471C0761}"/>
                </a:ext>
              </a:extLst>
            </p:cNvPr>
            <p:cNvSpPr/>
            <p:nvPr/>
          </p:nvSpPr>
          <p:spPr>
            <a:xfrm>
              <a:off x="8832631" y="3434982"/>
              <a:ext cx="311235" cy="171847"/>
            </a:xfrm>
            <a:custGeom>
              <a:avLst/>
              <a:gdLst>
                <a:gd name="connsiteX0" fmla="*/ 294051 w 311235"/>
                <a:gd name="connsiteY0" fmla="*/ 51554 h 171847"/>
                <a:gd name="connsiteX1" fmla="*/ 210036 w 311235"/>
                <a:gd name="connsiteY1" fmla="*/ 11457 h 171847"/>
                <a:gd name="connsiteX2" fmla="*/ 139388 w 311235"/>
                <a:gd name="connsiteY2" fmla="*/ 0 h 171847"/>
                <a:gd name="connsiteX3" fmla="*/ 68739 w 311235"/>
                <a:gd name="connsiteY3" fmla="*/ 11457 h 171847"/>
                <a:gd name="connsiteX4" fmla="*/ 34370 w 311235"/>
                <a:gd name="connsiteY4" fmla="*/ 24822 h 171847"/>
                <a:gd name="connsiteX5" fmla="*/ 34370 w 311235"/>
                <a:gd name="connsiteY5" fmla="*/ 26732 h 171847"/>
                <a:gd name="connsiteX6" fmla="*/ 0 w 311235"/>
                <a:gd name="connsiteY6" fmla="*/ 110746 h 171847"/>
                <a:gd name="connsiteX7" fmla="*/ 87833 w 311235"/>
                <a:gd name="connsiteY7" fmla="*/ 154663 h 171847"/>
                <a:gd name="connsiteX8" fmla="*/ 103109 w 311235"/>
                <a:gd name="connsiteY8" fmla="*/ 171848 h 171847"/>
                <a:gd name="connsiteX9" fmla="*/ 311236 w 311235"/>
                <a:gd name="connsiteY9" fmla="*/ 171848 h 171847"/>
                <a:gd name="connsiteX10" fmla="*/ 311236 w 311235"/>
                <a:gd name="connsiteY10" fmla="*/ 85924 h 171847"/>
                <a:gd name="connsiteX11" fmla="*/ 294051 w 311235"/>
                <a:gd name="connsiteY11" fmla="*/ 51554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35" h="171847">
                  <a:moveTo>
                    <a:pt x="294051" y="51554"/>
                  </a:moveTo>
                  <a:cubicBezTo>
                    <a:pt x="271138" y="32460"/>
                    <a:pt x="240587" y="19094"/>
                    <a:pt x="210036" y="11457"/>
                  </a:cubicBezTo>
                  <a:cubicBezTo>
                    <a:pt x="189033" y="5728"/>
                    <a:pt x="164210" y="0"/>
                    <a:pt x="139388" y="0"/>
                  </a:cubicBezTo>
                  <a:cubicBezTo>
                    <a:pt x="116475" y="0"/>
                    <a:pt x="91652" y="3819"/>
                    <a:pt x="68739" y="11457"/>
                  </a:cubicBezTo>
                  <a:cubicBezTo>
                    <a:pt x="57283" y="15275"/>
                    <a:pt x="45826" y="19094"/>
                    <a:pt x="34370" y="24822"/>
                  </a:cubicBezTo>
                  <a:lnTo>
                    <a:pt x="34370" y="26732"/>
                  </a:lnTo>
                  <a:cubicBezTo>
                    <a:pt x="34370" y="59192"/>
                    <a:pt x="21004" y="89743"/>
                    <a:pt x="0" y="110746"/>
                  </a:cubicBezTo>
                  <a:cubicBezTo>
                    <a:pt x="36279" y="122203"/>
                    <a:pt x="64920" y="137478"/>
                    <a:pt x="87833" y="154663"/>
                  </a:cubicBezTo>
                  <a:cubicBezTo>
                    <a:pt x="93562" y="160391"/>
                    <a:pt x="99290" y="164210"/>
                    <a:pt x="103109" y="171848"/>
                  </a:cubicBezTo>
                  <a:lnTo>
                    <a:pt x="311236" y="171848"/>
                  </a:lnTo>
                  <a:lnTo>
                    <a:pt x="311236" y="85924"/>
                  </a:lnTo>
                  <a:cubicBezTo>
                    <a:pt x="311236" y="72558"/>
                    <a:pt x="305507" y="59192"/>
                    <a:pt x="294051" y="51554"/>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AFBAAAC6-0F3A-4065-B5A4-9ED114871635}"/>
                </a:ext>
              </a:extLst>
            </p:cNvPr>
            <p:cNvSpPr/>
            <p:nvPr/>
          </p:nvSpPr>
          <p:spPr>
            <a:xfrm>
              <a:off x="8341910" y="3434982"/>
              <a:ext cx="311235" cy="171847"/>
            </a:xfrm>
            <a:custGeom>
              <a:avLst/>
              <a:gdLst>
                <a:gd name="connsiteX0" fmla="*/ 223402 w 311235"/>
                <a:gd name="connsiteY0" fmla="*/ 154663 h 171847"/>
                <a:gd name="connsiteX1" fmla="*/ 223402 w 311235"/>
                <a:gd name="connsiteY1" fmla="*/ 154663 h 171847"/>
                <a:gd name="connsiteX2" fmla="*/ 311236 w 311235"/>
                <a:gd name="connsiteY2" fmla="*/ 110746 h 171847"/>
                <a:gd name="connsiteX3" fmla="*/ 276866 w 311235"/>
                <a:gd name="connsiteY3" fmla="*/ 26732 h 171847"/>
                <a:gd name="connsiteX4" fmla="*/ 276866 w 311235"/>
                <a:gd name="connsiteY4" fmla="*/ 22913 h 171847"/>
                <a:gd name="connsiteX5" fmla="*/ 242496 w 311235"/>
                <a:gd name="connsiteY5" fmla="*/ 11457 h 171847"/>
                <a:gd name="connsiteX6" fmla="*/ 171848 w 311235"/>
                <a:gd name="connsiteY6" fmla="*/ 0 h 171847"/>
                <a:gd name="connsiteX7" fmla="*/ 101199 w 311235"/>
                <a:gd name="connsiteY7" fmla="*/ 11457 h 171847"/>
                <a:gd name="connsiteX8" fmla="*/ 17185 w 311235"/>
                <a:gd name="connsiteY8" fmla="*/ 51554 h 171847"/>
                <a:gd name="connsiteX9" fmla="*/ 0 w 311235"/>
                <a:gd name="connsiteY9" fmla="*/ 85924 h 171847"/>
                <a:gd name="connsiteX10" fmla="*/ 0 w 311235"/>
                <a:gd name="connsiteY10" fmla="*/ 171848 h 171847"/>
                <a:gd name="connsiteX11" fmla="*/ 206217 w 311235"/>
                <a:gd name="connsiteY11" fmla="*/ 171848 h 171847"/>
                <a:gd name="connsiteX12" fmla="*/ 223402 w 311235"/>
                <a:gd name="connsiteY12" fmla="*/ 154663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235" h="171847">
                  <a:moveTo>
                    <a:pt x="223402" y="154663"/>
                  </a:moveTo>
                  <a:lnTo>
                    <a:pt x="223402" y="154663"/>
                  </a:lnTo>
                  <a:cubicBezTo>
                    <a:pt x="250134" y="135569"/>
                    <a:pt x="280685" y="120294"/>
                    <a:pt x="311236" y="110746"/>
                  </a:cubicBezTo>
                  <a:cubicBezTo>
                    <a:pt x="290232" y="87833"/>
                    <a:pt x="276866" y="59192"/>
                    <a:pt x="276866" y="26732"/>
                  </a:cubicBezTo>
                  <a:cubicBezTo>
                    <a:pt x="276866" y="24822"/>
                    <a:pt x="276866" y="24822"/>
                    <a:pt x="276866" y="22913"/>
                  </a:cubicBezTo>
                  <a:cubicBezTo>
                    <a:pt x="265410" y="19094"/>
                    <a:pt x="253953" y="13366"/>
                    <a:pt x="242496" y="11457"/>
                  </a:cubicBezTo>
                  <a:cubicBezTo>
                    <a:pt x="221493" y="5728"/>
                    <a:pt x="196670" y="0"/>
                    <a:pt x="171848" y="0"/>
                  </a:cubicBezTo>
                  <a:cubicBezTo>
                    <a:pt x="148935" y="0"/>
                    <a:pt x="124112" y="3819"/>
                    <a:pt x="101199" y="11457"/>
                  </a:cubicBezTo>
                  <a:cubicBezTo>
                    <a:pt x="70649" y="21004"/>
                    <a:pt x="42007" y="34370"/>
                    <a:pt x="17185" y="51554"/>
                  </a:cubicBezTo>
                  <a:cubicBezTo>
                    <a:pt x="5728" y="59192"/>
                    <a:pt x="0" y="72558"/>
                    <a:pt x="0" y="85924"/>
                  </a:cubicBezTo>
                  <a:lnTo>
                    <a:pt x="0" y="171848"/>
                  </a:lnTo>
                  <a:lnTo>
                    <a:pt x="206217" y="171848"/>
                  </a:lnTo>
                  <a:cubicBezTo>
                    <a:pt x="211946" y="164210"/>
                    <a:pt x="215765" y="160391"/>
                    <a:pt x="223402" y="154663"/>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 name="Group 25">
            <a:extLst>
              <a:ext uri="{FF2B5EF4-FFF2-40B4-BE49-F238E27FC236}">
                <a16:creationId xmlns:a16="http://schemas.microsoft.com/office/drawing/2014/main" id="{FC471F2D-C1C8-43A9-B568-63C5FD42DA1F}"/>
              </a:ext>
            </a:extLst>
          </p:cNvPr>
          <p:cNvGrpSpPr/>
          <p:nvPr/>
        </p:nvGrpSpPr>
        <p:grpSpPr>
          <a:xfrm rot="21118915">
            <a:off x="7652823" y="4427102"/>
            <a:ext cx="2937088" cy="1290153"/>
            <a:chOff x="8921977" y="4073386"/>
            <a:chExt cx="2937088" cy="1290153"/>
          </a:xfrm>
        </p:grpSpPr>
        <p:sp>
          <p:nvSpPr>
            <p:cNvPr id="27" name="TextBox 26">
              <a:extLst>
                <a:ext uri="{FF2B5EF4-FFF2-40B4-BE49-F238E27FC236}">
                  <a16:creationId xmlns:a16="http://schemas.microsoft.com/office/drawing/2014/main" id="{94E24E25-1D88-4CB7-81FD-2E3D594801D1}"/>
                </a:ext>
              </a:extLst>
            </p:cNvPr>
            <p:cNvSpPr txBox="1"/>
            <p:nvPr/>
          </p:nvSpPr>
          <p:spPr>
            <a:xfrm>
              <a:off x="8921977" y="4073386"/>
              <a:ext cx="2937088" cy="461665"/>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prstClr val="black"/>
                  </a:solidFill>
                  <a:effectLst/>
                  <a:uLnTx/>
                  <a:uFillTx/>
                  <a:latin typeface="Calibri" panose="020F0502020204030204"/>
                  <a:ea typeface="+mn-ea"/>
                  <a:cs typeface="+mn-cs"/>
                </a:rPr>
                <a:t>Lorem Ipsum</a:t>
              </a:r>
            </a:p>
          </p:txBody>
        </p:sp>
        <p:sp>
          <p:nvSpPr>
            <p:cNvPr id="28" name="TextBox 27">
              <a:extLst>
                <a:ext uri="{FF2B5EF4-FFF2-40B4-BE49-F238E27FC236}">
                  <a16:creationId xmlns:a16="http://schemas.microsoft.com/office/drawing/2014/main" id="{88C7A810-0625-48D7-8332-6B11E1FD51AB}"/>
                </a:ext>
              </a:extLst>
            </p:cNvPr>
            <p:cNvSpPr txBox="1"/>
            <p:nvPr/>
          </p:nvSpPr>
          <p:spPr>
            <a:xfrm>
              <a:off x="8929772" y="4532542"/>
              <a:ext cx="2929293" cy="830997"/>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prstClr val="black">
                      <a:lumMod val="65000"/>
                      <a:lumOff val="35000"/>
                    </a:prstClr>
                  </a:solidFill>
                  <a:effectLst/>
                  <a:uLnTx/>
                  <a:uFillTx/>
                  <a:latin typeface="Calibri" panose="020F0502020204030204"/>
                  <a:ea typeface="+mn-ea"/>
                  <a:cs typeface="+mn-cs"/>
                </a:rPr>
                <a:t>Lorem ipsum dolor sit amet, nibh est. A magna maecenas, quam magna nec quis, lorem nunc. Suspendisse viverra sodales mauris, cras pharetra proin egestas arcu erat dolor, at amet. </a:t>
              </a:r>
            </a:p>
          </p:txBody>
        </p:sp>
      </p:grpSp>
      <p:grpSp>
        <p:nvGrpSpPr>
          <p:cNvPr id="29" name="Group 28">
            <a:extLst>
              <a:ext uri="{FF2B5EF4-FFF2-40B4-BE49-F238E27FC236}">
                <a16:creationId xmlns:a16="http://schemas.microsoft.com/office/drawing/2014/main" id="{743E20F7-4F5D-497F-A28B-16420C7D3620}"/>
              </a:ext>
            </a:extLst>
          </p:cNvPr>
          <p:cNvGrpSpPr/>
          <p:nvPr/>
        </p:nvGrpSpPr>
        <p:grpSpPr>
          <a:xfrm>
            <a:off x="332936" y="2947244"/>
            <a:ext cx="2937088" cy="1290153"/>
            <a:chOff x="332936" y="2627766"/>
            <a:chExt cx="2937088" cy="1290153"/>
          </a:xfrm>
        </p:grpSpPr>
        <p:sp>
          <p:nvSpPr>
            <p:cNvPr id="30" name="TextBox 29">
              <a:extLst>
                <a:ext uri="{FF2B5EF4-FFF2-40B4-BE49-F238E27FC236}">
                  <a16:creationId xmlns:a16="http://schemas.microsoft.com/office/drawing/2014/main" id="{A4EED1E2-2001-473D-BDAA-30AC10FA3194}"/>
                </a:ext>
              </a:extLst>
            </p:cNvPr>
            <p:cNvSpPr txBox="1"/>
            <p:nvPr/>
          </p:nvSpPr>
          <p:spPr>
            <a:xfrm>
              <a:off x="332936" y="2627766"/>
              <a:ext cx="2937088" cy="46166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prstClr val="black"/>
                  </a:solidFill>
                  <a:effectLst/>
                  <a:uLnTx/>
                  <a:uFillTx/>
                  <a:latin typeface="Calibri" panose="020F0502020204030204"/>
                  <a:ea typeface="+mn-ea"/>
                  <a:cs typeface="+mn-cs"/>
                </a:rPr>
                <a:t>Lorem Ipsum</a:t>
              </a:r>
            </a:p>
          </p:txBody>
        </p:sp>
        <p:sp>
          <p:nvSpPr>
            <p:cNvPr id="31" name="TextBox 30">
              <a:extLst>
                <a:ext uri="{FF2B5EF4-FFF2-40B4-BE49-F238E27FC236}">
                  <a16:creationId xmlns:a16="http://schemas.microsoft.com/office/drawing/2014/main" id="{B1A39677-B80C-472B-BE80-58AFEC7A5DF3}"/>
                </a:ext>
              </a:extLst>
            </p:cNvPr>
            <p:cNvSpPr txBox="1"/>
            <p:nvPr/>
          </p:nvSpPr>
          <p:spPr>
            <a:xfrm>
              <a:off x="340731" y="3086922"/>
              <a:ext cx="2929293" cy="830997"/>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prstClr val="black">
                      <a:lumMod val="65000"/>
                      <a:lumOff val="35000"/>
                    </a:prstClr>
                  </a:solidFill>
                  <a:effectLst/>
                  <a:uLnTx/>
                  <a:uFillTx/>
                  <a:latin typeface="Calibri" panose="020F0502020204030204"/>
                  <a:ea typeface="+mn-ea"/>
                  <a:cs typeface="+mn-cs"/>
                </a:rPr>
                <a:t>Lorem ipsum dolor sit amet, nibh est. A magna maecenas, quam magna nec quis, lorem nunc. Suspendisse viverra sodales mauris, cras pharetra proin egestas arcu erat dolor, at amet. </a:t>
              </a:r>
            </a:p>
          </p:txBody>
        </p:sp>
      </p:grpSp>
      <p:grpSp>
        <p:nvGrpSpPr>
          <p:cNvPr id="32" name="Group 31">
            <a:extLst>
              <a:ext uri="{FF2B5EF4-FFF2-40B4-BE49-F238E27FC236}">
                <a16:creationId xmlns:a16="http://schemas.microsoft.com/office/drawing/2014/main" id="{294FB331-4BC8-4E89-91CC-53AC434FACB2}"/>
              </a:ext>
            </a:extLst>
          </p:cNvPr>
          <p:cNvGrpSpPr/>
          <p:nvPr/>
        </p:nvGrpSpPr>
        <p:grpSpPr>
          <a:xfrm>
            <a:off x="332936" y="4652338"/>
            <a:ext cx="2937088" cy="1290153"/>
            <a:chOff x="332936" y="4652338"/>
            <a:chExt cx="2937088" cy="1290153"/>
          </a:xfrm>
        </p:grpSpPr>
        <p:sp>
          <p:nvSpPr>
            <p:cNvPr id="40" name="TextBox 39">
              <a:extLst>
                <a:ext uri="{FF2B5EF4-FFF2-40B4-BE49-F238E27FC236}">
                  <a16:creationId xmlns:a16="http://schemas.microsoft.com/office/drawing/2014/main" id="{A5F09D78-F519-4854-9491-29AD3174C1E3}"/>
                </a:ext>
              </a:extLst>
            </p:cNvPr>
            <p:cNvSpPr txBox="1"/>
            <p:nvPr/>
          </p:nvSpPr>
          <p:spPr>
            <a:xfrm>
              <a:off x="332936" y="4652338"/>
              <a:ext cx="2937088" cy="46166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prstClr val="black"/>
                  </a:solidFill>
                  <a:effectLst/>
                  <a:uLnTx/>
                  <a:uFillTx/>
                  <a:latin typeface="Calibri" panose="020F0502020204030204"/>
                  <a:ea typeface="+mn-ea"/>
                  <a:cs typeface="+mn-cs"/>
                </a:rPr>
                <a:t>Lorem Ipsum</a:t>
              </a:r>
            </a:p>
          </p:txBody>
        </p:sp>
        <p:sp>
          <p:nvSpPr>
            <p:cNvPr id="41" name="TextBox 40">
              <a:extLst>
                <a:ext uri="{FF2B5EF4-FFF2-40B4-BE49-F238E27FC236}">
                  <a16:creationId xmlns:a16="http://schemas.microsoft.com/office/drawing/2014/main" id="{4AFEB9C0-B498-4F09-B986-68FCC898C61F}"/>
                </a:ext>
              </a:extLst>
            </p:cNvPr>
            <p:cNvSpPr txBox="1"/>
            <p:nvPr/>
          </p:nvSpPr>
          <p:spPr>
            <a:xfrm>
              <a:off x="340731" y="5111494"/>
              <a:ext cx="2929293" cy="830997"/>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prstClr val="black">
                      <a:lumMod val="65000"/>
                      <a:lumOff val="35000"/>
                    </a:prstClr>
                  </a:solidFill>
                  <a:effectLst/>
                  <a:uLnTx/>
                  <a:uFillTx/>
                  <a:latin typeface="Calibri" panose="020F0502020204030204"/>
                  <a:ea typeface="+mn-ea"/>
                  <a:cs typeface="+mn-cs"/>
                </a:rPr>
                <a:t>Lorem ipsum dolor sit amet, nibh est. A magna maecenas, quam magna nec quis, lorem nunc. Suspendisse viverra sodales mauris, cras pharetra proin egestas arcu erat dolor, at amet. </a:t>
              </a:r>
            </a:p>
          </p:txBody>
        </p:sp>
      </p:grpSp>
      <p:grpSp>
        <p:nvGrpSpPr>
          <p:cNvPr id="42" name="Group 41">
            <a:extLst>
              <a:ext uri="{FF2B5EF4-FFF2-40B4-BE49-F238E27FC236}">
                <a16:creationId xmlns:a16="http://schemas.microsoft.com/office/drawing/2014/main" id="{1D926B60-4580-402B-BB2B-1E5CE153D767}"/>
              </a:ext>
            </a:extLst>
          </p:cNvPr>
          <p:cNvGrpSpPr/>
          <p:nvPr/>
        </p:nvGrpSpPr>
        <p:grpSpPr>
          <a:xfrm>
            <a:off x="340731" y="1242150"/>
            <a:ext cx="2937088" cy="1290153"/>
            <a:chOff x="332936" y="2627766"/>
            <a:chExt cx="2937088" cy="1290153"/>
          </a:xfrm>
        </p:grpSpPr>
        <p:sp>
          <p:nvSpPr>
            <p:cNvPr id="43" name="TextBox 42">
              <a:extLst>
                <a:ext uri="{FF2B5EF4-FFF2-40B4-BE49-F238E27FC236}">
                  <a16:creationId xmlns:a16="http://schemas.microsoft.com/office/drawing/2014/main" id="{F131462D-C16F-4A18-AF23-E08C0184A8AF}"/>
                </a:ext>
              </a:extLst>
            </p:cNvPr>
            <p:cNvSpPr txBox="1"/>
            <p:nvPr/>
          </p:nvSpPr>
          <p:spPr>
            <a:xfrm>
              <a:off x="332936" y="2627766"/>
              <a:ext cx="2937088" cy="461665"/>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prstClr val="black"/>
                  </a:solidFill>
                  <a:effectLst/>
                  <a:uLnTx/>
                  <a:uFillTx/>
                  <a:latin typeface="Calibri" panose="020F0502020204030204"/>
                  <a:ea typeface="+mn-ea"/>
                  <a:cs typeface="+mn-cs"/>
                </a:rPr>
                <a:t>Lorem Ipsum</a:t>
              </a:r>
            </a:p>
          </p:txBody>
        </p:sp>
        <p:sp>
          <p:nvSpPr>
            <p:cNvPr id="44" name="TextBox 43">
              <a:extLst>
                <a:ext uri="{FF2B5EF4-FFF2-40B4-BE49-F238E27FC236}">
                  <a16:creationId xmlns:a16="http://schemas.microsoft.com/office/drawing/2014/main" id="{C1857C7D-ED2E-447C-B380-CA71CA9EE1EE}"/>
                </a:ext>
              </a:extLst>
            </p:cNvPr>
            <p:cNvSpPr txBox="1"/>
            <p:nvPr/>
          </p:nvSpPr>
          <p:spPr>
            <a:xfrm>
              <a:off x="340731" y="3086922"/>
              <a:ext cx="2929293" cy="830997"/>
            </a:xfrm>
            <a:prstGeom prst="rect">
              <a:avLst/>
            </a:prstGeom>
            <a:noFill/>
          </p:spPr>
          <p:txBody>
            <a:bodyPr wrap="square" lIns="0" r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prstClr val="black">
                      <a:lumMod val="65000"/>
                      <a:lumOff val="35000"/>
                    </a:prstClr>
                  </a:solidFill>
                  <a:effectLst/>
                  <a:uLnTx/>
                  <a:uFillTx/>
                  <a:latin typeface="Calibri" panose="020F0502020204030204"/>
                  <a:ea typeface="+mn-ea"/>
                  <a:cs typeface="+mn-cs"/>
                </a:rPr>
                <a:t>Lorem ipsum dolor sit amet, nibh est. A magna maecenas, quam magna nec quis, lorem nunc. Suspendisse viverra sodales mauris, cras pharetra proin egestas arcu erat dolor, at amet. </a:t>
              </a:r>
            </a:p>
          </p:txBody>
        </p:sp>
      </p:grpSp>
      <p:sp>
        <p:nvSpPr>
          <p:cNvPr id="19" name="Graphic 54" descr="Puzzle">
            <a:extLst>
              <a:ext uri="{FF2B5EF4-FFF2-40B4-BE49-F238E27FC236}">
                <a16:creationId xmlns:a16="http://schemas.microsoft.com/office/drawing/2014/main" id="{A5793BB4-46C1-4BCA-8E7B-026DDDC6EFFA}"/>
              </a:ext>
            </a:extLst>
          </p:cNvPr>
          <p:cNvSpPr/>
          <p:nvPr/>
        </p:nvSpPr>
        <p:spPr>
          <a:xfrm>
            <a:off x="748835" y="2870886"/>
            <a:ext cx="512080" cy="512080"/>
          </a:xfrm>
          <a:custGeom>
            <a:avLst/>
            <a:gdLst>
              <a:gd name="connsiteX0" fmla="*/ 330932 w 512080"/>
              <a:gd name="connsiteY0" fmla="*/ 388541 h 512080"/>
              <a:gd name="connsiteX1" fmla="*/ 303408 w 512080"/>
              <a:gd name="connsiteY1" fmla="*/ 304048 h 512080"/>
              <a:gd name="connsiteX2" fmla="*/ 307889 w 512080"/>
              <a:gd name="connsiteY2" fmla="*/ 299567 h 512080"/>
              <a:gd name="connsiteX3" fmla="*/ 393662 w 512080"/>
              <a:gd name="connsiteY3" fmla="*/ 325811 h 512080"/>
              <a:gd name="connsiteX4" fmla="*/ 439109 w 512080"/>
              <a:gd name="connsiteY4" fmla="*/ 362297 h 512080"/>
              <a:gd name="connsiteX5" fmla="*/ 512081 w 512080"/>
              <a:gd name="connsiteY5" fmla="*/ 289326 h 512080"/>
              <a:gd name="connsiteX6" fmla="*/ 403264 w 512080"/>
              <a:gd name="connsiteY6" fmla="*/ 180509 h 512080"/>
              <a:gd name="connsiteX7" fmla="*/ 439749 w 512080"/>
              <a:gd name="connsiteY7" fmla="*/ 135061 h 512080"/>
              <a:gd name="connsiteX8" fmla="*/ 465994 w 512080"/>
              <a:gd name="connsiteY8" fmla="*/ 49288 h 512080"/>
              <a:gd name="connsiteX9" fmla="*/ 461513 w 512080"/>
              <a:gd name="connsiteY9" fmla="*/ 44807 h 512080"/>
              <a:gd name="connsiteX10" fmla="*/ 377020 w 512080"/>
              <a:gd name="connsiteY10" fmla="*/ 72331 h 512080"/>
              <a:gd name="connsiteX11" fmla="*/ 331572 w 512080"/>
              <a:gd name="connsiteY11" fmla="*/ 108817 h 512080"/>
              <a:gd name="connsiteX12" fmla="*/ 222755 w 512080"/>
              <a:gd name="connsiteY12" fmla="*/ 0 h 512080"/>
              <a:gd name="connsiteX13" fmla="*/ 149144 w 512080"/>
              <a:gd name="connsiteY13" fmla="*/ 72972 h 512080"/>
              <a:gd name="connsiteX14" fmla="*/ 185629 w 512080"/>
              <a:gd name="connsiteY14" fmla="*/ 118419 h 512080"/>
              <a:gd name="connsiteX15" fmla="*/ 213154 w 512080"/>
              <a:gd name="connsiteY15" fmla="*/ 202912 h 512080"/>
              <a:gd name="connsiteX16" fmla="*/ 208673 w 512080"/>
              <a:gd name="connsiteY16" fmla="*/ 207393 h 512080"/>
              <a:gd name="connsiteX17" fmla="*/ 122899 w 512080"/>
              <a:gd name="connsiteY17" fmla="*/ 181149 h 512080"/>
              <a:gd name="connsiteX18" fmla="*/ 77452 w 512080"/>
              <a:gd name="connsiteY18" fmla="*/ 144663 h 512080"/>
              <a:gd name="connsiteX19" fmla="*/ 0 w 512080"/>
              <a:gd name="connsiteY19" fmla="*/ 222755 h 512080"/>
              <a:gd name="connsiteX20" fmla="*/ 108817 w 512080"/>
              <a:gd name="connsiteY20" fmla="*/ 331572 h 512080"/>
              <a:gd name="connsiteX21" fmla="*/ 72331 w 512080"/>
              <a:gd name="connsiteY21" fmla="*/ 377020 h 512080"/>
              <a:gd name="connsiteX22" fmla="*/ 46087 w 512080"/>
              <a:gd name="connsiteY22" fmla="*/ 462793 h 512080"/>
              <a:gd name="connsiteX23" fmla="*/ 50568 w 512080"/>
              <a:gd name="connsiteY23" fmla="*/ 467274 h 512080"/>
              <a:gd name="connsiteX24" fmla="*/ 135061 w 512080"/>
              <a:gd name="connsiteY24" fmla="*/ 439749 h 512080"/>
              <a:gd name="connsiteX25" fmla="*/ 180509 w 512080"/>
              <a:gd name="connsiteY25" fmla="*/ 403264 h 512080"/>
              <a:gd name="connsiteX26" fmla="*/ 289326 w 512080"/>
              <a:gd name="connsiteY26" fmla="*/ 512081 h 512080"/>
              <a:gd name="connsiteX27" fmla="*/ 367418 w 512080"/>
              <a:gd name="connsiteY27" fmla="*/ 433989 h 512080"/>
              <a:gd name="connsiteX28" fmla="*/ 330932 w 512080"/>
              <a:gd name="connsiteY28" fmla="*/ 388541 h 51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2080" h="512080">
                <a:moveTo>
                  <a:pt x="330932" y="388541"/>
                </a:moveTo>
                <a:cubicBezTo>
                  <a:pt x="288686" y="389822"/>
                  <a:pt x="273323" y="335413"/>
                  <a:pt x="303408" y="304048"/>
                </a:cubicBezTo>
                <a:lnTo>
                  <a:pt x="307889" y="299567"/>
                </a:lnTo>
                <a:cubicBezTo>
                  <a:pt x="339254" y="269483"/>
                  <a:pt x="394942" y="283565"/>
                  <a:pt x="393662" y="325811"/>
                </a:cubicBezTo>
                <a:cubicBezTo>
                  <a:pt x="393022" y="350135"/>
                  <a:pt x="421827" y="379580"/>
                  <a:pt x="439109" y="362297"/>
                </a:cubicBezTo>
                <a:lnTo>
                  <a:pt x="512081" y="289326"/>
                </a:lnTo>
                <a:lnTo>
                  <a:pt x="403264" y="180509"/>
                </a:lnTo>
                <a:cubicBezTo>
                  <a:pt x="385981" y="163226"/>
                  <a:pt x="415426" y="134421"/>
                  <a:pt x="439749" y="135061"/>
                </a:cubicBezTo>
                <a:cubicBezTo>
                  <a:pt x="481996" y="136342"/>
                  <a:pt x="496078" y="80653"/>
                  <a:pt x="465994" y="49288"/>
                </a:cubicBezTo>
                <a:lnTo>
                  <a:pt x="461513" y="44807"/>
                </a:lnTo>
                <a:cubicBezTo>
                  <a:pt x="430148" y="14722"/>
                  <a:pt x="375739" y="30085"/>
                  <a:pt x="377020" y="72331"/>
                </a:cubicBezTo>
                <a:cubicBezTo>
                  <a:pt x="377660" y="96655"/>
                  <a:pt x="348855" y="126100"/>
                  <a:pt x="331572" y="108817"/>
                </a:cubicBezTo>
                <a:lnTo>
                  <a:pt x="222755" y="0"/>
                </a:lnTo>
                <a:lnTo>
                  <a:pt x="149144" y="72972"/>
                </a:lnTo>
                <a:cubicBezTo>
                  <a:pt x="131861" y="90254"/>
                  <a:pt x="161305" y="119059"/>
                  <a:pt x="185629" y="118419"/>
                </a:cubicBezTo>
                <a:cubicBezTo>
                  <a:pt x="227876" y="117138"/>
                  <a:pt x="243238" y="171547"/>
                  <a:pt x="213154" y="202912"/>
                </a:cubicBezTo>
                <a:lnTo>
                  <a:pt x="208673" y="207393"/>
                </a:lnTo>
                <a:cubicBezTo>
                  <a:pt x="177308" y="237477"/>
                  <a:pt x="121619" y="223395"/>
                  <a:pt x="122899" y="181149"/>
                </a:cubicBezTo>
                <a:cubicBezTo>
                  <a:pt x="123540" y="156825"/>
                  <a:pt x="94735" y="127380"/>
                  <a:pt x="77452" y="144663"/>
                </a:cubicBezTo>
                <a:lnTo>
                  <a:pt x="0" y="222755"/>
                </a:lnTo>
                <a:lnTo>
                  <a:pt x="108817" y="331572"/>
                </a:lnTo>
                <a:cubicBezTo>
                  <a:pt x="126100" y="348855"/>
                  <a:pt x="96655" y="377660"/>
                  <a:pt x="72331" y="377020"/>
                </a:cubicBezTo>
                <a:cubicBezTo>
                  <a:pt x="30085" y="375739"/>
                  <a:pt x="16003" y="431428"/>
                  <a:pt x="46087" y="462793"/>
                </a:cubicBezTo>
                <a:lnTo>
                  <a:pt x="50568" y="467274"/>
                </a:lnTo>
                <a:cubicBezTo>
                  <a:pt x="81933" y="497359"/>
                  <a:pt x="136342" y="481996"/>
                  <a:pt x="135061" y="439749"/>
                </a:cubicBezTo>
                <a:cubicBezTo>
                  <a:pt x="134421" y="415426"/>
                  <a:pt x="163226" y="385981"/>
                  <a:pt x="180509" y="403264"/>
                </a:cubicBezTo>
                <a:lnTo>
                  <a:pt x="289326" y="512081"/>
                </a:lnTo>
                <a:lnTo>
                  <a:pt x="367418" y="433989"/>
                </a:lnTo>
                <a:cubicBezTo>
                  <a:pt x="384701" y="416706"/>
                  <a:pt x="355896" y="387901"/>
                  <a:pt x="330932" y="388541"/>
                </a:cubicBezTo>
                <a:close/>
              </a:path>
            </a:pathLst>
          </a:custGeom>
          <a:solidFill>
            <a:schemeClr val="accent3">
              <a:lumMod val="75000"/>
            </a:schemeClr>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0" name="Graphic 53" descr="Users">
            <a:extLst>
              <a:ext uri="{FF2B5EF4-FFF2-40B4-BE49-F238E27FC236}">
                <a16:creationId xmlns:a16="http://schemas.microsoft.com/office/drawing/2014/main" id="{5A6B413B-FF1D-48A5-BD5E-CA1C8BB88F09}"/>
              </a:ext>
            </a:extLst>
          </p:cNvPr>
          <p:cNvGrpSpPr/>
          <p:nvPr/>
        </p:nvGrpSpPr>
        <p:grpSpPr>
          <a:xfrm>
            <a:off x="736033" y="4715463"/>
            <a:ext cx="537684" cy="335412"/>
            <a:chOff x="736033" y="4715463"/>
            <a:chExt cx="537684" cy="335412"/>
          </a:xfrm>
          <a:solidFill>
            <a:schemeClr val="accent3">
              <a:lumMod val="60000"/>
              <a:lumOff val="40000"/>
            </a:schemeClr>
          </a:solidFill>
        </p:grpSpPr>
        <p:sp>
          <p:nvSpPr>
            <p:cNvPr id="21" name="Freeform: Shape 20">
              <a:extLst>
                <a:ext uri="{FF2B5EF4-FFF2-40B4-BE49-F238E27FC236}">
                  <a16:creationId xmlns:a16="http://schemas.microsoft.com/office/drawing/2014/main" id="{F182F4A7-51F9-461B-907B-7099BB6AC5C2}"/>
                </a:ext>
              </a:extLst>
            </p:cNvPr>
            <p:cNvSpPr/>
            <p:nvPr/>
          </p:nvSpPr>
          <p:spPr>
            <a:xfrm>
              <a:off x="793642" y="4715463"/>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2C183420-9196-4292-8239-31F0312276E5}"/>
                </a:ext>
              </a:extLst>
            </p:cNvPr>
            <p:cNvSpPr/>
            <p:nvPr/>
          </p:nvSpPr>
          <p:spPr>
            <a:xfrm>
              <a:off x="1100890" y="4715463"/>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00151BD8-89BB-4C98-8526-F59A5E2973F8}"/>
                </a:ext>
              </a:extLst>
            </p:cNvPr>
            <p:cNvSpPr/>
            <p:nvPr/>
          </p:nvSpPr>
          <p:spPr>
            <a:xfrm>
              <a:off x="889657" y="4935657"/>
              <a:ext cx="230436" cy="115218"/>
            </a:xfrm>
            <a:custGeom>
              <a:avLst/>
              <a:gdLst>
                <a:gd name="connsiteX0" fmla="*/ 230436 w 230436"/>
                <a:gd name="connsiteY0" fmla="*/ 115218 h 115218"/>
                <a:gd name="connsiteX1" fmla="*/ 230436 w 230436"/>
                <a:gd name="connsiteY1" fmla="*/ 57609 h 115218"/>
                <a:gd name="connsiteX2" fmla="*/ 218915 w 230436"/>
                <a:gd name="connsiteY2" fmla="*/ 34565 h 115218"/>
                <a:gd name="connsiteX3" fmla="*/ 162586 w 230436"/>
                <a:gd name="connsiteY3" fmla="*/ 7681 h 115218"/>
                <a:gd name="connsiteX4" fmla="*/ 115218 w 230436"/>
                <a:gd name="connsiteY4" fmla="*/ 0 h 115218"/>
                <a:gd name="connsiteX5" fmla="*/ 67851 w 230436"/>
                <a:gd name="connsiteY5" fmla="*/ 7681 h 115218"/>
                <a:gd name="connsiteX6" fmla="*/ 11522 w 230436"/>
                <a:gd name="connsiteY6" fmla="*/ 34565 h 115218"/>
                <a:gd name="connsiteX7" fmla="*/ 0 w 230436"/>
                <a:gd name="connsiteY7" fmla="*/ 57609 h 115218"/>
                <a:gd name="connsiteX8" fmla="*/ 0 w 230436"/>
                <a:gd name="connsiteY8" fmla="*/ 115218 h 115218"/>
                <a:gd name="connsiteX9" fmla="*/ 230436 w 230436"/>
                <a:gd name="connsiteY9" fmla="*/ 115218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436" h="115218">
                  <a:moveTo>
                    <a:pt x="230436" y="115218"/>
                  </a:moveTo>
                  <a:lnTo>
                    <a:pt x="230436" y="57609"/>
                  </a:lnTo>
                  <a:cubicBezTo>
                    <a:pt x="230436" y="48648"/>
                    <a:pt x="226596" y="39686"/>
                    <a:pt x="218915" y="34565"/>
                  </a:cubicBezTo>
                  <a:cubicBezTo>
                    <a:pt x="203552" y="21763"/>
                    <a:pt x="183069" y="12802"/>
                    <a:pt x="162586" y="7681"/>
                  </a:cubicBezTo>
                  <a:cubicBezTo>
                    <a:pt x="148503" y="3841"/>
                    <a:pt x="131861" y="0"/>
                    <a:pt x="115218" y="0"/>
                  </a:cubicBezTo>
                  <a:cubicBezTo>
                    <a:pt x="99856" y="0"/>
                    <a:pt x="83213" y="2560"/>
                    <a:pt x="67851" y="7681"/>
                  </a:cubicBezTo>
                  <a:cubicBezTo>
                    <a:pt x="47367" y="12802"/>
                    <a:pt x="28164" y="23044"/>
                    <a:pt x="11522" y="34565"/>
                  </a:cubicBezTo>
                  <a:cubicBezTo>
                    <a:pt x="3841" y="40966"/>
                    <a:pt x="0" y="48648"/>
                    <a:pt x="0" y="57609"/>
                  </a:cubicBezTo>
                  <a:lnTo>
                    <a:pt x="0" y="115218"/>
                  </a:lnTo>
                  <a:lnTo>
                    <a:pt x="230436" y="115218"/>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82CC0CA1-F493-41A7-89C8-A73C50F05B0A}"/>
                </a:ext>
              </a:extLst>
            </p:cNvPr>
            <p:cNvSpPr/>
            <p:nvPr/>
          </p:nvSpPr>
          <p:spPr>
            <a:xfrm>
              <a:off x="947266" y="4805077"/>
              <a:ext cx="115218" cy="115218"/>
            </a:xfrm>
            <a:custGeom>
              <a:avLst/>
              <a:gdLst>
                <a:gd name="connsiteX0" fmla="*/ 115218 w 115218"/>
                <a:gd name="connsiteY0" fmla="*/ 57609 h 115218"/>
                <a:gd name="connsiteX1" fmla="*/ 57609 w 115218"/>
                <a:gd name="connsiteY1" fmla="*/ 115218 h 115218"/>
                <a:gd name="connsiteX2" fmla="*/ 0 w 115218"/>
                <a:gd name="connsiteY2" fmla="*/ 57609 h 115218"/>
                <a:gd name="connsiteX3" fmla="*/ 57609 w 115218"/>
                <a:gd name="connsiteY3" fmla="*/ 0 h 115218"/>
                <a:gd name="connsiteX4" fmla="*/ 115218 w 115218"/>
                <a:gd name="connsiteY4" fmla="*/ 57609 h 115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18" h="115218">
                  <a:moveTo>
                    <a:pt x="115218" y="57609"/>
                  </a:moveTo>
                  <a:cubicBezTo>
                    <a:pt x="115218" y="89426"/>
                    <a:pt x="89426" y="115218"/>
                    <a:pt x="57609" y="115218"/>
                  </a:cubicBezTo>
                  <a:cubicBezTo>
                    <a:pt x="25792" y="115218"/>
                    <a:pt x="0" y="89426"/>
                    <a:pt x="0" y="57609"/>
                  </a:cubicBezTo>
                  <a:cubicBezTo>
                    <a:pt x="0" y="25792"/>
                    <a:pt x="25792" y="0"/>
                    <a:pt x="57609" y="0"/>
                  </a:cubicBezTo>
                  <a:cubicBezTo>
                    <a:pt x="89426" y="0"/>
                    <a:pt x="115218" y="25792"/>
                    <a:pt x="115218" y="5760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D34D9691-A61B-4E1B-B7BA-78E5B24D5958}"/>
                </a:ext>
              </a:extLst>
            </p:cNvPr>
            <p:cNvSpPr/>
            <p:nvPr/>
          </p:nvSpPr>
          <p:spPr>
            <a:xfrm>
              <a:off x="1065045" y="4846043"/>
              <a:ext cx="208672" cy="115218"/>
            </a:xfrm>
            <a:custGeom>
              <a:avLst/>
              <a:gdLst>
                <a:gd name="connsiteX0" fmla="*/ 197151 w 208672"/>
                <a:gd name="connsiteY0" fmla="*/ 34565 h 115218"/>
                <a:gd name="connsiteX1" fmla="*/ 140822 w 208672"/>
                <a:gd name="connsiteY1" fmla="*/ 7681 h 115218"/>
                <a:gd name="connsiteX2" fmla="*/ 93455 w 208672"/>
                <a:gd name="connsiteY2" fmla="*/ 0 h 115218"/>
                <a:gd name="connsiteX3" fmla="*/ 46087 w 208672"/>
                <a:gd name="connsiteY3" fmla="*/ 7681 h 115218"/>
                <a:gd name="connsiteX4" fmla="*/ 23044 w 208672"/>
                <a:gd name="connsiteY4" fmla="*/ 16643 h 115218"/>
                <a:gd name="connsiteX5" fmla="*/ 23044 w 208672"/>
                <a:gd name="connsiteY5" fmla="*/ 17923 h 115218"/>
                <a:gd name="connsiteX6" fmla="*/ 0 w 208672"/>
                <a:gd name="connsiteY6" fmla="*/ 74252 h 115218"/>
                <a:gd name="connsiteX7" fmla="*/ 58889 w 208672"/>
                <a:gd name="connsiteY7" fmla="*/ 103696 h 115218"/>
                <a:gd name="connsiteX8" fmla="*/ 69131 w 208672"/>
                <a:gd name="connsiteY8" fmla="*/ 115218 h 115218"/>
                <a:gd name="connsiteX9" fmla="*/ 208673 w 208672"/>
                <a:gd name="connsiteY9" fmla="*/ 115218 h 115218"/>
                <a:gd name="connsiteX10" fmla="*/ 208673 w 208672"/>
                <a:gd name="connsiteY10" fmla="*/ 57609 h 115218"/>
                <a:gd name="connsiteX11" fmla="*/ 197151 w 208672"/>
                <a:gd name="connsiteY11" fmla="*/ 34565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672" h="115218">
                  <a:moveTo>
                    <a:pt x="197151" y="34565"/>
                  </a:moveTo>
                  <a:cubicBezTo>
                    <a:pt x="181789" y="21763"/>
                    <a:pt x="161305" y="12802"/>
                    <a:pt x="140822" y="7681"/>
                  </a:cubicBezTo>
                  <a:cubicBezTo>
                    <a:pt x="126740" y="3841"/>
                    <a:pt x="110097" y="0"/>
                    <a:pt x="93455" y="0"/>
                  </a:cubicBezTo>
                  <a:cubicBezTo>
                    <a:pt x="78092" y="0"/>
                    <a:pt x="61450" y="2560"/>
                    <a:pt x="46087" y="7681"/>
                  </a:cubicBezTo>
                  <a:cubicBezTo>
                    <a:pt x="38406" y="10242"/>
                    <a:pt x="30725" y="12802"/>
                    <a:pt x="23044" y="16643"/>
                  </a:cubicBezTo>
                  <a:lnTo>
                    <a:pt x="23044" y="17923"/>
                  </a:lnTo>
                  <a:cubicBezTo>
                    <a:pt x="23044" y="39686"/>
                    <a:pt x="14082" y="60169"/>
                    <a:pt x="0" y="74252"/>
                  </a:cubicBezTo>
                  <a:cubicBezTo>
                    <a:pt x="24324" y="81933"/>
                    <a:pt x="43527" y="92175"/>
                    <a:pt x="58889" y="103696"/>
                  </a:cubicBezTo>
                  <a:cubicBezTo>
                    <a:pt x="62730" y="107537"/>
                    <a:pt x="66571" y="110097"/>
                    <a:pt x="69131" y="115218"/>
                  </a:cubicBezTo>
                  <a:lnTo>
                    <a:pt x="208673" y="115218"/>
                  </a:lnTo>
                  <a:lnTo>
                    <a:pt x="208673" y="57609"/>
                  </a:lnTo>
                  <a:cubicBezTo>
                    <a:pt x="208673" y="48648"/>
                    <a:pt x="204832" y="39686"/>
                    <a:pt x="197151" y="34565"/>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Shape 56">
              <a:extLst>
                <a:ext uri="{FF2B5EF4-FFF2-40B4-BE49-F238E27FC236}">
                  <a16:creationId xmlns:a16="http://schemas.microsoft.com/office/drawing/2014/main" id="{F5EB569B-A0BA-48BE-BE0B-6AEB7865CD11}"/>
                </a:ext>
              </a:extLst>
            </p:cNvPr>
            <p:cNvSpPr/>
            <p:nvPr/>
          </p:nvSpPr>
          <p:spPr>
            <a:xfrm>
              <a:off x="736033" y="4846043"/>
              <a:ext cx="208672" cy="115218"/>
            </a:xfrm>
            <a:custGeom>
              <a:avLst/>
              <a:gdLst>
                <a:gd name="connsiteX0" fmla="*/ 149784 w 208672"/>
                <a:gd name="connsiteY0" fmla="*/ 103696 h 115218"/>
                <a:gd name="connsiteX1" fmla="*/ 149784 w 208672"/>
                <a:gd name="connsiteY1" fmla="*/ 103696 h 115218"/>
                <a:gd name="connsiteX2" fmla="*/ 208673 w 208672"/>
                <a:gd name="connsiteY2" fmla="*/ 74252 h 115218"/>
                <a:gd name="connsiteX3" fmla="*/ 185629 w 208672"/>
                <a:gd name="connsiteY3" fmla="*/ 17923 h 115218"/>
                <a:gd name="connsiteX4" fmla="*/ 185629 w 208672"/>
                <a:gd name="connsiteY4" fmla="*/ 15362 h 115218"/>
                <a:gd name="connsiteX5" fmla="*/ 162586 w 208672"/>
                <a:gd name="connsiteY5" fmla="*/ 7681 h 115218"/>
                <a:gd name="connsiteX6" fmla="*/ 115218 w 208672"/>
                <a:gd name="connsiteY6" fmla="*/ 0 h 115218"/>
                <a:gd name="connsiteX7" fmla="*/ 67851 w 208672"/>
                <a:gd name="connsiteY7" fmla="*/ 7681 h 115218"/>
                <a:gd name="connsiteX8" fmla="*/ 11522 w 208672"/>
                <a:gd name="connsiteY8" fmla="*/ 34565 h 115218"/>
                <a:gd name="connsiteX9" fmla="*/ 0 w 208672"/>
                <a:gd name="connsiteY9" fmla="*/ 57609 h 115218"/>
                <a:gd name="connsiteX10" fmla="*/ 0 w 208672"/>
                <a:gd name="connsiteY10" fmla="*/ 115218 h 115218"/>
                <a:gd name="connsiteX11" fmla="*/ 138262 w 208672"/>
                <a:gd name="connsiteY11" fmla="*/ 115218 h 115218"/>
                <a:gd name="connsiteX12" fmla="*/ 149784 w 208672"/>
                <a:gd name="connsiteY12" fmla="*/ 103696 h 1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672" h="115218">
                  <a:moveTo>
                    <a:pt x="149784" y="103696"/>
                  </a:moveTo>
                  <a:lnTo>
                    <a:pt x="149784" y="103696"/>
                  </a:lnTo>
                  <a:cubicBezTo>
                    <a:pt x="167706" y="90894"/>
                    <a:pt x="188190" y="80653"/>
                    <a:pt x="208673" y="74252"/>
                  </a:cubicBezTo>
                  <a:cubicBezTo>
                    <a:pt x="194591" y="58889"/>
                    <a:pt x="185629" y="39686"/>
                    <a:pt x="185629" y="17923"/>
                  </a:cubicBezTo>
                  <a:cubicBezTo>
                    <a:pt x="185629" y="16643"/>
                    <a:pt x="185629" y="16643"/>
                    <a:pt x="185629" y="15362"/>
                  </a:cubicBezTo>
                  <a:cubicBezTo>
                    <a:pt x="177948" y="12802"/>
                    <a:pt x="170267" y="8961"/>
                    <a:pt x="162586" y="7681"/>
                  </a:cubicBezTo>
                  <a:cubicBezTo>
                    <a:pt x="148503" y="3841"/>
                    <a:pt x="131861" y="0"/>
                    <a:pt x="115218" y="0"/>
                  </a:cubicBezTo>
                  <a:cubicBezTo>
                    <a:pt x="99856" y="0"/>
                    <a:pt x="83213" y="2560"/>
                    <a:pt x="67851" y="7681"/>
                  </a:cubicBezTo>
                  <a:cubicBezTo>
                    <a:pt x="47367" y="14082"/>
                    <a:pt x="28164" y="23044"/>
                    <a:pt x="11522" y="34565"/>
                  </a:cubicBezTo>
                  <a:cubicBezTo>
                    <a:pt x="3841" y="39686"/>
                    <a:pt x="0" y="48648"/>
                    <a:pt x="0" y="57609"/>
                  </a:cubicBezTo>
                  <a:lnTo>
                    <a:pt x="0" y="115218"/>
                  </a:lnTo>
                  <a:lnTo>
                    <a:pt x="138262" y="115218"/>
                  </a:lnTo>
                  <a:cubicBezTo>
                    <a:pt x="142102" y="110097"/>
                    <a:pt x="144663" y="107537"/>
                    <a:pt x="149784" y="10369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8" name="Graphic 55" descr="Lightbulb">
            <a:extLst>
              <a:ext uri="{FF2B5EF4-FFF2-40B4-BE49-F238E27FC236}">
                <a16:creationId xmlns:a16="http://schemas.microsoft.com/office/drawing/2014/main" id="{4671A73E-556D-452C-9E30-D2B9C3B92794}"/>
              </a:ext>
            </a:extLst>
          </p:cNvPr>
          <p:cNvGrpSpPr/>
          <p:nvPr/>
        </p:nvGrpSpPr>
        <p:grpSpPr>
          <a:xfrm>
            <a:off x="697627" y="1094365"/>
            <a:ext cx="614497" cy="614497"/>
            <a:chOff x="697627" y="1094365"/>
            <a:chExt cx="614497" cy="614497"/>
          </a:xfrm>
          <a:solidFill>
            <a:schemeClr val="accent3">
              <a:lumMod val="50000"/>
            </a:schemeClr>
          </a:solidFill>
        </p:grpSpPr>
        <p:sp>
          <p:nvSpPr>
            <p:cNvPr id="59" name="Freeform: Shape 58">
              <a:extLst>
                <a:ext uri="{FF2B5EF4-FFF2-40B4-BE49-F238E27FC236}">
                  <a16:creationId xmlns:a16="http://schemas.microsoft.com/office/drawing/2014/main" id="{0B7532A1-A09D-4D25-A232-F186825D4667}"/>
                </a:ext>
              </a:extLst>
            </p:cNvPr>
            <p:cNvSpPr/>
            <p:nvPr/>
          </p:nvSpPr>
          <p:spPr>
            <a:xfrm>
              <a:off x="921662" y="1504029"/>
              <a:ext cx="166426" cy="38406"/>
            </a:xfrm>
            <a:custGeom>
              <a:avLst/>
              <a:gdLst>
                <a:gd name="connsiteX0" fmla="*/ 19203 w 166426"/>
                <a:gd name="connsiteY0" fmla="*/ 0 h 38406"/>
                <a:gd name="connsiteX1" fmla="*/ 147223 w 166426"/>
                <a:gd name="connsiteY1" fmla="*/ 0 h 38406"/>
                <a:gd name="connsiteX2" fmla="*/ 166426 w 166426"/>
                <a:gd name="connsiteY2" fmla="*/ 19203 h 38406"/>
                <a:gd name="connsiteX3" fmla="*/ 147223 w 166426"/>
                <a:gd name="connsiteY3" fmla="*/ 38406 h 38406"/>
                <a:gd name="connsiteX4" fmla="*/ 19203 w 166426"/>
                <a:gd name="connsiteY4" fmla="*/ 38406 h 38406"/>
                <a:gd name="connsiteX5" fmla="*/ 0 w 166426"/>
                <a:gd name="connsiteY5" fmla="*/ 19203 h 38406"/>
                <a:gd name="connsiteX6" fmla="*/ 19203 w 166426"/>
                <a:gd name="connsiteY6" fmla="*/ 0 h 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426" h="38406">
                  <a:moveTo>
                    <a:pt x="19203" y="0"/>
                  </a:moveTo>
                  <a:lnTo>
                    <a:pt x="147223" y="0"/>
                  </a:lnTo>
                  <a:cubicBezTo>
                    <a:pt x="158105" y="0"/>
                    <a:pt x="166426" y="8321"/>
                    <a:pt x="166426" y="19203"/>
                  </a:cubicBezTo>
                  <a:cubicBezTo>
                    <a:pt x="166426" y="30085"/>
                    <a:pt x="158105" y="38406"/>
                    <a:pt x="147223" y="38406"/>
                  </a:cubicBezTo>
                  <a:lnTo>
                    <a:pt x="19203" y="38406"/>
                  </a:lnTo>
                  <a:cubicBezTo>
                    <a:pt x="8321" y="38406"/>
                    <a:pt x="0" y="30085"/>
                    <a:pt x="0" y="19203"/>
                  </a:cubicBezTo>
                  <a:cubicBezTo>
                    <a:pt x="0" y="8321"/>
                    <a:pt x="8321" y="0"/>
                    <a:pt x="19203"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CC6EF93E-2EE4-4706-A037-3D644FDC193E}"/>
                </a:ext>
              </a:extLst>
            </p:cNvPr>
            <p:cNvSpPr/>
            <p:nvPr/>
          </p:nvSpPr>
          <p:spPr>
            <a:xfrm>
              <a:off x="921662" y="1568039"/>
              <a:ext cx="166426" cy="38406"/>
            </a:xfrm>
            <a:custGeom>
              <a:avLst/>
              <a:gdLst>
                <a:gd name="connsiteX0" fmla="*/ 19203 w 166426"/>
                <a:gd name="connsiteY0" fmla="*/ 0 h 38406"/>
                <a:gd name="connsiteX1" fmla="*/ 147223 w 166426"/>
                <a:gd name="connsiteY1" fmla="*/ 0 h 38406"/>
                <a:gd name="connsiteX2" fmla="*/ 166426 w 166426"/>
                <a:gd name="connsiteY2" fmla="*/ 19203 h 38406"/>
                <a:gd name="connsiteX3" fmla="*/ 147223 w 166426"/>
                <a:gd name="connsiteY3" fmla="*/ 38406 h 38406"/>
                <a:gd name="connsiteX4" fmla="*/ 19203 w 166426"/>
                <a:gd name="connsiteY4" fmla="*/ 38406 h 38406"/>
                <a:gd name="connsiteX5" fmla="*/ 0 w 166426"/>
                <a:gd name="connsiteY5" fmla="*/ 19203 h 38406"/>
                <a:gd name="connsiteX6" fmla="*/ 19203 w 166426"/>
                <a:gd name="connsiteY6" fmla="*/ 0 h 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426" h="38406">
                  <a:moveTo>
                    <a:pt x="19203" y="0"/>
                  </a:moveTo>
                  <a:lnTo>
                    <a:pt x="147223" y="0"/>
                  </a:lnTo>
                  <a:cubicBezTo>
                    <a:pt x="158105" y="0"/>
                    <a:pt x="166426" y="8321"/>
                    <a:pt x="166426" y="19203"/>
                  </a:cubicBezTo>
                  <a:cubicBezTo>
                    <a:pt x="166426" y="30085"/>
                    <a:pt x="158105" y="38406"/>
                    <a:pt x="147223" y="38406"/>
                  </a:cubicBezTo>
                  <a:lnTo>
                    <a:pt x="19203" y="38406"/>
                  </a:lnTo>
                  <a:cubicBezTo>
                    <a:pt x="8321" y="38406"/>
                    <a:pt x="0" y="30085"/>
                    <a:pt x="0" y="19203"/>
                  </a:cubicBezTo>
                  <a:cubicBezTo>
                    <a:pt x="0" y="8321"/>
                    <a:pt x="8321" y="0"/>
                    <a:pt x="19203"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B5CC5251-0CAF-4071-B377-06487C7B0AD9}"/>
                </a:ext>
              </a:extLst>
            </p:cNvPr>
            <p:cNvSpPr/>
            <p:nvPr/>
          </p:nvSpPr>
          <p:spPr>
            <a:xfrm>
              <a:off x="963268" y="1632049"/>
              <a:ext cx="83213" cy="38406"/>
            </a:xfrm>
            <a:custGeom>
              <a:avLst/>
              <a:gdLst>
                <a:gd name="connsiteX0" fmla="*/ 0 w 83213"/>
                <a:gd name="connsiteY0" fmla="*/ 0 h 38406"/>
                <a:gd name="connsiteX1" fmla="*/ 41607 w 83213"/>
                <a:gd name="connsiteY1" fmla="*/ 38406 h 38406"/>
                <a:gd name="connsiteX2" fmla="*/ 83213 w 83213"/>
                <a:gd name="connsiteY2" fmla="*/ 0 h 38406"/>
                <a:gd name="connsiteX3" fmla="*/ 0 w 83213"/>
                <a:gd name="connsiteY3" fmla="*/ 0 h 38406"/>
              </a:gdLst>
              <a:ahLst/>
              <a:cxnLst>
                <a:cxn ang="0">
                  <a:pos x="connsiteX0" y="connsiteY0"/>
                </a:cxn>
                <a:cxn ang="0">
                  <a:pos x="connsiteX1" y="connsiteY1"/>
                </a:cxn>
                <a:cxn ang="0">
                  <a:pos x="connsiteX2" y="connsiteY2"/>
                </a:cxn>
                <a:cxn ang="0">
                  <a:pos x="connsiteX3" y="connsiteY3"/>
                </a:cxn>
              </a:cxnLst>
              <a:rect l="l" t="t" r="r" b="b"/>
              <a:pathLst>
                <a:path w="83213" h="38406">
                  <a:moveTo>
                    <a:pt x="0" y="0"/>
                  </a:moveTo>
                  <a:cubicBezTo>
                    <a:pt x="1920" y="21763"/>
                    <a:pt x="19843" y="38406"/>
                    <a:pt x="41607" y="38406"/>
                  </a:cubicBezTo>
                  <a:cubicBezTo>
                    <a:pt x="63370" y="38406"/>
                    <a:pt x="81293" y="21763"/>
                    <a:pt x="83213" y="0"/>
                  </a:cubicBezTo>
                  <a:lnTo>
                    <a:pt x="0" y="0"/>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A5F7C2A0-692C-4680-B335-C11FE107464E}"/>
                </a:ext>
              </a:extLst>
            </p:cNvPr>
            <p:cNvSpPr/>
            <p:nvPr/>
          </p:nvSpPr>
          <p:spPr>
            <a:xfrm>
              <a:off x="838449" y="1132771"/>
              <a:ext cx="332852" cy="345654"/>
            </a:xfrm>
            <a:custGeom>
              <a:avLst/>
              <a:gdLst>
                <a:gd name="connsiteX0" fmla="*/ 166426 w 332852"/>
                <a:gd name="connsiteY0" fmla="*/ 0 h 345654"/>
                <a:gd name="connsiteX1" fmla="*/ 166426 w 332852"/>
                <a:gd name="connsiteY1" fmla="*/ 0 h 345654"/>
                <a:gd name="connsiteX2" fmla="*/ 166426 w 332852"/>
                <a:gd name="connsiteY2" fmla="*/ 0 h 345654"/>
                <a:gd name="connsiteX3" fmla="*/ 0 w 332852"/>
                <a:gd name="connsiteY3" fmla="*/ 164506 h 345654"/>
                <a:gd name="connsiteX4" fmla="*/ 0 w 332852"/>
                <a:gd name="connsiteY4" fmla="*/ 170267 h 345654"/>
                <a:gd name="connsiteX5" fmla="*/ 11522 w 332852"/>
                <a:gd name="connsiteY5" fmla="*/ 227876 h 345654"/>
                <a:gd name="connsiteX6" fmla="*/ 40326 w 332852"/>
                <a:gd name="connsiteY6" fmla="*/ 275243 h 345654"/>
                <a:gd name="connsiteX7" fmla="*/ 79373 w 332852"/>
                <a:gd name="connsiteY7" fmla="*/ 338613 h 345654"/>
                <a:gd name="connsiteX8" fmla="*/ 90894 w 332852"/>
                <a:gd name="connsiteY8" fmla="*/ 345655 h 345654"/>
                <a:gd name="connsiteX9" fmla="*/ 241958 w 332852"/>
                <a:gd name="connsiteY9" fmla="*/ 345655 h 345654"/>
                <a:gd name="connsiteX10" fmla="*/ 253480 w 332852"/>
                <a:gd name="connsiteY10" fmla="*/ 338613 h 345654"/>
                <a:gd name="connsiteX11" fmla="*/ 292526 w 332852"/>
                <a:gd name="connsiteY11" fmla="*/ 275243 h 345654"/>
                <a:gd name="connsiteX12" fmla="*/ 321331 w 332852"/>
                <a:gd name="connsiteY12" fmla="*/ 227876 h 345654"/>
                <a:gd name="connsiteX13" fmla="*/ 332853 w 332852"/>
                <a:gd name="connsiteY13" fmla="*/ 170267 h 345654"/>
                <a:gd name="connsiteX14" fmla="*/ 332853 w 332852"/>
                <a:gd name="connsiteY14" fmla="*/ 164506 h 345654"/>
                <a:gd name="connsiteX15" fmla="*/ 166426 w 332852"/>
                <a:gd name="connsiteY15" fmla="*/ 0 h 345654"/>
                <a:gd name="connsiteX16" fmla="*/ 294446 w 332852"/>
                <a:gd name="connsiteY16" fmla="*/ 169627 h 345654"/>
                <a:gd name="connsiteX17" fmla="*/ 285485 w 332852"/>
                <a:gd name="connsiteY17" fmla="*/ 214434 h 345654"/>
                <a:gd name="connsiteX18" fmla="*/ 263722 w 332852"/>
                <a:gd name="connsiteY18" fmla="*/ 249639 h 345654"/>
                <a:gd name="connsiteX19" fmla="*/ 226596 w 332852"/>
                <a:gd name="connsiteY19" fmla="*/ 307249 h 345654"/>
                <a:gd name="connsiteX20" fmla="*/ 166426 w 332852"/>
                <a:gd name="connsiteY20" fmla="*/ 307249 h 345654"/>
                <a:gd name="connsiteX21" fmla="*/ 106897 w 332852"/>
                <a:gd name="connsiteY21" fmla="*/ 307249 h 345654"/>
                <a:gd name="connsiteX22" fmla="*/ 69771 w 332852"/>
                <a:gd name="connsiteY22" fmla="*/ 249639 h 345654"/>
                <a:gd name="connsiteX23" fmla="*/ 48008 w 332852"/>
                <a:gd name="connsiteY23" fmla="*/ 214434 h 345654"/>
                <a:gd name="connsiteX24" fmla="*/ 39046 w 332852"/>
                <a:gd name="connsiteY24" fmla="*/ 169627 h 345654"/>
                <a:gd name="connsiteX25" fmla="*/ 39046 w 332852"/>
                <a:gd name="connsiteY25" fmla="*/ 164506 h 345654"/>
                <a:gd name="connsiteX26" fmla="*/ 167066 w 332852"/>
                <a:gd name="connsiteY26" fmla="*/ 37766 h 345654"/>
                <a:gd name="connsiteX27" fmla="*/ 167066 w 332852"/>
                <a:gd name="connsiteY27" fmla="*/ 37766 h 345654"/>
                <a:gd name="connsiteX28" fmla="*/ 167066 w 332852"/>
                <a:gd name="connsiteY28" fmla="*/ 37766 h 345654"/>
                <a:gd name="connsiteX29" fmla="*/ 167066 w 332852"/>
                <a:gd name="connsiteY29" fmla="*/ 37766 h 345654"/>
                <a:gd name="connsiteX30" fmla="*/ 167066 w 332852"/>
                <a:gd name="connsiteY30" fmla="*/ 37766 h 345654"/>
                <a:gd name="connsiteX31" fmla="*/ 167066 w 332852"/>
                <a:gd name="connsiteY31" fmla="*/ 37766 h 345654"/>
                <a:gd name="connsiteX32" fmla="*/ 167066 w 332852"/>
                <a:gd name="connsiteY32" fmla="*/ 37766 h 345654"/>
                <a:gd name="connsiteX33" fmla="*/ 295087 w 332852"/>
                <a:gd name="connsiteY33" fmla="*/ 164506 h 345654"/>
                <a:gd name="connsiteX34" fmla="*/ 295087 w 332852"/>
                <a:gd name="connsiteY34" fmla="*/ 169627 h 34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2852" h="345654">
                  <a:moveTo>
                    <a:pt x="166426" y="0"/>
                  </a:moveTo>
                  <a:cubicBezTo>
                    <a:pt x="166426" y="0"/>
                    <a:pt x="166426" y="0"/>
                    <a:pt x="166426" y="0"/>
                  </a:cubicBezTo>
                  <a:cubicBezTo>
                    <a:pt x="166426" y="0"/>
                    <a:pt x="166426" y="0"/>
                    <a:pt x="166426" y="0"/>
                  </a:cubicBezTo>
                  <a:cubicBezTo>
                    <a:pt x="75532" y="640"/>
                    <a:pt x="1920" y="73612"/>
                    <a:pt x="0" y="164506"/>
                  </a:cubicBezTo>
                  <a:lnTo>
                    <a:pt x="0" y="170267"/>
                  </a:lnTo>
                  <a:cubicBezTo>
                    <a:pt x="640" y="190110"/>
                    <a:pt x="4481" y="209313"/>
                    <a:pt x="11522" y="227876"/>
                  </a:cubicBezTo>
                  <a:cubicBezTo>
                    <a:pt x="18563" y="245159"/>
                    <a:pt x="28164" y="261161"/>
                    <a:pt x="40326" y="275243"/>
                  </a:cubicBezTo>
                  <a:cubicBezTo>
                    <a:pt x="55689" y="291886"/>
                    <a:pt x="72331" y="324531"/>
                    <a:pt x="79373" y="338613"/>
                  </a:cubicBezTo>
                  <a:cubicBezTo>
                    <a:pt x="81293" y="343094"/>
                    <a:pt x="85774" y="345655"/>
                    <a:pt x="90894" y="345655"/>
                  </a:cubicBezTo>
                  <a:lnTo>
                    <a:pt x="241958" y="345655"/>
                  </a:lnTo>
                  <a:cubicBezTo>
                    <a:pt x="247079" y="345655"/>
                    <a:pt x="251560" y="343094"/>
                    <a:pt x="253480" y="338613"/>
                  </a:cubicBezTo>
                  <a:cubicBezTo>
                    <a:pt x="260521" y="324531"/>
                    <a:pt x="277164" y="291886"/>
                    <a:pt x="292526" y="275243"/>
                  </a:cubicBezTo>
                  <a:cubicBezTo>
                    <a:pt x="304688" y="261161"/>
                    <a:pt x="314930" y="245159"/>
                    <a:pt x="321331" y="227876"/>
                  </a:cubicBezTo>
                  <a:cubicBezTo>
                    <a:pt x="328372" y="209313"/>
                    <a:pt x="332212" y="190110"/>
                    <a:pt x="332853" y="170267"/>
                  </a:cubicBezTo>
                  <a:lnTo>
                    <a:pt x="332853" y="164506"/>
                  </a:lnTo>
                  <a:cubicBezTo>
                    <a:pt x="330932" y="73612"/>
                    <a:pt x="257321" y="640"/>
                    <a:pt x="166426" y="0"/>
                  </a:cubicBezTo>
                  <a:close/>
                  <a:moveTo>
                    <a:pt x="294446" y="169627"/>
                  </a:moveTo>
                  <a:cubicBezTo>
                    <a:pt x="293806" y="184989"/>
                    <a:pt x="290606" y="200352"/>
                    <a:pt x="285485" y="214434"/>
                  </a:cubicBezTo>
                  <a:cubicBezTo>
                    <a:pt x="280364" y="227236"/>
                    <a:pt x="273323" y="239398"/>
                    <a:pt x="263722" y="249639"/>
                  </a:cubicBezTo>
                  <a:cubicBezTo>
                    <a:pt x="248999" y="267562"/>
                    <a:pt x="236197" y="286765"/>
                    <a:pt x="226596" y="307249"/>
                  </a:cubicBezTo>
                  <a:lnTo>
                    <a:pt x="166426" y="307249"/>
                  </a:lnTo>
                  <a:lnTo>
                    <a:pt x="106897" y="307249"/>
                  </a:lnTo>
                  <a:cubicBezTo>
                    <a:pt x="96655" y="286765"/>
                    <a:pt x="83853" y="267562"/>
                    <a:pt x="69771" y="249639"/>
                  </a:cubicBezTo>
                  <a:cubicBezTo>
                    <a:pt x="60810" y="239398"/>
                    <a:pt x="53128" y="227236"/>
                    <a:pt x="48008" y="214434"/>
                  </a:cubicBezTo>
                  <a:cubicBezTo>
                    <a:pt x="42247" y="200352"/>
                    <a:pt x="39686" y="184989"/>
                    <a:pt x="39046" y="169627"/>
                  </a:cubicBezTo>
                  <a:lnTo>
                    <a:pt x="39046" y="164506"/>
                  </a:lnTo>
                  <a:cubicBezTo>
                    <a:pt x="40326" y="94735"/>
                    <a:pt x="97295" y="38406"/>
                    <a:pt x="167066" y="37766"/>
                  </a:cubicBezTo>
                  <a:lnTo>
                    <a:pt x="167066" y="37766"/>
                  </a:lnTo>
                  <a:lnTo>
                    <a:pt x="167066" y="37766"/>
                  </a:lnTo>
                  <a:cubicBezTo>
                    <a:pt x="167066" y="37766"/>
                    <a:pt x="167066" y="37766"/>
                    <a:pt x="167066" y="37766"/>
                  </a:cubicBezTo>
                  <a:cubicBezTo>
                    <a:pt x="167066" y="37766"/>
                    <a:pt x="167066" y="37766"/>
                    <a:pt x="167066" y="37766"/>
                  </a:cubicBezTo>
                  <a:lnTo>
                    <a:pt x="167066" y="37766"/>
                  </a:lnTo>
                  <a:lnTo>
                    <a:pt x="167066" y="37766"/>
                  </a:lnTo>
                  <a:cubicBezTo>
                    <a:pt x="236837" y="38406"/>
                    <a:pt x="293806" y="94095"/>
                    <a:pt x="295087" y="164506"/>
                  </a:cubicBezTo>
                  <a:lnTo>
                    <a:pt x="295087" y="169627"/>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1684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0D506-DED3-9F8B-FEA6-836579D7C60E}"/>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DE98613F-F27B-B9E0-00F6-38C4C2D13842}"/>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2" name="Shape">
            <a:extLst>
              <a:ext uri="{FF2B5EF4-FFF2-40B4-BE49-F238E27FC236}">
                <a16:creationId xmlns:a16="http://schemas.microsoft.com/office/drawing/2014/main" id="{0B731540-AD17-6EC2-BD86-6BE7FF8BC499}"/>
              </a:ext>
            </a:extLst>
          </p:cNvPr>
          <p:cNvSpPr/>
          <p:nvPr/>
        </p:nvSpPr>
        <p:spPr>
          <a:xfrm>
            <a:off x="3357438" y="3188319"/>
            <a:ext cx="2758030" cy="1385881"/>
          </a:xfrm>
          <a:custGeom>
            <a:avLst/>
            <a:gdLst/>
            <a:ahLst/>
            <a:cxnLst>
              <a:cxn ang="0">
                <a:pos x="wd2" y="hd2"/>
              </a:cxn>
              <a:cxn ang="5400000">
                <a:pos x="wd2" y="hd2"/>
              </a:cxn>
              <a:cxn ang="10800000">
                <a:pos x="wd2" y="hd2"/>
              </a:cxn>
              <a:cxn ang="16200000">
                <a:pos x="wd2" y="hd2"/>
              </a:cxn>
            </a:cxnLst>
            <a:rect l="0" t="0" r="r" b="b"/>
            <a:pathLst>
              <a:path w="21329" h="21324" extrusionOk="0">
                <a:moveTo>
                  <a:pt x="13070" y="4601"/>
                </a:moveTo>
                <a:cubicBezTo>
                  <a:pt x="13370" y="3778"/>
                  <a:pt x="13696" y="2981"/>
                  <a:pt x="14084" y="2284"/>
                </a:cubicBezTo>
                <a:cubicBezTo>
                  <a:pt x="14960" y="739"/>
                  <a:pt x="16100" y="-133"/>
                  <a:pt x="17277" y="16"/>
                </a:cubicBezTo>
                <a:cubicBezTo>
                  <a:pt x="19456" y="315"/>
                  <a:pt x="21209" y="3853"/>
                  <a:pt x="21321" y="8188"/>
                </a:cubicBezTo>
                <a:cubicBezTo>
                  <a:pt x="21384" y="10331"/>
                  <a:pt x="21046" y="12324"/>
                  <a:pt x="20445" y="13918"/>
                </a:cubicBezTo>
                <a:cubicBezTo>
                  <a:pt x="20057" y="14940"/>
                  <a:pt x="19706" y="15886"/>
                  <a:pt x="19205" y="16733"/>
                </a:cubicBezTo>
                <a:cubicBezTo>
                  <a:pt x="17865" y="18951"/>
                  <a:pt x="16175" y="20196"/>
                  <a:pt x="14472" y="20794"/>
                </a:cubicBezTo>
                <a:cubicBezTo>
                  <a:pt x="12706" y="21417"/>
                  <a:pt x="10903" y="21467"/>
                  <a:pt x="9125" y="21068"/>
                </a:cubicBezTo>
                <a:cubicBezTo>
                  <a:pt x="7447" y="20695"/>
                  <a:pt x="5707" y="20072"/>
                  <a:pt x="4179" y="18652"/>
                </a:cubicBezTo>
                <a:cubicBezTo>
                  <a:pt x="2376" y="16958"/>
                  <a:pt x="911" y="14142"/>
                  <a:pt x="59" y="10555"/>
                </a:cubicBezTo>
                <a:cubicBezTo>
                  <a:pt x="-216" y="9409"/>
                  <a:pt x="523" y="8387"/>
                  <a:pt x="974" y="9284"/>
                </a:cubicBezTo>
                <a:cubicBezTo>
                  <a:pt x="1161" y="9683"/>
                  <a:pt x="1387" y="10057"/>
                  <a:pt x="1612" y="10405"/>
                </a:cubicBezTo>
                <a:cubicBezTo>
                  <a:pt x="2677" y="12000"/>
                  <a:pt x="3991" y="12822"/>
                  <a:pt x="5319" y="12772"/>
                </a:cubicBezTo>
                <a:cubicBezTo>
                  <a:pt x="6658" y="12722"/>
                  <a:pt x="7936" y="11875"/>
                  <a:pt x="9150" y="10854"/>
                </a:cubicBezTo>
                <a:cubicBezTo>
                  <a:pt x="10039" y="10106"/>
                  <a:pt x="10916" y="9160"/>
                  <a:pt x="11655" y="7914"/>
                </a:cubicBezTo>
                <a:cubicBezTo>
                  <a:pt x="12231" y="6942"/>
                  <a:pt x="12644" y="5747"/>
                  <a:pt x="13070" y="4601"/>
                </a:cubicBezTo>
                <a:close/>
              </a:path>
            </a:pathLst>
          </a:custGeom>
          <a:solidFill>
            <a:srgbClr val="74748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4" name="Shape">
            <a:extLst>
              <a:ext uri="{FF2B5EF4-FFF2-40B4-BE49-F238E27FC236}">
                <a16:creationId xmlns:a16="http://schemas.microsoft.com/office/drawing/2014/main" id="{956225A5-C094-E231-40D4-261F2D3DB1E2}"/>
              </a:ext>
            </a:extLst>
          </p:cNvPr>
          <p:cNvSpPr/>
          <p:nvPr/>
        </p:nvSpPr>
        <p:spPr>
          <a:xfrm rot="20683209">
            <a:off x="1075359" y="3885930"/>
            <a:ext cx="2376559" cy="1739322"/>
          </a:xfrm>
          <a:custGeom>
            <a:avLst/>
            <a:gdLst/>
            <a:ahLst/>
            <a:cxnLst>
              <a:cxn ang="0">
                <a:pos x="wd2" y="hd2"/>
              </a:cxn>
              <a:cxn ang="5400000">
                <a:pos x="wd2" y="hd2"/>
              </a:cxn>
              <a:cxn ang="10800000">
                <a:pos x="wd2" y="hd2"/>
              </a:cxn>
              <a:cxn ang="16200000">
                <a:pos x="wd2" y="hd2"/>
              </a:cxn>
            </a:cxnLst>
            <a:rect l="0" t="0" r="r" b="b"/>
            <a:pathLst>
              <a:path w="21364" h="18637" extrusionOk="0">
                <a:moveTo>
                  <a:pt x="20803" y="2427"/>
                </a:moveTo>
                <a:cubicBezTo>
                  <a:pt x="21531" y="2306"/>
                  <a:pt x="21560" y="1057"/>
                  <a:pt x="20832" y="883"/>
                </a:cubicBezTo>
                <a:cubicBezTo>
                  <a:pt x="4094" y="-2795"/>
                  <a:pt x="935" y="6209"/>
                  <a:pt x="935" y="6209"/>
                </a:cubicBezTo>
                <a:lnTo>
                  <a:pt x="935" y="6209"/>
                </a:lnTo>
                <a:cubicBezTo>
                  <a:pt x="295" y="7511"/>
                  <a:pt x="-40" y="9055"/>
                  <a:pt x="4" y="10685"/>
                </a:cubicBezTo>
                <a:cubicBezTo>
                  <a:pt x="149" y="14988"/>
                  <a:pt x="3089" y="18475"/>
                  <a:pt x="6699" y="18632"/>
                </a:cubicBezTo>
                <a:cubicBezTo>
                  <a:pt x="10658" y="18805"/>
                  <a:pt x="13918" y="15023"/>
                  <a:pt x="13918" y="10356"/>
                </a:cubicBezTo>
                <a:cubicBezTo>
                  <a:pt x="13918" y="10338"/>
                  <a:pt x="13918" y="10321"/>
                  <a:pt x="13918" y="10304"/>
                </a:cubicBezTo>
                <a:cubicBezTo>
                  <a:pt x="13904" y="6695"/>
                  <a:pt x="15971" y="3538"/>
                  <a:pt x="18940" y="2809"/>
                </a:cubicBezTo>
                <a:cubicBezTo>
                  <a:pt x="19580" y="2653"/>
                  <a:pt x="20206" y="2531"/>
                  <a:pt x="20803" y="2427"/>
                </a:cubicBezTo>
                <a:close/>
              </a:path>
            </a:pathLst>
          </a:custGeom>
          <a:solidFill>
            <a:srgbClr val="E7D00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5" name="Shape">
            <a:extLst>
              <a:ext uri="{FF2B5EF4-FFF2-40B4-BE49-F238E27FC236}">
                <a16:creationId xmlns:a16="http://schemas.microsoft.com/office/drawing/2014/main" id="{14A1156D-4E46-2281-1926-491BCE04EFCF}"/>
              </a:ext>
            </a:extLst>
          </p:cNvPr>
          <p:cNvSpPr/>
          <p:nvPr/>
        </p:nvSpPr>
        <p:spPr>
          <a:xfrm>
            <a:off x="961086" y="1245332"/>
            <a:ext cx="2426164" cy="2314054"/>
          </a:xfrm>
          <a:custGeom>
            <a:avLst/>
            <a:gdLst/>
            <a:ahLst/>
            <a:cxnLst>
              <a:cxn ang="0">
                <a:pos x="wd2" y="hd2"/>
              </a:cxn>
              <a:cxn ang="5400000">
                <a:pos x="wd2" y="hd2"/>
              </a:cxn>
              <a:cxn ang="10800000">
                <a:pos x="wd2" y="hd2"/>
              </a:cxn>
              <a:cxn ang="16200000">
                <a:pos x="wd2" y="hd2"/>
              </a:cxn>
            </a:cxnLst>
            <a:rect l="0" t="0" r="r" b="b"/>
            <a:pathLst>
              <a:path w="21307" h="21393" extrusionOk="0">
                <a:moveTo>
                  <a:pt x="8054" y="39"/>
                </a:moveTo>
                <a:cubicBezTo>
                  <a:pt x="7656" y="-6"/>
                  <a:pt x="7244" y="-6"/>
                  <a:pt x="6831" y="9"/>
                </a:cubicBezTo>
                <a:cubicBezTo>
                  <a:pt x="3219" y="248"/>
                  <a:pt x="276" y="3302"/>
                  <a:pt x="20" y="7104"/>
                </a:cubicBezTo>
                <a:cubicBezTo>
                  <a:pt x="-293" y="11625"/>
                  <a:pt x="3091" y="15397"/>
                  <a:pt x="7315" y="15397"/>
                </a:cubicBezTo>
                <a:cubicBezTo>
                  <a:pt x="7869" y="15397"/>
                  <a:pt x="8410" y="15337"/>
                  <a:pt x="8936" y="15202"/>
                </a:cubicBezTo>
                <a:cubicBezTo>
                  <a:pt x="13557" y="14095"/>
                  <a:pt x="18264" y="16774"/>
                  <a:pt x="20354" y="21100"/>
                </a:cubicBezTo>
                <a:cubicBezTo>
                  <a:pt x="20596" y="21594"/>
                  <a:pt x="21307" y="21429"/>
                  <a:pt x="21307" y="20861"/>
                </a:cubicBezTo>
                <a:cubicBezTo>
                  <a:pt x="21264" y="14454"/>
                  <a:pt x="19785" y="937"/>
                  <a:pt x="8054" y="39"/>
                </a:cubicBezTo>
                <a:close/>
              </a:path>
            </a:pathLst>
          </a:custGeom>
          <a:solidFill>
            <a:srgbClr val="FFE600"/>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7" name="Circle">
            <a:extLst>
              <a:ext uri="{FF2B5EF4-FFF2-40B4-BE49-F238E27FC236}">
                <a16:creationId xmlns:a16="http://schemas.microsoft.com/office/drawing/2014/main" id="{ADD8E6A8-B4F4-81A0-5BB2-1C8DC687196E}"/>
              </a:ext>
            </a:extLst>
          </p:cNvPr>
          <p:cNvSpPr/>
          <p:nvPr/>
        </p:nvSpPr>
        <p:spPr>
          <a:xfrm>
            <a:off x="5106127" y="3301660"/>
            <a:ext cx="893774" cy="893774"/>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9" name="Circle">
            <a:extLst>
              <a:ext uri="{FF2B5EF4-FFF2-40B4-BE49-F238E27FC236}">
                <a16:creationId xmlns:a16="http://schemas.microsoft.com/office/drawing/2014/main" id="{C9482B15-702D-F921-661E-727981F00F99}"/>
              </a:ext>
            </a:extLst>
          </p:cNvPr>
          <p:cNvSpPr/>
          <p:nvPr/>
        </p:nvSpPr>
        <p:spPr>
          <a:xfrm rot="20683209">
            <a:off x="1221083" y="4225953"/>
            <a:ext cx="1246751" cy="1246751"/>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11" name="Circle">
            <a:extLst>
              <a:ext uri="{FF2B5EF4-FFF2-40B4-BE49-F238E27FC236}">
                <a16:creationId xmlns:a16="http://schemas.microsoft.com/office/drawing/2014/main" id="{499D40F1-3BB9-68D6-23B9-FF08DC957E0A}"/>
              </a:ext>
            </a:extLst>
          </p:cNvPr>
          <p:cNvSpPr/>
          <p:nvPr/>
        </p:nvSpPr>
        <p:spPr>
          <a:xfrm>
            <a:off x="1171577" y="1455822"/>
            <a:ext cx="1246751" cy="1246751"/>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28560" tIns="28560" rIns="28560" bIns="2856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endParaRPr sz="2249">
              <a:solidFill>
                <a:srgbClr val="FFFFFF"/>
              </a:solidFill>
              <a:effectLst>
                <a:outerShdw blurRad="38100" dist="12700" dir="5400000" rotWithShape="0">
                  <a:srgbClr val="000000">
                    <a:alpha val="50000"/>
                  </a:srgbClr>
                </a:outerShdw>
              </a:effectLst>
            </a:endParaRPr>
          </a:p>
        </p:txBody>
      </p:sp>
      <p:sp>
        <p:nvSpPr>
          <p:cNvPr id="14" name="Shape">
            <a:extLst>
              <a:ext uri="{FF2B5EF4-FFF2-40B4-BE49-F238E27FC236}">
                <a16:creationId xmlns:a16="http://schemas.microsoft.com/office/drawing/2014/main" id="{A850956D-D095-95F5-8D2F-DA30BE028F35}"/>
              </a:ext>
            </a:extLst>
          </p:cNvPr>
          <p:cNvSpPr/>
          <p:nvPr/>
        </p:nvSpPr>
        <p:spPr>
          <a:xfrm>
            <a:off x="4458463" y="4856048"/>
            <a:ext cx="414506" cy="41450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3"/>
                  <a:pt x="13078" y="10463"/>
                  <a:pt x="11475" y="10463"/>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7" y="10125"/>
                </a:cubicBezTo>
                <a:cubicBezTo>
                  <a:pt x="11137" y="8522"/>
                  <a:pt x="11137" y="6919"/>
                  <a:pt x="11053" y="5316"/>
                </a:cubicBezTo>
                <a:cubicBezTo>
                  <a:pt x="10969" y="3544"/>
                  <a:pt x="10969" y="1772"/>
                  <a:pt x="10800" y="0"/>
                </a:cubicBezTo>
                <a:cubicBezTo>
                  <a:pt x="10716" y="1772"/>
                  <a:pt x="10631" y="3544"/>
                  <a:pt x="10547" y="5316"/>
                </a:cubicBezTo>
                <a:cubicBezTo>
                  <a:pt x="10463" y="6919"/>
                  <a:pt x="10463" y="8522"/>
                  <a:pt x="10463" y="10125"/>
                </a:cubicBezTo>
                <a:cubicBezTo>
                  <a:pt x="9956" y="9619"/>
                  <a:pt x="9450" y="9112"/>
                  <a:pt x="8859" y="8606"/>
                </a:cubicBezTo>
                <a:cubicBezTo>
                  <a:pt x="8184" y="7931"/>
                  <a:pt x="7509" y="7341"/>
                  <a:pt x="6750" y="6750"/>
                </a:cubicBezTo>
                <a:cubicBezTo>
                  <a:pt x="7341" y="7425"/>
                  <a:pt x="8016" y="8184"/>
                  <a:pt x="8606" y="8859"/>
                </a:cubicBezTo>
                <a:cubicBezTo>
                  <a:pt x="9113" y="9366"/>
                  <a:pt x="9619" y="9956"/>
                  <a:pt x="10125" y="10463"/>
                </a:cubicBezTo>
                <a:cubicBezTo>
                  <a:pt x="8522" y="10463"/>
                  <a:pt x="6919" y="10463"/>
                  <a:pt x="5316" y="10547"/>
                </a:cubicBezTo>
                <a:cubicBezTo>
                  <a:pt x="3544" y="10631"/>
                  <a:pt x="1772" y="10631"/>
                  <a:pt x="0" y="10800"/>
                </a:cubicBezTo>
                <a:cubicBezTo>
                  <a:pt x="1772" y="10884"/>
                  <a:pt x="3544" y="10969"/>
                  <a:pt x="5316" y="11053"/>
                </a:cubicBezTo>
                <a:cubicBezTo>
                  <a:pt x="6919" y="11137"/>
                  <a:pt x="8522" y="11137"/>
                  <a:pt x="10125" y="11137"/>
                </a:cubicBezTo>
                <a:cubicBezTo>
                  <a:pt x="9619" y="11644"/>
                  <a:pt x="9112" y="12150"/>
                  <a:pt x="8606" y="12741"/>
                </a:cubicBezTo>
                <a:cubicBezTo>
                  <a:pt x="7931" y="13416"/>
                  <a:pt x="7341" y="14091"/>
                  <a:pt x="6750" y="14850"/>
                </a:cubicBezTo>
                <a:cubicBezTo>
                  <a:pt x="7425" y="14259"/>
                  <a:pt x="8184" y="13584"/>
                  <a:pt x="8859" y="12994"/>
                </a:cubicBezTo>
                <a:cubicBezTo>
                  <a:pt x="9366" y="12487"/>
                  <a:pt x="9956" y="11981"/>
                  <a:pt x="10463" y="11475"/>
                </a:cubicBezTo>
                <a:cubicBezTo>
                  <a:pt x="10463" y="13078"/>
                  <a:pt x="10463" y="14681"/>
                  <a:pt x="10547" y="16284"/>
                </a:cubicBezTo>
                <a:cubicBezTo>
                  <a:pt x="10547" y="18056"/>
                  <a:pt x="10631" y="19828"/>
                  <a:pt x="10800" y="21600"/>
                </a:cubicBezTo>
                <a:cubicBezTo>
                  <a:pt x="10884" y="19828"/>
                  <a:pt x="10969" y="18056"/>
                  <a:pt x="11053" y="16284"/>
                </a:cubicBezTo>
                <a:cubicBezTo>
                  <a:pt x="11137" y="14681"/>
                  <a:pt x="11137" y="13078"/>
                  <a:pt x="11137" y="11475"/>
                </a:cubicBezTo>
                <a:cubicBezTo>
                  <a:pt x="11644" y="11981"/>
                  <a:pt x="12150" y="12488"/>
                  <a:pt x="12741" y="12994"/>
                </a:cubicBezTo>
                <a:cubicBezTo>
                  <a:pt x="13416" y="13669"/>
                  <a:pt x="14091" y="14259"/>
                  <a:pt x="14850" y="14850"/>
                </a:cubicBezTo>
                <a:cubicBezTo>
                  <a:pt x="14259" y="14175"/>
                  <a:pt x="13584" y="13416"/>
                  <a:pt x="12994" y="12741"/>
                </a:cubicBezTo>
                <a:cubicBezTo>
                  <a:pt x="12487" y="12234"/>
                  <a:pt x="11981" y="11644"/>
                  <a:pt x="11475" y="11137"/>
                </a:cubicBezTo>
                <a:cubicBezTo>
                  <a:pt x="13078" y="11137"/>
                  <a:pt x="14681" y="11137"/>
                  <a:pt x="16284" y="11053"/>
                </a:cubicBezTo>
                <a:cubicBezTo>
                  <a:pt x="18056" y="11053"/>
                  <a:pt x="19828" y="10969"/>
                  <a:pt x="21600" y="10800"/>
                </a:cubicBezTo>
                <a:close/>
              </a:path>
            </a:pathLst>
          </a:custGeom>
          <a:solidFill>
            <a:srgbClr val="FBD057"/>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5" name="Shape">
            <a:extLst>
              <a:ext uri="{FF2B5EF4-FFF2-40B4-BE49-F238E27FC236}">
                <a16:creationId xmlns:a16="http://schemas.microsoft.com/office/drawing/2014/main" id="{4020EC84-F760-88FA-5D5A-78DF534E1648}"/>
              </a:ext>
            </a:extLst>
          </p:cNvPr>
          <p:cNvSpPr/>
          <p:nvPr/>
        </p:nvSpPr>
        <p:spPr>
          <a:xfrm>
            <a:off x="766787" y="2573038"/>
            <a:ext cx="414505" cy="414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2"/>
                  <a:pt x="13078" y="10462"/>
                  <a:pt x="11475" y="10462"/>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8" y="10125"/>
                </a:cubicBezTo>
                <a:cubicBezTo>
                  <a:pt x="11138" y="8522"/>
                  <a:pt x="11138" y="6919"/>
                  <a:pt x="11053" y="5316"/>
                </a:cubicBezTo>
                <a:cubicBezTo>
                  <a:pt x="10969" y="3544"/>
                  <a:pt x="10969" y="1772"/>
                  <a:pt x="10800" y="0"/>
                </a:cubicBezTo>
                <a:cubicBezTo>
                  <a:pt x="10716" y="1772"/>
                  <a:pt x="10631" y="3544"/>
                  <a:pt x="10547" y="5316"/>
                </a:cubicBezTo>
                <a:cubicBezTo>
                  <a:pt x="10462" y="6919"/>
                  <a:pt x="10462" y="8522"/>
                  <a:pt x="10462" y="10125"/>
                </a:cubicBezTo>
                <a:cubicBezTo>
                  <a:pt x="9956" y="9619"/>
                  <a:pt x="9450" y="9113"/>
                  <a:pt x="8859" y="8606"/>
                </a:cubicBezTo>
                <a:cubicBezTo>
                  <a:pt x="8184" y="7931"/>
                  <a:pt x="7509" y="7341"/>
                  <a:pt x="6750" y="6750"/>
                </a:cubicBezTo>
                <a:cubicBezTo>
                  <a:pt x="7341" y="7425"/>
                  <a:pt x="8016" y="8184"/>
                  <a:pt x="8606" y="8859"/>
                </a:cubicBezTo>
                <a:cubicBezTo>
                  <a:pt x="9113" y="9366"/>
                  <a:pt x="9619" y="9956"/>
                  <a:pt x="10125" y="10462"/>
                </a:cubicBezTo>
                <a:cubicBezTo>
                  <a:pt x="8522" y="10462"/>
                  <a:pt x="6919" y="10462"/>
                  <a:pt x="5316" y="10547"/>
                </a:cubicBezTo>
                <a:cubicBezTo>
                  <a:pt x="3544" y="10631"/>
                  <a:pt x="1772" y="10631"/>
                  <a:pt x="0" y="10800"/>
                </a:cubicBezTo>
                <a:cubicBezTo>
                  <a:pt x="1772" y="10884"/>
                  <a:pt x="3544" y="10969"/>
                  <a:pt x="5316" y="11053"/>
                </a:cubicBezTo>
                <a:cubicBezTo>
                  <a:pt x="6919" y="11138"/>
                  <a:pt x="8522" y="11138"/>
                  <a:pt x="10125" y="11138"/>
                </a:cubicBezTo>
                <a:cubicBezTo>
                  <a:pt x="9619" y="11644"/>
                  <a:pt x="9113" y="12150"/>
                  <a:pt x="8606" y="12741"/>
                </a:cubicBezTo>
                <a:cubicBezTo>
                  <a:pt x="7931" y="13416"/>
                  <a:pt x="7341" y="14091"/>
                  <a:pt x="6750" y="14850"/>
                </a:cubicBezTo>
                <a:cubicBezTo>
                  <a:pt x="7425" y="14259"/>
                  <a:pt x="8184" y="13584"/>
                  <a:pt x="8859" y="12994"/>
                </a:cubicBezTo>
                <a:cubicBezTo>
                  <a:pt x="9366" y="12488"/>
                  <a:pt x="9956" y="11981"/>
                  <a:pt x="10462" y="11475"/>
                </a:cubicBezTo>
                <a:cubicBezTo>
                  <a:pt x="10462" y="13078"/>
                  <a:pt x="10462" y="14681"/>
                  <a:pt x="10547" y="16284"/>
                </a:cubicBezTo>
                <a:cubicBezTo>
                  <a:pt x="10547" y="18056"/>
                  <a:pt x="10631" y="19828"/>
                  <a:pt x="10800" y="21600"/>
                </a:cubicBezTo>
                <a:cubicBezTo>
                  <a:pt x="10884" y="19828"/>
                  <a:pt x="10969" y="18056"/>
                  <a:pt x="11053" y="16284"/>
                </a:cubicBezTo>
                <a:cubicBezTo>
                  <a:pt x="11138" y="14681"/>
                  <a:pt x="11138" y="13078"/>
                  <a:pt x="11138" y="11475"/>
                </a:cubicBezTo>
                <a:cubicBezTo>
                  <a:pt x="11644" y="11981"/>
                  <a:pt x="12150" y="12488"/>
                  <a:pt x="12741" y="12994"/>
                </a:cubicBezTo>
                <a:cubicBezTo>
                  <a:pt x="13416" y="13669"/>
                  <a:pt x="14091" y="14259"/>
                  <a:pt x="14850" y="14850"/>
                </a:cubicBezTo>
                <a:cubicBezTo>
                  <a:pt x="14259" y="14175"/>
                  <a:pt x="13584" y="13416"/>
                  <a:pt x="12994" y="12741"/>
                </a:cubicBezTo>
                <a:cubicBezTo>
                  <a:pt x="12488" y="12234"/>
                  <a:pt x="11981" y="11644"/>
                  <a:pt x="11475" y="11138"/>
                </a:cubicBezTo>
                <a:cubicBezTo>
                  <a:pt x="13078" y="11138"/>
                  <a:pt x="14681" y="11138"/>
                  <a:pt x="16284" y="11053"/>
                </a:cubicBezTo>
                <a:cubicBezTo>
                  <a:pt x="18056" y="11053"/>
                  <a:pt x="19828" y="10969"/>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sp>
        <p:nvSpPr>
          <p:cNvPr id="16" name="Shape">
            <a:extLst>
              <a:ext uri="{FF2B5EF4-FFF2-40B4-BE49-F238E27FC236}">
                <a16:creationId xmlns:a16="http://schemas.microsoft.com/office/drawing/2014/main" id="{6A779C46-C78A-892D-DB2B-5429339A1807}"/>
              </a:ext>
            </a:extLst>
          </p:cNvPr>
          <p:cNvSpPr/>
          <p:nvPr/>
        </p:nvSpPr>
        <p:spPr>
          <a:xfrm rot="20683209">
            <a:off x="2710706" y="4404060"/>
            <a:ext cx="414506" cy="414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19828" y="10716"/>
                  <a:pt x="18056" y="10631"/>
                  <a:pt x="16284" y="10547"/>
                </a:cubicBezTo>
                <a:cubicBezTo>
                  <a:pt x="14681" y="10463"/>
                  <a:pt x="13078" y="10463"/>
                  <a:pt x="11475" y="10463"/>
                </a:cubicBezTo>
                <a:cubicBezTo>
                  <a:pt x="11981" y="9956"/>
                  <a:pt x="12488" y="9450"/>
                  <a:pt x="12994" y="8859"/>
                </a:cubicBezTo>
                <a:cubicBezTo>
                  <a:pt x="13669" y="8184"/>
                  <a:pt x="14259" y="7509"/>
                  <a:pt x="14850" y="6750"/>
                </a:cubicBezTo>
                <a:cubicBezTo>
                  <a:pt x="14175" y="7341"/>
                  <a:pt x="13416" y="8016"/>
                  <a:pt x="12741" y="8606"/>
                </a:cubicBezTo>
                <a:cubicBezTo>
                  <a:pt x="12234" y="9113"/>
                  <a:pt x="11644" y="9619"/>
                  <a:pt x="11137" y="10125"/>
                </a:cubicBezTo>
                <a:cubicBezTo>
                  <a:pt x="11137" y="8522"/>
                  <a:pt x="11137" y="6919"/>
                  <a:pt x="11053" y="5316"/>
                </a:cubicBezTo>
                <a:cubicBezTo>
                  <a:pt x="10969" y="3544"/>
                  <a:pt x="10969" y="1772"/>
                  <a:pt x="10800" y="0"/>
                </a:cubicBezTo>
                <a:cubicBezTo>
                  <a:pt x="10716" y="1772"/>
                  <a:pt x="10631" y="3544"/>
                  <a:pt x="10547" y="5316"/>
                </a:cubicBezTo>
                <a:cubicBezTo>
                  <a:pt x="10463" y="6919"/>
                  <a:pt x="10463" y="8522"/>
                  <a:pt x="10463" y="10125"/>
                </a:cubicBezTo>
                <a:cubicBezTo>
                  <a:pt x="9956" y="9619"/>
                  <a:pt x="9450" y="9113"/>
                  <a:pt x="8859" y="8606"/>
                </a:cubicBezTo>
                <a:cubicBezTo>
                  <a:pt x="8184" y="7931"/>
                  <a:pt x="7509" y="7341"/>
                  <a:pt x="6750" y="6750"/>
                </a:cubicBezTo>
                <a:cubicBezTo>
                  <a:pt x="7341" y="7425"/>
                  <a:pt x="8016" y="8184"/>
                  <a:pt x="8606" y="8859"/>
                </a:cubicBezTo>
                <a:cubicBezTo>
                  <a:pt x="9113" y="9366"/>
                  <a:pt x="9619" y="9956"/>
                  <a:pt x="10125" y="10463"/>
                </a:cubicBezTo>
                <a:cubicBezTo>
                  <a:pt x="8522" y="10463"/>
                  <a:pt x="6919" y="10463"/>
                  <a:pt x="5316" y="10547"/>
                </a:cubicBezTo>
                <a:cubicBezTo>
                  <a:pt x="3544" y="10631"/>
                  <a:pt x="1772" y="10631"/>
                  <a:pt x="0" y="10800"/>
                </a:cubicBezTo>
                <a:cubicBezTo>
                  <a:pt x="1772" y="10884"/>
                  <a:pt x="3544" y="10969"/>
                  <a:pt x="5316" y="11053"/>
                </a:cubicBezTo>
                <a:cubicBezTo>
                  <a:pt x="6919" y="11138"/>
                  <a:pt x="8522" y="11138"/>
                  <a:pt x="10125" y="11138"/>
                </a:cubicBezTo>
                <a:cubicBezTo>
                  <a:pt x="9619" y="11644"/>
                  <a:pt x="9112" y="12150"/>
                  <a:pt x="8606" y="12741"/>
                </a:cubicBezTo>
                <a:cubicBezTo>
                  <a:pt x="7931" y="13416"/>
                  <a:pt x="7341" y="14091"/>
                  <a:pt x="6750" y="14850"/>
                </a:cubicBezTo>
                <a:cubicBezTo>
                  <a:pt x="7425" y="14259"/>
                  <a:pt x="8184" y="13584"/>
                  <a:pt x="8859" y="12994"/>
                </a:cubicBezTo>
                <a:cubicBezTo>
                  <a:pt x="9366" y="12487"/>
                  <a:pt x="9956" y="11981"/>
                  <a:pt x="10463" y="11475"/>
                </a:cubicBezTo>
                <a:cubicBezTo>
                  <a:pt x="10463" y="13078"/>
                  <a:pt x="10463" y="14681"/>
                  <a:pt x="10547" y="16284"/>
                </a:cubicBezTo>
                <a:cubicBezTo>
                  <a:pt x="10547" y="18056"/>
                  <a:pt x="10631" y="19828"/>
                  <a:pt x="10800" y="21600"/>
                </a:cubicBezTo>
                <a:cubicBezTo>
                  <a:pt x="10884" y="19828"/>
                  <a:pt x="10969" y="18056"/>
                  <a:pt x="11053" y="16284"/>
                </a:cubicBezTo>
                <a:cubicBezTo>
                  <a:pt x="11137" y="14681"/>
                  <a:pt x="11137" y="13078"/>
                  <a:pt x="11137" y="11475"/>
                </a:cubicBezTo>
                <a:cubicBezTo>
                  <a:pt x="11644" y="11981"/>
                  <a:pt x="12150" y="12488"/>
                  <a:pt x="12741" y="12994"/>
                </a:cubicBezTo>
                <a:cubicBezTo>
                  <a:pt x="13416" y="13669"/>
                  <a:pt x="14091" y="14259"/>
                  <a:pt x="14850" y="14850"/>
                </a:cubicBezTo>
                <a:cubicBezTo>
                  <a:pt x="14259" y="14175"/>
                  <a:pt x="13584" y="13416"/>
                  <a:pt x="12994" y="12741"/>
                </a:cubicBezTo>
                <a:cubicBezTo>
                  <a:pt x="12487" y="12234"/>
                  <a:pt x="11981" y="11644"/>
                  <a:pt x="11475" y="11138"/>
                </a:cubicBezTo>
                <a:cubicBezTo>
                  <a:pt x="13078" y="11138"/>
                  <a:pt x="14681" y="11138"/>
                  <a:pt x="16284" y="11053"/>
                </a:cubicBezTo>
                <a:cubicBezTo>
                  <a:pt x="18056" y="10969"/>
                  <a:pt x="19828" y="10884"/>
                  <a:pt x="21600" y="10800"/>
                </a:cubicBezTo>
                <a:close/>
              </a:path>
            </a:pathLst>
          </a:custGeom>
          <a:solidFill>
            <a:schemeClr val="accent4"/>
          </a:solidFill>
          <a:ln w="12700">
            <a:miter lim="400000"/>
          </a:ln>
        </p:spPr>
        <p:txBody>
          <a:bodyPr lIns="38080" tIns="38080" rIns="38080" bIns="3808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defRPr>
            </a:pPr>
            <a:endParaRPr sz="2999"/>
          </a:p>
        </p:txBody>
      </p:sp>
      <p:grpSp>
        <p:nvGrpSpPr>
          <p:cNvPr id="18" name="Group 17">
            <a:extLst>
              <a:ext uri="{FF2B5EF4-FFF2-40B4-BE49-F238E27FC236}">
                <a16:creationId xmlns:a16="http://schemas.microsoft.com/office/drawing/2014/main" id="{B916DF22-9470-7D7A-AA6E-CE986BC815EA}"/>
              </a:ext>
            </a:extLst>
          </p:cNvPr>
          <p:cNvGrpSpPr/>
          <p:nvPr/>
        </p:nvGrpSpPr>
        <p:grpSpPr>
          <a:xfrm>
            <a:off x="13735071" y="1654192"/>
            <a:ext cx="2935559" cy="1473410"/>
            <a:chOff x="8921977" y="1466725"/>
            <a:chExt cx="2937088" cy="1474177"/>
          </a:xfrm>
        </p:grpSpPr>
        <p:sp>
          <p:nvSpPr>
            <p:cNvPr id="19" name="TextBox 18">
              <a:extLst>
                <a:ext uri="{FF2B5EF4-FFF2-40B4-BE49-F238E27FC236}">
                  <a16:creationId xmlns:a16="http://schemas.microsoft.com/office/drawing/2014/main" id="{FEA35100-7C4F-C016-88C0-809DCD9203A1}"/>
                </a:ext>
              </a:extLst>
            </p:cNvPr>
            <p:cNvSpPr txBox="1"/>
            <p:nvPr/>
          </p:nvSpPr>
          <p:spPr>
            <a:xfrm>
              <a:off x="8921977" y="1466725"/>
              <a:ext cx="2937088" cy="461665"/>
            </a:xfrm>
            <a:prstGeom prst="rect">
              <a:avLst/>
            </a:prstGeom>
            <a:noFill/>
          </p:spPr>
          <p:txBody>
            <a:bodyPr wrap="square" lIns="0" rIns="0" rtlCol="0" anchor="b">
              <a:spAutoFit/>
            </a:bodyPr>
            <a:lstStyle/>
            <a:p>
              <a:r>
                <a:rPr lang="en-US" sz="2399" b="1" noProof="1">
                  <a:solidFill>
                    <a:schemeClr val="accent4">
                      <a:lumMod val="75000"/>
                    </a:schemeClr>
                  </a:solidFill>
                </a:rPr>
                <a:t>Lorem Ipsum</a:t>
              </a:r>
            </a:p>
          </p:txBody>
        </p:sp>
        <p:sp>
          <p:nvSpPr>
            <p:cNvPr id="20" name="TextBox 19">
              <a:extLst>
                <a:ext uri="{FF2B5EF4-FFF2-40B4-BE49-F238E27FC236}">
                  <a16:creationId xmlns:a16="http://schemas.microsoft.com/office/drawing/2014/main" id="{7DA337A7-533F-64BD-D915-E25A4D1E5ED7}"/>
                </a:ext>
              </a:extLst>
            </p:cNvPr>
            <p:cNvSpPr txBox="1"/>
            <p:nvPr/>
          </p:nvSpPr>
          <p:spPr>
            <a:xfrm>
              <a:off x="8929772" y="1925881"/>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1" name="Group 20">
            <a:extLst>
              <a:ext uri="{FF2B5EF4-FFF2-40B4-BE49-F238E27FC236}">
                <a16:creationId xmlns:a16="http://schemas.microsoft.com/office/drawing/2014/main" id="{2BC9F88B-2E96-781D-0C72-CF20EA79440D}"/>
              </a:ext>
            </a:extLst>
          </p:cNvPr>
          <p:cNvGrpSpPr/>
          <p:nvPr/>
        </p:nvGrpSpPr>
        <p:grpSpPr>
          <a:xfrm>
            <a:off x="13742862" y="3328674"/>
            <a:ext cx="2935559" cy="1473410"/>
            <a:chOff x="8921977" y="4073386"/>
            <a:chExt cx="2937088" cy="1474177"/>
          </a:xfrm>
        </p:grpSpPr>
        <p:sp>
          <p:nvSpPr>
            <p:cNvPr id="22" name="TextBox 21">
              <a:extLst>
                <a:ext uri="{FF2B5EF4-FFF2-40B4-BE49-F238E27FC236}">
                  <a16:creationId xmlns:a16="http://schemas.microsoft.com/office/drawing/2014/main" id="{3EF847D4-7884-61F8-565C-96FD178218D1}"/>
                </a:ext>
              </a:extLst>
            </p:cNvPr>
            <p:cNvSpPr txBox="1"/>
            <p:nvPr/>
          </p:nvSpPr>
          <p:spPr>
            <a:xfrm>
              <a:off x="8921977" y="4073386"/>
              <a:ext cx="2937088" cy="461665"/>
            </a:xfrm>
            <a:prstGeom prst="rect">
              <a:avLst/>
            </a:prstGeom>
            <a:noFill/>
          </p:spPr>
          <p:txBody>
            <a:bodyPr wrap="square" lIns="0" rIns="0" rtlCol="0" anchor="b">
              <a:spAutoFit/>
            </a:bodyPr>
            <a:lstStyle/>
            <a:p>
              <a:r>
                <a:rPr lang="en-US" sz="2399" b="1" noProof="1">
                  <a:solidFill>
                    <a:schemeClr val="accent5"/>
                  </a:solidFill>
                </a:rPr>
                <a:t>Lorem Ipsum</a:t>
              </a:r>
            </a:p>
          </p:txBody>
        </p:sp>
        <p:sp>
          <p:nvSpPr>
            <p:cNvPr id="24" name="TextBox 23">
              <a:extLst>
                <a:ext uri="{FF2B5EF4-FFF2-40B4-BE49-F238E27FC236}">
                  <a16:creationId xmlns:a16="http://schemas.microsoft.com/office/drawing/2014/main" id="{1DFF31B5-796D-4C4C-959E-59B024CA0BD3}"/>
                </a:ext>
              </a:extLst>
            </p:cNvPr>
            <p:cNvSpPr txBox="1"/>
            <p:nvPr/>
          </p:nvSpPr>
          <p:spPr>
            <a:xfrm>
              <a:off x="8929772" y="453254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27" name="Group 26">
            <a:extLst>
              <a:ext uri="{FF2B5EF4-FFF2-40B4-BE49-F238E27FC236}">
                <a16:creationId xmlns:a16="http://schemas.microsoft.com/office/drawing/2014/main" id="{84550316-BA47-720B-D44B-FC0A6D58EAAD}"/>
              </a:ext>
            </a:extLst>
          </p:cNvPr>
          <p:cNvGrpSpPr/>
          <p:nvPr/>
        </p:nvGrpSpPr>
        <p:grpSpPr>
          <a:xfrm>
            <a:off x="-3563211" y="1969271"/>
            <a:ext cx="2935559" cy="1473410"/>
            <a:chOff x="332936" y="2627766"/>
            <a:chExt cx="2937088" cy="1474177"/>
          </a:xfrm>
        </p:grpSpPr>
        <p:sp>
          <p:nvSpPr>
            <p:cNvPr id="28" name="TextBox 27">
              <a:extLst>
                <a:ext uri="{FF2B5EF4-FFF2-40B4-BE49-F238E27FC236}">
                  <a16:creationId xmlns:a16="http://schemas.microsoft.com/office/drawing/2014/main" id="{01D75879-55B0-A23B-E329-0B705FB8EAB7}"/>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399" b="1" noProof="1">
                  <a:solidFill>
                    <a:schemeClr val="accent6">
                      <a:lumMod val="75000"/>
                    </a:schemeClr>
                  </a:solidFill>
                </a:rPr>
                <a:t>Lorem Ipsum</a:t>
              </a:r>
            </a:p>
          </p:txBody>
        </p:sp>
        <p:sp>
          <p:nvSpPr>
            <p:cNvPr id="32" name="TextBox 31">
              <a:extLst>
                <a:ext uri="{FF2B5EF4-FFF2-40B4-BE49-F238E27FC236}">
                  <a16:creationId xmlns:a16="http://schemas.microsoft.com/office/drawing/2014/main" id="{27D33B6C-D7B5-D8B1-281E-47ED5DAD5591}"/>
                </a:ext>
              </a:extLst>
            </p:cNvPr>
            <p:cNvSpPr txBox="1"/>
            <p:nvPr/>
          </p:nvSpPr>
          <p:spPr>
            <a:xfrm>
              <a:off x="340731" y="308692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33" name="Group 32">
            <a:extLst>
              <a:ext uri="{FF2B5EF4-FFF2-40B4-BE49-F238E27FC236}">
                <a16:creationId xmlns:a16="http://schemas.microsoft.com/office/drawing/2014/main" id="{83BAFA1D-EB63-BAEC-3956-123E498BEA0B}"/>
              </a:ext>
            </a:extLst>
          </p:cNvPr>
          <p:cNvGrpSpPr/>
          <p:nvPr/>
        </p:nvGrpSpPr>
        <p:grpSpPr>
          <a:xfrm>
            <a:off x="13735071" y="157458"/>
            <a:ext cx="2935559" cy="1473410"/>
            <a:chOff x="8921977" y="1466725"/>
            <a:chExt cx="2937088" cy="1474177"/>
          </a:xfrm>
        </p:grpSpPr>
        <p:sp>
          <p:nvSpPr>
            <p:cNvPr id="34" name="TextBox 33">
              <a:extLst>
                <a:ext uri="{FF2B5EF4-FFF2-40B4-BE49-F238E27FC236}">
                  <a16:creationId xmlns:a16="http://schemas.microsoft.com/office/drawing/2014/main" id="{82B030A8-6009-D446-7BBA-C13767367EAB}"/>
                </a:ext>
              </a:extLst>
            </p:cNvPr>
            <p:cNvSpPr txBox="1"/>
            <p:nvPr/>
          </p:nvSpPr>
          <p:spPr>
            <a:xfrm>
              <a:off x="8921977" y="1466725"/>
              <a:ext cx="2937088" cy="461665"/>
            </a:xfrm>
            <a:prstGeom prst="rect">
              <a:avLst/>
            </a:prstGeom>
            <a:noFill/>
          </p:spPr>
          <p:txBody>
            <a:bodyPr wrap="square" lIns="0" rIns="0" rtlCol="0" anchor="b">
              <a:spAutoFit/>
            </a:bodyPr>
            <a:lstStyle/>
            <a:p>
              <a:r>
                <a:rPr lang="en-US" sz="2399" b="1" noProof="1">
                  <a:solidFill>
                    <a:schemeClr val="accent3">
                      <a:lumMod val="75000"/>
                    </a:schemeClr>
                  </a:solidFill>
                </a:rPr>
                <a:t>Lorem Ipsum</a:t>
              </a:r>
            </a:p>
          </p:txBody>
        </p:sp>
        <p:sp>
          <p:nvSpPr>
            <p:cNvPr id="35" name="TextBox 34">
              <a:extLst>
                <a:ext uri="{FF2B5EF4-FFF2-40B4-BE49-F238E27FC236}">
                  <a16:creationId xmlns:a16="http://schemas.microsoft.com/office/drawing/2014/main" id="{44677AC3-2341-0825-1396-EFC041EACFE8}"/>
                </a:ext>
              </a:extLst>
            </p:cNvPr>
            <p:cNvSpPr txBox="1"/>
            <p:nvPr/>
          </p:nvSpPr>
          <p:spPr>
            <a:xfrm>
              <a:off x="8929772" y="1925881"/>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grpSp>
        <p:nvGrpSpPr>
          <p:cNvPr id="36" name="Group 35">
            <a:extLst>
              <a:ext uri="{FF2B5EF4-FFF2-40B4-BE49-F238E27FC236}">
                <a16:creationId xmlns:a16="http://schemas.microsoft.com/office/drawing/2014/main" id="{C4CCE9F1-4913-7C69-D536-AA304586EA6D}"/>
              </a:ext>
            </a:extLst>
          </p:cNvPr>
          <p:cNvGrpSpPr/>
          <p:nvPr/>
        </p:nvGrpSpPr>
        <p:grpSpPr>
          <a:xfrm>
            <a:off x="-3571002" y="516180"/>
            <a:ext cx="2935559" cy="1473410"/>
            <a:chOff x="332936" y="2627766"/>
            <a:chExt cx="2937088" cy="1474177"/>
          </a:xfrm>
        </p:grpSpPr>
        <p:sp>
          <p:nvSpPr>
            <p:cNvPr id="37" name="TextBox 36">
              <a:extLst>
                <a:ext uri="{FF2B5EF4-FFF2-40B4-BE49-F238E27FC236}">
                  <a16:creationId xmlns:a16="http://schemas.microsoft.com/office/drawing/2014/main" id="{870569FD-FA49-E2F3-9834-D7BABEC790DE}"/>
                </a:ext>
              </a:extLst>
            </p:cNvPr>
            <p:cNvSpPr txBox="1"/>
            <p:nvPr/>
          </p:nvSpPr>
          <p:spPr>
            <a:xfrm>
              <a:off x="332936" y="2627766"/>
              <a:ext cx="2937088" cy="461665"/>
            </a:xfrm>
            <a:prstGeom prst="rect">
              <a:avLst/>
            </a:prstGeom>
            <a:noFill/>
          </p:spPr>
          <p:txBody>
            <a:bodyPr wrap="square" lIns="0" rIns="0" rtlCol="0" anchor="b">
              <a:spAutoFit/>
            </a:bodyPr>
            <a:lstStyle/>
            <a:p>
              <a:pPr algn="r"/>
              <a:r>
                <a:rPr lang="en-US" sz="2399" b="1" noProof="1">
                  <a:solidFill>
                    <a:schemeClr val="accent2"/>
                  </a:solidFill>
                </a:rPr>
                <a:t>Lorem Ipsum</a:t>
              </a:r>
            </a:p>
          </p:txBody>
        </p:sp>
        <p:sp>
          <p:nvSpPr>
            <p:cNvPr id="41" name="TextBox 40">
              <a:extLst>
                <a:ext uri="{FF2B5EF4-FFF2-40B4-BE49-F238E27FC236}">
                  <a16:creationId xmlns:a16="http://schemas.microsoft.com/office/drawing/2014/main" id="{658D8B7C-4FAD-262E-546A-9374710FE2CD}"/>
                </a:ext>
              </a:extLst>
            </p:cNvPr>
            <p:cNvSpPr txBox="1"/>
            <p:nvPr/>
          </p:nvSpPr>
          <p:spPr>
            <a:xfrm>
              <a:off x="340731" y="3086922"/>
              <a:ext cx="2929293" cy="1015021"/>
            </a:xfrm>
            <a:prstGeom prst="rect">
              <a:avLst/>
            </a:prstGeom>
            <a:noFill/>
          </p:spPr>
          <p:txBody>
            <a:bodyPr wrap="square" lIns="0" rIns="0" rtlCol="0" anchor="t">
              <a:spAutoFit/>
            </a:bodyPr>
            <a:lstStyle/>
            <a:p>
              <a:pPr algn="just"/>
              <a:r>
                <a:rPr lang="en-US" sz="11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sp>
        <p:nvSpPr>
          <p:cNvPr id="42" name="Rectangle 41">
            <a:extLst>
              <a:ext uri="{FF2B5EF4-FFF2-40B4-BE49-F238E27FC236}">
                <a16:creationId xmlns:a16="http://schemas.microsoft.com/office/drawing/2014/main" id="{9B7BBA5A-22C0-8C50-ACB6-C313FA403027}"/>
              </a:ext>
            </a:extLst>
          </p:cNvPr>
          <p:cNvSpPr/>
          <p:nvPr/>
        </p:nvSpPr>
        <p:spPr>
          <a:xfrm>
            <a:off x="1265963" y="2117263"/>
            <a:ext cx="1075632" cy="461297"/>
          </a:xfrm>
          <a:prstGeom prst="rect">
            <a:avLst/>
          </a:prstGeom>
        </p:spPr>
        <p:txBody>
          <a:bodyPr wrap="none" anchor="ctr">
            <a:spAutoFit/>
          </a:bodyPr>
          <a:lstStyle/>
          <a:p>
            <a:pPr algn="ctr"/>
            <a:r>
              <a:rPr lang="en-US" sz="2399" b="1">
                <a:solidFill>
                  <a:prstClr val="black"/>
                </a:solidFill>
              </a:rPr>
              <a:t>Lorem</a:t>
            </a:r>
            <a:endParaRPr lang="en-US" sz="1799"/>
          </a:p>
        </p:txBody>
      </p:sp>
      <p:sp>
        <p:nvSpPr>
          <p:cNvPr id="44" name="Rectangle 43">
            <a:extLst>
              <a:ext uri="{FF2B5EF4-FFF2-40B4-BE49-F238E27FC236}">
                <a16:creationId xmlns:a16="http://schemas.microsoft.com/office/drawing/2014/main" id="{0E885539-5CAC-8720-EF95-1CADD67DDC80}"/>
              </a:ext>
            </a:extLst>
          </p:cNvPr>
          <p:cNvSpPr/>
          <p:nvPr/>
        </p:nvSpPr>
        <p:spPr>
          <a:xfrm>
            <a:off x="5115145" y="3673116"/>
            <a:ext cx="926822" cy="399773"/>
          </a:xfrm>
          <a:prstGeom prst="rect">
            <a:avLst/>
          </a:prstGeom>
        </p:spPr>
        <p:txBody>
          <a:bodyPr wrap="none" anchor="ctr">
            <a:spAutoFit/>
          </a:bodyPr>
          <a:lstStyle/>
          <a:p>
            <a:pPr algn="ctr"/>
            <a:r>
              <a:rPr lang="en-US" sz="1999" b="1">
                <a:solidFill>
                  <a:prstClr val="black"/>
                </a:solidFill>
              </a:rPr>
              <a:t>Lorem</a:t>
            </a:r>
            <a:endParaRPr lang="en-US" sz="1599"/>
          </a:p>
        </p:txBody>
      </p:sp>
      <p:sp>
        <p:nvSpPr>
          <p:cNvPr id="45" name="Rectangle 44">
            <a:extLst>
              <a:ext uri="{FF2B5EF4-FFF2-40B4-BE49-F238E27FC236}">
                <a16:creationId xmlns:a16="http://schemas.microsoft.com/office/drawing/2014/main" id="{DAD2466F-FA08-44C0-753F-DE05DE9FDE94}"/>
              </a:ext>
            </a:extLst>
          </p:cNvPr>
          <p:cNvSpPr/>
          <p:nvPr/>
        </p:nvSpPr>
        <p:spPr>
          <a:xfrm rot="20683209">
            <a:off x="1289191" y="4818976"/>
            <a:ext cx="1075632" cy="461297"/>
          </a:xfrm>
          <a:prstGeom prst="rect">
            <a:avLst/>
          </a:prstGeom>
        </p:spPr>
        <p:txBody>
          <a:bodyPr wrap="none" anchor="ctr">
            <a:spAutoFit/>
          </a:bodyPr>
          <a:lstStyle/>
          <a:p>
            <a:pPr algn="ctr"/>
            <a:r>
              <a:rPr lang="en-US" sz="2399" b="1">
                <a:solidFill>
                  <a:prstClr val="black"/>
                </a:solidFill>
              </a:rPr>
              <a:t>Lorem</a:t>
            </a:r>
            <a:endParaRPr lang="en-US" sz="1799"/>
          </a:p>
        </p:txBody>
      </p:sp>
      <p:sp>
        <p:nvSpPr>
          <p:cNvPr id="47" name="Freeform: Shape 46">
            <a:extLst>
              <a:ext uri="{FF2B5EF4-FFF2-40B4-BE49-F238E27FC236}">
                <a16:creationId xmlns:a16="http://schemas.microsoft.com/office/drawing/2014/main" id="{2B4803FD-593E-14F1-EA94-24C2F8A1FB64}"/>
              </a:ext>
            </a:extLst>
          </p:cNvPr>
          <p:cNvSpPr/>
          <p:nvPr/>
        </p:nvSpPr>
        <p:spPr>
          <a:xfrm rot="20683209">
            <a:off x="1599877" y="4437035"/>
            <a:ext cx="454264" cy="454264"/>
          </a:xfrm>
          <a:custGeom>
            <a:avLst/>
            <a:gdLst>
              <a:gd name="connsiteX0" fmla="*/ 380977 w 454501"/>
              <a:gd name="connsiteY0" fmla="*/ 253985 h 454501"/>
              <a:gd name="connsiteX1" fmla="*/ 454499 w 454501"/>
              <a:gd name="connsiteY1" fmla="*/ 253985 h 454501"/>
              <a:gd name="connsiteX2" fmla="*/ 454499 w 454501"/>
              <a:gd name="connsiteY2" fmla="*/ 374295 h 454501"/>
              <a:gd name="connsiteX3" fmla="*/ 380977 w 454501"/>
              <a:gd name="connsiteY3" fmla="*/ 374295 h 454501"/>
              <a:gd name="connsiteX4" fmla="*/ 280720 w 454501"/>
              <a:gd name="connsiteY4" fmla="*/ 140360 h 454501"/>
              <a:gd name="connsiteX5" fmla="*/ 354242 w 454501"/>
              <a:gd name="connsiteY5" fmla="*/ 140360 h 454501"/>
              <a:gd name="connsiteX6" fmla="*/ 354242 w 454501"/>
              <a:gd name="connsiteY6" fmla="*/ 374295 h 454501"/>
              <a:gd name="connsiteX7" fmla="*/ 280720 w 454501"/>
              <a:gd name="connsiteY7" fmla="*/ 374295 h 454501"/>
              <a:gd name="connsiteX8" fmla="*/ 80205 w 454501"/>
              <a:gd name="connsiteY8" fmla="*/ 140360 h 454501"/>
              <a:gd name="connsiteX9" fmla="*/ 153727 w 454501"/>
              <a:gd name="connsiteY9" fmla="*/ 140360 h 454501"/>
              <a:gd name="connsiteX10" fmla="*/ 153727 w 454501"/>
              <a:gd name="connsiteY10" fmla="*/ 374295 h 454501"/>
              <a:gd name="connsiteX11" fmla="*/ 80205 w 454501"/>
              <a:gd name="connsiteY11" fmla="*/ 374295 h 454501"/>
              <a:gd name="connsiteX12" fmla="*/ 180463 w 454501"/>
              <a:gd name="connsiteY12" fmla="*/ 0 h 454501"/>
              <a:gd name="connsiteX13" fmla="*/ 253985 w 454501"/>
              <a:gd name="connsiteY13" fmla="*/ 0 h 454501"/>
              <a:gd name="connsiteX14" fmla="*/ 253985 w 454501"/>
              <a:gd name="connsiteY14" fmla="*/ 374294 h 454501"/>
              <a:gd name="connsiteX15" fmla="*/ 180463 w 454501"/>
              <a:gd name="connsiteY15" fmla="*/ 374294 h 454501"/>
              <a:gd name="connsiteX16" fmla="*/ 0 w 454501"/>
              <a:gd name="connsiteY16" fmla="*/ 0 h 454501"/>
              <a:gd name="connsiteX17" fmla="*/ 40103 w 454501"/>
              <a:gd name="connsiteY17" fmla="*/ 0 h 454501"/>
              <a:gd name="connsiteX18" fmla="*/ 40103 w 454501"/>
              <a:gd name="connsiteY18" fmla="*/ 414398 h 454501"/>
              <a:gd name="connsiteX19" fmla="*/ 454501 w 454501"/>
              <a:gd name="connsiteY19" fmla="*/ 414398 h 454501"/>
              <a:gd name="connsiteX20" fmla="*/ 454501 w 454501"/>
              <a:gd name="connsiteY20" fmla="*/ 454501 h 454501"/>
              <a:gd name="connsiteX21" fmla="*/ 0 w 454501"/>
              <a:gd name="connsiteY21" fmla="*/ 454501 h 45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4501" h="454501">
                <a:moveTo>
                  <a:pt x="380977" y="253985"/>
                </a:moveTo>
                <a:lnTo>
                  <a:pt x="454499" y="253985"/>
                </a:lnTo>
                <a:lnTo>
                  <a:pt x="454499" y="374295"/>
                </a:lnTo>
                <a:lnTo>
                  <a:pt x="380977" y="374295"/>
                </a:lnTo>
                <a:close/>
                <a:moveTo>
                  <a:pt x="280720" y="140360"/>
                </a:moveTo>
                <a:lnTo>
                  <a:pt x="354242" y="140360"/>
                </a:lnTo>
                <a:lnTo>
                  <a:pt x="354242" y="374295"/>
                </a:lnTo>
                <a:lnTo>
                  <a:pt x="280720" y="374295"/>
                </a:lnTo>
                <a:close/>
                <a:moveTo>
                  <a:pt x="80205" y="140360"/>
                </a:moveTo>
                <a:lnTo>
                  <a:pt x="153727" y="140360"/>
                </a:lnTo>
                <a:lnTo>
                  <a:pt x="153727" y="374295"/>
                </a:lnTo>
                <a:lnTo>
                  <a:pt x="80205" y="374295"/>
                </a:lnTo>
                <a:close/>
                <a:moveTo>
                  <a:pt x="180463" y="0"/>
                </a:moveTo>
                <a:lnTo>
                  <a:pt x="253985" y="0"/>
                </a:lnTo>
                <a:lnTo>
                  <a:pt x="253985" y="374294"/>
                </a:lnTo>
                <a:lnTo>
                  <a:pt x="180463" y="374294"/>
                </a:lnTo>
                <a:close/>
                <a:moveTo>
                  <a:pt x="0" y="0"/>
                </a:moveTo>
                <a:lnTo>
                  <a:pt x="40103" y="0"/>
                </a:lnTo>
                <a:lnTo>
                  <a:pt x="40103" y="414398"/>
                </a:lnTo>
                <a:lnTo>
                  <a:pt x="454501" y="414398"/>
                </a:lnTo>
                <a:lnTo>
                  <a:pt x="454501" y="454501"/>
                </a:lnTo>
                <a:lnTo>
                  <a:pt x="0" y="454501"/>
                </a:lnTo>
                <a:close/>
              </a:path>
            </a:pathLst>
          </a:custGeom>
          <a:solidFill>
            <a:schemeClr val="accent6">
              <a:lumMod val="75000"/>
            </a:schemeClr>
          </a:solidFill>
          <a:ln w="6648" cap="flat">
            <a:noFill/>
            <a:prstDash val="solid"/>
            <a:miter/>
          </a:ln>
        </p:spPr>
        <p:txBody>
          <a:bodyPr rtlCol="0" anchor="ctr"/>
          <a:lstStyle/>
          <a:p>
            <a:endParaRPr lang="en-US" sz="1799"/>
          </a:p>
        </p:txBody>
      </p:sp>
      <p:sp>
        <p:nvSpPr>
          <p:cNvPr id="49" name="Freeform: Shape 48">
            <a:extLst>
              <a:ext uri="{FF2B5EF4-FFF2-40B4-BE49-F238E27FC236}">
                <a16:creationId xmlns:a16="http://schemas.microsoft.com/office/drawing/2014/main" id="{A0CEDCB0-2E8D-FEAE-B274-EFFE4C757775}"/>
              </a:ext>
            </a:extLst>
          </p:cNvPr>
          <p:cNvSpPr/>
          <p:nvPr/>
        </p:nvSpPr>
        <p:spPr>
          <a:xfrm>
            <a:off x="5330242" y="3456894"/>
            <a:ext cx="496627" cy="297630"/>
          </a:xfrm>
          <a:custGeom>
            <a:avLst/>
            <a:gdLst>
              <a:gd name="connsiteX0" fmla="*/ 259321 w 496886"/>
              <a:gd name="connsiteY0" fmla="*/ 243291 h 297785"/>
              <a:gd name="connsiteX1" fmla="*/ 260466 w 496886"/>
              <a:gd name="connsiteY1" fmla="*/ 259319 h 297785"/>
              <a:gd name="connsiteX2" fmla="*/ 238140 w 496886"/>
              <a:gd name="connsiteY2" fmla="*/ 285080 h 297785"/>
              <a:gd name="connsiteX3" fmla="*/ 230698 w 496886"/>
              <a:gd name="connsiteY3" fmla="*/ 289087 h 297785"/>
              <a:gd name="connsiteX4" fmla="*/ 222111 w 496886"/>
              <a:gd name="connsiteY4" fmla="*/ 286224 h 297785"/>
              <a:gd name="connsiteX5" fmla="*/ 220966 w 496886"/>
              <a:gd name="connsiteY5" fmla="*/ 270196 h 297785"/>
              <a:gd name="connsiteX6" fmla="*/ 243292 w 496886"/>
              <a:gd name="connsiteY6" fmla="*/ 244436 h 297785"/>
              <a:gd name="connsiteX7" fmla="*/ 259321 w 496886"/>
              <a:gd name="connsiteY7" fmla="*/ 243291 h 297785"/>
              <a:gd name="connsiteX8" fmla="*/ 219894 w 496886"/>
              <a:gd name="connsiteY8" fmla="*/ 217460 h 297785"/>
              <a:gd name="connsiteX9" fmla="*/ 230126 w 496886"/>
              <a:gd name="connsiteY9" fmla="*/ 220966 h 297785"/>
              <a:gd name="connsiteX10" fmla="*/ 231271 w 496886"/>
              <a:gd name="connsiteY10" fmla="*/ 241001 h 297785"/>
              <a:gd name="connsiteX11" fmla="*/ 204937 w 496886"/>
              <a:gd name="connsiteY11" fmla="*/ 271341 h 297785"/>
              <a:gd name="connsiteX12" fmla="*/ 195778 w 496886"/>
              <a:gd name="connsiteY12" fmla="*/ 275921 h 297785"/>
              <a:gd name="connsiteX13" fmla="*/ 184902 w 496886"/>
              <a:gd name="connsiteY13" fmla="*/ 272486 h 297785"/>
              <a:gd name="connsiteX14" fmla="*/ 183757 w 496886"/>
              <a:gd name="connsiteY14" fmla="*/ 252450 h 297785"/>
              <a:gd name="connsiteX15" fmla="*/ 210089 w 496886"/>
              <a:gd name="connsiteY15" fmla="*/ 222111 h 297785"/>
              <a:gd name="connsiteX16" fmla="*/ 219894 w 496886"/>
              <a:gd name="connsiteY16" fmla="*/ 217460 h 297785"/>
              <a:gd name="connsiteX17" fmla="*/ 183541 w 496886"/>
              <a:gd name="connsiteY17" fmla="*/ 190554 h 297785"/>
              <a:gd name="connsiteX18" fmla="*/ 195777 w 496886"/>
              <a:gd name="connsiteY18" fmla="*/ 194633 h 297785"/>
              <a:gd name="connsiteX19" fmla="*/ 197495 w 496886"/>
              <a:gd name="connsiteY19" fmla="*/ 218676 h 297785"/>
              <a:gd name="connsiteX20" fmla="*/ 171162 w 496886"/>
              <a:gd name="connsiteY20" fmla="*/ 249017 h 297785"/>
              <a:gd name="connsiteX21" fmla="*/ 159713 w 496886"/>
              <a:gd name="connsiteY21" fmla="*/ 254741 h 297785"/>
              <a:gd name="connsiteX22" fmla="*/ 147119 w 496886"/>
              <a:gd name="connsiteY22" fmla="*/ 250734 h 297785"/>
              <a:gd name="connsiteX23" fmla="*/ 145402 w 496886"/>
              <a:gd name="connsiteY23" fmla="*/ 226690 h 297785"/>
              <a:gd name="connsiteX24" fmla="*/ 171734 w 496886"/>
              <a:gd name="connsiteY24" fmla="*/ 196350 h 297785"/>
              <a:gd name="connsiteX25" fmla="*/ 183541 w 496886"/>
              <a:gd name="connsiteY25" fmla="*/ 190554 h 297785"/>
              <a:gd name="connsiteX26" fmla="*/ 145760 w 496886"/>
              <a:gd name="connsiteY26" fmla="*/ 165366 h 297785"/>
              <a:gd name="connsiteX27" fmla="*/ 157997 w 496886"/>
              <a:gd name="connsiteY27" fmla="*/ 169445 h 297785"/>
              <a:gd name="connsiteX28" fmla="*/ 159714 w 496886"/>
              <a:gd name="connsiteY28" fmla="*/ 193488 h 297785"/>
              <a:gd name="connsiteX29" fmla="*/ 129373 w 496886"/>
              <a:gd name="connsiteY29" fmla="*/ 227836 h 297785"/>
              <a:gd name="connsiteX30" fmla="*/ 117924 w 496886"/>
              <a:gd name="connsiteY30" fmla="*/ 233560 h 297785"/>
              <a:gd name="connsiteX31" fmla="*/ 105330 w 496886"/>
              <a:gd name="connsiteY31" fmla="*/ 229553 h 297785"/>
              <a:gd name="connsiteX32" fmla="*/ 103613 w 496886"/>
              <a:gd name="connsiteY32" fmla="*/ 205510 h 297785"/>
              <a:gd name="connsiteX33" fmla="*/ 133953 w 496886"/>
              <a:gd name="connsiteY33" fmla="*/ 171162 h 297785"/>
              <a:gd name="connsiteX34" fmla="*/ 145760 w 496886"/>
              <a:gd name="connsiteY34" fmla="*/ 165366 h 297785"/>
              <a:gd name="connsiteX35" fmla="*/ 120214 w 496886"/>
              <a:gd name="connsiteY35" fmla="*/ 51520 h 297785"/>
              <a:gd name="connsiteX36" fmla="*/ 215241 w 496886"/>
              <a:gd name="connsiteY36" fmla="*/ 58389 h 297785"/>
              <a:gd name="connsiteX37" fmla="*/ 181466 w 496886"/>
              <a:gd name="connsiteY37" fmla="*/ 97316 h 297785"/>
              <a:gd name="connsiteX38" fmla="*/ 184901 w 496886"/>
              <a:gd name="connsiteY38" fmla="*/ 145974 h 297785"/>
              <a:gd name="connsiteX39" fmla="*/ 207227 w 496886"/>
              <a:gd name="connsiteY39" fmla="*/ 154561 h 297785"/>
              <a:gd name="connsiteX40" fmla="*/ 210089 w 496886"/>
              <a:gd name="connsiteY40" fmla="*/ 154561 h 297785"/>
              <a:gd name="connsiteX41" fmla="*/ 232988 w 496886"/>
              <a:gd name="connsiteY41" fmla="*/ 143112 h 297785"/>
              <a:gd name="connsiteX42" fmla="*/ 272487 w 496886"/>
              <a:gd name="connsiteY42" fmla="*/ 97888 h 297785"/>
              <a:gd name="connsiteX43" fmla="*/ 278784 w 496886"/>
              <a:gd name="connsiteY43" fmla="*/ 103613 h 297785"/>
              <a:gd name="connsiteX44" fmla="*/ 370948 w 496886"/>
              <a:gd name="connsiteY44" fmla="*/ 182611 h 297785"/>
              <a:gd name="connsiteX45" fmla="*/ 377245 w 496886"/>
              <a:gd name="connsiteY45" fmla="*/ 198067 h 297785"/>
              <a:gd name="connsiteX46" fmla="*/ 356637 w 496886"/>
              <a:gd name="connsiteY46" fmla="*/ 222684 h 297785"/>
              <a:gd name="connsiteX47" fmla="*/ 344616 w 496886"/>
              <a:gd name="connsiteY47" fmla="*/ 220394 h 297785"/>
              <a:gd name="connsiteX48" fmla="*/ 345188 w 496886"/>
              <a:gd name="connsiteY48" fmla="*/ 223828 h 297785"/>
              <a:gd name="connsiteX49" fmla="*/ 324580 w 496886"/>
              <a:gd name="connsiteY49" fmla="*/ 248444 h 297785"/>
              <a:gd name="connsiteX50" fmla="*/ 318855 w 496886"/>
              <a:gd name="connsiteY50" fmla="*/ 247871 h 297785"/>
              <a:gd name="connsiteX51" fmla="*/ 318855 w 496886"/>
              <a:gd name="connsiteY51" fmla="*/ 248444 h 297785"/>
              <a:gd name="connsiteX52" fmla="*/ 298247 w 496886"/>
              <a:gd name="connsiteY52" fmla="*/ 273059 h 297785"/>
              <a:gd name="connsiteX53" fmla="*/ 292523 w 496886"/>
              <a:gd name="connsiteY53" fmla="*/ 272487 h 297785"/>
              <a:gd name="connsiteX54" fmla="*/ 292523 w 496886"/>
              <a:gd name="connsiteY54" fmla="*/ 273059 h 297785"/>
              <a:gd name="connsiteX55" fmla="*/ 271914 w 496886"/>
              <a:gd name="connsiteY55" fmla="*/ 297675 h 297785"/>
              <a:gd name="connsiteX56" fmla="*/ 258176 w 496886"/>
              <a:gd name="connsiteY56" fmla="*/ 294240 h 297785"/>
              <a:gd name="connsiteX57" fmla="*/ 250161 w 496886"/>
              <a:gd name="connsiteY57" fmla="*/ 287943 h 297785"/>
              <a:gd name="connsiteX58" fmla="*/ 269625 w 496886"/>
              <a:gd name="connsiteY58" fmla="*/ 265617 h 297785"/>
              <a:gd name="connsiteX59" fmla="*/ 275349 w 496886"/>
              <a:gd name="connsiteY59" fmla="*/ 249016 h 297785"/>
              <a:gd name="connsiteX60" fmla="*/ 267335 w 496886"/>
              <a:gd name="connsiteY60" fmla="*/ 233560 h 297785"/>
              <a:gd name="connsiteX61" fmla="*/ 252451 w 496886"/>
              <a:gd name="connsiteY61" fmla="*/ 227836 h 297785"/>
              <a:gd name="connsiteX62" fmla="*/ 246154 w 496886"/>
              <a:gd name="connsiteY62" fmla="*/ 228981 h 297785"/>
              <a:gd name="connsiteX63" fmla="*/ 237567 w 496886"/>
              <a:gd name="connsiteY63" fmla="*/ 211235 h 297785"/>
              <a:gd name="connsiteX64" fmla="*/ 220394 w 496886"/>
              <a:gd name="connsiteY64" fmla="*/ 204937 h 297785"/>
              <a:gd name="connsiteX65" fmla="*/ 212951 w 496886"/>
              <a:gd name="connsiteY65" fmla="*/ 206082 h 297785"/>
              <a:gd name="connsiteX66" fmla="*/ 203219 w 496886"/>
              <a:gd name="connsiteY66" fmla="*/ 184901 h 297785"/>
              <a:gd name="connsiteX67" fmla="*/ 184329 w 496886"/>
              <a:gd name="connsiteY67" fmla="*/ 178031 h 297785"/>
              <a:gd name="connsiteX68" fmla="*/ 174597 w 496886"/>
              <a:gd name="connsiteY68" fmla="*/ 179749 h 297785"/>
              <a:gd name="connsiteX69" fmla="*/ 164865 w 496886"/>
              <a:gd name="connsiteY69" fmla="*/ 159141 h 297785"/>
              <a:gd name="connsiteX70" fmla="*/ 145974 w 496886"/>
              <a:gd name="connsiteY70" fmla="*/ 152271 h 297785"/>
              <a:gd name="connsiteX71" fmla="*/ 124221 w 496886"/>
              <a:gd name="connsiteY71" fmla="*/ 162003 h 297785"/>
              <a:gd name="connsiteX72" fmla="*/ 109338 w 496886"/>
              <a:gd name="connsiteY72" fmla="*/ 179176 h 297785"/>
              <a:gd name="connsiteX73" fmla="*/ 70411 w 496886"/>
              <a:gd name="connsiteY73" fmla="*/ 133953 h 297785"/>
              <a:gd name="connsiteX74" fmla="*/ 254168 w 496886"/>
              <a:gd name="connsiteY74" fmla="*/ 46368 h 297785"/>
              <a:gd name="connsiteX75" fmla="*/ 257030 w 496886"/>
              <a:gd name="connsiteY75" fmla="*/ 46941 h 297785"/>
              <a:gd name="connsiteX76" fmla="*/ 377244 w 496886"/>
              <a:gd name="connsiteY76" fmla="*/ 53810 h 297785"/>
              <a:gd name="connsiteX77" fmla="*/ 425903 w 496886"/>
              <a:gd name="connsiteY77" fmla="*/ 133382 h 297785"/>
              <a:gd name="connsiteX78" fmla="*/ 384686 w 496886"/>
              <a:gd name="connsiteY78" fmla="*/ 180895 h 297785"/>
              <a:gd name="connsiteX79" fmla="*/ 378389 w 496886"/>
              <a:gd name="connsiteY79" fmla="*/ 173453 h 297785"/>
              <a:gd name="connsiteX80" fmla="*/ 271341 w 496886"/>
              <a:gd name="connsiteY80" fmla="*/ 81288 h 297785"/>
              <a:gd name="connsiteX81" fmla="*/ 224400 w 496886"/>
              <a:gd name="connsiteY81" fmla="*/ 135099 h 297785"/>
              <a:gd name="connsiteX82" fmla="*/ 208944 w 496886"/>
              <a:gd name="connsiteY82" fmla="*/ 143113 h 297785"/>
              <a:gd name="connsiteX83" fmla="*/ 191771 w 496886"/>
              <a:gd name="connsiteY83" fmla="*/ 137389 h 297785"/>
              <a:gd name="connsiteX84" fmla="*/ 189481 w 496886"/>
              <a:gd name="connsiteY84" fmla="*/ 105331 h 297785"/>
              <a:gd name="connsiteX85" fmla="*/ 234704 w 496886"/>
              <a:gd name="connsiteY85" fmla="*/ 53810 h 297785"/>
              <a:gd name="connsiteX86" fmla="*/ 254168 w 496886"/>
              <a:gd name="connsiteY86" fmla="*/ 46368 h 297785"/>
              <a:gd name="connsiteX87" fmla="*/ 432199 w 496886"/>
              <a:gd name="connsiteY87" fmla="*/ 0 h 297785"/>
              <a:gd name="connsiteX88" fmla="*/ 496886 w 496886"/>
              <a:gd name="connsiteY88" fmla="*/ 107622 h 297785"/>
              <a:gd name="connsiteX89" fmla="*/ 452807 w 496886"/>
              <a:gd name="connsiteY89" fmla="*/ 134527 h 297785"/>
              <a:gd name="connsiteX90" fmla="*/ 437351 w 496886"/>
              <a:gd name="connsiteY90" fmla="*/ 130520 h 297785"/>
              <a:gd name="connsiteX91" fmla="*/ 384113 w 496886"/>
              <a:gd name="connsiteY91" fmla="*/ 42361 h 297785"/>
              <a:gd name="connsiteX92" fmla="*/ 388120 w 496886"/>
              <a:gd name="connsiteY92" fmla="*/ 26905 h 297785"/>
              <a:gd name="connsiteX93" fmla="*/ 65259 w 496886"/>
              <a:gd name="connsiteY93" fmla="*/ 0 h 297785"/>
              <a:gd name="connsiteX94" fmla="*/ 108766 w 496886"/>
              <a:gd name="connsiteY94" fmla="*/ 26905 h 297785"/>
              <a:gd name="connsiteX95" fmla="*/ 112773 w 496886"/>
              <a:gd name="connsiteY95" fmla="*/ 42361 h 297785"/>
              <a:gd name="connsiteX96" fmla="*/ 59535 w 496886"/>
              <a:gd name="connsiteY96" fmla="*/ 130520 h 297785"/>
              <a:gd name="connsiteX97" fmla="*/ 44079 w 496886"/>
              <a:gd name="connsiteY97" fmla="*/ 134527 h 297785"/>
              <a:gd name="connsiteX98" fmla="*/ 0 w 496886"/>
              <a:gd name="connsiteY98" fmla="*/ 107622 h 29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96886" h="297785">
                <a:moveTo>
                  <a:pt x="259321" y="243291"/>
                </a:moveTo>
                <a:cubicBezTo>
                  <a:pt x="263900" y="247298"/>
                  <a:pt x="264473" y="254740"/>
                  <a:pt x="260466" y="259319"/>
                </a:cubicBezTo>
                <a:lnTo>
                  <a:pt x="238140" y="285080"/>
                </a:lnTo>
                <a:cubicBezTo>
                  <a:pt x="236423" y="287369"/>
                  <a:pt x="233561" y="288514"/>
                  <a:pt x="230698" y="289087"/>
                </a:cubicBezTo>
                <a:cubicBezTo>
                  <a:pt x="227835" y="289087"/>
                  <a:pt x="224400" y="288514"/>
                  <a:pt x="222111" y="286224"/>
                </a:cubicBezTo>
                <a:cubicBezTo>
                  <a:pt x="217531" y="282217"/>
                  <a:pt x="216959" y="274775"/>
                  <a:pt x="220966" y="270196"/>
                </a:cubicBezTo>
                <a:lnTo>
                  <a:pt x="243292" y="244436"/>
                </a:lnTo>
                <a:cubicBezTo>
                  <a:pt x="247299" y="239856"/>
                  <a:pt x="254741" y="239284"/>
                  <a:pt x="259321" y="243291"/>
                </a:cubicBezTo>
                <a:close/>
                <a:moveTo>
                  <a:pt x="219894" y="217460"/>
                </a:moveTo>
                <a:cubicBezTo>
                  <a:pt x="223543" y="217245"/>
                  <a:pt x="227264" y="218390"/>
                  <a:pt x="230126" y="220966"/>
                </a:cubicBezTo>
                <a:cubicBezTo>
                  <a:pt x="235851" y="226118"/>
                  <a:pt x="236423" y="235277"/>
                  <a:pt x="231271" y="241001"/>
                </a:cubicBezTo>
                <a:lnTo>
                  <a:pt x="204937" y="271341"/>
                </a:lnTo>
                <a:cubicBezTo>
                  <a:pt x="202647" y="274204"/>
                  <a:pt x="199213" y="275921"/>
                  <a:pt x="195778" y="275921"/>
                </a:cubicBezTo>
                <a:cubicBezTo>
                  <a:pt x="191771" y="276493"/>
                  <a:pt x="188336" y="275348"/>
                  <a:pt x="184902" y="272486"/>
                </a:cubicBezTo>
                <a:cubicBezTo>
                  <a:pt x="179177" y="267334"/>
                  <a:pt x="178605" y="258175"/>
                  <a:pt x="183757" y="252450"/>
                </a:cubicBezTo>
                <a:lnTo>
                  <a:pt x="210089" y="222111"/>
                </a:lnTo>
                <a:cubicBezTo>
                  <a:pt x="212665" y="219248"/>
                  <a:pt x="216243" y="217674"/>
                  <a:pt x="219894" y="217460"/>
                </a:cubicBezTo>
                <a:close/>
                <a:moveTo>
                  <a:pt x="183541" y="190554"/>
                </a:moveTo>
                <a:cubicBezTo>
                  <a:pt x="187906" y="190196"/>
                  <a:pt x="192342" y="191484"/>
                  <a:pt x="195777" y="194633"/>
                </a:cubicBezTo>
                <a:cubicBezTo>
                  <a:pt x="202647" y="200930"/>
                  <a:pt x="203792" y="211806"/>
                  <a:pt x="197495" y="218676"/>
                </a:cubicBezTo>
                <a:lnTo>
                  <a:pt x="171162" y="249017"/>
                </a:lnTo>
                <a:cubicBezTo>
                  <a:pt x="168300" y="252451"/>
                  <a:pt x="163720" y="254741"/>
                  <a:pt x="159713" y="254741"/>
                </a:cubicBezTo>
                <a:cubicBezTo>
                  <a:pt x="155133" y="255313"/>
                  <a:pt x="150554" y="253596"/>
                  <a:pt x="147119" y="250734"/>
                </a:cubicBezTo>
                <a:cubicBezTo>
                  <a:pt x="140250" y="244437"/>
                  <a:pt x="139105" y="233560"/>
                  <a:pt x="145402" y="226690"/>
                </a:cubicBezTo>
                <a:lnTo>
                  <a:pt x="171734" y="196350"/>
                </a:lnTo>
                <a:cubicBezTo>
                  <a:pt x="174882" y="192915"/>
                  <a:pt x="179176" y="190912"/>
                  <a:pt x="183541" y="190554"/>
                </a:cubicBezTo>
                <a:close/>
                <a:moveTo>
                  <a:pt x="145760" y="165366"/>
                </a:moveTo>
                <a:cubicBezTo>
                  <a:pt x="150125" y="165008"/>
                  <a:pt x="154562" y="166296"/>
                  <a:pt x="157997" y="169445"/>
                </a:cubicBezTo>
                <a:cubicBezTo>
                  <a:pt x="164866" y="175742"/>
                  <a:pt x="166011" y="186618"/>
                  <a:pt x="159714" y="193488"/>
                </a:cubicBezTo>
                <a:lnTo>
                  <a:pt x="129373" y="227836"/>
                </a:lnTo>
                <a:cubicBezTo>
                  <a:pt x="125938" y="231270"/>
                  <a:pt x="121931" y="232988"/>
                  <a:pt x="117924" y="233560"/>
                </a:cubicBezTo>
                <a:cubicBezTo>
                  <a:pt x="113344" y="234133"/>
                  <a:pt x="108765" y="232415"/>
                  <a:pt x="105330" y="229553"/>
                </a:cubicBezTo>
                <a:cubicBezTo>
                  <a:pt x="98461" y="223256"/>
                  <a:pt x="97316" y="212380"/>
                  <a:pt x="103613" y="205510"/>
                </a:cubicBezTo>
                <a:lnTo>
                  <a:pt x="133953" y="171162"/>
                </a:lnTo>
                <a:cubicBezTo>
                  <a:pt x="137102" y="167727"/>
                  <a:pt x="141395" y="165724"/>
                  <a:pt x="145760" y="165366"/>
                </a:cubicBezTo>
                <a:close/>
                <a:moveTo>
                  <a:pt x="120214" y="51520"/>
                </a:moveTo>
                <a:cubicBezTo>
                  <a:pt x="155134" y="68694"/>
                  <a:pt x="188908" y="54955"/>
                  <a:pt x="215241" y="58389"/>
                </a:cubicBezTo>
                <a:lnTo>
                  <a:pt x="181466" y="97316"/>
                </a:lnTo>
                <a:cubicBezTo>
                  <a:pt x="169445" y="111627"/>
                  <a:pt x="170590" y="133380"/>
                  <a:pt x="184901" y="145974"/>
                </a:cubicBezTo>
                <a:cubicBezTo>
                  <a:pt x="190626" y="151699"/>
                  <a:pt x="198640" y="154561"/>
                  <a:pt x="207227" y="154561"/>
                </a:cubicBezTo>
                <a:cubicBezTo>
                  <a:pt x="207799" y="154561"/>
                  <a:pt x="208944" y="154561"/>
                  <a:pt x="210089" y="154561"/>
                </a:cubicBezTo>
                <a:cubicBezTo>
                  <a:pt x="219249" y="153989"/>
                  <a:pt x="227263" y="149981"/>
                  <a:pt x="232988" y="143112"/>
                </a:cubicBezTo>
                <a:lnTo>
                  <a:pt x="272487" y="97888"/>
                </a:lnTo>
                <a:lnTo>
                  <a:pt x="278784" y="103613"/>
                </a:lnTo>
                <a:lnTo>
                  <a:pt x="370948" y="182611"/>
                </a:lnTo>
                <a:cubicBezTo>
                  <a:pt x="374955" y="186618"/>
                  <a:pt x="377818" y="191770"/>
                  <a:pt x="377245" y="198067"/>
                </a:cubicBezTo>
                <a:cubicBezTo>
                  <a:pt x="378390" y="210662"/>
                  <a:pt x="369231" y="221539"/>
                  <a:pt x="356637" y="222684"/>
                </a:cubicBezTo>
                <a:cubicBezTo>
                  <a:pt x="352057" y="223256"/>
                  <a:pt x="348050" y="222111"/>
                  <a:pt x="344616" y="220394"/>
                </a:cubicBezTo>
                <a:cubicBezTo>
                  <a:pt x="344616" y="221539"/>
                  <a:pt x="345188" y="222684"/>
                  <a:pt x="345188" y="223828"/>
                </a:cubicBezTo>
                <a:cubicBezTo>
                  <a:pt x="346333" y="236422"/>
                  <a:pt x="337174" y="247299"/>
                  <a:pt x="324580" y="248444"/>
                </a:cubicBezTo>
                <a:cubicBezTo>
                  <a:pt x="322862" y="248444"/>
                  <a:pt x="320573" y="248444"/>
                  <a:pt x="318855" y="247871"/>
                </a:cubicBezTo>
                <a:cubicBezTo>
                  <a:pt x="318855" y="247871"/>
                  <a:pt x="318855" y="248444"/>
                  <a:pt x="318855" y="248444"/>
                </a:cubicBezTo>
                <a:cubicBezTo>
                  <a:pt x="320000" y="261038"/>
                  <a:pt x="310841" y="271914"/>
                  <a:pt x="298247" y="273059"/>
                </a:cubicBezTo>
                <a:cubicBezTo>
                  <a:pt x="296530" y="273059"/>
                  <a:pt x="294240" y="273059"/>
                  <a:pt x="292523" y="272487"/>
                </a:cubicBezTo>
                <a:cubicBezTo>
                  <a:pt x="292523" y="272487"/>
                  <a:pt x="292523" y="273059"/>
                  <a:pt x="292523" y="273059"/>
                </a:cubicBezTo>
                <a:cubicBezTo>
                  <a:pt x="293668" y="285653"/>
                  <a:pt x="284508" y="296530"/>
                  <a:pt x="271914" y="297675"/>
                </a:cubicBezTo>
                <a:cubicBezTo>
                  <a:pt x="266762" y="298247"/>
                  <a:pt x="262183" y="296530"/>
                  <a:pt x="258176" y="294240"/>
                </a:cubicBezTo>
                <a:lnTo>
                  <a:pt x="250161" y="287943"/>
                </a:lnTo>
                <a:lnTo>
                  <a:pt x="269625" y="265617"/>
                </a:lnTo>
                <a:cubicBezTo>
                  <a:pt x="273632" y="261038"/>
                  <a:pt x="275922" y="255313"/>
                  <a:pt x="275349" y="249016"/>
                </a:cubicBezTo>
                <a:cubicBezTo>
                  <a:pt x="274777" y="243292"/>
                  <a:pt x="271914" y="237567"/>
                  <a:pt x="267335" y="233560"/>
                </a:cubicBezTo>
                <a:cubicBezTo>
                  <a:pt x="263328" y="229553"/>
                  <a:pt x="258176" y="227836"/>
                  <a:pt x="252451" y="227836"/>
                </a:cubicBezTo>
                <a:cubicBezTo>
                  <a:pt x="250161" y="227836"/>
                  <a:pt x="247872" y="228408"/>
                  <a:pt x="246154" y="228981"/>
                </a:cubicBezTo>
                <a:cubicBezTo>
                  <a:pt x="245582" y="222111"/>
                  <a:pt x="242719" y="215814"/>
                  <a:pt x="237567" y="211235"/>
                </a:cubicBezTo>
                <a:cubicBezTo>
                  <a:pt x="232415" y="207226"/>
                  <a:pt x="226691" y="204937"/>
                  <a:pt x="220394" y="204937"/>
                </a:cubicBezTo>
                <a:cubicBezTo>
                  <a:pt x="218103" y="204937"/>
                  <a:pt x="215241" y="205509"/>
                  <a:pt x="212951" y="206082"/>
                </a:cubicBezTo>
                <a:cubicBezTo>
                  <a:pt x="212951" y="198067"/>
                  <a:pt x="209516" y="190625"/>
                  <a:pt x="203219" y="184901"/>
                </a:cubicBezTo>
                <a:cubicBezTo>
                  <a:pt x="198067" y="180321"/>
                  <a:pt x="191198" y="178031"/>
                  <a:pt x="184329" y="178031"/>
                </a:cubicBezTo>
                <a:cubicBezTo>
                  <a:pt x="180894" y="178031"/>
                  <a:pt x="177459" y="178604"/>
                  <a:pt x="174597" y="179749"/>
                </a:cubicBezTo>
                <a:cubicBezTo>
                  <a:pt x="174024" y="171735"/>
                  <a:pt x="171162" y="164293"/>
                  <a:pt x="164865" y="159141"/>
                </a:cubicBezTo>
                <a:cubicBezTo>
                  <a:pt x="159713" y="154561"/>
                  <a:pt x="152844" y="152271"/>
                  <a:pt x="145974" y="152271"/>
                </a:cubicBezTo>
                <a:cubicBezTo>
                  <a:pt x="137388" y="152271"/>
                  <a:pt x="129373" y="155706"/>
                  <a:pt x="124221" y="162003"/>
                </a:cubicBezTo>
                <a:lnTo>
                  <a:pt x="109338" y="179176"/>
                </a:lnTo>
                <a:lnTo>
                  <a:pt x="70411" y="133953"/>
                </a:lnTo>
                <a:close/>
                <a:moveTo>
                  <a:pt x="254168" y="46368"/>
                </a:moveTo>
                <a:cubicBezTo>
                  <a:pt x="254168" y="46368"/>
                  <a:pt x="256457" y="46941"/>
                  <a:pt x="257030" y="46941"/>
                </a:cubicBezTo>
                <a:cubicBezTo>
                  <a:pt x="295384" y="54383"/>
                  <a:pt x="329731" y="70984"/>
                  <a:pt x="377244" y="53810"/>
                </a:cubicBezTo>
                <a:lnTo>
                  <a:pt x="425903" y="133382"/>
                </a:lnTo>
                <a:lnTo>
                  <a:pt x="384686" y="180895"/>
                </a:lnTo>
                <a:cubicBezTo>
                  <a:pt x="382396" y="177460"/>
                  <a:pt x="381251" y="176315"/>
                  <a:pt x="378389" y="173453"/>
                </a:cubicBezTo>
                <a:lnTo>
                  <a:pt x="271341" y="81288"/>
                </a:lnTo>
                <a:cubicBezTo>
                  <a:pt x="271341" y="81288"/>
                  <a:pt x="224400" y="135099"/>
                  <a:pt x="224400" y="135099"/>
                </a:cubicBezTo>
                <a:cubicBezTo>
                  <a:pt x="220393" y="140251"/>
                  <a:pt x="214669" y="142541"/>
                  <a:pt x="208944" y="143113"/>
                </a:cubicBezTo>
                <a:cubicBezTo>
                  <a:pt x="202647" y="143686"/>
                  <a:pt x="196923" y="141396"/>
                  <a:pt x="191771" y="137389"/>
                </a:cubicBezTo>
                <a:cubicBezTo>
                  <a:pt x="182039" y="129375"/>
                  <a:pt x="180894" y="115062"/>
                  <a:pt x="189481" y="105331"/>
                </a:cubicBezTo>
                <a:lnTo>
                  <a:pt x="234704" y="53810"/>
                </a:lnTo>
                <a:cubicBezTo>
                  <a:pt x="239856" y="48086"/>
                  <a:pt x="247298" y="45796"/>
                  <a:pt x="254168" y="46368"/>
                </a:cubicBezTo>
                <a:close/>
                <a:moveTo>
                  <a:pt x="432199" y="0"/>
                </a:moveTo>
                <a:lnTo>
                  <a:pt x="496886" y="107622"/>
                </a:lnTo>
                <a:lnTo>
                  <a:pt x="452807" y="134527"/>
                </a:lnTo>
                <a:cubicBezTo>
                  <a:pt x="447655" y="137961"/>
                  <a:pt x="440213" y="136244"/>
                  <a:pt x="437351" y="130520"/>
                </a:cubicBezTo>
                <a:lnTo>
                  <a:pt x="384113" y="42361"/>
                </a:lnTo>
                <a:cubicBezTo>
                  <a:pt x="380679" y="37209"/>
                  <a:pt x="382396" y="29767"/>
                  <a:pt x="388120" y="26905"/>
                </a:cubicBezTo>
                <a:close/>
                <a:moveTo>
                  <a:pt x="65259" y="0"/>
                </a:moveTo>
                <a:lnTo>
                  <a:pt x="108766" y="26905"/>
                </a:lnTo>
                <a:cubicBezTo>
                  <a:pt x="114490" y="29767"/>
                  <a:pt x="116207" y="37209"/>
                  <a:pt x="112773" y="42361"/>
                </a:cubicBezTo>
                <a:lnTo>
                  <a:pt x="59535" y="130520"/>
                </a:lnTo>
                <a:cubicBezTo>
                  <a:pt x="56673" y="136244"/>
                  <a:pt x="49231" y="137961"/>
                  <a:pt x="44079" y="134527"/>
                </a:cubicBezTo>
                <a:lnTo>
                  <a:pt x="0" y="107622"/>
                </a:lnTo>
                <a:close/>
              </a:path>
            </a:pathLst>
          </a:custGeom>
          <a:solidFill>
            <a:schemeClr val="accent4">
              <a:lumMod val="75000"/>
            </a:schemeClr>
          </a:solidFill>
          <a:ln w="5655" cap="flat">
            <a:noFill/>
            <a:prstDash val="solid"/>
            <a:miter/>
          </a:ln>
        </p:spPr>
        <p:txBody>
          <a:bodyPr rtlCol="0" anchor="ctr"/>
          <a:lstStyle/>
          <a:p>
            <a:endParaRPr lang="en-US" sz="1799"/>
          </a:p>
        </p:txBody>
      </p:sp>
      <p:sp>
        <p:nvSpPr>
          <p:cNvPr id="51" name="Graphic 93" descr="Send">
            <a:extLst>
              <a:ext uri="{FF2B5EF4-FFF2-40B4-BE49-F238E27FC236}">
                <a16:creationId xmlns:a16="http://schemas.microsoft.com/office/drawing/2014/main" id="{B770AD37-436D-4681-785B-F7BBC064EF77}"/>
              </a:ext>
            </a:extLst>
          </p:cNvPr>
          <p:cNvSpPr/>
          <p:nvPr/>
        </p:nvSpPr>
        <p:spPr>
          <a:xfrm>
            <a:off x="1481605" y="1620981"/>
            <a:ext cx="644347" cy="596022"/>
          </a:xfrm>
          <a:custGeom>
            <a:avLst/>
            <a:gdLst>
              <a:gd name="connsiteX0" fmla="*/ 535087 w 644683"/>
              <a:gd name="connsiteY0" fmla="*/ 501955 h 596332"/>
              <a:gd name="connsiteX1" fmla="*/ 390033 w 644683"/>
              <a:gd name="connsiteY1" fmla="*/ 451992 h 596332"/>
              <a:gd name="connsiteX2" fmla="*/ 389228 w 644683"/>
              <a:gd name="connsiteY2" fmla="*/ 451992 h 596332"/>
              <a:gd name="connsiteX3" fmla="*/ 331206 w 644683"/>
              <a:gd name="connsiteY3" fmla="*/ 431846 h 596332"/>
              <a:gd name="connsiteX4" fmla="*/ 602779 w 644683"/>
              <a:gd name="connsiteY4" fmla="*/ 73240 h 596332"/>
              <a:gd name="connsiteX5" fmla="*/ 535087 w 644683"/>
              <a:gd name="connsiteY5" fmla="*/ 501955 h 596332"/>
              <a:gd name="connsiteX6" fmla="*/ 353770 w 644683"/>
              <a:gd name="connsiteY6" fmla="*/ 474556 h 596332"/>
              <a:gd name="connsiteX7" fmla="*/ 300584 w 644683"/>
              <a:gd name="connsiteY7" fmla="*/ 527742 h 596332"/>
              <a:gd name="connsiteX8" fmla="*/ 315089 w 644683"/>
              <a:gd name="connsiteY8" fmla="*/ 461662 h 596332"/>
              <a:gd name="connsiteX9" fmla="*/ 353770 w 644683"/>
              <a:gd name="connsiteY9" fmla="*/ 474556 h 596332"/>
              <a:gd name="connsiteX10" fmla="*/ 353770 w 644683"/>
              <a:gd name="connsiteY10" fmla="*/ 474556 h 596332"/>
              <a:gd name="connsiteX11" fmla="*/ 289302 w 644683"/>
              <a:gd name="connsiteY11" fmla="*/ 433457 h 596332"/>
              <a:gd name="connsiteX12" fmla="*/ 286078 w 644683"/>
              <a:gd name="connsiteY12" fmla="*/ 439904 h 596332"/>
              <a:gd name="connsiteX13" fmla="*/ 283661 w 644683"/>
              <a:gd name="connsiteY13" fmla="*/ 450380 h 596332"/>
              <a:gd name="connsiteX14" fmla="*/ 267544 w 644683"/>
              <a:gd name="connsiteY14" fmla="*/ 523713 h 596332"/>
              <a:gd name="connsiteX15" fmla="*/ 228863 w 644683"/>
              <a:gd name="connsiteY15" fmla="*/ 410893 h 596332"/>
              <a:gd name="connsiteX16" fmla="*/ 530252 w 644683"/>
              <a:gd name="connsiteY16" fmla="*/ 120786 h 596332"/>
              <a:gd name="connsiteX17" fmla="*/ 298972 w 644683"/>
              <a:gd name="connsiteY17" fmla="*/ 421369 h 596332"/>
              <a:gd name="connsiteX18" fmla="*/ 289302 w 644683"/>
              <a:gd name="connsiteY18" fmla="*/ 433457 h 596332"/>
              <a:gd name="connsiteX19" fmla="*/ 56410 w 644683"/>
              <a:gd name="connsiteY19" fmla="*/ 338366 h 596332"/>
              <a:gd name="connsiteX20" fmla="*/ 528640 w 644683"/>
              <a:gd name="connsiteY20" fmla="*/ 86940 h 596332"/>
              <a:gd name="connsiteX21" fmla="*/ 205493 w 644683"/>
              <a:gd name="connsiteY21" fmla="*/ 389135 h 596332"/>
              <a:gd name="connsiteX22" fmla="*/ 56410 w 644683"/>
              <a:gd name="connsiteY22" fmla="*/ 338366 h 596332"/>
              <a:gd name="connsiteX23" fmla="*/ 638237 w 644683"/>
              <a:gd name="connsiteY23" fmla="*/ 3131 h 596332"/>
              <a:gd name="connsiteX24" fmla="*/ 620508 w 644683"/>
              <a:gd name="connsiteY24" fmla="*/ 2325 h 596332"/>
              <a:gd name="connsiteX25" fmla="*/ 8864 w 644683"/>
              <a:gd name="connsiteY25" fmla="*/ 327084 h 596332"/>
              <a:gd name="connsiteX26" fmla="*/ 0 w 644683"/>
              <a:gd name="connsiteY26" fmla="*/ 342396 h 596332"/>
              <a:gd name="connsiteX27" fmla="*/ 10476 w 644683"/>
              <a:gd name="connsiteY27" fmla="*/ 356095 h 596332"/>
              <a:gd name="connsiteX28" fmla="*/ 178094 w 644683"/>
              <a:gd name="connsiteY28" fmla="*/ 413311 h 596332"/>
              <a:gd name="connsiteX29" fmla="*/ 199046 w 644683"/>
              <a:gd name="connsiteY29" fmla="*/ 420564 h 596332"/>
              <a:gd name="connsiteX30" fmla="*/ 203881 w 644683"/>
              <a:gd name="connsiteY30" fmla="*/ 434263 h 596332"/>
              <a:gd name="connsiteX31" fmla="*/ 253844 w 644683"/>
              <a:gd name="connsiteY31" fmla="*/ 584152 h 596332"/>
              <a:gd name="connsiteX32" fmla="*/ 253844 w 644683"/>
              <a:gd name="connsiteY32" fmla="*/ 584958 h 596332"/>
              <a:gd name="connsiteX33" fmla="*/ 253844 w 644683"/>
              <a:gd name="connsiteY33" fmla="*/ 585764 h 596332"/>
              <a:gd name="connsiteX34" fmla="*/ 265932 w 644683"/>
              <a:gd name="connsiteY34" fmla="*/ 596240 h 596332"/>
              <a:gd name="connsiteX35" fmla="*/ 281243 w 644683"/>
              <a:gd name="connsiteY35" fmla="*/ 592211 h 596332"/>
              <a:gd name="connsiteX36" fmla="*/ 282049 w 644683"/>
              <a:gd name="connsiteY36" fmla="*/ 591405 h 596332"/>
              <a:gd name="connsiteX37" fmla="*/ 286884 w 644683"/>
              <a:gd name="connsiteY37" fmla="*/ 586570 h 596332"/>
              <a:gd name="connsiteX38" fmla="*/ 388422 w 644683"/>
              <a:gd name="connsiteY38" fmla="*/ 486644 h 596332"/>
              <a:gd name="connsiteX39" fmla="*/ 543146 w 644683"/>
              <a:gd name="connsiteY39" fmla="*/ 539830 h 596332"/>
              <a:gd name="connsiteX40" fmla="*/ 556845 w 644683"/>
              <a:gd name="connsiteY40" fmla="*/ 538218 h 596332"/>
              <a:gd name="connsiteX41" fmla="*/ 564904 w 644683"/>
              <a:gd name="connsiteY41" fmla="*/ 526936 h 596332"/>
              <a:gd name="connsiteX42" fmla="*/ 645489 w 644683"/>
              <a:gd name="connsiteY42" fmla="*/ 19248 h 596332"/>
              <a:gd name="connsiteX43" fmla="*/ 638237 w 644683"/>
              <a:gd name="connsiteY43" fmla="*/ 3131 h 59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44683" h="596332">
                <a:moveTo>
                  <a:pt x="535087" y="501955"/>
                </a:moveTo>
                <a:lnTo>
                  <a:pt x="390033" y="451992"/>
                </a:lnTo>
                <a:lnTo>
                  <a:pt x="389228" y="451992"/>
                </a:lnTo>
                <a:lnTo>
                  <a:pt x="331206" y="431846"/>
                </a:lnTo>
                <a:lnTo>
                  <a:pt x="602779" y="73240"/>
                </a:lnTo>
                <a:lnTo>
                  <a:pt x="535087" y="501955"/>
                </a:lnTo>
                <a:close/>
                <a:moveTo>
                  <a:pt x="353770" y="474556"/>
                </a:moveTo>
                <a:lnTo>
                  <a:pt x="300584" y="527742"/>
                </a:lnTo>
                <a:lnTo>
                  <a:pt x="315089" y="461662"/>
                </a:lnTo>
                <a:lnTo>
                  <a:pt x="353770" y="474556"/>
                </a:lnTo>
                <a:lnTo>
                  <a:pt x="353770" y="474556"/>
                </a:lnTo>
                <a:close/>
                <a:moveTo>
                  <a:pt x="289302" y="433457"/>
                </a:moveTo>
                <a:cubicBezTo>
                  <a:pt x="287690" y="435069"/>
                  <a:pt x="286884" y="437487"/>
                  <a:pt x="286078" y="439904"/>
                </a:cubicBezTo>
                <a:lnTo>
                  <a:pt x="283661" y="450380"/>
                </a:lnTo>
                <a:lnTo>
                  <a:pt x="267544" y="523713"/>
                </a:lnTo>
                <a:lnTo>
                  <a:pt x="228863" y="410893"/>
                </a:lnTo>
                <a:lnTo>
                  <a:pt x="530252" y="120786"/>
                </a:lnTo>
                <a:lnTo>
                  <a:pt x="298972" y="421369"/>
                </a:lnTo>
                <a:lnTo>
                  <a:pt x="289302" y="433457"/>
                </a:lnTo>
                <a:close/>
                <a:moveTo>
                  <a:pt x="56410" y="338366"/>
                </a:moveTo>
                <a:lnTo>
                  <a:pt x="528640" y="86940"/>
                </a:lnTo>
                <a:lnTo>
                  <a:pt x="205493" y="389135"/>
                </a:lnTo>
                <a:lnTo>
                  <a:pt x="56410" y="338366"/>
                </a:lnTo>
                <a:close/>
                <a:moveTo>
                  <a:pt x="638237" y="3131"/>
                </a:moveTo>
                <a:cubicBezTo>
                  <a:pt x="633401" y="-898"/>
                  <a:pt x="626149" y="-898"/>
                  <a:pt x="620508" y="2325"/>
                </a:cubicBezTo>
                <a:lnTo>
                  <a:pt x="8864" y="327084"/>
                </a:lnTo>
                <a:cubicBezTo>
                  <a:pt x="3223" y="330308"/>
                  <a:pt x="0" y="335949"/>
                  <a:pt x="0" y="342396"/>
                </a:cubicBezTo>
                <a:cubicBezTo>
                  <a:pt x="0" y="348843"/>
                  <a:pt x="4835" y="354484"/>
                  <a:pt x="10476" y="356095"/>
                </a:cubicBezTo>
                <a:lnTo>
                  <a:pt x="178094" y="413311"/>
                </a:lnTo>
                <a:lnTo>
                  <a:pt x="199046" y="420564"/>
                </a:lnTo>
                <a:lnTo>
                  <a:pt x="203881" y="434263"/>
                </a:lnTo>
                <a:lnTo>
                  <a:pt x="253844" y="584152"/>
                </a:lnTo>
                <a:lnTo>
                  <a:pt x="253844" y="584958"/>
                </a:lnTo>
                <a:lnTo>
                  <a:pt x="253844" y="585764"/>
                </a:lnTo>
                <a:cubicBezTo>
                  <a:pt x="255456" y="590599"/>
                  <a:pt x="260291" y="594628"/>
                  <a:pt x="265932" y="596240"/>
                </a:cubicBezTo>
                <a:cubicBezTo>
                  <a:pt x="271573" y="597851"/>
                  <a:pt x="277214" y="596240"/>
                  <a:pt x="281243" y="592211"/>
                </a:cubicBezTo>
                <a:lnTo>
                  <a:pt x="282049" y="591405"/>
                </a:lnTo>
                <a:lnTo>
                  <a:pt x="286884" y="586570"/>
                </a:lnTo>
                <a:lnTo>
                  <a:pt x="388422" y="486644"/>
                </a:lnTo>
                <a:lnTo>
                  <a:pt x="543146" y="539830"/>
                </a:lnTo>
                <a:cubicBezTo>
                  <a:pt x="547981" y="541442"/>
                  <a:pt x="552816" y="540636"/>
                  <a:pt x="556845" y="538218"/>
                </a:cubicBezTo>
                <a:cubicBezTo>
                  <a:pt x="560875" y="535801"/>
                  <a:pt x="564098" y="531771"/>
                  <a:pt x="564904" y="526936"/>
                </a:cubicBezTo>
                <a:lnTo>
                  <a:pt x="645489" y="19248"/>
                </a:lnTo>
                <a:cubicBezTo>
                  <a:pt x="646295" y="11995"/>
                  <a:pt x="643072" y="6355"/>
                  <a:pt x="638237" y="3131"/>
                </a:cubicBezTo>
                <a:close/>
              </a:path>
            </a:pathLst>
          </a:custGeom>
          <a:solidFill>
            <a:schemeClr val="accent2">
              <a:lumMod val="75000"/>
            </a:schemeClr>
          </a:solidFill>
          <a:ln w="8037" cap="flat">
            <a:noFill/>
            <a:prstDash val="solid"/>
            <a:miter/>
          </a:ln>
        </p:spPr>
        <p:txBody>
          <a:bodyPr rtlCol="0" anchor="ctr"/>
          <a:lstStyle/>
          <a:p>
            <a:endParaRPr lang="en-US" sz="1799"/>
          </a:p>
        </p:txBody>
      </p:sp>
      <p:sp>
        <p:nvSpPr>
          <p:cNvPr id="52" name="Freeform 584">
            <a:extLst>
              <a:ext uri="{FF2B5EF4-FFF2-40B4-BE49-F238E27FC236}">
                <a16:creationId xmlns:a16="http://schemas.microsoft.com/office/drawing/2014/main" id="{9B9B81D1-3EDC-D7DF-7722-22EE16B42FB6}"/>
              </a:ext>
            </a:extLst>
          </p:cNvPr>
          <p:cNvSpPr>
            <a:spLocks/>
          </p:cNvSpPr>
          <p:nvPr/>
        </p:nvSpPr>
        <p:spPr bwMode="auto">
          <a:xfrm>
            <a:off x="6680428" y="1603620"/>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53" name="Freeform 586">
            <a:extLst>
              <a:ext uri="{FF2B5EF4-FFF2-40B4-BE49-F238E27FC236}">
                <a16:creationId xmlns:a16="http://schemas.microsoft.com/office/drawing/2014/main" id="{343B2391-11C6-01D1-2FB6-886749F1C1A2}"/>
              </a:ext>
            </a:extLst>
          </p:cNvPr>
          <p:cNvSpPr>
            <a:spLocks/>
          </p:cNvSpPr>
          <p:nvPr/>
        </p:nvSpPr>
        <p:spPr bwMode="auto">
          <a:xfrm>
            <a:off x="7539652" y="1593953"/>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1">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56" name="Group 55">
            <a:extLst>
              <a:ext uri="{FF2B5EF4-FFF2-40B4-BE49-F238E27FC236}">
                <a16:creationId xmlns:a16="http://schemas.microsoft.com/office/drawing/2014/main" id="{9B9FB4C0-A8A4-8CBE-5478-B2DA1853B2B9}"/>
              </a:ext>
            </a:extLst>
          </p:cNvPr>
          <p:cNvGrpSpPr/>
          <p:nvPr/>
        </p:nvGrpSpPr>
        <p:grpSpPr>
          <a:xfrm>
            <a:off x="7977742" y="1528334"/>
            <a:ext cx="2935559" cy="1039417"/>
            <a:chOff x="2276598" y="1382952"/>
            <a:chExt cx="2937088" cy="1039958"/>
          </a:xfrm>
        </p:grpSpPr>
        <p:sp>
          <p:nvSpPr>
            <p:cNvPr id="57" name="TextBox 56">
              <a:extLst>
                <a:ext uri="{FF2B5EF4-FFF2-40B4-BE49-F238E27FC236}">
                  <a16:creationId xmlns:a16="http://schemas.microsoft.com/office/drawing/2014/main" id="{5993E0EB-97BD-7463-7522-A6221C173A24}"/>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58" name="TextBox 57">
              <a:extLst>
                <a:ext uri="{FF2B5EF4-FFF2-40B4-BE49-F238E27FC236}">
                  <a16:creationId xmlns:a16="http://schemas.microsoft.com/office/drawing/2014/main" id="{FE2E7B3C-36FE-D373-2F15-AFCD7A3A20A6}"/>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62" name="Graphic 61" descr="Family with boy">
            <a:extLst>
              <a:ext uri="{FF2B5EF4-FFF2-40B4-BE49-F238E27FC236}">
                <a16:creationId xmlns:a16="http://schemas.microsoft.com/office/drawing/2014/main" id="{310DAFED-C829-60CF-EAF9-85587A4C15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2976" y="1622996"/>
            <a:ext cx="426776" cy="426776"/>
          </a:xfrm>
          <a:prstGeom prst="rect">
            <a:avLst/>
          </a:prstGeom>
        </p:spPr>
      </p:pic>
      <p:sp>
        <p:nvSpPr>
          <p:cNvPr id="134" name="Freeform 588">
            <a:extLst>
              <a:ext uri="{FF2B5EF4-FFF2-40B4-BE49-F238E27FC236}">
                <a16:creationId xmlns:a16="http://schemas.microsoft.com/office/drawing/2014/main" id="{4E592C7F-369D-4780-9110-7D838B52EE40}"/>
              </a:ext>
            </a:extLst>
          </p:cNvPr>
          <p:cNvSpPr>
            <a:spLocks/>
          </p:cNvSpPr>
          <p:nvPr/>
        </p:nvSpPr>
        <p:spPr bwMode="auto">
          <a:xfrm>
            <a:off x="6680427" y="1505574"/>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35" name="Freeform 587">
            <a:extLst>
              <a:ext uri="{FF2B5EF4-FFF2-40B4-BE49-F238E27FC236}">
                <a16:creationId xmlns:a16="http://schemas.microsoft.com/office/drawing/2014/main" id="{3996E13E-0131-8D8C-CB55-F45D5396CB18}"/>
              </a:ext>
            </a:extLst>
          </p:cNvPr>
          <p:cNvSpPr>
            <a:spLocks/>
          </p:cNvSpPr>
          <p:nvPr/>
        </p:nvSpPr>
        <p:spPr bwMode="auto">
          <a:xfrm>
            <a:off x="6908279" y="1732045"/>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6" name="Freeform 589">
            <a:extLst>
              <a:ext uri="{FF2B5EF4-FFF2-40B4-BE49-F238E27FC236}">
                <a16:creationId xmlns:a16="http://schemas.microsoft.com/office/drawing/2014/main" id="{34A71CDC-14CA-07DE-6837-738EE06E2A4E}"/>
              </a:ext>
            </a:extLst>
          </p:cNvPr>
          <p:cNvSpPr>
            <a:spLocks/>
          </p:cNvSpPr>
          <p:nvPr/>
        </p:nvSpPr>
        <p:spPr bwMode="auto">
          <a:xfrm>
            <a:off x="7551787" y="2081418"/>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rgbClr val="008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37" name="Freeform 590">
            <a:extLst>
              <a:ext uri="{FF2B5EF4-FFF2-40B4-BE49-F238E27FC236}">
                <a16:creationId xmlns:a16="http://schemas.microsoft.com/office/drawing/2014/main" id="{9DC9CB9F-4395-8750-D29F-97CCA7A26A42}"/>
              </a:ext>
            </a:extLst>
          </p:cNvPr>
          <p:cNvSpPr>
            <a:spLocks/>
          </p:cNvSpPr>
          <p:nvPr/>
        </p:nvSpPr>
        <p:spPr bwMode="auto">
          <a:xfrm>
            <a:off x="7551787" y="2081418"/>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1">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38" name="Freeform: Shape 137">
            <a:extLst>
              <a:ext uri="{FF2B5EF4-FFF2-40B4-BE49-F238E27FC236}">
                <a16:creationId xmlns:a16="http://schemas.microsoft.com/office/drawing/2014/main" id="{2312078D-80B8-5F9B-3884-2ECDB2B15AF0}"/>
              </a:ext>
            </a:extLst>
          </p:cNvPr>
          <p:cNvSpPr>
            <a:spLocks/>
          </p:cNvSpPr>
          <p:nvPr/>
        </p:nvSpPr>
        <p:spPr bwMode="auto">
          <a:xfrm>
            <a:off x="7597359" y="2077274"/>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1"/>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39" name="Freeform 585">
            <a:extLst>
              <a:ext uri="{FF2B5EF4-FFF2-40B4-BE49-F238E27FC236}">
                <a16:creationId xmlns:a16="http://schemas.microsoft.com/office/drawing/2014/main" id="{04EF9920-06F2-8AF6-389E-F30069A28A8E}"/>
              </a:ext>
            </a:extLst>
          </p:cNvPr>
          <p:cNvSpPr>
            <a:spLocks/>
          </p:cNvSpPr>
          <p:nvPr/>
        </p:nvSpPr>
        <p:spPr bwMode="auto">
          <a:xfrm>
            <a:off x="6908279" y="1738907"/>
            <a:ext cx="694582" cy="694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1</a:t>
            </a:r>
          </a:p>
        </p:txBody>
      </p:sp>
      <p:sp>
        <p:nvSpPr>
          <p:cNvPr id="140" name="Freeform 584">
            <a:extLst>
              <a:ext uri="{FF2B5EF4-FFF2-40B4-BE49-F238E27FC236}">
                <a16:creationId xmlns:a16="http://schemas.microsoft.com/office/drawing/2014/main" id="{B1FE5B81-0399-A60E-FFE9-0DB36502B64B}"/>
              </a:ext>
            </a:extLst>
          </p:cNvPr>
          <p:cNvSpPr>
            <a:spLocks/>
          </p:cNvSpPr>
          <p:nvPr/>
        </p:nvSpPr>
        <p:spPr bwMode="auto">
          <a:xfrm>
            <a:off x="6710104" y="3058585"/>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41" name="Freeform 586">
            <a:extLst>
              <a:ext uri="{FF2B5EF4-FFF2-40B4-BE49-F238E27FC236}">
                <a16:creationId xmlns:a16="http://schemas.microsoft.com/office/drawing/2014/main" id="{FB162D03-0495-080D-1C0B-870D250EF373}"/>
              </a:ext>
            </a:extLst>
          </p:cNvPr>
          <p:cNvSpPr>
            <a:spLocks/>
          </p:cNvSpPr>
          <p:nvPr/>
        </p:nvSpPr>
        <p:spPr bwMode="auto">
          <a:xfrm>
            <a:off x="7569327" y="3048918"/>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5">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142" name="Group 141">
            <a:extLst>
              <a:ext uri="{FF2B5EF4-FFF2-40B4-BE49-F238E27FC236}">
                <a16:creationId xmlns:a16="http://schemas.microsoft.com/office/drawing/2014/main" id="{3A6C5AEE-0C8E-2E4B-A1EE-509E44CD7697}"/>
              </a:ext>
            </a:extLst>
          </p:cNvPr>
          <p:cNvGrpSpPr/>
          <p:nvPr/>
        </p:nvGrpSpPr>
        <p:grpSpPr>
          <a:xfrm>
            <a:off x="8007418" y="3005196"/>
            <a:ext cx="2935559" cy="1039417"/>
            <a:chOff x="2276598" y="1382952"/>
            <a:chExt cx="2937088" cy="1039958"/>
          </a:xfrm>
        </p:grpSpPr>
        <p:sp>
          <p:nvSpPr>
            <p:cNvPr id="143" name="TextBox 142">
              <a:extLst>
                <a:ext uri="{FF2B5EF4-FFF2-40B4-BE49-F238E27FC236}">
                  <a16:creationId xmlns:a16="http://schemas.microsoft.com/office/drawing/2014/main" id="{76FE1C1A-5BD2-1964-5A15-3B94A50C695B}"/>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44" name="TextBox 143">
              <a:extLst>
                <a:ext uri="{FF2B5EF4-FFF2-40B4-BE49-F238E27FC236}">
                  <a16:creationId xmlns:a16="http://schemas.microsoft.com/office/drawing/2014/main" id="{F92AD0CB-A0C3-CE0A-4497-17FD98CC0F42}"/>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148" name="Graphic 147" descr="Bar chart">
            <a:extLst>
              <a:ext uri="{FF2B5EF4-FFF2-40B4-BE49-F238E27FC236}">
                <a16:creationId xmlns:a16="http://schemas.microsoft.com/office/drawing/2014/main" id="{D8097D5E-C49A-56F9-1067-0C6C6D9720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72652" y="3058585"/>
            <a:ext cx="426776" cy="426776"/>
          </a:xfrm>
          <a:prstGeom prst="rect">
            <a:avLst/>
          </a:prstGeom>
        </p:spPr>
      </p:pic>
      <p:sp>
        <p:nvSpPr>
          <p:cNvPr id="150" name="Freeform 588">
            <a:extLst>
              <a:ext uri="{FF2B5EF4-FFF2-40B4-BE49-F238E27FC236}">
                <a16:creationId xmlns:a16="http://schemas.microsoft.com/office/drawing/2014/main" id="{D4342932-2DFE-2E62-CC26-C392FCD87EE5}"/>
              </a:ext>
            </a:extLst>
          </p:cNvPr>
          <p:cNvSpPr>
            <a:spLocks/>
          </p:cNvSpPr>
          <p:nvPr/>
        </p:nvSpPr>
        <p:spPr bwMode="auto">
          <a:xfrm>
            <a:off x="6710103" y="2960539"/>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5"/>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1" name="Freeform 587">
            <a:extLst>
              <a:ext uri="{FF2B5EF4-FFF2-40B4-BE49-F238E27FC236}">
                <a16:creationId xmlns:a16="http://schemas.microsoft.com/office/drawing/2014/main" id="{E442751D-931F-7EFE-A903-8F7061BBEAFB}"/>
              </a:ext>
            </a:extLst>
          </p:cNvPr>
          <p:cNvSpPr>
            <a:spLocks/>
          </p:cNvSpPr>
          <p:nvPr/>
        </p:nvSpPr>
        <p:spPr bwMode="auto">
          <a:xfrm>
            <a:off x="6937955" y="3187010"/>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52" name="Freeform 589">
            <a:extLst>
              <a:ext uri="{FF2B5EF4-FFF2-40B4-BE49-F238E27FC236}">
                <a16:creationId xmlns:a16="http://schemas.microsoft.com/office/drawing/2014/main" id="{FDD37131-7F96-994F-1569-6CAD64F01682}"/>
              </a:ext>
            </a:extLst>
          </p:cNvPr>
          <p:cNvSpPr>
            <a:spLocks/>
          </p:cNvSpPr>
          <p:nvPr/>
        </p:nvSpPr>
        <p:spPr bwMode="auto">
          <a:xfrm>
            <a:off x="7581462" y="3536383"/>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5">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7" name="Freeform 590">
            <a:extLst>
              <a:ext uri="{FF2B5EF4-FFF2-40B4-BE49-F238E27FC236}">
                <a16:creationId xmlns:a16="http://schemas.microsoft.com/office/drawing/2014/main" id="{6CFF0401-3F27-4779-BDC2-64128FFA5C76}"/>
              </a:ext>
            </a:extLst>
          </p:cNvPr>
          <p:cNvSpPr>
            <a:spLocks/>
          </p:cNvSpPr>
          <p:nvPr/>
        </p:nvSpPr>
        <p:spPr bwMode="auto">
          <a:xfrm>
            <a:off x="7581462" y="3536383"/>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5">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59" name="Freeform: Shape 158">
            <a:extLst>
              <a:ext uri="{FF2B5EF4-FFF2-40B4-BE49-F238E27FC236}">
                <a16:creationId xmlns:a16="http://schemas.microsoft.com/office/drawing/2014/main" id="{AEAA3A89-BEE3-71A2-702D-4E86B28612CB}"/>
              </a:ext>
            </a:extLst>
          </p:cNvPr>
          <p:cNvSpPr>
            <a:spLocks/>
          </p:cNvSpPr>
          <p:nvPr/>
        </p:nvSpPr>
        <p:spPr bwMode="auto">
          <a:xfrm>
            <a:off x="7627034" y="3532239"/>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5"/>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63" name="Freeform 585">
            <a:extLst>
              <a:ext uri="{FF2B5EF4-FFF2-40B4-BE49-F238E27FC236}">
                <a16:creationId xmlns:a16="http://schemas.microsoft.com/office/drawing/2014/main" id="{71FC70E5-0E1C-7955-9B08-8B2595077A9F}"/>
              </a:ext>
            </a:extLst>
          </p:cNvPr>
          <p:cNvSpPr>
            <a:spLocks/>
          </p:cNvSpPr>
          <p:nvPr/>
        </p:nvSpPr>
        <p:spPr bwMode="auto">
          <a:xfrm>
            <a:off x="6937955" y="3187010"/>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5</a:t>
            </a:r>
          </a:p>
        </p:txBody>
      </p:sp>
      <p:sp>
        <p:nvSpPr>
          <p:cNvPr id="166" name="Freeform 584">
            <a:extLst>
              <a:ext uri="{FF2B5EF4-FFF2-40B4-BE49-F238E27FC236}">
                <a16:creationId xmlns:a16="http://schemas.microsoft.com/office/drawing/2014/main" id="{2D1254CD-1748-C0E3-0914-5E6CC132FE9A}"/>
              </a:ext>
            </a:extLst>
          </p:cNvPr>
          <p:cNvSpPr>
            <a:spLocks/>
          </p:cNvSpPr>
          <p:nvPr/>
        </p:nvSpPr>
        <p:spPr bwMode="auto">
          <a:xfrm>
            <a:off x="6710104" y="4652833"/>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68" name="Freeform 586">
            <a:extLst>
              <a:ext uri="{FF2B5EF4-FFF2-40B4-BE49-F238E27FC236}">
                <a16:creationId xmlns:a16="http://schemas.microsoft.com/office/drawing/2014/main" id="{9665B725-B1B9-5F1B-1E5A-B78F26A6E957}"/>
              </a:ext>
            </a:extLst>
          </p:cNvPr>
          <p:cNvSpPr>
            <a:spLocks/>
          </p:cNvSpPr>
          <p:nvPr/>
        </p:nvSpPr>
        <p:spPr bwMode="auto">
          <a:xfrm>
            <a:off x="7569327" y="4643167"/>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2">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71" name="Freeform 584">
            <a:extLst>
              <a:ext uri="{FF2B5EF4-FFF2-40B4-BE49-F238E27FC236}">
                <a16:creationId xmlns:a16="http://schemas.microsoft.com/office/drawing/2014/main" id="{4E4DD801-99B6-31A3-ADEB-8A237FB043B0}"/>
              </a:ext>
            </a:extLst>
          </p:cNvPr>
          <p:cNvSpPr>
            <a:spLocks/>
          </p:cNvSpPr>
          <p:nvPr/>
        </p:nvSpPr>
        <p:spPr bwMode="auto">
          <a:xfrm>
            <a:off x="6888024" y="10038132"/>
            <a:ext cx="4856691" cy="1144782"/>
          </a:xfrm>
          <a:custGeom>
            <a:avLst/>
            <a:gdLst>
              <a:gd name="T0" fmla="*/ 13835 w 14066"/>
              <a:gd name="T1" fmla="*/ 744 h 3315"/>
              <a:gd name="T2" fmla="*/ 13713 w 14066"/>
              <a:gd name="T3" fmla="*/ 454 h 3315"/>
              <a:gd name="T4" fmla="*/ 13456 w 14066"/>
              <a:gd name="T5" fmla="*/ 280 h 3315"/>
              <a:gd name="T6" fmla="*/ 2543 w 14066"/>
              <a:gd name="T7" fmla="*/ 257 h 3315"/>
              <a:gd name="T8" fmla="*/ 2291 w 14066"/>
              <a:gd name="T9" fmla="*/ 124 h 3315"/>
              <a:gd name="T10" fmla="*/ 1956 w 14066"/>
              <a:gd name="T11" fmla="*/ 26 h 3315"/>
              <a:gd name="T12" fmla="*/ 1658 w 14066"/>
              <a:gd name="T13" fmla="*/ 0 h 3315"/>
              <a:gd name="T14" fmla="*/ 1243 w 14066"/>
              <a:gd name="T15" fmla="*/ 52 h 3315"/>
              <a:gd name="T16" fmla="*/ 798 w 14066"/>
              <a:gd name="T17" fmla="*/ 240 h 3315"/>
              <a:gd name="T18" fmla="*/ 431 w 14066"/>
              <a:gd name="T19" fmla="*/ 543 h 3315"/>
              <a:gd name="T20" fmla="*/ 162 w 14066"/>
              <a:gd name="T21" fmla="*/ 938 h 3315"/>
              <a:gd name="T22" fmla="*/ 19 w 14066"/>
              <a:gd name="T23" fmla="*/ 1405 h 3315"/>
              <a:gd name="T24" fmla="*/ 0 w 14066"/>
              <a:gd name="T25" fmla="*/ 1720 h 3315"/>
              <a:gd name="T26" fmla="*/ 54 w 14066"/>
              <a:gd name="T27" fmla="*/ 2076 h 3315"/>
              <a:gd name="T28" fmla="*/ 177 w 14066"/>
              <a:gd name="T29" fmla="*/ 2404 h 3315"/>
              <a:gd name="T30" fmla="*/ 365 w 14066"/>
              <a:gd name="T31" fmla="*/ 2696 h 3315"/>
              <a:gd name="T32" fmla="*/ 607 w 14066"/>
              <a:gd name="T33" fmla="*/ 2941 h 3315"/>
              <a:gd name="T34" fmla="*/ 896 w 14066"/>
              <a:gd name="T35" fmla="*/ 3130 h 3315"/>
              <a:gd name="T36" fmla="*/ 1199 w 14066"/>
              <a:gd name="T37" fmla="*/ 3252 h 3315"/>
              <a:gd name="T38" fmla="*/ 1658 w 14066"/>
              <a:gd name="T39" fmla="*/ 3315 h 3315"/>
              <a:gd name="T40" fmla="*/ 1700 w 14066"/>
              <a:gd name="T41" fmla="*/ 3315 h 3315"/>
              <a:gd name="T42" fmla="*/ 1766 w 14066"/>
              <a:gd name="T43" fmla="*/ 3312 h 3315"/>
              <a:gd name="T44" fmla="*/ 1834 w 14066"/>
              <a:gd name="T45" fmla="*/ 3306 h 3315"/>
              <a:gd name="T46" fmla="*/ 1899 w 14066"/>
              <a:gd name="T47" fmla="*/ 3297 h 3315"/>
              <a:gd name="T48" fmla="*/ 1954 w 14066"/>
              <a:gd name="T49" fmla="*/ 3288 h 3315"/>
              <a:gd name="T50" fmla="*/ 2011 w 14066"/>
              <a:gd name="T51" fmla="*/ 3278 h 3315"/>
              <a:gd name="T52" fmla="*/ 2070 w 14066"/>
              <a:gd name="T53" fmla="*/ 3264 h 3315"/>
              <a:gd name="T54" fmla="*/ 2125 w 14066"/>
              <a:gd name="T55" fmla="*/ 3248 h 3315"/>
              <a:gd name="T56" fmla="*/ 2178 w 14066"/>
              <a:gd name="T57" fmla="*/ 3231 h 3315"/>
              <a:gd name="T58" fmla="*/ 2241 w 14066"/>
              <a:gd name="T59" fmla="*/ 3209 h 3315"/>
              <a:gd name="T60" fmla="*/ 2328 w 14066"/>
              <a:gd name="T61" fmla="*/ 3174 h 3315"/>
              <a:gd name="T62" fmla="*/ 2790 w 14066"/>
              <a:gd name="T63" fmla="*/ 2870 h 3315"/>
              <a:gd name="T64" fmla="*/ 2855 w 14066"/>
              <a:gd name="T65" fmla="*/ 2805 h 3315"/>
              <a:gd name="T66" fmla="*/ 2869 w 14066"/>
              <a:gd name="T67" fmla="*/ 2789 h 3315"/>
              <a:gd name="T68" fmla="*/ 2896 w 14066"/>
              <a:gd name="T69" fmla="*/ 2759 h 3315"/>
              <a:gd name="T70" fmla="*/ 2901 w 14066"/>
              <a:gd name="T71" fmla="*/ 2754 h 3315"/>
              <a:gd name="T72" fmla="*/ 2931 w 14066"/>
              <a:gd name="T73" fmla="*/ 2719 h 3315"/>
              <a:gd name="T74" fmla="*/ 2934 w 14066"/>
              <a:gd name="T75" fmla="*/ 2717 h 3315"/>
              <a:gd name="T76" fmla="*/ 2943 w 14066"/>
              <a:gd name="T77" fmla="*/ 2706 h 3315"/>
              <a:gd name="T78" fmla="*/ 2966 w 14066"/>
              <a:gd name="T79" fmla="*/ 2676 h 3315"/>
              <a:gd name="T80" fmla="*/ 2985 w 14066"/>
              <a:gd name="T81" fmla="*/ 2651 h 3315"/>
              <a:gd name="T82" fmla="*/ 3317 w 14066"/>
              <a:gd name="T83" fmla="*/ 2985 h 3315"/>
              <a:gd name="T84" fmla="*/ 3825 w 14066"/>
              <a:gd name="T85" fmla="*/ 3244 h 3315"/>
              <a:gd name="T86" fmla="*/ 4313 w 14066"/>
              <a:gd name="T87" fmla="*/ 3315 h 3315"/>
              <a:gd name="T88" fmla="*/ 13693 w 14066"/>
              <a:gd name="T89" fmla="*/ 3292 h 3315"/>
              <a:gd name="T90" fmla="*/ 13745 w 14066"/>
              <a:gd name="T91" fmla="*/ 3273 h 3315"/>
              <a:gd name="T92" fmla="*/ 13804 w 14066"/>
              <a:gd name="T93" fmla="*/ 3243 h 3315"/>
              <a:gd name="T94" fmla="*/ 13909 w 14066"/>
              <a:gd name="T95" fmla="*/ 3161 h 3315"/>
              <a:gd name="T96" fmla="*/ 14003 w 14066"/>
              <a:gd name="T97" fmla="*/ 3038 h 3315"/>
              <a:gd name="T98" fmla="*/ 14066 w 14066"/>
              <a:gd name="T99" fmla="*/ 2784 h 3315"/>
              <a:gd name="T100" fmla="*/ 14066 w 14066"/>
              <a:gd name="T101" fmla="*/ 2654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6" h="3315">
                <a:moveTo>
                  <a:pt x="13837" y="2654"/>
                </a:moveTo>
                <a:lnTo>
                  <a:pt x="13837" y="800"/>
                </a:lnTo>
                <a:lnTo>
                  <a:pt x="13835" y="744"/>
                </a:lnTo>
                <a:lnTo>
                  <a:pt x="13813" y="638"/>
                </a:lnTo>
                <a:lnTo>
                  <a:pt x="13772" y="540"/>
                </a:lnTo>
                <a:lnTo>
                  <a:pt x="13713" y="454"/>
                </a:lnTo>
                <a:lnTo>
                  <a:pt x="13640" y="380"/>
                </a:lnTo>
                <a:lnTo>
                  <a:pt x="13553" y="321"/>
                </a:lnTo>
                <a:lnTo>
                  <a:pt x="13456" y="280"/>
                </a:lnTo>
                <a:lnTo>
                  <a:pt x="13349" y="258"/>
                </a:lnTo>
                <a:lnTo>
                  <a:pt x="13294" y="257"/>
                </a:lnTo>
                <a:lnTo>
                  <a:pt x="2543" y="257"/>
                </a:lnTo>
                <a:lnTo>
                  <a:pt x="2494" y="227"/>
                </a:lnTo>
                <a:lnTo>
                  <a:pt x="2394" y="172"/>
                </a:lnTo>
                <a:lnTo>
                  <a:pt x="2291" y="124"/>
                </a:lnTo>
                <a:lnTo>
                  <a:pt x="2182" y="84"/>
                </a:lnTo>
                <a:lnTo>
                  <a:pt x="2070" y="52"/>
                </a:lnTo>
                <a:lnTo>
                  <a:pt x="1956" y="26"/>
                </a:lnTo>
                <a:lnTo>
                  <a:pt x="1838" y="9"/>
                </a:lnTo>
                <a:lnTo>
                  <a:pt x="1719" y="0"/>
                </a:lnTo>
                <a:lnTo>
                  <a:pt x="1658" y="0"/>
                </a:lnTo>
                <a:lnTo>
                  <a:pt x="1573" y="1"/>
                </a:lnTo>
                <a:lnTo>
                  <a:pt x="1405" y="18"/>
                </a:lnTo>
                <a:lnTo>
                  <a:pt x="1243" y="52"/>
                </a:lnTo>
                <a:lnTo>
                  <a:pt x="1088" y="100"/>
                </a:lnTo>
                <a:lnTo>
                  <a:pt x="939" y="163"/>
                </a:lnTo>
                <a:lnTo>
                  <a:pt x="798" y="240"/>
                </a:lnTo>
                <a:lnTo>
                  <a:pt x="665" y="329"/>
                </a:lnTo>
                <a:lnTo>
                  <a:pt x="542" y="430"/>
                </a:lnTo>
                <a:lnTo>
                  <a:pt x="431" y="543"/>
                </a:lnTo>
                <a:lnTo>
                  <a:pt x="328" y="665"/>
                </a:lnTo>
                <a:lnTo>
                  <a:pt x="239" y="797"/>
                </a:lnTo>
                <a:lnTo>
                  <a:pt x="162" y="938"/>
                </a:lnTo>
                <a:lnTo>
                  <a:pt x="100" y="1087"/>
                </a:lnTo>
                <a:lnTo>
                  <a:pt x="51" y="1243"/>
                </a:lnTo>
                <a:lnTo>
                  <a:pt x="19" y="1405"/>
                </a:lnTo>
                <a:lnTo>
                  <a:pt x="2" y="1572"/>
                </a:lnTo>
                <a:lnTo>
                  <a:pt x="0" y="1658"/>
                </a:lnTo>
                <a:lnTo>
                  <a:pt x="0" y="1720"/>
                </a:lnTo>
                <a:lnTo>
                  <a:pt x="10" y="1842"/>
                </a:lnTo>
                <a:lnTo>
                  <a:pt x="28" y="1961"/>
                </a:lnTo>
                <a:lnTo>
                  <a:pt x="54" y="2076"/>
                </a:lnTo>
                <a:lnTo>
                  <a:pt x="87" y="2190"/>
                </a:lnTo>
                <a:lnTo>
                  <a:pt x="129" y="2299"/>
                </a:lnTo>
                <a:lnTo>
                  <a:pt x="177" y="2404"/>
                </a:lnTo>
                <a:lnTo>
                  <a:pt x="234" y="2507"/>
                </a:lnTo>
                <a:lnTo>
                  <a:pt x="296" y="2604"/>
                </a:lnTo>
                <a:lnTo>
                  <a:pt x="365" y="2696"/>
                </a:lnTo>
                <a:lnTo>
                  <a:pt x="440" y="2783"/>
                </a:lnTo>
                <a:lnTo>
                  <a:pt x="520" y="2864"/>
                </a:lnTo>
                <a:lnTo>
                  <a:pt x="607" y="2941"/>
                </a:lnTo>
                <a:lnTo>
                  <a:pt x="699" y="3010"/>
                </a:lnTo>
                <a:lnTo>
                  <a:pt x="795" y="3073"/>
                </a:lnTo>
                <a:lnTo>
                  <a:pt x="896" y="3130"/>
                </a:lnTo>
                <a:lnTo>
                  <a:pt x="948" y="3156"/>
                </a:lnTo>
                <a:lnTo>
                  <a:pt x="1030" y="3192"/>
                </a:lnTo>
                <a:lnTo>
                  <a:pt x="1199" y="3252"/>
                </a:lnTo>
                <a:lnTo>
                  <a:pt x="1378" y="3293"/>
                </a:lnTo>
                <a:lnTo>
                  <a:pt x="1564" y="3314"/>
                </a:lnTo>
                <a:lnTo>
                  <a:pt x="1658" y="3315"/>
                </a:lnTo>
                <a:lnTo>
                  <a:pt x="1658" y="3315"/>
                </a:lnTo>
                <a:lnTo>
                  <a:pt x="1659" y="3315"/>
                </a:lnTo>
                <a:lnTo>
                  <a:pt x="1700" y="3315"/>
                </a:lnTo>
                <a:lnTo>
                  <a:pt x="1740" y="3313"/>
                </a:lnTo>
                <a:lnTo>
                  <a:pt x="1753" y="3313"/>
                </a:lnTo>
                <a:lnTo>
                  <a:pt x="1766" y="3312"/>
                </a:lnTo>
                <a:lnTo>
                  <a:pt x="1793" y="3310"/>
                </a:lnTo>
                <a:lnTo>
                  <a:pt x="1820" y="3308"/>
                </a:lnTo>
                <a:lnTo>
                  <a:pt x="1834" y="3306"/>
                </a:lnTo>
                <a:lnTo>
                  <a:pt x="1850" y="3304"/>
                </a:lnTo>
                <a:lnTo>
                  <a:pt x="1875" y="3301"/>
                </a:lnTo>
                <a:lnTo>
                  <a:pt x="1899" y="3297"/>
                </a:lnTo>
                <a:lnTo>
                  <a:pt x="1915" y="3296"/>
                </a:lnTo>
                <a:lnTo>
                  <a:pt x="1932" y="3292"/>
                </a:lnTo>
                <a:lnTo>
                  <a:pt x="1954" y="3288"/>
                </a:lnTo>
                <a:lnTo>
                  <a:pt x="1977" y="3284"/>
                </a:lnTo>
                <a:lnTo>
                  <a:pt x="1994" y="3282"/>
                </a:lnTo>
                <a:lnTo>
                  <a:pt x="2011" y="3278"/>
                </a:lnTo>
                <a:lnTo>
                  <a:pt x="2031" y="3273"/>
                </a:lnTo>
                <a:lnTo>
                  <a:pt x="2052" y="3268"/>
                </a:lnTo>
                <a:lnTo>
                  <a:pt x="2070" y="3264"/>
                </a:lnTo>
                <a:lnTo>
                  <a:pt x="2089" y="3258"/>
                </a:lnTo>
                <a:lnTo>
                  <a:pt x="2107" y="3253"/>
                </a:lnTo>
                <a:lnTo>
                  <a:pt x="2125" y="3248"/>
                </a:lnTo>
                <a:lnTo>
                  <a:pt x="2146" y="3243"/>
                </a:lnTo>
                <a:lnTo>
                  <a:pt x="2165" y="3236"/>
                </a:lnTo>
                <a:lnTo>
                  <a:pt x="2178" y="3231"/>
                </a:lnTo>
                <a:lnTo>
                  <a:pt x="2191" y="3227"/>
                </a:lnTo>
                <a:lnTo>
                  <a:pt x="2217" y="3218"/>
                </a:lnTo>
                <a:lnTo>
                  <a:pt x="2241" y="3209"/>
                </a:lnTo>
                <a:lnTo>
                  <a:pt x="2241" y="3209"/>
                </a:lnTo>
                <a:lnTo>
                  <a:pt x="2241" y="3209"/>
                </a:lnTo>
                <a:lnTo>
                  <a:pt x="2328" y="3174"/>
                </a:lnTo>
                <a:lnTo>
                  <a:pt x="2494" y="3090"/>
                </a:lnTo>
                <a:lnTo>
                  <a:pt x="2648" y="2989"/>
                </a:lnTo>
                <a:lnTo>
                  <a:pt x="2790" y="2870"/>
                </a:lnTo>
                <a:lnTo>
                  <a:pt x="2855" y="2805"/>
                </a:lnTo>
                <a:lnTo>
                  <a:pt x="2855" y="2805"/>
                </a:lnTo>
                <a:lnTo>
                  <a:pt x="2855" y="2805"/>
                </a:lnTo>
                <a:lnTo>
                  <a:pt x="2858" y="2801"/>
                </a:lnTo>
                <a:lnTo>
                  <a:pt x="2862" y="2797"/>
                </a:lnTo>
                <a:lnTo>
                  <a:pt x="2869" y="2789"/>
                </a:lnTo>
                <a:lnTo>
                  <a:pt x="2875" y="2783"/>
                </a:lnTo>
                <a:lnTo>
                  <a:pt x="2886" y="2771"/>
                </a:lnTo>
                <a:lnTo>
                  <a:pt x="2896" y="2759"/>
                </a:lnTo>
                <a:lnTo>
                  <a:pt x="2896" y="2759"/>
                </a:lnTo>
                <a:lnTo>
                  <a:pt x="2896" y="2759"/>
                </a:lnTo>
                <a:lnTo>
                  <a:pt x="2901" y="2754"/>
                </a:lnTo>
                <a:lnTo>
                  <a:pt x="2906" y="2748"/>
                </a:lnTo>
                <a:lnTo>
                  <a:pt x="2919" y="2734"/>
                </a:lnTo>
                <a:lnTo>
                  <a:pt x="2931" y="2719"/>
                </a:lnTo>
                <a:lnTo>
                  <a:pt x="2931" y="2719"/>
                </a:lnTo>
                <a:lnTo>
                  <a:pt x="2932" y="2718"/>
                </a:lnTo>
                <a:lnTo>
                  <a:pt x="2934" y="2717"/>
                </a:lnTo>
                <a:lnTo>
                  <a:pt x="2935" y="2715"/>
                </a:lnTo>
                <a:lnTo>
                  <a:pt x="2939" y="2710"/>
                </a:lnTo>
                <a:lnTo>
                  <a:pt x="2943" y="2706"/>
                </a:lnTo>
                <a:lnTo>
                  <a:pt x="2947" y="2701"/>
                </a:lnTo>
                <a:lnTo>
                  <a:pt x="2950" y="2696"/>
                </a:lnTo>
                <a:lnTo>
                  <a:pt x="2966" y="2676"/>
                </a:lnTo>
                <a:lnTo>
                  <a:pt x="2980" y="2658"/>
                </a:lnTo>
                <a:lnTo>
                  <a:pt x="2983" y="2654"/>
                </a:lnTo>
                <a:lnTo>
                  <a:pt x="2985" y="2651"/>
                </a:lnTo>
                <a:lnTo>
                  <a:pt x="3044" y="2726"/>
                </a:lnTo>
                <a:lnTo>
                  <a:pt x="3173" y="2863"/>
                </a:lnTo>
                <a:lnTo>
                  <a:pt x="3317" y="2985"/>
                </a:lnTo>
                <a:lnTo>
                  <a:pt x="3475" y="3090"/>
                </a:lnTo>
                <a:lnTo>
                  <a:pt x="3645" y="3177"/>
                </a:lnTo>
                <a:lnTo>
                  <a:pt x="3825" y="3244"/>
                </a:lnTo>
                <a:lnTo>
                  <a:pt x="4015" y="3290"/>
                </a:lnTo>
                <a:lnTo>
                  <a:pt x="4212" y="3313"/>
                </a:lnTo>
                <a:lnTo>
                  <a:pt x="4313" y="3315"/>
                </a:lnTo>
                <a:lnTo>
                  <a:pt x="13535" y="3315"/>
                </a:lnTo>
                <a:lnTo>
                  <a:pt x="13589" y="3314"/>
                </a:lnTo>
                <a:lnTo>
                  <a:pt x="13693" y="3292"/>
                </a:lnTo>
                <a:lnTo>
                  <a:pt x="13741" y="3274"/>
                </a:lnTo>
                <a:lnTo>
                  <a:pt x="13743" y="3273"/>
                </a:lnTo>
                <a:lnTo>
                  <a:pt x="13745" y="3273"/>
                </a:lnTo>
                <a:lnTo>
                  <a:pt x="13755" y="3268"/>
                </a:lnTo>
                <a:lnTo>
                  <a:pt x="13765" y="3264"/>
                </a:lnTo>
                <a:lnTo>
                  <a:pt x="13804" y="3243"/>
                </a:lnTo>
                <a:lnTo>
                  <a:pt x="13877" y="3192"/>
                </a:lnTo>
                <a:lnTo>
                  <a:pt x="13908" y="3161"/>
                </a:lnTo>
                <a:lnTo>
                  <a:pt x="13909" y="3161"/>
                </a:lnTo>
                <a:lnTo>
                  <a:pt x="13910" y="3160"/>
                </a:lnTo>
                <a:lnTo>
                  <a:pt x="13945" y="3122"/>
                </a:lnTo>
                <a:lnTo>
                  <a:pt x="14003" y="3038"/>
                </a:lnTo>
                <a:lnTo>
                  <a:pt x="14043" y="2942"/>
                </a:lnTo>
                <a:lnTo>
                  <a:pt x="14063" y="2839"/>
                </a:lnTo>
                <a:lnTo>
                  <a:pt x="14066" y="2784"/>
                </a:lnTo>
                <a:lnTo>
                  <a:pt x="14066" y="2784"/>
                </a:lnTo>
                <a:lnTo>
                  <a:pt x="14066" y="2654"/>
                </a:lnTo>
                <a:lnTo>
                  <a:pt x="14066" y="2654"/>
                </a:lnTo>
                <a:lnTo>
                  <a:pt x="13837" y="2654"/>
                </a:lnTo>
                <a:close/>
              </a:path>
            </a:pathLst>
          </a:custGeom>
          <a:solidFill>
            <a:schemeClr val="bg2">
              <a:lumMod val="90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72" name="Freeform 586">
            <a:extLst>
              <a:ext uri="{FF2B5EF4-FFF2-40B4-BE49-F238E27FC236}">
                <a16:creationId xmlns:a16="http://schemas.microsoft.com/office/drawing/2014/main" id="{F85C2003-C1DF-21B4-9E63-8E1743899C45}"/>
              </a:ext>
            </a:extLst>
          </p:cNvPr>
          <p:cNvSpPr>
            <a:spLocks/>
          </p:cNvSpPr>
          <p:nvPr/>
        </p:nvSpPr>
        <p:spPr bwMode="auto">
          <a:xfrm>
            <a:off x="7747248" y="10028465"/>
            <a:ext cx="3898334" cy="898979"/>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accent6">
              <a:lumMod val="60000"/>
              <a:lumOff val="40000"/>
            </a:schemeClr>
          </a:solidFill>
          <a:ln>
            <a:noFill/>
          </a:ln>
        </p:spPr>
        <p:txBody>
          <a:bodyPr vert="horz" wrap="square" lIns="91392" tIns="45696" rIns="91392" bIns="45696" numCol="1" anchor="t" anchorCtr="0" compatLnSpc="1">
            <a:prstTxWarp prst="textNoShape">
              <a:avLst/>
            </a:prstTxWarp>
          </a:bodyPr>
          <a:lstStyle/>
          <a:p>
            <a:endParaRPr lang="en-US" sz="1799"/>
          </a:p>
        </p:txBody>
      </p:sp>
      <p:grpSp>
        <p:nvGrpSpPr>
          <p:cNvPr id="173" name="Group 172">
            <a:extLst>
              <a:ext uri="{FF2B5EF4-FFF2-40B4-BE49-F238E27FC236}">
                <a16:creationId xmlns:a16="http://schemas.microsoft.com/office/drawing/2014/main" id="{6648BF8A-2BE6-8C24-75AE-EDFF828B5D2C}"/>
              </a:ext>
            </a:extLst>
          </p:cNvPr>
          <p:cNvGrpSpPr/>
          <p:nvPr/>
        </p:nvGrpSpPr>
        <p:grpSpPr>
          <a:xfrm>
            <a:off x="7990420" y="4577548"/>
            <a:ext cx="2935559" cy="1039417"/>
            <a:chOff x="2276598" y="1382952"/>
            <a:chExt cx="2937088" cy="1039958"/>
          </a:xfrm>
        </p:grpSpPr>
        <p:sp>
          <p:nvSpPr>
            <p:cNvPr id="174" name="TextBox 173">
              <a:extLst>
                <a:ext uri="{FF2B5EF4-FFF2-40B4-BE49-F238E27FC236}">
                  <a16:creationId xmlns:a16="http://schemas.microsoft.com/office/drawing/2014/main" id="{8CD521BC-F0E5-ED51-18B3-C048A635082F}"/>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75" name="TextBox 174">
              <a:extLst>
                <a:ext uri="{FF2B5EF4-FFF2-40B4-BE49-F238E27FC236}">
                  <a16:creationId xmlns:a16="http://schemas.microsoft.com/office/drawing/2014/main" id="{3D1B1D8A-4082-54D8-ABFD-A9EC744034CD}"/>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grpSp>
        <p:nvGrpSpPr>
          <p:cNvPr id="179" name="Group 178">
            <a:extLst>
              <a:ext uri="{FF2B5EF4-FFF2-40B4-BE49-F238E27FC236}">
                <a16:creationId xmlns:a16="http://schemas.microsoft.com/office/drawing/2014/main" id="{E2A60A96-BB51-C142-54EB-7D49CD1304BF}"/>
              </a:ext>
            </a:extLst>
          </p:cNvPr>
          <p:cNvGrpSpPr/>
          <p:nvPr/>
        </p:nvGrpSpPr>
        <p:grpSpPr>
          <a:xfrm>
            <a:off x="8168341" y="9984742"/>
            <a:ext cx="2935559" cy="1039417"/>
            <a:chOff x="2276598" y="1382952"/>
            <a:chExt cx="2937088" cy="1039958"/>
          </a:xfrm>
        </p:grpSpPr>
        <p:sp>
          <p:nvSpPr>
            <p:cNvPr id="180" name="TextBox 179">
              <a:extLst>
                <a:ext uri="{FF2B5EF4-FFF2-40B4-BE49-F238E27FC236}">
                  <a16:creationId xmlns:a16="http://schemas.microsoft.com/office/drawing/2014/main" id="{B17999EE-9045-8D66-114C-C318DB7912F3}"/>
                </a:ext>
              </a:extLst>
            </p:cNvPr>
            <p:cNvSpPr txBox="1"/>
            <p:nvPr/>
          </p:nvSpPr>
          <p:spPr>
            <a:xfrm>
              <a:off x="2276598" y="1382952"/>
              <a:ext cx="2937088" cy="461665"/>
            </a:xfrm>
            <a:prstGeom prst="rect">
              <a:avLst/>
            </a:prstGeom>
            <a:noFill/>
          </p:spPr>
          <p:txBody>
            <a:bodyPr wrap="square" lIns="0" rIns="0" rtlCol="0" anchor="b">
              <a:spAutoFit/>
            </a:bodyPr>
            <a:lstStyle/>
            <a:p>
              <a:r>
                <a:rPr lang="en-US" sz="2399" b="1"/>
                <a:t>Lorem Ipsum</a:t>
              </a:r>
            </a:p>
          </p:txBody>
        </p:sp>
        <p:sp>
          <p:nvSpPr>
            <p:cNvPr id="181" name="TextBox 180">
              <a:extLst>
                <a:ext uri="{FF2B5EF4-FFF2-40B4-BE49-F238E27FC236}">
                  <a16:creationId xmlns:a16="http://schemas.microsoft.com/office/drawing/2014/main" id="{FECB9A12-20C8-A83B-9586-AB40DA578AF6}"/>
                </a:ext>
              </a:extLst>
            </p:cNvPr>
            <p:cNvSpPr txBox="1"/>
            <p:nvPr/>
          </p:nvSpPr>
          <p:spPr>
            <a:xfrm>
              <a:off x="2284393" y="1776964"/>
              <a:ext cx="2929293" cy="645946"/>
            </a:xfrm>
            <a:prstGeom prst="rect">
              <a:avLst/>
            </a:prstGeom>
            <a:noFill/>
          </p:spPr>
          <p:txBody>
            <a:bodyPr wrap="square" lIns="0" rIns="0" rtlCol="0" anchor="t">
              <a:spAutoFit/>
            </a:bodyPr>
            <a:lstStyle/>
            <a:p>
              <a:pPr algn="just"/>
              <a:r>
                <a:rPr lang="en-US" sz="1199">
                  <a:solidFill>
                    <a:schemeClr val="tx1">
                      <a:lumMod val="65000"/>
                      <a:lumOff val="35000"/>
                    </a:schemeClr>
                  </a:solidFill>
                </a:rPr>
                <a:t>Lorem ipsum dolor sit amet, nibh est. A magna maecenas, quam magna nec quis, lorem nunc.</a:t>
              </a:r>
            </a:p>
          </p:txBody>
        </p:sp>
      </p:grpSp>
      <p:pic>
        <p:nvPicPr>
          <p:cNvPr id="182" name="Graphic 181" descr="Chat">
            <a:extLst>
              <a:ext uri="{FF2B5EF4-FFF2-40B4-BE49-F238E27FC236}">
                <a16:creationId xmlns:a16="http://schemas.microsoft.com/office/drawing/2014/main" id="{AE42513F-78B7-6085-EB56-5BF6271C45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32885" y="4672210"/>
            <a:ext cx="426776" cy="426776"/>
          </a:xfrm>
          <a:prstGeom prst="rect">
            <a:avLst/>
          </a:prstGeom>
        </p:spPr>
      </p:pic>
      <p:pic>
        <p:nvPicPr>
          <p:cNvPr id="183" name="Graphic 182" descr="Briefcase">
            <a:extLst>
              <a:ext uri="{FF2B5EF4-FFF2-40B4-BE49-F238E27FC236}">
                <a16:creationId xmlns:a16="http://schemas.microsoft.com/office/drawing/2014/main" id="{0676C18A-7E7A-7572-4FB8-862A056533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153014" y="10038132"/>
            <a:ext cx="426776" cy="426776"/>
          </a:xfrm>
          <a:prstGeom prst="rect">
            <a:avLst/>
          </a:prstGeom>
        </p:spPr>
      </p:pic>
      <p:sp>
        <p:nvSpPr>
          <p:cNvPr id="185" name="Freeform 588">
            <a:extLst>
              <a:ext uri="{FF2B5EF4-FFF2-40B4-BE49-F238E27FC236}">
                <a16:creationId xmlns:a16="http://schemas.microsoft.com/office/drawing/2014/main" id="{2D34D71B-24B9-E8DB-E78B-6D663CE74943}"/>
              </a:ext>
            </a:extLst>
          </p:cNvPr>
          <p:cNvSpPr>
            <a:spLocks/>
          </p:cNvSpPr>
          <p:nvPr/>
        </p:nvSpPr>
        <p:spPr bwMode="auto">
          <a:xfrm>
            <a:off x="6710103" y="4554788"/>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6" name="Freeform 587">
            <a:extLst>
              <a:ext uri="{FF2B5EF4-FFF2-40B4-BE49-F238E27FC236}">
                <a16:creationId xmlns:a16="http://schemas.microsoft.com/office/drawing/2014/main" id="{05FC7439-0B63-7772-A00A-EEE846B7B6C8}"/>
              </a:ext>
            </a:extLst>
          </p:cNvPr>
          <p:cNvSpPr>
            <a:spLocks/>
          </p:cNvSpPr>
          <p:nvPr/>
        </p:nvSpPr>
        <p:spPr bwMode="auto">
          <a:xfrm>
            <a:off x="6937955" y="4781259"/>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87" name="Freeform 589">
            <a:extLst>
              <a:ext uri="{FF2B5EF4-FFF2-40B4-BE49-F238E27FC236}">
                <a16:creationId xmlns:a16="http://schemas.microsoft.com/office/drawing/2014/main" id="{5054A62C-D095-A897-9A04-91E5EC9B8452}"/>
              </a:ext>
            </a:extLst>
          </p:cNvPr>
          <p:cNvSpPr>
            <a:spLocks/>
          </p:cNvSpPr>
          <p:nvPr/>
        </p:nvSpPr>
        <p:spPr bwMode="auto">
          <a:xfrm>
            <a:off x="7581462" y="5130632"/>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8" name="Freeform 590">
            <a:extLst>
              <a:ext uri="{FF2B5EF4-FFF2-40B4-BE49-F238E27FC236}">
                <a16:creationId xmlns:a16="http://schemas.microsoft.com/office/drawing/2014/main" id="{8032C483-CD48-9DF9-21A4-1A1664606B29}"/>
              </a:ext>
            </a:extLst>
          </p:cNvPr>
          <p:cNvSpPr>
            <a:spLocks/>
          </p:cNvSpPr>
          <p:nvPr/>
        </p:nvSpPr>
        <p:spPr bwMode="auto">
          <a:xfrm>
            <a:off x="7581462" y="5130632"/>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89" name="Freeform: Shape 188">
            <a:extLst>
              <a:ext uri="{FF2B5EF4-FFF2-40B4-BE49-F238E27FC236}">
                <a16:creationId xmlns:a16="http://schemas.microsoft.com/office/drawing/2014/main" id="{D9D32892-6569-9A4C-D467-FB1AF9E2B490}"/>
              </a:ext>
            </a:extLst>
          </p:cNvPr>
          <p:cNvSpPr>
            <a:spLocks/>
          </p:cNvSpPr>
          <p:nvPr/>
        </p:nvSpPr>
        <p:spPr bwMode="auto">
          <a:xfrm>
            <a:off x="7627034" y="5126488"/>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2"/>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190" name="Freeform 585">
            <a:extLst>
              <a:ext uri="{FF2B5EF4-FFF2-40B4-BE49-F238E27FC236}">
                <a16:creationId xmlns:a16="http://schemas.microsoft.com/office/drawing/2014/main" id="{F299CA63-132E-AC87-6852-D867805FE8C3}"/>
              </a:ext>
            </a:extLst>
          </p:cNvPr>
          <p:cNvSpPr>
            <a:spLocks/>
          </p:cNvSpPr>
          <p:nvPr/>
        </p:nvSpPr>
        <p:spPr bwMode="auto">
          <a:xfrm>
            <a:off x="6937955" y="4781259"/>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2</a:t>
            </a:r>
          </a:p>
        </p:txBody>
      </p:sp>
      <p:sp>
        <p:nvSpPr>
          <p:cNvPr id="197" name="Freeform 588">
            <a:extLst>
              <a:ext uri="{FF2B5EF4-FFF2-40B4-BE49-F238E27FC236}">
                <a16:creationId xmlns:a16="http://schemas.microsoft.com/office/drawing/2014/main" id="{E173FA57-8E4E-EFC3-4F3D-0C90C77CB71F}"/>
              </a:ext>
            </a:extLst>
          </p:cNvPr>
          <p:cNvSpPr>
            <a:spLocks/>
          </p:cNvSpPr>
          <p:nvPr/>
        </p:nvSpPr>
        <p:spPr bwMode="auto">
          <a:xfrm>
            <a:off x="6888023" y="9940086"/>
            <a:ext cx="1144782" cy="1143400"/>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6"/>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198" name="Freeform 587">
            <a:extLst>
              <a:ext uri="{FF2B5EF4-FFF2-40B4-BE49-F238E27FC236}">
                <a16:creationId xmlns:a16="http://schemas.microsoft.com/office/drawing/2014/main" id="{AD2DBC79-299A-3460-3996-CE94DC863BF9}"/>
              </a:ext>
            </a:extLst>
          </p:cNvPr>
          <p:cNvSpPr>
            <a:spLocks/>
          </p:cNvSpPr>
          <p:nvPr/>
        </p:nvSpPr>
        <p:spPr bwMode="auto">
          <a:xfrm>
            <a:off x="7115875" y="10166557"/>
            <a:ext cx="689079" cy="689079"/>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a:p>
        </p:txBody>
      </p:sp>
      <p:sp>
        <p:nvSpPr>
          <p:cNvPr id="199" name="Freeform 589">
            <a:extLst>
              <a:ext uri="{FF2B5EF4-FFF2-40B4-BE49-F238E27FC236}">
                <a16:creationId xmlns:a16="http://schemas.microsoft.com/office/drawing/2014/main" id="{56C7A2E3-4A53-CF30-F8F6-7410F1A1CCD3}"/>
              </a:ext>
            </a:extLst>
          </p:cNvPr>
          <p:cNvSpPr>
            <a:spLocks/>
          </p:cNvSpPr>
          <p:nvPr/>
        </p:nvSpPr>
        <p:spPr bwMode="auto">
          <a:xfrm>
            <a:off x="7759382" y="10515930"/>
            <a:ext cx="160187" cy="392181"/>
          </a:xfrm>
          <a:custGeom>
            <a:avLst/>
            <a:gdLst>
              <a:gd name="T0" fmla="*/ 462 w 462"/>
              <a:gd name="T1" fmla="*/ 981 h 1135"/>
              <a:gd name="T2" fmla="*/ 460 w 462"/>
              <a:gd name="T3" fmla="*/ 985 h 1135"/>
              <a:gd name="T4" fmla="*/ 457 w 462"/>
              <a:gd name="T5" fmla="*/ 989 h 1135"/>
              <a:gd name="T6" fmla="*/ 443 w 462"/>
              <a:gd name="T7" fmla="*/ 1007 h 1135"/>
              <a:gd name="T8" fmla="*/ 427 w 462"/>
              <a:gd name="T9" fmla="*/ 1025 h 1135"/>
              <a:gd name="T10" fmla="*/ 418 w 462"/>
              <a:gd name="T11" fmla="*/ 1037 h 1135"/>
              <a:gd name="T12" fmla="*/ 409 w 462"/>
              <a:gd name="T13" fmla="*/ 1048 h 1135"/>
              <a:gd name="T14" fmla="*/ 408 w 462"/>
              <a:gd name="T15" fmla="*/ 1050 h 1135"/>
              <a:gd name="T16" fmla="*/ 408 w 462"/>
              <a:gd name="T17" fmla="*/ 1050 h 1135"/>
              <a:gd name="T18" fmla="*/ 396 w 462"/>
              <a:gd name="T19" fmla="*/ 1064 h 1135"/>
              <a:gd name="T20" fmla="*/ 383 w 462"/>
              <a:gd name="T21" fmla="*/ 1078 h 1135"/>
              <a:gd name="T22" fmla="*/ 369 w 462"/>
              <a:gd name="T23" fmla="*/ 1095 h 1135"/>
              <a:gd name="T24" fmla="*/ 355 w 462"/>
              <a:gd name="T25" fmla="*/ 1110 h 1135"/>
              <a:gd name="T26" fmla="*/ 343 w 462"/>
              <a:gd name="T27" fmla="*/ 1123 h 1135"/>
              <a:gd name="T28" fmla="*/ 332 w 462"/>
              <a:gd name="T29" fmla="*/ 1135 h 1135"/>
              <a:gd name="T30" fmla="*/ 276 w 462"/>
              <a:gd name="T31" fmla="*/ 1062 h 1135"/>
              <a:gd name="T32" fmla="*/ 177 w 462"/>
              <a:gd name="T33" fmla="*/ 908 h 1135"/>
              <a:gd name="T34" fmla="*/ 94 w 462"/>
              <a:gd name="T35" fmla="*/ 745 h 1135"/>
              <a:gd name="T36" fmla="*/ 27 w 462"/>
              <a:gd name="T37" fmla="*/ 573 h 1135"/>
              <a:gd name="T38" fmla="*/ 0 w 462"/>
              <a:gd name="T39" fmla="*/ 483 h 1135"/>
              <a:gd name="T40" fmla="*/ 36 w 462"/>
              <a:gd name="T41" fmla="*/ 417 h 1135"/>
              <a:gd name="T42" fmla="*/ 65 w 462"/>
              <a:gd name="T43" fmla="*/ 348 h 1135"/>
              <a:gd name="T44" fmla="*/ 68 w 462"/>
              <a:gd name="T45" fmla="*/ 341 h 1135"/>
              <a:gd name="T46" fmla="*/ 71 w 462"/>
              <a:gd name="T47" fmla="*/ 333 h 1135"/>
              <a:gd name="T48" fmla="*/ 81 w 462"/>
              <a:gd name="T49" fmla="*/ 303 h 1135"/>
              <a:gd name="T50" fmla="*/ 90 w 462"/>
              <a:gd name="T51" fmla="*/ 273 h 1135"/>
              <a:gd name="T52" fmla="*/ 94 w 462"/>
              <a:gd name="T53" fmla="*/ 263 h 1135"/>
              <a:gd name="T54" fmla="*/ 97 w 462"/>
              <a:gd name="T55" fmla="*/ 252 h 1135"/>
              <a:gd name="T56" fmla="*/ 100 w 462"/>
              <a:gd name="T57" fmla="*/ 242 h 1135"/>
              <a:gd name="T58" fmla="*/ 102 w 462"/>
              <a:gd name="T59" fmla="*/ 232 h 1135"/>
              <a:gd name="T60" fmla="*/ 105 w 462"/>
              <a:gd name="T61" fmla="*/ 223 h 1135"/>
              <a:gd name="T62" fmla="*/ 106 w 462"/>
              <a:gd name="T63" fmla="*/ 214 h 1135"/>
              <a:gd name="T64" fmla="*/ 110 w 462"/>
              <a:gd name="T65" fmla="*/ 201 h 1135"/>
              <a:gd name="T66" fmla="*/ 112 w 462"/>
              <a:gd name="T67" fmla="*/ 189 h 1135"/>
              <a:gd name="T68" fmla="*/ 112 w 462"/>
              <a:gd name="T69" fmla="*/ 182 h 1135"/>
              <a:gd name="T70" fmla="*/ 114 w 462"/>
              <a:gd name="T71" fmla="*/ 177 h 1135"/>
              <a:gd name="T72" fmla="*/ 116 w 462"/>
              <a:gd name="T73" fmla="*/ 166 h 1135"/>
              <a:gd name="T74" fmla="*/ 119 w 462"/>
              <a:gd name="T75" fmla="*/ 153 h 1135"/>
              <a:gd name="T76" fmla="*/ 125 w 462"/>
              <a:gd name="T77" fmla="*/ 109 h 1135"/>
              <a:gd name="T78" fmla="*/ 129 w 462"/>
              <a:gd name="T79" fmla="*/ 64 h 1135"/>
              <a:gd name="T80" fmla="*/ 131 w 462"/>
              <a:gd name="T81" fmla="*/ 53 h 1135"/>
              <a:gd name="T82" fmla="*/ 131 w 462"/>
              <a:gd name="T83" fmla="*/ 41 h 1135"/>
              <a:gd name="T84" fmla="*/ 131 w 462"/>
              <a:gd name="T85" fmla="*/ 39 h 1135"/>
              <a:gd name="T86" fmla="*/ 131 w 462"/>
              <a:gd name="T87" fmla="*/ 35 h 1135"/>
              <a:gd name="T88" fmla="*/ 132 w 462"/>
              <a:gd name="T89" fmla="*/ 26 h 1135"/>
              <a:gd name="T90" fmla="*/ 132 w 462"/>
              <a:gd name="T91" fmla="*/ 17 h 1135"/>
              <a:gd name="T92" fmla="*/ 132 w 462"/>
              <a:gd name="T93" fmla="*/ 7 h 1135"/>
              <a:gd name="T94" fmla="*/ 132 w 462"/>
              <a:gd name="T95" fmla="*/ 0 h 1135"/>
              <a:gd name="T96" fmla="*/ 133 w 462"/>
              <a:gd name="T97" fmla="*/ 68 h 1135"/>
              <a:gd name="T98" fmla="*/ 145 w 462"/>
              <a:gd name="T99" fmla="*/ 204 h 1135"/>
              <a:gd name="T100" fmla="*/ 168 w 462"/>
              <a:gd name="T101" fmla="*/ 335 h 1135"/>
              <a:gd name="T102" fmla="*/ 201 w 462"/>
              <a:gd name="T103" fmla="*/ 464 h 1135"/>
              <a:gd name="T104" fmla="*/ 243 w 462"/>
              <a:gd name="T105" fmla="*/ 587 h 1135"/>
              <a:gd name="T106" fmla="*/ 295 w 462"/>
              <a:gd name="T107" fmla="*/ 706 h 1135"/>
              <a:gd name="T108" fmla="*/ 355 w 462"/>
              <a:gd name="T109" fmla="*/ 820 h 1135"/>
              <a:gd name="T110" fmla="*/ 425 w 462"/>
              <a:gd name="T111" fmla="*/ 929 h 1135"/>
              <a:gd name="T112" fmla="*/ 462 w 462"/>
              <a:gd name="T113" fmla="*/ 981 h 1135"/>
              <a:gd name="T114" fmla="*/ 462 w 462"/>
              <a:gd name="T115" fmla="*/ 981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2" h="1135">
                <a:moveTo>
                  <a:pt x="462" y="981"/>
                </a:moveTo>
                <a:lnTo>
                  <a:pt x="460" y="985"/>
                </a:lnTo>
                <a:lnTo>
                  <a:pt x="457" y="989"/>
                </a:lnTo>
                <a:lnTo>
                  <a:pt x="443" y="1007"/>
                </a:lnTo>
                <a:lnTo>
                  <a:pt x="427" y="1025"/>
                </a:lnTo>
                <a:lnTo>
                  <a:pt x="418" y="1037"/>
                </a:lnTo>
                <a:lnTo>
                  <a:pt x="409" y="1048"/>
                </a:lnTo>
                <a:lnTo>
                  <a:pt x="408" y="1050"/>
                </a:lnTo>
                <a:lnTo>
                  <a:pt x="408" y="1050"/>
                </a:lnTo>
                <a:lnTo>
                  <a:pt x="396" y="1064"/>
                </a:lnTo>
                <a:lnTo>
                  <a:pt x="383" y="1078"/>
                </a:lnTo>
                <a:lnTo>
                  <a:pt x="369" y="1095"/>
                </a:lnTo>
                <a:lnTo>
                  <a:pt x="355" y="1110"/>
                </a:lnTo>
                <a:lnTo>
                  <a:pt x="343" y="1123"/>
                </a:lnTo>
                <a:lnTo>
                  <a:pt x="332" y="1135"/>
                </a:lnTo>
                <a:lnTo>
                  <a:pt x="276" y="1062"/>
                </a:lnTo>
                <a:lnTo>
                  <a:pt x="177" y="908"/>
                </a:lnTo>
                <a:lnTo>
                  <a:pt x="94" y="745"/>
                </a:lnTo>
                <a:lnTo>
                  <a:pt x="27" y="573"/>
                </a:lnTo>
                <a:lnTo>
                  <a:pt x="0" y="483"/>
                </a:lnTo>
                <a:lnTo>
                  <a:pt x="36" y="417"/>
                </a:lnTo>
                <a:lnTo>
                  <a:pt x="65" y="348"/>
                </a:lnTo>
                <a:lnTo>
                  <a:pt x="68" y="341"/>
                </a:lnTo>
                <a:lnTo>
                  <a:pt x="71" y="333"/>
                </a:lnTo>
                <a:lnTo>
                  <a:pt x="81" y="303"/>
                </a:lnTo>
                <a:lnTo>
                  <a:pt x="90" y="273"/>
                </a:lnTo>
                <a:lnTo>
                  <a:pt x="94" y="263"/>
                </a:lnTo>
                <a:lnTo>
                  <a:pt x="97" y="252"/>
                </a:lnTo>
                <a:lnTo>
                  <a:pt x="100" y="242"/>
                </a:lnTo>
                <a:lnTo>
                  <a:pt x="102" y="232"/>
                </a:lnTo>
                <a:lnTo>
                  <a:pt x="105" y="223"/>
                </a:lnTo>
                <a:lnTo>
                  <a:pt x="106" y="214"/>
                </a:lnTo>
                <a:lnTo>
                  <a:pt x="110" y="201"/>
                </a:lnTo>
                <a:lnTo>
                  <a:pt x="112" y="189"/>
                </a:lnTo>
                <a:lnTo>
                  <a:pt x="112" y="182"/>
                </a:lnTo>
                <a:lnTo>
                  <a:pt x="114" y="177"/>
                </a:lnTo>
                <a:lnTo>
                  <a:pt x="116" y="166"/>
                </a:lnTo>
                <a:lnTo>
                  <a:pt x="119" y="153"/>
                </a:lnTo>
                <a:lnTo>
                  <a:pt x="125" y="109"/>
                </a:lnTo>
                <a:lnTo>
                  <a:pt x="129" y="64"/>
                </a:lnTo>
                <a:lnTo>
                  <a:pt x="131" y="53"/>
                </a:lnTo>
                <a:lnTo>
                  <a:pt x="131" y="41"/>
                </a:lnTo>
                <a:lnTo>
                  <a:pt x="131" y="39"/>
                </a:lnTo>
                <a:lnTo>
                  <a:pt x="131" y="35"/>
                </a:lnTo>
                <a:lnTo>
                  <a:pt x="132" y="26"/>
                </a:lnTo>
                <a:lnTo>
                  <a:pt x="132" y="17"/>
                </a:lnTo>
                <a:lnTo>
                  <a:pt x="132" y="7"/>
                </a:lnTo>
                <a:lnTo>
                  <a:pt x="132" y="0"/>
                </a:lnTo>
                <a:lnTo>
                  <a:pt x="133" y="68"/>
                </a:lnTo>
                <a:lnTo>
                  <a:pt x="145" y="204"/>
                </a:lnTo>
                <a:lnTo>
                  <a:pt x="168" y="335"/>
                </a:lnTo>
                <a:lnTo>
                  <a:pt x="201" y="464"/>
                </a:lnTo>
                <a:lnTo>
                  <a:pt x="243" y="587"/>
                </a:lnTo>
                <a:lnTo>
                  <a:pt x="295" y="706"/>
                </a:lnTo>
                <a:lnTo>
                  <a:pt x="355" y="820"/>
                </a:lnTo>
                <a:lnTo>
                  <a:pt x="425" y="929"/>
                </a:lnTo>
                <a:lnTo>
                  <a:pt x="462" y="981"/>
                </a:lnTo>
                <a:lnTo>
                  <a:pt x="462" y="981"/>
                </a:lnTo>
                <a:close/>
              </a:path>
            </a:pathLst>
          </a:custGeom>
          <a:solidFill>
            <a:schemeClr val="accent6">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200" name="Freeform 590">
            <a:extLst>
              <a:ext uri="{FF2B5EF4-FFF2-40B4-BE49-F238E27FC236}">
                <a16:creationId xmlns:a16="http://schemas.microsoft.com/office/drawing/2014/main" id="{DA285DE0-BFC5-86D1-DA88-239FB44EE9E7}"/>
              </a:ext>
            </a:extLst>
          </p:cNvPr>
          <p:cNvSpPr>
            <a:spLocks/>
          </p:cNvSpPr>
          <p:nvPr/>
        </p:nvSpPr>
        <p:spPr bwMode="auto">
          <a:xfrm>
            <a:off x="7759382" y="10515930"/>
            <a:ext cx="160187" cy="392181"/>
          </a:xfrm>
          <a:custGeom>
            <a:avLst/>
            <a:gdLst>
              <a:gd name="T0" fmla="*/ 132 w 462"/>
              <a:gd name="T1" fmla="*/ 0 h 1135"/>
              <a:gd name="T2" fmla="*/ 132 w 462"/>
              <a:gd name="T3" fmla="*/ 7 h 1135"/>
              <a:gd name="T4" fmla="*/ 132 w 462"/>
              <a:gd name="T5" fmla="*/ 17 h 1135"/>
              <a:gd name="T6" fmla="*/ 132 w 462"/>
              <a:gd name="T7" fmla="*/ 26 h 1135"/>
              <a:gd name="T8" fmla="*/ 131 w 462"/>
              <a:gd name="T9" fmla="*/ 35 h 1135"/>
              <a:gd name="T10" fmla="*/ 131 w 462"/>
              <a:gd name="T11" fmla="*/ 39 h 1135"/>
              <a:gd name="T12" fmla="*/ 131 w 462"/>
              <a:gd name="T13" fmla="*/ 41 h 1135"/>
              <a:gd name="T14" fmla="*/ 131 w 462"/>
              <a:gd name="T15" fmla="*/ 53 h 1135"/>
              <a:gd name="T16" fmla="*/ 129 w 462"/>
              <a:gd name="T17" fmla="*/ 64 h 1135"/>
              <a:gd name="T18" fmla="*/ 125 w 462"/>
              <a:gd name="T19" fmla="*/ 109 h 1135"/>
              <a:gd name="T20" fmla="*/ 119 w 462"/>
              <a:gd name="T21" fmla="*/ 153 h 1135"/>
              <a:gd name="T22" fmla="*/ 116 w 462"/>
              <a:gd name="T23" fmla="*/ 166 h 1135"/>
              <a:gd name="T24" fmla="*/ 114 w 462"/>
              <a:gd name="T25" fmla="*/ 177 h 1135"/>
              <a:gd name="T26" fmla="*/ 112 w 462"/>
              <a:gd name="T27" fmla="*/ 182 h 1135"/>
              <a:gd name="T28" fmla="*/ 112 w 462"/>
              <a:gd name="T29" fmla="*/ 189 h 1135"/>
              <a:gd name="T30" fmla="*/ 110 w 462"/>
              <a:gd name="T31" fmla="*/ 201 h 1135"/>
              <a:gd name="T32" fmla="*/ 106 w 462"/>
              <a:gd name="T33" fmla="*/ 214 h 1135"/>
              <a:gd name="T34" fmla="*/ 105 w 462"/>
              <a:gd name="T35" fmla="*/ 223 h 1135"/>
              <a:gd name="T36" fmla="*/ 102 w 462"/>
              <a:gd name="T37" fmla="*/ 232 h 1135"/>
              <a:gd name="T38" fmla="*/ 100 w 462"/>
              <a:gd name="T39" fmla="*/ 242 h 1135"/>
              <a:gd name="T40" fmla="*/ 97 w 462"/>
              <a:gd name="T41" fmla="*/ 252 h 1135"/>
              <a:gd name="T42" fmla="*/ 94 w 462"/>
              <a:gd name="T43" fmla="*/ 263 h 1135"/>
              <a:gd name="T44" fmla="*/ 90 w 462"/>
              <a:gd name="T45" fmla="*/ 273 h 1135"/>
              <a:gd name="T46" fmla="*/ 81 w 462"/>
              <a:gd name="T47" fmla="*/ 303 h 1135"/>
              <a:gd name="T48" fmla="*/ 71 w 462"/>
              <a:gd name="T49" fmla="*/ 333 h 1135"/>
              <a:gd name="T50" fmla="*/ 65 w 462"/>
              <a:gd name="T51" fmla="*/ 348 h 1135"/>
              <a:gd name="T52" fmla="*/ 36 w 462"/>
              <a:gd name="T53" fmla="*/ 417 h 1135"/>
              <a:gd name="T54" fmla="*/ 0 w 462"/>
              <a:gd name="T55" fmla="*/ 483 h 1135"/>
              <a:gd name="T56" fmla="*/ 27 w 462"/>
              <a:gd name="T57" fmla="*/ 573 h 1135"/>
              <a:gd name="T58" fmla="*/ 94 w 462"/>
              <a:gd name="T59" fmla="*/ 745 h 1135"/>
              <a:gd name="T60" fmla="*/ 177 w 462"/>
              <a:gd name="T61" fmla="*/ 908 h 1135"/>
              <a:gd name="T62" fmla="*/ 276 w 462"/>
              <a:gd name="T63" fmla="*/ 1062 h 1135"/>
              <a:gd name="T64" fmla="*/ 332 w 462"/>
              <a:gd name="T65" fmla="*/ 1135 h 1135"/>
              <a:gd name="T66" fmla="*/ 343 w 462"/>
              <a:gd name="T67" fmla="*/ 1123 h 1135"/>
              <a:gd name="T68" fmla="*/ 355 w 462"/>
              <a:gd name="T69" fmla="*/ 1110 h 1135"/>
              <a:gd name="T70" fmla="*/ 369 w 462"/>
              <a:gd name="T71" fmla="*/ 1095 h 1135"/>
              <a:gd name="T72" fmla="*/ 383 w 462"/>
              <a:gd name="T73" fmla="*/ 1078 h 1135"/>
              <a:gd name="T74" fmla="*/ 396 w 462"/>
              <a:gd name="T75" fmla="*/ 1064 h 1135"/>
              <a:gd name="T76" fmla="*/ 408 w 462"/>
              <a:gd name="T77" fmla="*/ 1050 h 1135"/>
              <a:gd name="T78" fmla="*/ 408 w 462"/>
              <a:gd name="T79" fmla="*/ 1050 h 1135"/>
              <a:gd name="T80" fmla="*/ 409 w 462"/>
              <a:gd name="T81" fmla="*/ 1048 h 1135"/>
              <a:gd name="T82" fmla="*/ 418 w 462"/>
              <a:gd name="T83" fmla="*/ 1037 h 1135"/>
              <a:gd name="T84" fmla="*/ 427 w 462"/>
              <a:gd name="T85" fmla="*/ 1025 h 1135"/>
              <a:gd name="T86" fmla="*/ 443 w 462"/>
              <a:gd name="T87" fmla="*/ 1007 h 1135"/>
              <a:gd name="T88" fmla="*/ 457 w 462"/>
              <a:gd name="T89" fmla="*/ 989 h 1135"/>
              <a:gd name="T90" fmla="*/ 460 w 462"/>
              <a:gd name="T91" fmla="*/ 985 h 1135"/>
              <a:gd name="T92" fmla="*/ 462 w 462"/>
              <a:gd name="T93" fmla="*/ 981 h 1135"/>
              <a:gd name="T94" fmla="*/ 425 w 462"/>
              <a:gd name="T95" fmla="*/ 929 h 1135"/>
              <a:gd name="T96" fmla="*/ 355 w 462"/>
              <a:gd name="T97" fmla="*/ 820 h 1135"/>
              <a:gd name="T98" fmla="*/ 295 w 462"/>
              <a:gd name="T99" fmla="*/ 706 h 1135"/>
              <a:gd name="T100" fmla="*/ 243 w 462"/>
              <a:gd name="T101" fmla="*/ 587 h 1135"/>
              <a:gd name="T102" fmla="*/ 201 w 462"/>
              <a:gd name="T103" fmla="*/ 464 h 1135"/>
              <a:gd name="T104" fmla="*/ 168 w 462"/>
              <a:gd name="T105" fmla="*/ 335 h 1135"/>
              <a:gd name="T106" fmla="*/ 145 w 462"/>
              <a:gd name="T107" fmla="*/ 204 h 1135"/>
              <a:gd name="T108" fmla="*/ 133 w 462"/>
              <a:gd name="T109" fmla="*/ 68 h 1135"/>
              <a:gd name="T110" fmla="*/ 132 w 462"/>
              <a:gd name="T11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2" h="1135">
                <a:moveTo>
                  <a:pt x="132" y="0"/>
                </a:moveTo>
                <a:lnTo>
                  <a:pt x="132" y="7"/>
                </a:lnTo>
                <a:lnTo>
                  <a:pt x="132" y="17"/>
                </a:lnTo>
                <a:lnTo>
                  <a:pt x="132" y="26"/>
                </a:lnTo>
                <a:lnTo>
                  <a:pt x="131" y="35"/>
                </a:lnTo>
                <a:lnTo>
                  <a:pt x="131" y="39"/>
                </a:lnTo>
                <a:lnTo>
                  <a:pt x="131" y="41"/>
                </a:lnTo>
                <a:lnTo>
                  <a:pt x="131" y="53"/>
                </a:lnTo>
                <a:lnTo>
                  <a:pt x="129" y="64"/>
                </a:lnTo>
                <a:lnTo>
                  <a:pt x="125" y="109"/>
                </a:lnTo>
                <a:lnTo>
                  <a:pt x="119" y="153"/>
                </a:lnTo>
                <a:lnTo>
                  <a:pt x="116" y="166"/>
                </a:lnTo>
                <a:lnTo>
                  <a:pt x="114" y="177"/>
                </a:lnTo>
                <a:lnTo>
                  <a:pt x="112" y="182"/>
                </a:lnTo>
                <a:lnTo>
                  <a:pt x="112" y="189"/>
                </a:lnTo>
                <a:lnTo>
                  <a:pt x="110" y="201"/>
                </a:lnTo>
                <a:lnTo>
                  <a:pt x="106" y="214"/>
                </a:lnTo>
                <a:lnTo>
                  <a:pt x="105" y="223"/>
                </a:lnTo>
                <a:lnTo>
                  <a:pt x="102" y="232"/>
                </a:lnTo>
                <a:lnTo>
                  <a:pt x="100" y="242"/>
                </a:lnTo>
                <a:lnTo>
                  <a:pt x="97" y="252"/>
                </a:lnTo>
                <a:lnTo>
                  <a:pt x="94" y="263"/>
                </a:lnTo>
                <a:lnTo>
                  <a:pt x="90" y="273"/>
                </a:lnTo>
                <a:lnTo>
                  <a:pt x="81" y="303"/>
                </a:lnTo>
                <a:lnTo>
                  <a:pt x="71" y="333"/>
                </a:lnTo>
                <a:lnTo>
                  <a:pt x="65" y="348"/>
                </a:lnTo>
                <a:lnTo>
                  <a:pt x="36" y="417"/>
                </a:lnTo>
                <a:lnTo>
                  <a:pt x="0" y="483"/>
                </a:lnTo>
                <a:lnTo>
                  <a:pt x="27" y="573"/>
                </a:lnTo>
                <a:lnTo>
                  <a:pt x="94" y="745"/>
                </a:lnTo>
                <a:lnTo>
                  <a:pt x="177" y="908"/>
                </a:lnTo>
                <a:lnTo>
                  <a:pt x="276" y="1062"/>
                </a:lnTo>
                <a:lnTo>
                  <a:pt x="332" y="1135"/>
                </a:lnTo>
                <a:lnTo>
                  <a:pt x="343" y="1123"/>
                </a:lnTo>
                <a:lnTo>
                  <a:pt x="355" y="1110"/>
                </a:lnTo>
                <a:lnTo>
                  <a:pt x="369" y="1095"/>
                </a:lnTo>
                <a:lnTo>
                  <a:pt x="383" y="1078"/>
                </a:lnTo>
                <a:lnTo>
                  <a:pt x="396" y="1064"/>
                </a:lnTo>
                <a:lnTo>
                  <a:pt x="408" y="1050"/>
                </a:lnTo>
                <a:lnTo>
                  <a:pt x="408" y="1050"/>
                </a:lnTo>
                <a:lnTo>
                  <a:pt x="409" y="1048"/>
                </a:lnTo>
                <a:lnTo>
                  <a:pt x="418" y="1037"/>
                </a:lnTo>
                <a:lnTo>
                  <a:pt x="427" y="1025"/>
                </a:lnTo>
                <a:lnTo>
                  <a:pt x="443" y="1007"/>
                </a:lnTo>
                <a:lnTo>
                  <a:pt x="457" y="989"/>
                </a:lnTo>
                <a:lnTo>
                  <a:pt x="460" y="985"/>
                </a:lnTo>
                <a:lnTo>
                  <a:pt x="462" y="981"/>
                </a:lnTo>
                <a:lnTo>
                  <a:pt x="425" y="929"/>
                </a:lnTo>
                <a:lnTo>
                  <a:pt x="355" y="820"/>
                </a:lnTo>
                <a:lnTo>
                  <a:pt x="295" y="706"/>
                </a:lnTo>
                <a:lnTo>
                  <a:pt x="243" y="587"/>
                </a:lnTo>
                <a:lnTo>
                  <a:pt x="201" y="464"/>
                </a:lnTo>
                <a:lnTo>
                  <a:pt x="168" y="335"/>
                </a:lnTo>
                <a:lnTo>
                  <a:pt x="145" y="204"/>
                </a:lnTo>
                <a:lnTo>
                  <a:pt x="133" y="68"/>
                </a:lnTo>
                <a:lnTo>
                  <a:pt x="132" y="0"/>
                </a:lnTo>
                <a:close/>
              </a:path>
            </a:pathLst>
          </a:custGeom>
          <a:solidFill>
            <a:schemeClr val="accent6">
              <a:lumMod val="75000"/>
            </a:schemeClr>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201" name="Freeform: Shape 200">
            <a:extLst>
              <a:ext uri="{FF2B5EF4-FFF2-40B4-BE49-F238E27FC236}">
                <a16:creationId xmlns:a16="http://schemas.microsoft.com/office/drawing/2014/main" id="{4E50F1F6-31A4-C9CA-ACB4-DF043FD7EF5E}"/>
              </a:ext>
            </a:extLst>
          </p:cNvPr>
          <p:cNvSpPr>
            <a:spLocks/>
          </p:cNvSpPr>
          <p:nvPr/>
        </p:nvSpPr>
        <p:spPr bwMode="auto">
          <a:xfrm>
            <a:off x="7804954" y="10511786"/>
            <a:ext cx="3939761" cy="571700"/>
          </a:xfrm>
          <a:custGeom>
            <a:avLst/>
            <a:gdLst>
              <a:gd name="connsiteX0" fmla="*/ 0 w 3941813"/>
              <a:gd name="connsiteY0" fmla="*/ 0 h 571998"/>
              <a:gd name="connsiteX1" fmla="*/ 228336 w 3941813"/>
              <a:gd name="connsiteY1" fmla="*/ 0 h 571998"/>
              <a:gd name="connsiteX2" fmla="*/ 228336 w 3941813"/>
              <a:gd name="connsiteY2" fmla="*/ 1035 h 571998"/>
              <a:gd name="connsiteX3" fmla="*/ 228336 w 3941813"/>
              <a:gd name="connsiteY3" fmla="*/ 2070 h 571998"/>
              <a:gd name="connsiteX4" fmla="*/ 228336 w 3941813"/>
              <a:gd name="connsiteY4" fmla="*/ 3450 h 571998"/>
              <a:gd name="connsiteX5" fmla="*/ 228336 w 3941813"/>
              <a:gd name="connsiteY5" fmla="*/ 4485 h 571998"/>
              <a:gd name="connsiteX6" fmla="*/ 228336 w 3941813"/>
              <a:gd name="connsiteY6" fmla="*/ 6555 h 571998"/>
              <a:gd name="connsiteX7" fmla="*/ 228336 w 3941813"/>
              <a:gd name="connsiteY7" fmla="*/ 8625 h 571998"/>
              <a:gd name="connsiteX8" fmla="*/ 228336 w 3941813"/>
              <a:gd name="connsiteY8" fmla="*/ 13110 h 571998"/>
              <a:gd name="connsiteX9" fmla="*/ 228681 w 3941813"/>
              <a:gd name="connsiteY9" fmla="*/ 17595 h 571998"/>
              <a:gd name="connsiteX10" fmla="*/ 228681 w 3941813"/>
              <a:gd name="connsiteY10" fmla="*/ 21045 h 571998"/>
              <a:gd name="connsiteX11" fmla="*/ 229372 w 3941813"/>
              <a:gd name="connsiteY11" fmla="*/ 24495 h 571998"/>
              <a:gd name="connsiteX12" fmla="*/ 229561 w 3941813"/>
              <a:gd name="connsiteY12" fmla="*/ 29949 h 571998"/>
              <a:gd name="connsiteX13" fmla="*/ 230860 w 3941813"/>
              <a:gd name="connsiteY13" fmla="*/ 43059 h 571998"/>
              <a:gd name="connsiteX14" fmla="*/ 231099 w 3941813"/>
              <a:gd name="connsiteY14" fmla="*/ 44849 h 571998"/>
              <a:gd name="connsiteX15" fmla="*/ 231445 w 3941813"/>
              <a:gd name="connsiteY15" fmla="*/ 47954 h 571998"/>
              <a:gd name="connsiteX16" fmla="*/ 231790 w 3941813"/>
              <a:gd name="connsiteY16" fmla="*/ 51059 h 571998"/>
              <a:gd name="connsiteX17" fmla="*/ 232439 w 3941813"/>
              <a:gd name="connsiteY17" fmla="*/ 55431 h 571998"/>
              <a:gd name="connsiteX18" fmla="*/ 237460 w 3941813"/>
              <a:gd name="connsiteY18" fmla="*/ 78594 h 571998"/>
              <a:gd name="connsiteX19" fmla="*/ 239935 w 3941813"/>
              <a:gd name="connsiteY19" fmla="*/ 88754 h 571998"/>
              <a:gd name="connsiteX20" fmla="*/ 249062 w 3941813"/>
              <a:gd name="connsiteY20" fmla="*/ 117988 h 571998"/>
              <a:gd name="connsiteX21" fmla="*/ 258766 w 3941813"/>
              <a:gd name="connsiteY21" fmla="*/ 141560 h 571998"/>
              <a:gd name="connsiteX22" fmla="*/ 260462 w 3941813"/>
              <a:gd name="connsiteY22" fmla="*/ 145242 h 571998"/>
              <a:gd name="connsiteX23" fmla="*/ 261844 w 3941813"/>
              <a:gd name="connsiteY23" fmla="*/ 148347 h 571998"/>
              <a:gd name="connsiteX24" fmla="*/ 263571 w 3941813"/>
              <a:gd name="connsiteY24" fmla="*/ 152142 h 571998"/>
              <a:gd name="connsiteX25" fmla="*/ 265643 w 3941813"/>
              <a:gd name="connsiteY25" fmla="*/ 155592 h 571998"/>
              <a:gd name="connsiteX26" fmla="*/ 267371 w 3941813"/>
              <a:gd name="connsiteY26" fmla="*/ 158697 h 571998"/>
              <a:gd name="connsiteX27" fmla="*/ 269060 w 3941813"/>
              <a:gd name="connsiteY27" fmla="*/ 162072 h 571998"/>
              <a:gd name="connsiteX28" fmla="*/ 276558 w 3941813"/>
              <a:gd name="connsiteY28" fmla="*/ 175613 h 571998"/>
              <a:gd name="connsiteX29" fmla="*/ 277043 w 3941813"/>
              <a:gd name="connsiteY29" fmla="*/ 176291 h 571998"/>
              <a:gd name="connsiteX30" fmla="*/ 278368 w 3941813"/>
              <a:gd name="connsiteY30" fmla="*/ 178791 h 571998"/>
              <a:gd name="connsiteX31" fmla="*/ 295536 w 3941813"/>
              <a:gd name="connsiteY31" fmla="*/ 204348 h 571998"/>
              <a:gd name="connsiteX32" fmla="*/ 296042 w 3941813"/>
              <a:gd name="connsiteY32" fmla="*/ 204926 h 571998"/>
              <a:gd name="connsiteX33" fmla="*/ 298303 w 3941813"/>
              <a:gd name="connsiteY33" fmla="*/ 207936 h 571998"/>
              <a:gd name="connsiteX34" fmla="*/ 316635 w 3941813"/>
              <a:gd name="connsiteY34" fmla="*/ 230146 h 571998"/>
              <a:gd name="connsiteX35" fmla="*/ 318158 w 3941813"/>
              <a:gd name="connsiteY35" fmla="*/ 231823 h 571998"/>
              <a:gd name="connsiteX36" fmla="*/ 341295 w 3941813"/>
              <a:gd name="connsiteY36" fmla="*/ 254260 h 571998"/>
              <a:gd name="connsiteX37" fmla="*/ 364855 w 3941813"/>
              <a:gd name="connsiteY37" fmla="*/ 274566 h 571998"/>
              <a:gd name="connsiteX38" fmla="*/ 383255 w 3941813"/>
              <a:gd name="connsiteY38" fmla="*/ 287072 h 571998"/>
              <a:gd name="connsiteX39" fmla="*/ 390494 w 3941813"/>
              <a:gd name="connsiteY39" fmla="*/ 291862 h 571998"/>
              <a:gd name="connsiteX40" fmla="*/ 396550 w 3941813"/>
              <a:gd name="connsiteY40" fmla="*/ 295622 h 571998"/>
              <a:gd name="connsiteX41" fmla="*/ 409034 w 3941813"/>
              <a:gd name="connsiteY41" fmla="*/ 302598 h 571998"/>
              <a:gd name="connsiteX42" fmla="*/ 419364 w 3941813"/>
              <a:gd name="connsiteY42" fmla="*/ 308079 h 571998"/>
              <a:gd name="connsiteX43" fmla="*/ 431109 w 3941813"/>
              <a:gd name="connsiteY43" fmla="*/ 313598 h 571998"/>
              <a:gd name="connsiteX44" fmla="*/ 433413 w 3941813"/>
              <a:gd name="connsiteY44" fmla="*/ 314749 h 571998"/>
              <a:gd name="connsiteX45" fmla="*/ 445124 w 3941813"/>
              <a:gd name="connsiteY45" fmla="*/ 319611 h 571998"/>
              <a:gd name="connsiteX46" fmla="*/ 450799 w 3941813"/>
              <a:gd name="connsiteY46" fmla="*/ 321878 h 571998"/>
              <a:gd name="connsiteX47" fmla="*/ 462312 w 3941813"/>
              <a:gd name="connsiteY47" fmla="*/ 325820 h 571998"/>
              <a:gd name="connsiteX48" fmla="*/ 480775 w 3941813"/>
              <a:gd name="connsiteY48" fmla="*/ 331449 h 571998"/>
              <a:gd name="connsiteX49" fmla="*/ 490525 w 3941813"/>
              <a:gd name="connsiteY49" fmla="*/ 333953 h 571998"/>
              <a:gd name="connsiteX50" fmla="*/ 499752 w 3941813"/>
              <a:gd name="connsiteY50" fmla="*/ 335946 h 571998"/>
              <a:gd name="connsiteX51" fmla="*/ 520232 w 3941813"/>
              <a:gd name="connsiteY51" fmla="*/ 340163 h 571998"/>
              <a:gd name="connsiteX52" fmla="*/ 554124 w 3941813"/>
              <a:gd name="connsiteY52" fmla="*/ 343209 h 571998"/>
              <a:gd name="connsiteX53" fmla="*/ 555122 w 3941813"/>
              <a:gd name="connsiteY53" fmla="*/ 343268 h 571998"/>
              <a:gd name="connsiteX54" fmla="*/ 555467 w 3941813"/>
              <a:gd name="connsiteY54" fmla="*/ 343294 h 571998"/>
              <a:gd name="connsiteX55" fmla="*/ 572739 w 3941813"/>
              <a:gd name="connsiteY55" fmla="*/ 343958 h 571998"/>
              <a:gd name="connsiteX56" fmla="*/ 3862707 w 3941813"/>
              <a:gd name="connsiteY56" fmla="*/ 343958 h 571998"/>
              <a:gd name="connsiteX57" fmla="*/ 3941813 w 3941813"/>
              <a:gd name="connsiteY57" fmla="*/ 343958 h 571998"/>
              <a:gd name="connsiteX58" fmla="*/ 3941813 w 3941813"/>
              <a:gd name="connsiteY58" fmla="*/ 388462 h 571998"/>
              <a:gd name="connsiteX59" fmla="*/ 3940777 w 3941813"/>
              <a:gd name="connsiteY59" fmla="*/ 407437 h 571998"/>
              <a:gd name="connsiteX60" fmla="*/ 3933868 w 3941813"/>
              <a:gd name="connsiteY60" fmla="*/ 442971 h 571998"/>
              <a:gd name="connsiteX61" fmla="*/ 3920050 w 3941813"/>
              <a:gd name="connsiteY61" fmla="*/ 476090 h 571998"/>
              <a:gd name="connsiteX62" fmla="*/ 3900015 w 3941813"/>
              <a:gd name="connsiteY62" fmla="*/ 505415 h 571998"/>
              <a:gd name="connsiteX63" fmla="*/ 3875143 w 3941813"/>
              <a:gd name="connsiteY63" fmla="*/ 530254 h 571998"/>
              <a:gd name="connsiteX64" fmla="*/ 3846126 w 3941813"/>
              <a:gd name="connsiteY64" fmla="*/ 549919 h 571998"/>
              <a:gd name="connsiteX65" fmla="*/ 3812964 w 3941813"/>
              <a:gd name="connsiteY65" fmla="*/ 563718 h 571998"/>
              <a:gd name="connsiteX66" fmla="*/ 3777038 w 3941813"/>
              <a:gd name="connsiteY66" fmla="*/ 570963 h 571998"/>
              <a:gd name="connsiteX67" fmla="*/ 3758385 w 3941813"/>
              <a:gd name="connsiteY67" fmla="*/ 571998 h 571998"/>
              <a:gd name="connsiteX68" fmla="*/ 572739 w 3941813"/>
              <a:gd name="connsiteY68" fmla="*/ 571998 h 571998"/>
              <a:gd name="connsiteX69" fmla="*/ 543032 w 3941813"/>
              <a:gd name="connsiteY69" fmla="*/ 571308 h 571998"/>
              <a:gd name="connsiteX70" fmla="*/ 485343 w 3941813"/>
              <a:gd name="connsiteY70" fmla="*/ 565788 h 571998"/>
              <a:gd name="connsiteX71" fmla="*/ 429382 w 3941813"/>
              <a:gd name="connsiteY71" fmla="*/ 554059 h 571998"/>
              <a:gd name="connsiteX72" fmla="*/ 375493 w 3941813"/>
              <a:gd name="connsiteY72" fmla="*/ 537499 h 571998"/>
              <a:gd name="connsiteX73" fmla="*/ 324023 w 3941813"/>
              <a:gd name="connsiteY73" fmla="*/ 515419 h 571998"/>
              <a:gd name="connsiteX74" fmla="*/ 275661 w 3941813"/>
              <a:gd name="connsiteY74" fmla="*/ 489200 h 571998"/>
              <a:gd name="connsiteX75" fmla="*/ 229718 w 3941813"/>
              <a:gd name="connsiteY75" fmla="*/ 458495 h 571998"/>
              <a:gd name="connsiteX76" fmla="*/ 187574 w 3941813"/>
              <a:gd name="connsiteY76" fmla="*/ 423306 h 571998"/>
              <a:gd name="connsiteX77" fmla="*/ 148539 w 3941813"/>
              <a:gd name="connsiteY77" fmla="*/ 384667 h 571998"/>
              <a:gd name="connsiteX78" fmla="*/ 113650 w 3941813"/>
              <a:gd name="connsiteY78" fmla="*/ 342233 h 571998"/>
              <a:gd name="connsiteX79" fmla="*/ 82906 w 3941813"/>
              <a:gd name="connsiteY79" fmla="*/ 296349 h 571998"/>
              <a:gd name="connsiteX80" fmla="*/ 56307 w 3941813"/>
              <a:gd name="connsiteY80" fmla="*/ 248050 h 571998"/>
              <a:gd name="connsiteX81" fmla="*/ 34544 w 3941813"/>
              <a:gd name="connsiteY81" fmla="*/ 196646 h 571998"/>
              <a:gd name="connsiteX82" fmla="*/ 17963 w 3941813"/>
              <a:gd name="connsiteY82" fmla="*/ 143172 h 571998"/>
              <a:gd name="connsiteX83" fmla="*/ 6218 w 3941813"/>
              <a:gd name="connsiteY83" fmla="*/ 87283 h 571998"/>
              <a:gd name="connsiteX84" fmla="*/ 346 w 3941813"/>
              <a:gd name="connsiteY84" fmla="*/ 29669 h 57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941813" h="571998">
                <a:moveTo>
                  <a:pt x="0" y="0"/>
                </a:moveTo>
                <a:lnTo>
                  <a:pt x="228336" y="0"/>
                </a:lnTo>
                <a:lnTo>
                  <a:pt x="228336" y="1035"/>
                </a:lnTo>
                <a:lnTo>
                  <a:pt x="228336" y="2070"/>
                </a:lnTo>
                <a:lnTo>
                  <a:pt x="228336" y="3450"/>
                </a:lnTo>
                <a:lnTo>
                  <a:pt x="228336" y="4485"/>
                </a:lnTo>
                <a:lnTo>
                  <a:pt x="228336" y="6555"/>
                </a:lnTo>
                <a:lnTo>
                  <a:pt x="228336" y="8625"/>
                </a:lnTo>
                <a:lnTo>
                  <a:pt x="228336" y="13110"/>
                </a:lnTo>
                <a:lnTo>
                  <a:pt x="228681" y="17595"/>
                </a:lnTo>
                <a:lnTo>
                  <a:pt x="228681" y="21045"/>
                </a:lnTo>
                <a:lnTo>
                  <a:pt x="229372" y="24495"/>
                </a:lnTo>
                <a:lnTo>
                  <a:pt x="229561" y="29949"/>
                </a:lnTo>
                <a:lnTo>
                  <a:pt x="230860" y="43059"/>
                </a:lnTo>
                <a:lnTo>
                  <a:pt x="231099" y="44849"/>
                </a:lnTo>
                <a:lnTo>
                  <a:pt x="231445" y="47954"/>
                </a:lnTo>
                <a:lnTo>
                  <a:pt x="231790" y="51059"/>
                </a:lnTo>
                <a:lnTo>
                  <a:pt x="232439" y="55431"/>
                </a:lnTo>
                <a:lnTo>
                  <a:pt x="237460" y="78594"/>
                </a:lnTo>
                <a:lnTo>
                  <a:pt x="239935" y="88754"/>
                </a:lnTo>
                <a:lnTo>
                  <a:pt x="249062" y="117988"/>
                </a:lnTo>
                <a:lnTo>
                  <a:pt x="258766" y="141560"/>
                </a:lnTo>
                <a:lnTo>
                  <a:pt x="260462" y="145242"/>
                </a:lnTo>
                <a:lnTo>
                  <a:pt x="261844" y="148347"/>
                </a:lnTo>
                <a:lnTo>
                  <a:pt x="263571" y="152142"/>
                </a:lnTo>
                <a:lnTo>
                  <a:pt x="265643" y="155592"/>
                </a:lnTo>
                <a:lnTo>
                  <a:pt x="267371" y="158697"/>
                </a:lnTo>
                <a:lnTo>
                  <a:pt x="269060" y="162072"/>
                </a:lnTo>
                <a:lnTo>
                  <a:pt x="276558" y="175613"/>
                </a:lnTo>
                <a:lnTo>
                  <a:pt x="277043" y="176291"/>
                </a:lnTo>
                <a:lnTo>
                  <a:pt x="278368" y="178791"/>
                </a:lnTo>
                <a:lnTo>
                  <a:pt x="295536" y="204348"/>
                </a:lnTo>
                <a:lnTo>
                  <a:pt x="296042" y="204926"/>
                </a:lnTo>
                <a:lnTo>
                  <a:pt x="298303" y="207936"/>
                </a:lnTo>
                <a:lnTo>
                  <a:pt x="316635" y="230146"/>
                </a:lnTo>
                <a:lnTo>
                  <a:pt x="318158" y="231823"/>
                </a:lnTo>
                <a:lnTo>
                  <a:pt x="341295" y="254260"/>
                </a:lnTo>
                <a:lnTo>
                  <a:pt x="364855" y="274566"/>
                </a:lnTo>
                <a:lnTo>
                  <a:pt x="383255" y="287072"/>
                </a:lnTo>
                <a:lnTo>
                  <a:pt x="390494" y="291862"/>
                </a:lnTo>
                <a:lnTo>
                  <a:pt x="396550" y="295622"/>
                </a:lnTo>
                <a:lnTo>
                  <a:pt x="409034" y="302598"/>
                </a:lnTo>
                <a:lnTo>
                  <a:pt x="419364" y="308079"/>
                </a:lnTo>
                <a:lnTo>
                  <a:pt x="431109" y="313598"/>
                </a:lnTo>
                <a:lnTo>
                  <a:pt x="433413" y="314749"/>
                </a:lnTo>
                <a:lnTo>
                  <a:pt x="445124" y="319611"/>
                </a:lnTo>
                <a:lnTo>
                  <a:pt x="450799" y="321878"/>
                </a:lnTo>
                <a:lnTo>
                  <a:pt x="462312" y="325820"/>
                </a:lnTo>
                <a:lnTo>
                  <a:pt x="480775" y="331449"/>
                </a:lnTo>
                <a:lnTo>
                  <a:pt x="490525" y="333953"/>
                </a:lnTo>
                <a:lnTo>
                  <a:pt x="499752" y="335946"/>
                </a:lnTo>
                <a:lnTo>
                  <a:pt x="520232" y="340163"/>
                </a:lnTo>
                <a:lnTo>
                  <a:pt x="554124" y="343209"/>
                </a:lnTo>
                <a:lnTo>
                  <a:pt x="555122" y="343268"/>
                </a:lnTo>
                <a:lnTo>
                  <a:pt x="555467" y="343294"/>
                </a:lnTo>
                <a:lnTo>
                  <a:pt x="572739" y="343958"/>
                </a:lnTo>
                <a:lnTo>
                  <a:pt x="3862707" y="343958"/>
                </a:lnTo>
                <a:lnTo>
                  <a:pt x="3941813" y="343958"/>
                </a:lnTo>
                <a:lnTo>
                  <a:pt x="3941813" y="388462"/>
                </a:lnTo>
                <a:lnTo>
                  <a:pt x="3940777" y="407437"/>
                </a:lnTo>
                <a:lnTo>
                  <a:pt x="3933868" y="442971"/>
                </a:lnTo>
                <a:lnTo>
                  <a:pt x="3920050" y="476090"/>
                </a:lnTo>
                <a:lnTo>
                  <a:pt x="3900015" y="505415"/>
                </a:lnTo>
                <a:lnTo>
                  <a:pt x="3875143" y="530254"/>
                </a:lnTo>
                <a:lnTo>
                  <a:pt x="3846126" y="549919"/>
                </a:lnTo>
                <a:lnTo>
                  <a:pt x="3812964" y="563718"/>
                </a:lnTo>
                <a:lnTo>
                  <a:pt x="3777038" y="570963"/>
                </a:lnTo>
                <a:lnTo>
                  <a:pt x="3758385" y="571998"/>
                </a:lnTo>
                <a:lnTo>
                  <a:pt x="572739" y="571998"/>
                </a:lnTo>
                <a:lnTo>
                  <a:pt x="543032" y="571308"/>
                </a:lnTo>
                <a:lnTo>
                  <a:pt x="485343" y="565788"/>
                </a:lnTo>
                <a:lnTo>
                  <a:pt x="429382" y="554059"/>
                </a:lnTo>
                <a:lnTo>
                  <a:pt x="375493" y="537499"/>
                </a:lnTo>
                <a:lnTo>
                  <a:pt x="324023" y="515419"/>
                </a:lnTo>
                <a:lnTo>
                  <a:pt x="275661" y="489200"/>
                </a:lnTo>
                <a:lnTo>
                  <a:pt x="229718" y="458495"/>
                </a:lnTo>
                <a:lnTo>
                  <a:pt x="187574" y="423306"/>
                </a:lnTo>
                <a:lnTo>
                  <a:pt x="148539" y="384667"/>
                </a:lnTo>
                <a:lnTo>
                  <a:pt x="113650" y="342233"/>
                </a:lnTo>
                <a:lnTo>
                  <a:pt x="82906" y="296349"/>
                </a:lnTo>
                <a:lnTo>
                  <a:pt x="56307" y="248050"/>
                </a:lnTo>
                <a:lnTo>
                  <a:pt x="34544" y="196646"/>
                </a:lnTo>
                <a:lnTo>
                  <a:pt x="17963" y="143172"/>
                </a:lnTo>
                <a:lnTo>
                  <a:pt x="6218" y="87283"/>
                </a:lnTo>
                <a:lnTo>
                  <a:pt x="346" y="29669"/>
                </a:lnTo>
                <a:close/>
              </a:path>
            </a:pathLst>
          </a:custGeom>
          <a:solidFill>
            <a:schemeClr val="accent6"/>
          </a:solidFill>
          <a:ln>
            <a:noFill/>
          </a:ln>
        </p:spPr>
        <p:txBody>
          <a:bodyPr vert="horz" wrap="square" lIns="91392" tIns="45696" rIns="91392" bIns="45696" numCol="1" anchor="t" anchorCtr="0" compatLnSpc="1">
            <a:prstTxWarp prst="textNoShape">
              <a:avLst/>
            </a:prstTxWarp>
            <a:noAutofit/>
          </a:bodyPr>
          <a:lstStyle/>
          <a:p>
            <a:endParaRPr lang="en-US" sz="1799"/>
          </a:p>
        </p:txBody>
      </p:sp>
      <p:sp>
        <p:nvSpPr>
          <p:cNvPr id="202" name="Freeform 585">
            <a:extLst>
              <a:ext uri="{FF2B5EF4-FFF2-40B4-BE49-F238E27FC236}">
                <a16:creationId xmlns:a16="http://schemas.microsoft.com/office/drawing/2014/main" id="{71DC931C-34EE-FAD8-5756-D7D08848BB37}"/>
              </a:ext>
            </a:extLst>
          </p:cNvPr>
          <p:cNvSpPr>
            <a:spLocks/>
          </p:cNvSpPr>
          <p:nvPr/>
        </p:nvSpPr>
        <p:spPr bwMode="auto">
          <a:xfrm>
            <a:off x="7115875" y="10166557"/>
            <a:ext cx="689079" cy="6890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ctr" anchorCtr="0" compatLnSpc="1">
            <a:prstTxWarp prst="textNoShape">
              <a:avLst/>
            </a:prstTxWarp>
          </a:bodyPr>
          <a:lstStyle/>
          <a:p>
            <a:pPr algn="ctr"/>
            <a:r>
              <a:rPr lang="en-US" sz="4398" b="1">
                <a:solidFill>
                  <a:srgbClr val="191C21"/>
                </a:solidFill>
              </a:rPr>
              <a:t>6</a:t>
            </a:r>
          </a:p>
        </p:txBody>
      </p:sp>
    </p:spTree>
    <p:extLst>
      <p:ext uri="{BB962C8B-B14F-4D97-AF65-F5344CB8AC3E}">
        <p14:creationId xmlns:p14="http://schemas.microsoft.com/office/powerpoint/2010/main" val="3198809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6557C-B954-7600-AF99-50D3E3422817}"/>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46268035-4F01-69C1-40A3-FF323F98A842}"/>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23" name="Group 22">
            <a:extLst>
              <a:ext uri="{FF2B5EF4-FFF2-40B4-BE49-F238E27FC236}">
                <a16:creationId xmlns:a16="http://schemas.microsoft.com/office/drawing/2014/main" id="{8678BAA4-BC34-C3C9-0ACB-696F36F6FC31}"/>
              </a:ext>
            </a:extLst>
          </p:cNvPr>
          <p:cNvGrpSpPr/>
          <p:nvPr/>
        </p:nvGrpSpPr>
        <p:grpSpPr>
          <a:xfrm>
            <a:off x="1209237" y="1315969"/>
            <a:ext cx="4705018" cy="5174281"/>
            <a:chOff x="7578080" y="840512"/>
            <a:chExt cx="4134949" cy="5176976"/>
          </a:xfrm>
        </p:grpSpPr>
        <p:sp>
          <p:nvSpPr>
            <p:cNvPr id="25" name="Freeform 3">
              <a:extLst>
                <a:ext uri="{FF2B5EF4-FFF2-40B4-BE49-F238E27FC236}">
                  <a16:creationId xmlns:a16="http://schemas.microsoft.com/office/drawing/2014/main" id="{73312675-02B0-5A05-D9DC-B85DB0324097}"/>
                </a:ext>
              </a:extLst>
            </p:cNvPr>
            <p:cNvSpPr/>
            <p:nvPr/>
          </p:nvSpPr>
          <p:spPr>
            <a:xfrm>
              <a:off x="8681575" y="5753092"/>
              <a:ext cx="2020255" cy="264396"/>
            </a:xfrm>
            <a:custGeom>
              <a:avLst/>
              <a:gdLst>
                <a:gd name="connsiteX0" fmla="*/ 379659 w 379659"/>
                <a:gd name="connsiteY0" fmla="*/ 24844 h 49687"/>
                <a:gd name="connsiteX1" fmla="*/ 189830 w 379659"/>
                <a:gd name="connsiteY1" fmla="*/ 49688 h 49687"/>
                <a:gd name="connsiteX2" fmla="*/ 0 w 379659"/>
                <a:gd name="connsiteY2" fmla="*/ 24844 h 49687"/>
                <a:gd name="connsiteX3" fmla="*/ 189830 w 379659"/>
                <a:gd name="connsiteY3" fmla="*/ 0 h 49687"/>
                <a:gd name="connsiteX4" fmla="*/ 379659 w 379659"/>
                <a:gd name="connsiteY4" fmla="*/ 24844 h 4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59" h="49687">
                  <a:moveTo>
                    <a:pt x="379659" y="24844"/>
                  </a:moveTo>
                  <a:cubicBezTo>
                    <a:pt x="379659" y="38565"/>
                    <a:pt x="294670" y="49688"/>
                    <a:pt x="189830" y="49688"/>
                  </a:cubicBezTo>
                  <a:cubicBezTo>
                    <a:pt x="84990" y="49688"/>
                    <a:pt x="0" y="38565"/>
                    <a:pt x="0" y="24844"/>
                  </a:cubicBezTo>
                  <a:cubicBezTo>
                    <a:pt x="0" y="11123"/>
                    <a:pt x="84990" y="0"/>
                    <a:pt x="189830" y="0"/>
                  </a:cubicBezTo>
                  <a:cubicBezTo>
                    <a:pt x="294670" y="0"/>
                    <a:pt x="379659" y="11123"/>
                    <a:pt x="379659" y="24844"/>
                  </a:cubicBezTo>
                  <a:close/>
                </a:path>
              </a:pathLst>
            </a:custGeom>
            <a:solidFill>
              <a:schemeClr val="tx1">
                <a:alpha val="80000"/>
              </a:schemeClr>
            </a:solidFill>
            <a:ln w="0" cap="flat">
              <a:noFill/>
              <a:prstDash val="solid"/>
              <a:miter/>
            </a:ln>
          </p:spPr>
          <p:txBody>
            <a:bodyPr rtlCol="0" anchor="ctr"/>
            <a:lstStyle/>
            <a:p>
              <a:endParaRPr lang="en-US" sz="1799"/>
            </a:p>
          </p:txBody>
        </p:sp>
        <p:sp>
          <p:nvSpPr>
            <p:cNvPr id="26" name="Freeform 4">
              <a:extLst>
                <a:ext uri="{FF2B5EF4-FFF2-40B4-BE49-F238E27FC236}">
                  <a16:creationId xmlns:a16="http://schemas.microsoft.com/office/drawing/2014/main" id="{4A9350AF-389F-A4F1-4E36-EB8C5316D353}"/>
                </a:ext>
              </a:extLst>
            </p:cNvPr>
            <p:cNvSpPr/>
            <p:nvPr/>
          </p:nvSpPr>
          <p:spPr>
            <a:xfrm>
              <a:off x="10509499" y="4641656"/>
              <a:ext cx="261714" cy="550961"/>
            </a:xfrm>
            <a:custGeom>
              <a:avLst/>
              <a:gdLst>
                <a:gd name="connsiteX0" fmla="*/ 47590 w 49183"/>
                <a:gd name="connsiteY0" fmla="*/ 55967 h 103540"/>
                <a:gd name="connsiteX1" fmla="*/ 39658 w 49183"/>
                <a:gd name="connsiteY1" fmla="*/ 3636 h 103540"/>
                <a:gd name="connsiteX2" fmla="*/ 0 w 49183"/>
                <a:gd name="connsiteY2" fmla="*/ 103540 h 103540"/>
                <a:gd name="connsiteX3" fmla="*/ 47590 w 49183"/>
                <a:gd name="connsiteY3" fmla="*/ 55438 h 103540"/>
              </a:gdLst>
              <a:ahLst/>
              <a:cxnLst>
                <a:cxn ang="0">
                  <a:pos x="connsiteX0" y="connsiteY0"/>
                </a:cxn>
                <a:cxn ang="0">
                  <a:pos x="connsiteX1" y="connsiteY1"/>
                </a:cxn>
                <a:cxn ang="0">
                  <a:pos x="connsiteX2" y="connsiteY2"/>
                </a:cxn>
                <a:cxn ang="0">
                  <a:pos x="connsiteX3" y="connsiteY3"/>
                </a:cxn>
              </a:cxnLst>
              <a:rect l="l" t="t" r="r" b="b"/>
              <a:pathLst>
                <a:path w="49183" h="103540">
                  <a:moveTo>
                    <a:pt x="47590" y="55967"/>
                  </a:moveTo>
                  <a:cubicBezTo>
                    <a:pt x="47590" y="55967"/>
                    <a:pt x="54464" y="30065"/>
                    <a:pt x="39658" y="3636"/>
                  </a:cubicBezTo>
                  <a:cubicBezTo>
                    <a:pt x="24853" y="-22794"/>
                    <a:pt x="0" y="103540"/>
                    <a:pt x="0" y="103540"/>
                  </a:cubicBezTo>
                  <a:cubicBezTo>
                    <a:pt x="0" y="103540"/>
                    <a:pt x="25381" y="97197"/>
                    <a:pt x="47590" y="55438"/>
                  </a:cubicBezTo>
                  <a:close/>
                </a:path>
              </a:pathLst>
            </a:custGeom>
            <a:solidFill>
              <a:srgbClr val="583F7B"/>
            </a:solidFill>
            <a:ln w="0" cap="flat">
              <a:noFill/>
              <a:prstDash val="solid"/>
              <a:miter/>
            </a:ln>
          </p:spPr>
          <p:txBody>
            <a:bodyPr rtlCol="0" anchor="ctr"/>
            <a:lstStyle/>
            <a:p>
              <a:endParaRPr lang="en-US" sz="1799"/>
            </a:p>
          </p:txBody>
        </p:sp>
        <p:sp>
          <p:nvSpPr>
            <p:cNvPr id="29" name="Freeform 5">
              <a:extLst>
                <a:ext uri="{FF2B5EF4-FFF2-40B4-BE49-F238E27FC236}">
                  <a16:creationId xmlns:a16="http://schemas.microsoft.com/office/drawing/2014/main" id="{9EA76E10-3308-EB7B-4E45-7530F2BE797A}"/>
                </a:ext>
              </a:extLst>
            </p:cNvPr>
            <p:cNvSpPr/>
            <p:nvPr/>
          </p:nvSpPr>
          <p:spPr>
            <a:xfrm>
              <a:off x="10645467" y="3858668"/>
              <a:ext cx="288767" cy="609074"/>
            </a:xfrm>
            <a:custGeom>
              <a:avLst/>
              <a:gdLst>
                <a:gd name="connsiteX0" fmla="*/ 52349 w 54267"/>
                <a:gd name="connsiteY0" fmla="*/ 61602 h 114461"/>
                <a:gd name="connsiteX1" fmla="*/ 43888 w 54267"/>
                <a:gd name="connsiteY1" fmla="*/ 3985 h 114461"/>
                <a:gd name="connsiteX2" fmla="*/ 0 w 54267"/>
                <a:gd name="connsiteY2" fmla="*/ 114461 h 114461"/>
                <a:gd name="connsiteX3" fmla="*/ 52349 w 54267"/>
                <a:gd name="connsiteY3" fmla="*/ 61602 h 114461"/>
              </a:gdLst>
              <a:ahLst/>
              <a:cxnLst>
                <a:cxn ang="0">
                  <a:pos x="connsiteX0" y="connsiteY0"/>
                </a:cxn>
                <a:cxn ang="0">
                  <a:pos x="connsiteX1" y="connsiteY1"/>
                </a:cxn>
                <a:cxn ang="0">
                  <a:pos x="connsiteX2" y="connsiteY2"/>
                </a:cxn>
                <a:cxn ang="0">
                  <a:pos x="connsiteX3" y="connsiteY3"/>
                </a:cxn>
              </a:cxnLst>
              <a:rect l="l" t="t" r="r" b="b"/>
              <a:pathLst>
                <a:path w="54267" h="114461">
                  <a:moveTo>
                    <a:pt x="52349" y="61602"/>
                  </a:moveTo>
                  <a:cubicBezTo>
                    <a:pt x="52349" y="61602"/>
                    <a:pt x="60280" y="33057"/>
                    <a:pt x="43888" y="3985"/>
                  </a:cubicBezTo>
                  <a:cubicBezTo>
                    <a:pt x="27496" y="-25088"/>
                    <a:pt x="0" y="114461"/>
                    <a:pt x="0" y="114461"/>
                  </a:cubicBezTo>
                  <a:cubicBezTo>
                    <a:pt x="0" y="114461"/>
                    <a:pt x="28025" y="107589"/>
                    <a:pt x="52349" y="61602"/>
                  </a:cubicBezTo>
                  <a:close/>
                </a:path>
              </a:pathLst>
            </a:custGeom>
            <a:solidFill>
              <a:schemeClr val="accent5">
                <a:lumMod val="75000"/>
              </a:schemeClr>
            </a:solidFill>
            <a:ln w="0" cap="flat">
              <a:noFill/>
              <a:prstDash val="solid"/>
              <a:miter/>
            </a:ln>
          </p:spPr>
          <p:txBody>
            <a:bodyPr rtlCol="0" anchor="ctr"/>
            <a:lstStyle/>
            <a:p>
              <a:endParaRPr lang="en-US" sz="1799"/>
            </a:p>
          </p:txBody>
        </p:sp>
        <p:sp>
          <p:nvSpPr>
            <p:cNvPr id="30" name="Freeform 6">
              <a:extLst>
                <a:ext uri="{FF2B5EF4-FFF2-40B4-BE49-F238E27FC236}">
                  <a16:creationId xmlns:a16="http://schemas.microsoft.com/office/drawing/2014/main" id="{73394BB1-36DE-BDD9-7F1D-C7EA6E53AA49}"/>
                </a:ext>
              </a:extLst>
            </p:cNvPr>
            <p:cNvSpPr/>
            <p:nvPr/>
          </p:nvSpPr>
          <p:spPr>
            <a:xfrm>
              <a:off x="10812474" y="2906811"/>
              <a:ext cx="332045" cy="699306"/>
            </a:xfrm>
            <a:custGeom>
              <a:avLst/>
              <a:gdLst>
                <a:gd name="connsiteX0" fmla="*/ 60280 w 62400"/>
                <a:gd name="connsiteY0" fmla="*/ 70631 h 131418"/>
                <a:gd name="connsiteX1" fmla="*/ 50233 w 62400"/>
                <a:gd name="connsiteY1" fmla="*/ 4556 h 131418"/>
                <a:gd name="connsiteX2" fmla="*/ 0 w 62400"/>
                <a:gd name="connsiteY2" fmla="*/ 131419 h 131418"/>
                <a:gd name="connsiteX3" fmla="*/ 60280 w 62400"/>
                <a:gd name="connsiteY3" fmla="*/ 70631 h 131418"/>
              </a:gdLst>
              <a:ahLst/>
              <a:cxnLst>
                <a:cxn ang="0">
                  <a:pos x="connsiteX0" y="connsiteY0"/>
                </a:cxn>
                <a:cxn ang="0">
                  <a:pos x="connsiteX1" y="connsiteY1"/>
                </a:cxn>
                <a:cxn ang="0">
                  <a:pos x="connsiteX2" y="connsiteY2"/>
                </a:cxn>
                <a:cxn ang="0">
                  <a:pos x="connsiteX3" y="connsiteY3"/>
                </a:cxn>
              </a:cxnLst>
              <a:rect l="l" t="t" r="r" b="b"/>
              <a:pathLst>
                <a:path w="62400" h="131418">
                  <a:moveTo>
                    <a:pt x="60280" y="70631"/>
                  </a:moveTo>
                  <a:cubicBezTo>
                    <a:pt x="60280" y="70631"/>
                    <a:pt x="69269" y="37858"/>
                    <a:pt x="50233" y="4556"/>
                  </a:cubicBezTo>
                  <a:cubicBezTo>
                    <a:pt x="31197" y="-28745"/>
                    <a:pt x="0" y="131419"/>
                    <a:pt x="0" y="131419"/>
                  </a:cubicBezTo>
                  <a:cubicBezTo>
                    <a:pt x="0" y="131419"/>
                    <a:pt x="32255" y="123490"/>
                    <a:pt x="60280" y="70631"/>
                  </a:cubicBezTo>
                  <a:close/>
                </a:path>
              </a:pathLst>
            </a:custGeom>
            <a:solidFill>
              <a:schemeClr val="accent4">
                <a:lumMod val="75000"/>
              </a:schemeClr>
            </a:solidFill>
            <a:ln w="0" cap="flat">
              <a:noFill/>
              <a:prstDash val="solid"/>
              <a:miter/>
            </a:ln>
          </p:spPr>
          <p:txBody>
            <a:bodyPr rtlCol="0" anchor="ctr"/>
            <a:lstStyle/>
            <a:p>
              <a:endParaRPr lang="en-US" sz="1799"/>
            </a:p>
          </p:txBody>
        </p:sp>
        <p:sp>
          <p:nvSpPr>
            <p:cNvPr id="31" name="Freeform 7">
              <a:extLst>
                <a:ext uri="{FF2B5EF4-FFF2-40B4-BE49-F238E27FC236}">
                  <a16:creationId xmlns:a16="http://schemas.microsoft.com/office/drawing/2014/main" id="{F820A919-14B9-D937-FA3B-03C4066ED8BC}"/>
                </a:ext>
              </a:extLst>
            </p:cNvPr>
            <p:cNvSpPr/>
            <p:nvPr/>
          </p:nvSpPr>
          <p:spPr>
            <a:xfrm>
              <a:off x="11059172" y="1743424"/>
              <a:ext cx="370028" cy="783413"/>
            </a:xfrm>
            <a:custGeom>
              <a:avLst/>
              <a:gdLst>
                <a:gd name="connsiteX0" fmla="*/ 67154 w 69538"/>
                <a:gd name="connsiteY0" fmla="*/ 79035 h 147224"/>
                <a:gd name="connsiteX1" fmla="*/ 56050 w 69538"/>
                <a:gd name="connsiteY1" fmla="*/ 5032 h 147224"/>
                <a:gd name="connsiteX2" fmla="*/ 0 w 69538"/>
                <a:gd name="connsiteY2" fmla="*/ 147224 h 147224"/>
                <a:gd name="connsiteX3" fmla="*/ 67154 w 69538"/>
                <a:gd name="connsiteY3" fmla="*/ 79035 h 147224"/>
              </a:gdLst>
              <a:ahLst/>
              <a:cxnLst>
                <a:cxn ang="0">
                  <a:pos x="connsiteX0" y="connsiteY0"/>
                </a:cxn>
                <a:cxn ang="0">
                  <a:pos x="connsiteX1" y="connsiteY1"/>
                </a:cxn>
                <a:cxn ang="0">
                  <a:pos x="connsiteX2" y="connsiteY2"/>
                </a:cxn>
                <a:cxn ang="0">
                  <a:pos x="connsiteX3" y="connsiteY3"/>
                </a:cxn>
              </a:cxnLst>
              <a:rect l="l" t="t" r="r" b="b"/>
              <a:pathLst>
                <a:path w="69538" h="147224">
                  <a:moveTo>
                    <a:pt x="67154" y="79035"/>
                  </a:moveTo>
                  <a:cubicBezTo>
                    <a:pt x="67154" y="79035"/>
                    <a:pt x="77201" y="42034"/>
                    <a:pt x="56050" y="5032"/>
                  </a:cubicBezTo>
                  <a:cubicBezTo>
                    <a:pt x="34899" y="-31970"/>
                    <a:pt x="0" y="147224"/>
                    <a:pt x="0" y="147224"/>
                  </a:cubicBezTo>
                  <a:cubicBezTo>
                    <a:pt x="0" y="147224"/>
                    <a:pt x="35957" y="138238"/>
                    <a:pt x="67154" y="79035"/>
                  </a:cubicBezTo>
                  <a:close/>
                </a:path>
              </a:pathLst>
            </a:custGeom>
            <a:solidFill>
              <a:schemeClr val="accent2">
                <a:lumMod val="75000"/>
              </a:schemeClr>
            </a:solidFill>
            <a:ln w="0" cap="flat">
              <a:noFill/>
              <a:prstDash val="solid"/>
              <a:miter/>
            </a:ln>
          </p:spPr>
          <p:txBody>
            <a:bodyPr rtlCol="0" anchor="ctr"/>
            <a:lstStyle/>
            <a:p>
              <a:endParaRPr lang="en-US" sz="1799"/>
            </a:p>
          </p:txBody>
        </p:sp>
        <p:sp>
          <p:nvSpPr>
            <p:cNvPr id="38" name="Freeform 8">
              <a:extLst>
                <a:ext uri="{FF2B5EF4-FFF2-40B4-BE49-F238E27FC236}">
                  <a16:creationId xmlns:a16="http://schemas.microsoft.com/office/drawing/2014/main" id="{B4F055E3-0C79-116A-3DB1-D25E6B143F23}"/>
                </a:ext>
              </a:extLst>
            </p:cNvPr>
            <p:cNvSpPr/>
            <p:nvPr/>
          </p:nvSpPr>
          <p:spPr>
            <a:xfrm>
              <a:off x="7585161" y="840512"/>
              <a:ext cx="4127868" cy="1703200"/>
            </a:xfrm>
            <a:custGeom>
              <a:avLst/>
              <a:gdLst>
                <a:gd name="connsiteX0" fmla="*/ 674538 w 775735"/>
                <a:gd name="connsiteY0" fmla="*/ 320076 h 320076"/>
                <a:gd name="connsiteX1" fmla="*/ 97118 w 775735"/>
                <a:gd name="connsiteY1" fmla="*/ 320076 h 320076"/>
                <a:gd name="connsiteX2" fmla="*/ 5640 w 775735"/>
                <a:gd name="connsiteY2" fmla="*/ 106524 h 320076"/>
                <a:gd name="connsiteX3" fmla="*/ 31550 w 775735"/>
                <a:gd name="connsiteY3" fmla="*/ 19835 h 320076"/>
                <a:gd name="connsiteX4" fmla="*/ 124613 w 775735"/>
                <a:gd name="connsiteY4" fmla="*/ 805 h 320076"/>
                <a:gd name="connsiteX5" fmla="*/ 685642 w 775735"/>
                <a:gd name="connsiteY5" fmla="*/ 69522 h 320076"/>
                <a:gd name="connsiteX6" fmla="*/ 761785 w 775735"/>
                <a:gd name="connsiteY6" fmla="*/ 38336 h 320076"/>
                <a:gd name="connsiteX7" fmla="*/ 773947 w 775735"/>
                <a:gd name="connsiteY7" fmla="*/ 46265 h 320076"/>
                <a:gd name="connsiteX8" fmla="*/ 673480 w 775735"/>
                <a:gd name="connsiteY8" fmla="*/ 320076 h 3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735" h="320076">
                  <a:moveTo>
                    <a:pt x="674538" y="320076"/>
                  </a:moveTo>
                  <a:lnTo>
                    <a:pt x="97118" y="320076"/>
                  </a:lnTo>
                  <a:lnTo>
                    <a:pt x="5640" y="106524"/>
                  </a:lnTo>
                  <a:cubicBezTo>
                    <a:pt x="-7580" y="74808"/>
                    <a:pt x="2996" y="38336"/>
                    <a:pt x="31550" y="19835"/>
                  </a:cubicBezTo>
                  <a:cubicBezTo>
                    <a:pt x="52172" y="6620"/>
                    <a:pt x="82312" y="-2895"/>
                    <a:pt x="124613" y="805"/>
                  </a:cubicBezTo>
                  <a:cubicBezTo>
                    <a:pt x="233012" y="10849"/>
                    <a:pt x="613200" y="69522"/>
                    <a:pt x="685642" y="69522"/>
                  </a:cubicBezTo>
                  <a:cubicBezTo>
                    <a:pt x="758084" y="69522"/>
                    <a:pt x="744865" y="54194"/>
                    <a:pt x="761785" y="38336"/>
                  </a:cubicBezTo>
                  <a:cubicBezTo>
                    <a:pt x="778706" y="22478"/>
                    <a:pt x="776591" y="38864"/>
                    <a:pt x="773947" y="46265"/>
                  </a:cubicBezTo>
                  <a:lnTo>
                    <a:pt x="673480" y="320076"/>
                  </a:lnTo>
                  <a:close/>
                </a:path>
              </a:pathLst>
            </a:custGeom>
            <a:solidFill>
              <a:schemeClr val="accent1"/>
            </a:solidFill>
            <a:ln w="0" cap="flat">
              <a:noFill/>
              <a:prstDash val="solid"/>
              <a:miter/>
            </a:ln>
          </p:spPr>
          <p:txBody>
            <a:bodyPr rtlCol="0" anchor="ctr"/>
            <a:lstStyle/>
            <a:p>
              <a:endParaRPr lang="en-US" sz="1799"/>
            </a:p>
          </p:txBody>
        </p:sp>
        <p:sp>
          <p:nvSpPr>
            <p:cNvPr id="39" name="Freeform 9">
              <a:extLst>
                <a:ext uri="{FF2B5EF4-FFF2-40B4-BE49-F238E27FC236}">
                  <a16:creationId xmlns:a16="http://schemas.microsoft.com/office/drawing/2014/main" id="{346D62FC-1B56-F7DF-3C1D-4C1FAA36BD60}"/>
                </a:ext>
              </a:extLst>
            </p:cNvPr>
            <p:cNvSpPr/>
            <p:nvPr/>
          </p:nvSpPr>
          <p:spPr>
            <a:xfrm>
              <a:off x="7966449" y="2161237"/>
              <a:ext cx="3450065" cy="1400698"/>
            </a:xfrm>
            <a:custGeom>
              <a:avLst/>
              <a:gdLst>
                <a:gd name="connsiteX0" fmla="*/ 552122 w 648358"/>
                <a:gd name="connsiteY0" fmla="*/ 262700 h 263228"/>
                <a:gd name="connsiteX1" fmla="*/ 79398 w 648358"/>
                <a:gd name="connsiteY1" fmla="*/ 262700 h 263228"/>
                <a:gd name="connsiteX2" fmla="*/ 4842 w 648358"/>
                <a:gd name="connsiteY2" fmla="*/ 87735 h 263228"/>
                <a:gd name="connsiteX3" fmla="*/ 25464 w 648358"/>
                <a:gd name="connsiteY3" fmla="*/ 16903 h 263228"/>
                <a:gd name="connsiteX4" fmla="*/ 102136 w 648358"/>
                <a:gd name="connsiteY4" fmla="*/ 1045 h 263228"/>
                <a:gd name="connsiteX5" fmla="*/ 561640 w 648358"/>
                <a:gd name="connsiteY5" fmla="*/ 57605 h 263228"/>
                <a:gd name="connsiteX6" fmla="*/ 648358 w 648358"/>
                <a:gd name="connsiteY6" fmla="*/ 517 h 263228"/>
                <a:gd name="connsiteX7" fmla="*/ 552122 w 648358"/>
                <a:gd name="connsiteY7" fmla="*/ 263229 h 26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358" h="263228">
                  <a:moveTo>
                    <a:pt x="552122" y="262700"/>
                  </a:moveTo>
                  <a:lnTo>
                    <a:pt x="79398" y="262700"/>
                  </a:lnTo>
                  <a:lnTo>
                    <a:pt x="4842" y="87735"/>
                  </a:lnTo>
                  <a:cubicBezTo>
                    <a:pt x="-6263" y="62363"/>
                    <a:pt x="2198" y="32233"/>
                    <a:pt x="25464" y="16903"/>
                  </a:cubicBezTo>
                  <a:cubicBezTo>
                    <a:pt x="48730" y="1574"/>
                    <a:pt x="67237" y="-2126"/>
                    <a:pt x="102136" y="1045"/>
                  </a:cubicBezTo>
                  <a:cubicBezTo>
                    <a:pt x="190969" y="9503"/>
                    <a:pt x="502417" y="57605"/>
                    <a:pt x="561640" y="57605"/>
                  </a:cubicBezTo>
                  <a:cubicBezTo>
                    <a:pt x="620862" y="57605"/>
                    <a:pt x="648358" y="517"/>
                    <a:pt x="648358" y="517"/>
                  </a:cubicBezTo>
                  <a:lnTo>
                    <a:pt x="552122" y="263229"/>
                  </a:lnTo>
                  <a:close/>
                </a:path>
              </a:pathLst>
            </a:custGeom>
            <a:solidFill>
              <a:schemeClr val="accent2"/>
            </a:solidFill>
            <a:ln w="0" cap="flat">
              <a:noFill/>
              <a:prstDash val="solid"/>
              <a:miter/>
            </a:ln>
          </p:spPr>
          <p:txBody>
            <a:bodyPr rtlCol="0" anchor="ctr"/>
            <a:lstStyle/>
            <a:p>
              <a:endParaRPr lang="en-US" sz="1799"/>
            </a:p>
          </p:txBody>
        </p:sp>
        <p:sp>
          <p:nvSpPr>
            <p:cNvPr id="40" name="Freeform 10">
              <a:extLst>
                <a:ext uri="{FF2B5EF4-FFF2-40B4-BE49-F238E27FC236}">
                  <a16:creationId xmlns:a16="http://schemas.microsoft.com/office/drawing/2014/main" id="{F138F0BA-6B64-A503-3329-66FBE57C4E11}"/>
                </a:ext>
              </a:extLst>
            </p:cNvPr>
            <p:cNvSpPr/>
            <p:nvPr/>
          </p:nvSpPr>
          <p:spPr>
            <a:xfrm>
              <a:off x="8247224" y="3272220"/>
              <a:ext cx="2890729" cy="1170113"/>
            </a:xfrm>
            <a:custGeom>
              <a:avLst/>
              <a:gdLst>
                <a:gd name="connsiteX0" fmla="*/ 462342 w 543244"/>
                <a:gd name="connsiteY0" fmla="*/ 219895 h 219895"/>
                <a:gd name="connsiteX1" fmla="*/ 66291 w 543244"/>
                <a:gd name="connsiteY1" fmla="*/ 219895 h 219895"/>
                <a:gd name="connsiteX2" fmla="*/ 3896 w 543244"/>
                <a:gd name="connsiteY2" fmla="*/ 73475 h 219895"/>
                <a:gd name="connsiteX3" fmla="*/ 21345 w 543244"/>
                <a:gd name="connsiteY3" fmla="*/ 14272 h 219895"/>
                <a:gd name="connsiteX4" fmla="*/ 85856 w 543244"/>
                <a:gd name="connsiteY4" fmla="*/ 1057 h 219895"/>
                <a:gd name="connsiteX5" fmla="*/ 470802 w 543244"/>
                <a:gd name="connsiteY5" fmla="*/ 48102 h 219895"/>
                <a:gd name="connsiteX6" fmla="*/ 543245 w 543244"/>
                <a:gd name="connsiteY6" fmla="*/ 0 h 219895"/>
                <a:gd name="connsiteX7" fmla="*/ 462871 w 543244"/>
                <a:gd name="connsiteY7" fmla="*/ 219895 h 21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244" h="219895">
                  <a:moveTo>
                    <a:pt x="462342" y="219895"/>
                  </a:moveTo>
                  <a:lnTo>
                    <a:pt x="66291" y="219895"/>
                  </a:lnTo>
                  <a:lnTo>
                    <a:pt x="3896" y="73475"/>
                  </a:lnTo>
                  <a:cubicBezTo>
                    <a:pt x="-5094" y="52331"/>
                    <a:pt x="1781" y="26958"/>
                    <a:pt x="21345" y="14272"/>
                  </a:cubicBezTo>
                  <a:cubicBezTo>
                    <a:pt x="40910" y="1586"/>
                    <a:pt x="56244" y="-1586"/>
                    <a:pt x="85856" y="1057"/>
                  </a:cubicBezTo>
                  <a:cubicBezTo>
                    <a:pt x="160413" y="7929"/>
                    <a:pt x="421097" y="48102"/>
                    <a:pt x="470802" y="48102"/>
                  </a:cubicBezTo>
                  <a:cubicBezTo>
                    <a:pt x="520507" y="48102"/>
                    <a:pt x="543245" y="0"/>
                    <a:pt x="543245" y="0"/>
                  </a:cubicBezTo>
                  <a:lnTo>
                    <a:pt x="462871" y="219895"/>
                  </a:lnTo>
                  <a:close/>
                </a:path>
              </a:pathLst>
            </a:custGeom>
            <a:solidFill>
              <a:schemeClr val="accent4"/>
            </a:solidFill>
            <a:ln w="0" cap="flat">
              <a:noFill/>
              <a:prstDash val="solid"/>
              <a:miter/>
            </a:ln>
          </p:spPr>
          <p:txBody>
            <a:bodyPr rtlCol="0" anchor="ctr"/>
            <a:lstStyle/>
            <a:p>
              <a:endParaRPr lang="en-US" sz="1799"/>
            </a:p>
          </p:txBody>
        </p:sp>
        <p:sp>
          <p:nvSpPr>
            <p:cNvPr id="52" name="Freeform 11">
              <a:extLst>
                <a:ext uri="{FF2B5EF4-FFF2-40B4-BE49-F238E27FC236}">
                  <a16:creationId xmlns:a16="http://schemas.microsoft.com/office/drawing/2014/main" id="{54C72E7B-26BB-3387-59E2-EB6C1E40EC81}"/>
                </a:ext>
              </a:extLst>
            </p:cNvPr>
            <p:cNvSpPr/>
            <p:nvPr/>
          </p:nvSpPr>
          <p:spPr>
            <a:xfrm>
              <a:off x="8452442" y="4177458"/>
              <a:ext cx="2477295" cy="1004633"/>
            </a:xfrm>
            <a:custGeom>
              <a:avLst/>
              <a:gdLst>
                <a:gd name="connsiteX0" fmla="*/ 396809 w 465549"/>
                <a:gd name="connsiteY0" fmla="*/ 188798 h 188797"/>
                <a:gd name="connsiteX1" fmla="*/ 57336 w 465549"/>
                <a:gd name="connsiteY1" fmla="*/ 188798 h 188797"/>
                <a:gd name="connsiteX2" fmla="*/ 3402 w 465549"/>
                <a:gd name="connsiteY2" fmla="*/ 62992 h 188797"/>
                <a:gd name="connsiteX3" fmla="*/ 18208 w 465549"/>
                <a:gd name="connsiteY3" fmla="*/ 12247 h 188797"/>
                <a:gd name="connsiteX4" fmla="*/ 73199 w 465549"/>
                <a:gd name="connsiteY4" fmla="*/ 618 h 188797"/>
                <a:gd name="connsiteX5" fmla="*/ 403154 w 465549"/>
                <a:gd name="connsiteY5" fmla="*/ 41320 h 188797"/>
                <a:gd name="connsiteX6" fmla="*/ 465549 w 465549"/>
                <a:gd name="connsiteY6" fmla="*/ 89 h 188797"/>
                <a:gd name="connsiteX7" fmla="*/ 396280 w 465549"/>
                <a:gd name="connsiteY7" fmla="*/ 188798 h 18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549" h="188797">
                  <a:moveTo>
                    <a:pt x="396809" y="188798"/>
                  </a:moveTo>
                  <a:lnTo>
                    <a:pt x="57336" y="188798"/>
                  </a:lnTo>
                  <a:lnTo>
                    <a:pt x="3402" y="62992"/>
                  </a:lnTo>
                  <a:cubicBezTo>
                    <a:pt x="-4530" y="44491"/>
                    <a:pt x="1815" y="22819"/>
                    <a:pt x="18208" y="12247"/>
                  </a:cubicBezTo>
                  <a:cubicBezTo>
                    <a:pt x="34599" y="1675"/>
                    <a:pt x="47819" y="-1496"/>
                    <a:pt x="73199" y="618"/>
                  </a:cubicBezTo>
                  <a:cubicBezTo>
                    <a:pt x="137182" y="6433"/>
                    <a:pt x="360852" y="41320"/>
                    <a:pt x="403154" y="41320"/>
                  </a:cubicBezTo>
                  <a:cubicBezTo>
                    <a:pt x="445456" y="41320"/>
                    <a:pt x="465549" y="89"/>
                    <a:pt x="465549" y="89"/>
                  </a:cubicBezTo>
                  <a:lnTo>
                    <a:pt x="396280" y="188798"/>
                  </a:lnTo>
                  <a:close/>
                </a:path>
              </a:pathLst>
            </a:custGeom>
            <a:solidFill>
              <a:schemeClr val="accent5"/>
            </a:solidFill>
            <a:ln w="0" cap="flat">
              <a:noFill/>
              <a:prstDash val="solid"/>
              <a:miter/>
            </a:ln>
          </p:spPr>
          <p:txBody>
            <a:bodyPr rtlCol="0" anchor="ctr"/>
            <a:lstStyle/>
            <a:p>
              <a:endParaRPr lang="en-US" sz="1799"/>
            </a:p>
          </p:txBody>
        </p:sp>
        <p:sp>
          <p:nvSpPr>
            <p:cNvPr id="53" name="Freeform 12">
              <a:extLst>
                <a:ext uri="{FF2B5EF4-FFF2-40B4-BE49-F238E27FC236}">
                  <a16:creationId xmlns:a16="http://schemas.microsoft.com/office/drawing/2014/main" id="{AAB50A88-90D2-E52F-5E8A-24006E9C5AAF}"/>
                </a:ext>
              </a:extLst>
            </p:cNvPr>
            <p:cNvSpPr/>
            <p:nvPr/>
          </p:nvSpPr>
          <p:spPr>
            <a:xfrm>
              <a:off x="8620641" y="4928407"/>
              <a:ext cx="2145900" cy="1004697"/>
            </a:xfrm>
            <a:custGeom>
              <a:avLst/>
              <a:gdLst>
                <a:gd name="connsiteX0" fmla="*/ 344577 w 403271"/>
                <a:gd name="connsiteY0" fmla="*/ 159737 h 188809"/>
                <a:gd name="connsiteX1" fmla="*/ 303333 w 403271"/>
                <a:gd name="connsiteY1" fmla="*/ 188810 h 188809"/>
                <a:gd name="connsiteX2" fmla="*/ 89180 w 403271"/>
                <a:gd name="connsiteY2" fmla="*/ 188810 h 188809"/>
                <a:gd name="connsiteX3" fmla="*/ 48993 w 403271"/>
                <a:gd name="connsiteY3" fmla="*/ 162380 h 188809"/>
                <a:gd name="connsiteX4" fmla="*/ 2990 w 403271"/>
                <a:gd name="connsiteY4" fmla="*/ 54547 h 188809"/>
                <a:gd name="connsiteX5" fmla="*/ 15681 w 403271"/>
                <a:gd name="connsiteY5" fmla="*/ 10674 h 188809"/>
                <a:gd name="connsiteX6" fmla="*/ 63270 w 403271"/>
                <a:gd name="connsiteY6" fmla="*/ 630 h 188809"/>
                <a:gd name="connsiteX7" fmla="*/ 349336 w 403271"/>
                <a:gd name="connsiteY7" fmla="*/ 35517 h 188809"/>
                <a:gd name="connsiteX8" fmla="*/ 403271 w 403271"/>
                <a:gd name="connsiteY8" fmla="*/ 102 h 188809"/>
                <a:gd name="connsiteX9" fmla="*/ 344577 w 403271"/>
                <a:gd name="connsiteY9" fmla="*/ 160265 h 18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271" h="188809">
                  <a:moveTo>
                    <a:pt x="344577" y="159737"/>
                  </a:moveTo>
                  <a:cubicBezTo>
                    <a:pt x="338232" y="177181"/>
                    <a:pt x="321840" y="188810"/>
                    <a:pt x="303333" y="188810"/>
                  </a:cubicBezTo>
                  <a:lnTo>
                    <a:pt x="89180" y="188810"/>
                  </a:lnTo>
                  <a:cubicBezTo>
                    <a:pt x="71731" y="188810"/>
                    <a:pt x="55867" y="178238"/>
                    <a:pt x="48993" y="162380"/>
                  </a:cubicBezTo>
                  <a:lnTo>
                    <a:pt x="2990" y="54547"/>
                  </a:lnTo>
                  <a:cubicBezTo>
                    <a:pt x="-3884" y="38689"/>
                    <a:pt x="1403" y="19659"/>
                    <a:pt x="15681" y="10674"/>
                  </a:cubicBezTo>
                  <a:cubicBezTo>
                    <a:pt x="29957" y="1687"/>
                    <a:pt x="41590" y="-1484"/>
                    <a:pt x="63270" y="630"/>
                  </a:cubicBezTo>
                  <a:cubicBezTo>
                    <a:pt x="118791" y="5916"/>
                    <a:pt x="312322" y="35517"/>
                    <a:pt x="349336" y="35517"/>
                  </a:cubicBezTo>
                  <a:cubicBezTo>
                    <a:pt x="386351" y="35517"/>
                    <a:pt x="403271" y="102"/>
                    <a:pt x="403271" y="102"/>
                  </a:cubicBezTo>
                  <a:lnTo>
                    <a:pt x="344577" y="160265"/>
                  </a:lnTo>
                  <a:close/>
                </a:path>
              </a:pathLst>
            </a:custGeom>
            <a:solidFill>
              <a:srgbClr val="805AAB"/>
            </a:solidFill>
            <a:ln w="0" cap="flat">
              <a:noFill/>
              <a:prstDash val="solid"/>
              <a:miter/>
            </a:ln>
          </p:spPr>
          <p:txBody>
            <a:bodyPr rtlCol="0" anchor="ctr"/>
            <a:lstStyle/>
            <a:p>
              <a:endParaRPr lang="en-US" sz="1799"/>
            </a:p>
          </p:txBody>
        </p:sp>
        <p:sp>
          <p:nvSpPr>
            <p:cNvPr id="54" name="Freeform 13">
              <a:extLst>
                <a:ext uri="{FF2B5EF4-FFF2-40B4-BE49-F238E27FC236}">
                  <a16:creationId xmlns:a16="http://schemas.microsoft.com/office/drawing/2014/main" id="{BD079904-7B06-6E23-D74F-B6CDB8C6E307}"/>
                </a:ext>
              </a:extLst>
            </p:cNvPr>
            <p:cNvSpPr/>
            <p:nvPr/>
          </p:nvSpPr>
          <p:spPr>
            <a:xfrm>
              <a:off x="8677947" y="4976510"/>
              <a:ext cx="320764" cy="320652"/>
            </a:xfrm>
            <a:custGeom>
              <a:avLst/>
              <a:gdLst>
                <a:gd name="connsiteX0" fmla="*/ 60280 w 60280"/>
                <a:gd name="connsiteY0" fmla="*/ 30130 h 60259"/>
                <a:gd name="connsiteX1" fmla="*/ 30140 w 60280"/>
                <a:gd name="connsiteY1" fmla="*/ 60259 h 60259"/>
                <a:gd name="connsiteX2" fmla="*/ 1 w 60280"/>
                <a:gd name="connsiteY2" fmla="*/ 30130 h 60259"/>
                <a:gd name="connsiteX3" fmla="*/ 30140 w 60280"/>
                <a:gd name="connsiteY3" fmla="*/ 0 h 60259"/>
                <a:gd name="connsiteX4" fmla="*/ 60280 w 60280"/>
                <a:gd name="connsiteY4" fmla="*/ 30130 h 6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0" h="60259">
                  <a:moveTo>
                    <a:pt x="60280" y="30130"/>
                  </a:moveTo>
                  <a:cubicBezTo>
                    <a:pt x="60280" y="46770"/>
                    <a:pt x="46786" y="60259"/>
                    <a:pt x="30140" y="60259"/>
                  </a:cubicBezTo>
                  <a:cubicBezTo>
                    <a:pt x="13494" y="60259"/>
                    <a:pt x="1" y="46769"/>
                    <a:pt x="1" y="30130"/>
                  </a:cubicBezTo>
                  <a:cubicBezTo>
                    <a:pt x="1" y="13489"/>
                    <a:pt x="13495" y="0"/>
                    <a:pt x="30140" y="0"/>
                  </a:cubicBezTo>
                  <a:cubicBezTo>
                    <a:pt x="46787" y="0"/>
                    <a:pt x="60280" y="13490"/>
                    <a:pt x="60280" y="30130"/>
                  </a:cubicBezTo>
                  <a:close/>
                </a:path>
              </a:pathLst>
            </a:custGeom>
            <a:solidFill>
              <a:srgbClr val="FFFFFF"/>
            </a:solidFill>
            <a:ln w="0" cap="flat">
              <a:noFill/>
              <a:prstDash val="solid"/>
              <a:miter/>
            </a:ln>
          </p:spPr>
          <p:txBody>
            <a:bodyPr rtlCol="0" anchor="ctr"/>
            <a:lstStyle/>
            <a:p>
              <a:endParaRPr lang="en-US" sz="1799"/>
            </a:p>
          </p:txBody>
        </p:sp>
        <p:sp>
          <p:nvSpPr>
            <p:cNvPr id="55" name="Freeform 14">
              <a:extLst>
                <a:ext uri="{FF2B5EF4-FFF2-40B4-BE49-F238E27FC236}">
                  <a16:creationId xmlns:a16="http://schemas.microsoft.com/office/drawing/2014/main" id="{1FF4408F-2ECD-7C95-AA20-94342E4D973B}"/>
                </a:ext>
              </a:extLst>
            </p:cNvPr>
            <p:cNvSpPr/>
            <p:nvPr/>
          </p:nvSpPr>
          <p:spPr>
            <a:xfrm>
              <a:off x="8495869" y="4247516"/>
              <a:ext cx="371412" cy="371284"/>
            </a:xfrm>
            <a:custGeom>
              <a:avLst/>
              <a:gdLst>
                <a:gd name="connsiteX0" fmla="*/ 69798 w 69798"/>
                <a:gd name="connsiteY0" fmla="*/ 34887 h 69774"/>
                <a:gd name="connsiteX1" fmla="*/ 34899 w 69798"/>
                <a:gd name="connsiteY1" fmla="*/ 69775 h 69774"/>
                <a:gd name="connsiteX2" fmla="*/ 0 w 69798"/>
                <a:gd name="connsiteY2" fmla="*/ 34887 h 69774"/>
                <a:gd name="connsiteX3" fmla="*/ 34899 w 69798"/>
                <a:gd name="connsiteY3" fmla="*/ 0 h 69774"/>
                <a:gd name="connsiteX4" fmla="*/ 69798 w 69798"/>
                <a:gd name="connsiteY4" fmla="*/ 34887 h 69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98" h="69774">
                  <a:moveTo>
                    <a:pt x="69798" y="34887"/>
                  </a:moveTo>
                  <a:cubicBezTo>
                    <a:pt x="69798" y="54155"/>
                    <a:pt x="54173" y="69775"/>
                    <a:pt x="34899" y="69775"/>
                  </a:cubicBezTo>
                  <a:cubicBezTo>
                    <a:pt x="15625" y="69775"/>
                    <a:pt x="0" y="54155"/>
                    <a:pt x="0" y="34887"/>
                  </a:cubicBezTo>
                  <a:cubicBezTo>
                    <a:pt x="0" y="15620"/>
                    <a:pt x="15625" y="0"/>
                    <a:pt x="34899" y="0"/>
                  </a:cubicBezTo>
                  <a:cubicBezTo>
                    <a:pt x="54173" y="0"/>
                    <a:pt x="69798" y="15620"/>
                    <a:pt x="69798" y="34887"/>
                  </a:cubicBezTo>
                  <a:close/>
                </a:path>
              </a:pathLst>
            </a:custGeom>
            <a:solidFill>
              <a:srgbClr val="FFFFFF"/>
            </a:solidFill>
            <a:ln w="0" cap="flat">
              <a:noFill/>
              <a:prstDash val="solid"/>
              <a:miter/>
            </a:ln>
          </p:spPr>
          <p:txBody>
            <a:bodyPr rtlCol="0" anchor="ctr"/>
            <a:lstStyle/>
            <a:p>
              <a:endParaRPr lang="en-US" sz="1799"/>
            </a:p>
          </p:txBody>
        </p:sp>
        <p:sp>
          <p:nvSpPr>
            <p:cNvPr id="56" name="Freeform 15">
              <a:extLst>
                <a:ext uri="{FF2B5EF4-FFF2-40B4-BE49-F238E27FC236}">
                  <a16:creationId xmlns:a16="http://schemas.microsoft.com/office/drawing/2014/main" id="{CF2E1989-3A38-D712-0779-E9A37ED8B84D}"/>
                </a:ext>
              </a:extLst>
            </p:cNvPr>
            <p:cNvSpPr/>
            <p:nvPr/>
          </p:nvSpPr>
          <p:spPr>
            <a:xfrm>
              <a:off x="8301718" y="3345356"/>
              <a:ext cx="427684" cy="427540"/>
            </a:xfrm>
            <a:custGeom>
              <a:avLst/>
              <a:gdLst>
                <a:gd name="connsiteX0" fmla="*/ 80373 w 80373"/>
                <a:gd name="connsiteY0" fmla="*/ 40173 h 80346"/>
                <a:gd name="connsiteX1" fmla="*/ 40187 w 80373"/>
                <a:gd name="connsiteY1" fmla="*/ 80346 h 80346"/>
                <a:gd name="connsiteX2" fmla="*/ 0 w 80373"/>
                <a:gd name="connsiteY2" fmla="*/ 40173 h 80346"/>
                <a:gd name="connsiteX3" fmla="*/ 40187 w 80373"/>
                <a:gd name="connsiteY3" fmla="*/ 0 h 80346"/>
                <a:gd name="connsiteX4" fmla="*/ 80373 w 80373"/>
                <a:gd name="connsiteY4" fmla="*/ 40173 h 80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3" h="80346">
                  <a:moveTo>
                    <a:pt x="80373" y="40173"/>
                  </a:moveTo>
                  <a:cubicBezTo>
                    <a:pt x="80373" y="62360"/>
                    <a:pt x="62381" y="80346"/>
                    <a:pt x="40187" y="80346"/>
                  </a:cubicBezTo>
                  <a:cubicBezTo>
                    <a:pt x="17992" y="80346"/>
                    <a:pt x="0" y="62360"/>
                    <a:pt x="0" y="40173"/>
                  </a:cubicBezTo>
                  <a:cubicBezTo>
                    <a:pt x="0" y="17986"/>
                    <a:pt x="17992" y="0"/>
                    <a:pt x="40187" y="0"/>
                  </a:cubicBezTo>
                  <a:cubicBezTo>
                    <a:pt x="62381" y="0"/>
                    <a:pt x="80373" y="17986"/>
                    <a:pt x="80373" y="40173"/>
                  </a:cubicBezTo>
                  <a:close/>
                </a:path>
              </a:pathLst>
            </a:custGeom>
            <a:solidFill>
              <a:srgbClr val="FFFFFF"/>
            </a:solidFill>
            <a:ln w="0" cap="flat">
              <a:noFill/>
              <a:prstDash val="solid"/>
              <a:miter/>
            </a:ln>
          </p:spPr>
          <p:txBody>
            <a:bodyPr rtlCol="0" anchor="ctr"/>
            <a:lstStyle/>
            <a:p>
              <a:endParaRPr lang="en-US" sz="1799"/>
            </a:p>
          </p:txBody>
        </p:sp>
        <p:sp>
          <p:nvSpPr>
            <p:cNvPr id="57" name="Freeform 16">
              <a:extLst>
                <a:ext uri="{FF2B5EF4-FFF2-40B4-BE49-F238E27FC236}">
                  <a16:creationId xmlns:a16="http://schemas.microsoft.com/office/drawing/2014/main" id="{74336BED-ED53-A6A5-4FE2-F0172768F265}"/>
                </a:ext>
              </a:extLst>
            </p:cNvPr>
            <p:cNvSpPr/>
            <p:nvPr/>
          </p:nvSpPr>
          <p:spPr>
            <a:xfrm>
              <a:off x="8005246" y="2268061"/>
              <a:ext cx="483956" cy="483796"/>
            </a:xfrm>
            <a:custGeom>
              <a:avLst/>
              <a:gdLst>
                <a:gd name="connsiteX0" fmla="*/ 90949 w 90948"/>
                <a:gd name="connsiteY0" fmla="*/ 45459 h 90918"/>
                <a:gd name="connsiteX1" fmla="*/ 45475 w 90948"/>
                <a:gd name="connsiteY1" fmla="*/ 90918 h 90918"/>
                <a:gd name="connsiteX2" fmla="*/ 0 w 90948"/>
                <a:gd name="connsiteY2" fmla="*/ 45459 h 90918"/>
                <a:gd name="connsiteX3" fmla="*/ 45475 w 90948"/>
                <a:gd name="connsiteY3" fmla="*/ 0 h 90918"/>
                <a:gd name="connsiteX4" fmla="*/ 90949 w 90948"/>
                <a:gd name="connsiteY4" fmla="*/ 45459 h 9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48" h="90918">
                  <a:moveTo>
                    <a:pt x="90949" y="45459"/>
                  </a:moveTo>
                  <a:cubicBezTo>
                    <a:pt x="90949" y="70566"/>
                    <a:pt x="70589" y="90918"/>
                    <a:pt x="45475" y="90918"/>
                  </a:cubicBezTo>
                  <a:cubicBezTo>
                    <a:pt x="20360" y="90918"/>
                    <a:pt x="0" y="70566"/>
                    <a:pt x="0" y="45459"/>
                  </a:cubicBezTo>
                  <a:cubicBezTo>
                    <a:pt x="0" y="20353"/>
                    <a:pt x="20360" y="0"/>
                    <a:pt x="45475" y="0"/>
                  </a:cubicBezTo>
                  <a:cubicBezTo>
                    <a:pt x="70589" y="0"/>
                    <a:pt x="90949" y="20353"/>
                    <a:pt x="90949" y="45459"/>
                  </a:cubicBezTo>
                  <a:close/>
                </a:path>
              </a:pathLst>
            </a:custGeom>
            <a:solidFill>
              <a:srgbClr val="FFFFFF"/>
            </a:solidFill>
            <a:ln w="0" cap="flat">
              <a:noFill/>
              <a:prstDash val="solid"/>
              <a:miter/>
            </a:ln>
          </p:spPr>
          <p:txBody>
            <a:bodyPr rtlCol="0" anchor="ctr"/>
            <a:lstStyle/>
            <a:p>
              <a:endParaRPr lang="en-US" sz="1799"/>
            </a:p>
          </p:txBody>
        </p:sp>
        <p:sp>
          <p:nvSpPr>
            <p:cNvPr id="58" name="Freeform 17">
              <a:extLst>
                <a:ext uri="{FF2B5EF4-FFF2-40B4-BE49-F238E27FC236}">
                  <a16:creationId xmlns:a16="http://schemas.microsoft.com/office/drawing/2014/main" id="{DA95AB82-76D7-D809-EE4E-AB1403AAD8DA}"/>
                </a:ext>
              </a:extLst>
            </p:cNvPr>
            <p:cNvSpPr/>
            <p:nvPr/>
          </p:nvSpPr>
          <p:spPr>
            <a:xfrm>
              <a:off x="7626538" y="951683"/>
              <a:ext cx="590881" cy="590678"/>
            </a:xfrm>
            <a:custGeom>
              <a:avLst/>
              <a:gdLst>
                <a:gd name="connsiteX0" fmla="*/ 111042 w 111042"/>
                <a:gd name="connsiteY0" fmla="*/ 55502 h 111004"/>
                <a:gd name="connsiteX1" fmla="*/ 55521 w 111042"/>
                <a:gd name="connsiteY1" fmla="*/ 111005 h 111004"/>
                <a:gd name="connsiteX2" fmla="*/ 0 w 111042"/>
                <a:gd name="connsiteY2" fmla="*/ 55502 h 111004"/>
                <a:gd name="connsiteX3" fmla="*/ 55521 w 111042"/>
                <a:gd name="connsiteY3" fmla="*/ 0 h 111004"/>
                <a:gd name="connsiteX4" fmla="*/ 111042 w 111042"/>
                <a:gd name="connsiteY4" fmla="*/ 55502 h 11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42" h="111004">
                  <a:moveTo>
                    <a:pt x="111042" y="55502"/>
                  </a:moveTo>
                  <a:cubicBezTo>
                    <a:pt x="111042" y="86155"/>
                    <a:pt x="86184" y="111005"/>
                    <a:pt x="55521" y="111005"/>
                  </a:cubicBezTo>
                  <a:cubicBezTo>
                    <a:pt x="24858" y="111005"/>
                    <a:pt x="0" y="86155"/>
                    <a:pt x="0" y="55502"/>
                  </a:cubicBezTo>
                  <a:cubicBezTo>
                    <a:pt x="0" y="24849"/>
                    <a:pt x="24858" y="0"/>
                    <a:pt x="55521" y="0"/>
                  </a:cubicBezTo>
                  <a:cubicBezTo>
                    <a:pt x="86184" y="0"/>
                    <a:pt x="111042" y="24849"/>
                    <a:pt x="111042" y="55502"/>
                  </a:cubicBezTo>
                  <a:close/>
                </a:path>
              </a:pathLst>
            </a:custGeom>
            <a:solidFill>
              <a:srgbClr val="FFFFFF"/>
            </a:solidFill>
            <a:ln w="0" cap="flat">
              <a:noFill/>
              <a:prstDash val="solid"/>
              <a:miter/>
            </a:ln>
          </p:spPr>
          <p:txBody>
            <a:bodyPr rtlCol="0" anchor="ctr"/>
            <a:lstStyle/>
            <a:p>
              <a:endParaRPr lang="en-US" sz="1799"/>
            </a:p>
          </p:txBody>
        </p:sp>
        <p:sp>
          <p:nvSpPr>
            <p:cNvPr id="59" name="TextBox 58">
              <a:extLst>
                <a:ext uri="{FF2B5EF4-FFF2-40B4-BE49-F238E27FC236}">
                  <a16:creationId xmlns:a16="http://schemas.microsoft.com/office/drawing/2014/main" id="{8A8F8935-33B7-3A24-6525-176C8283E0BC}"/>
                </a:ext>
              </a:extLst>
            </p:cNvPr>
            <p:cNvSpPr txBox="1"/>
            <p:nvPr/>
          </p:nvSpPr>
          <p:spPr>
            <a:xfrm>
              <a:off x="7578080" y="1016190"/>
              <a:ext cx="687796" cy="461665"/>
            </a:xfrm>
            <a:prstGeom prst="rect">
              <a:avLst/>
            </a:prstGeom>
            <a:noFill/>
          </p:spPr>
          <p:txBody>
            <a:bodyPr wrap="square" lIns="0" rIns="0" rtlCol="0" anchor="ctr">
              <a:spAutoFit/>
            </a:bodyPr>
            <a:lstStyle/>
            <a:p>
              <a:pPr algn="ctr"/>
              <a:r>
                <a:rPr lang="en-US" sz="2399" b="1" noProof="1">
                  <a:solidFill>
                    <a:schemeClr val="tx2"/>
                  </a:solidFill>
                </a:rPr>
                <a:t>01</a:t>
              </a:r>
            </a:p>
          </p:txBody>
        </p:sp>
        <p:sp>
          <p:nvSpPr>
            <p:cNvPr id="60" name="TextBox 59">
              <a:extLst>
                <a:ext uri="{FF2B5EF4-FFF2-40B4-BE49-F238E27FC236}">
                  <a16:creationId xmlns:a16="http://schemas.microsoft.com/office/drawing/2014/main" id="{3EC9B4A4-EDE5-FD29-36E3-DA4BCBC6223E}"/>
                </a:ext>
              </a:extLst>
            </p:cNvPr>
            <p:cNvSpPr txBox="1"/>
            <p:nvPr/>
          </p:nvSpPr>
          <p:spPr>
            <a:xfrm>
              <a:off x="7903326" y="2309904"/>
              <a:ext cx="687796" cy="400110"/>
            </a:xfrm>
            <a:prstGeom prst="rect">
              <a:avLst/>
            </a:prstGeom>
            <a:noFill/>
          </p:spPr>
          <p:txBody>
            <a:bodyPr wrap="square" lIns="0" rIns="0" rtlCol="0" anchor="ctr">
              <a:spAutoFit/>
            </a:bodyPr>
            <a:lstStyle/>
            <a:p>
              <a:pPr algn="ctr"/>
              <a:r>
                <a:rPr lang="en-US" sz="1999" b="1" noProof="1">
                  <a:solidFill>
                    <a:schemeClr val="tx2"/>
                  </a:solidFill>
                </a:rPr>
                <a:t>02</a:t>
              </a:r>
            </a:p>
          </p:txBody>
        </p:sp>
        <p:sp>
          <p:nvSpPr>
            <p:cNvPr id="61" name="TextBox 60">
              <a:extLst>
                <a:ext uri="{FF2B5EF4-FFF2-40B4-BE49-F238E27FC236}">
                  <a16:creationId xmlns:a16="http://schemas.microsoft.com/office/drawing/2014/main" id="{E7FEEB23-7F27-1E70-6001-EF2EEE15B927}"/>
                </a:ext>
              </a:extLst>
            </p:cNvPr>
            <p:cNvSpPr txBox="1"/>
            <p:nvPr/>
          </p:nvSpPr>
          <p:spPr>
            <a:xfrm>
              <a:off x="8171662" y="3374460"/>
              <a:ext cx="687796" cy="369332"/>
            </a:xfrm>
            <a:prstGeom prst="rect">
              <a:avLst/>
            </a:prstGeom>
            <a:noFill/>
          </p:spPr>
          <p:txBody>
            <a:bodyPr wrap="square" lIns="0" rIns="0" rtlCol="0" anchor="ctr">
              <a:spAutoFit/>
            </a:bodyPr>
            <a:lstStyle/>
            <a:p>
              <a:pPr algn="ctr"/>
              <a:r>
                <a:rPr lang="en-US" sz="1799" b="1" noProof="1">
                  <a:solidFill>
                    <a:schemeClr val="tx2"/>
                  </a:solidFill>
                </a:rPr>
                <a:t>03</a:t>
              </a:r>
            </a:p>
          </p:txBody>
        </p:sp>
        <p:sp>
          <p:nvSpPr>
            <p:cNvPr id="62" name="TextBox 61">
              <a:extLst>
                <a:ext uri="{FF2B5EF4-FFF2-40B4-BE49-F238E27FC236}">
                  <a16:creationId xmlns:a16="http://schemas.microsoft.com/office/drawing/2014/main" id="{597B9809-8799-0B5A-F54C-ED47BC6477CB}"/>
                </a:ext>
              </a:extLst>
            </p:cNvPr>
            <p:cNvSpPr txBox="1"/>
            <p:nvPr/>
          </p:nvSpPr>
          <p:spPr>
            <a:xfrm>
              <a:off x="8337677" y="4263881"/>
              <a:ext cx="687796" cy="338554"/>
            </a:xfrm>
            <a:prstGeom prst="rect">
              <a:avLst/>
            </a:prstGeom>
            <a:noFill/>
          </p:spPr>
          <p:txBody>
            <a:bodyPr wrap="square" lIns="0" rIns="0" rtlCol="0" anchor="ctr">
              <a:spAutoFit/>
            </a:bodyPr>
            <a:lstStyle/>
            <a:p>
              <a:pPr algn="ctr"/>
              <a:r>
                <a:rPr lang="en-US" sz="1599" b="1" noProof="1">
                  <a:solidFill>
                    <a:schemeClr val="tx2"/>
                  </a:solidFill>
                </a:rPr>
                <a:t>04</a:t>
              </a:r>
            </a:p>
          </p:txBody>
        </p:sp>
        <p:sp>
          <p:nvSpPr>
            <p:cNvPr id="63" name="TextBox 62">
              <a:extLst>
                <a:ext uri="{FF2B5EF4-FFF2-40B4-BE49-F238E27FC236}">
                  <a16:creationId xmlns:a16="http://schemas.microsoft.com/office/drawing/2014/main" id="{E1049664-C1B4-82A4-4517-4BBF8DE21324}"/>
                </a:ext>
              </a:extLst>
            </p:cNvPr>
            <p:cNvSpPr txBox="1"/>
            <p:nvPr/>
          </p:nvSpPr>
          <p:spPr>
            <a:xfrm>
              <a:off x="8494431" y="4982947"/>
              <a:ext cx="687796" cy="307777"/>
            </a:xfrm>
            <a:prstGeom prst="rect">
              <a:avLst/>
            </a:prstGeom>
            <a:noFill/>
          </p:spPr>
          <p:txBody>
            <a:bodyPr wrap="square" lIns="0" rIns="0" rtlCol="0" anchor="ctr">
              <a:spAutoFit/>
            </a:bodyPr>
            <a:lstStyle/>
            <a:p>
              <a:pPr algn="ctr"/>
              <a:r>
                <a:rPr lang="en-US" sz="1399" b="1" noProof="1">
                  <a:solidFill>
                    <a:schemeClr val="tx2"/>
                  </a:solidFill>
                </a:rPr>
                <a:t>05</a:t>
              </a:r>
            </a:p>
          </p:txBody>
        </p:sp>
        <p:grpSp>
          <p:nvGrpSpPr>
            <p:cNvPr id="64" name="Group 63">
              <a:extLst>
                <a:ext uri="{FF2B5EF4-FFF2-40B4-BE49-F238E27FC236}">
                  <a16:creationId xmlns:a16="http://schemas.microsoft.com/office/drawing/2014/main" id="{FEF123B1-8540-FD7F-3325-2CB4A82A7A4A}"/>
                </a:ext>
              </a:extLst>
            </p:cNvPr>
            <p:cNvGrpSpPr/>
            <p:nvPr/>
          </p:nvGrpSpPr>
          <p:grpSpPr>
            <a:xfrm rot="470628">
              <a:off x="8781095" y="5254241"/>
              <a:ext cx="1646028" cy="543373"/>
              <a:chOff x="8921977" y="1589836"/>
              <a:chExt cx="2926080" cy="543373"/>
            </a:xfrm>
          </p:grpSpPr>
          <p:sp>
            <p:nvSpPr>
              <p:cNvPr id="77" name="TextBox 76">
                <a:extLst>
                  <a:ext uri="{FF2B5EF4-FFF2-40B4-BE49-F238E27FC236}">
                    <a16:creationId xmlns:a16="http://schemas.microsoft.com/office/drawing/2014/main" id="{E8243DEF-67C7-1478-93C3-AAC6C39000C0}"/>
                  </a:ext>
                </a:extLst>
              </p:cNvPr>
              <p:cNvSpPr txBox="1"/>
              <p:nvPr/>
            </p:nvSpPr>
            <p:spPr>
              <a:xfrm>
                <a:off x="8921977" y="1589836"/>
                <a:ext cx="2926080" cy="338554"/>
              </a:xfrm>
              <a:prstGeom prst="rect">
                <a:avLst/>
              </a:prstGeom>
              <a:noFill/>
            </p:spPr>
            <p:txBody>
              <a:bodyPr wrap="square" lIns="0" rIns="0" rtlCol="0" anchor="b">
                <a:spAutoFit/>
              </a:bodyPr>
              <a:lstStyle/>
              <a:p>
                <a:pPr algn="ctr"/>
                <a:r>
                  <a:rPr lang="en-US" sz="1599" b="1" noProof="1">
                    <a:solidFill>
                      <a:schemeClr val="bg1"/>
                    </a:solidFill>
                  </a:rPr>
                  <a:t>Lorem Ipsum</a:t>
                </a:r>
              </a:p>
            </p:txBody>
          </p:sp>
          <p:sp>
            <p:nvSpPr>
              <p:cNvPr id="78" name="TextBox 77">
                <a:extLst>
                  <a:ext uri="{FF2B5EF4-FFF2-40B4-BE49-F238E27FC236}">
                    <a16:creationId xmlns:a16="http://schemas.microsoft.com/office/drawing/2014/main" id="{3BAAACF1-34CB-23DE-72E8-277764A7EACB}"/>
                  </a:ext>
                </a:extLst>
              </p:cNvPr>
              <p:cNvSpPr txBox="1"/>
              <p:nvPr/>
            </p:nvSpPr>
            <p:spPr>
              <a:xfrm>
                <a:off x="8921977" y="1886988"/>
                <a:ext cx="2926080" cy="246221"/>
              </a:xfrm>
              <a:prstGeom prst="rect">
                <a:avLst/>
              </a:prstGeom>
              <a:noFill/>
            </p:spPr>
            <p:txBody>
              <a:bodyPr wrap="square" lIns="0" rIns="0" rtlCol="0" anchor="b">
                <a:spAutoFit/>
              </a:bodyPr>
              <a:lstStyle/>
              <a:p>
                <a:pPr algn="ctr"/>
                <a:r>
                  <a:rPr lang="en-US" sz="999" noProof="1">
                    <a:solidFill>
                      <a:schemeClr val="bg1"/>
                    </a:solidFill>
                  </a:rPr>
                  <a:t>Lorem ipsum dolor sit. </a:t>
                </a:r>
              </a:p>
            </p:txBody>
          </p:sp>
        </p:grpSp>
        <p:grpSp>
          <p:nvGrpSpPr>
            <p:cNvPr id="65" name="Group 64">
              <a:extLst>
                <a:ext uri="{FF2B5EF4-FFF2-40B4-BE49-F238E27FC236}">
                  <a16:creationId xmlns:a16="http://schemas.microsoft.com/office/drawing/2014/main" id="{99D70B44-D123-CE8A-E842-516F3B23B2FE}"/>
                </a:ext>
              </a:extLst>
            </p:cNvPr>
            <p:cNvGrpSpPr/>
            <p:nvPr/>
          </p:nvGrpSpPr>
          <p:grpSpPr>
            <a:xfrm rot="470628">
              <a:off x="8374295" y="1257131"/>
              <a:ext cx="2459629" cy="828488"/>
              <a:chOff x="8921977" y="1405170"/>
              <a:chExt cx="2926080" cy="828488"/>
            </a:xfrm>
          </p:grpSpPr>
          <p:sp>
            <p:nvSpPr>
              <p:cNvPr id="75" name="TextBox 74">
                <a:extLst>
                  <a:ext uri="{FF2B5EF4-FFF2-40B4-BE49-F238E27FC236}">
                    <a16:creationId xmlns:a16="http://schemas.microsoft.com/office/drawing/2014/main" id="{4CA9E036-5F99-983C-7EA7-2C44DF6442F2}"/>
                  </a:ext>
                </a:extLst>
              </p:cNvPr>
              <p:cNvSpPr txBox="1"/>
              <p:nvPr/>
            </p:nvSpPr>
            <p:spPr>
              <a:xfrm>
                <a:off x="8921977" y="1405170"/>
                <a:ext cx="2926080" cy="523220"/>
              </a:xfrm>
              <a:prstGeom prst="rect">
                <a:avLst/>
              </a:prstGeom>
              <a:noFill/>
            </p:spPr>
            <p:txBody>
              <a:bodyPr wrap="square" lIns="0" rIns="0" rtlCol="0" anchor="b">
                <a:spAutoFit/>
              </a:bodyPr>
              <a:lstStyle/>
              <a:p>
                <a:pPr algn="ctr"/>
                <a:r>
                  <a:rPr lang="en-US" sz="2799" b="1" noProof="1">
                    <a:solidFill>
                      <a:schemeClr val="bg1"/>
                    </a:solidFill>
                  </a:rPr>
                  <a:t>Lorem Ipsum</a:t>
                </a:r>
              </a:p>
            </p:txBody>
          </p:sp>
          <p:sp>
            <p:nvSpPr>
              <p:cNvPr id="76" name="TextBox 75">
                <a:extLst>
                  <a:ext uri="{FF2B5EF4-FFF2-40B4-BE49-F238E27FC236}">
                    <a16:creationId xmlns:a16="http://schemas.microsoft.com/office/drawing/2014/main" id="{87440973-CB18-BB42-0B86-FB892EEEC4E7}"/>
                  </a:ext>
                </a:extLst>
              </p:cNvPr>
              <p:cNvSpPr txBox="1"/>
              <p:nvPr/>
            </p:nvSpPr>
            <p:spPr>
              <a:xfrm>
                <a:off x="8921977" y="1925881"/>
                <a:ext cx="2926080" cy="307777"/>
              </a:xfrm>
              <a:prstGeom prst="rect">
                <a:avLst/>
              </a:prstGeom>
              <a:noFill/>
            </p:spPr>
            <p:txBody>
              <a:bodyPr wrap="square" lIns="0" rIns="0" rtlCol="0" anchor="t">
                <a:spAutoFit/>
              </a:bodyPr>
              <a:lstStyle/>
              <a:p>
                <a:pPr algn="ctr"/>
                <a:r>
                  <a:rPr lang="en-US" sz="1399" noProof="1">
                    <a:solidFill>
                      <a:schemeClr val="bg1"/>
                    </a:solidFill>
                  </a:rPr>
                  <a:t>Lorem ipsum dolor sit amet, nibh. </a:t>
                </a:r>
              </a:p>
            </p:txBody>
          </p:sp>
        </p:grpSp>
        <p:grpSp>
          <p:nvGrpSpPr>
            <p:cNvPr id="66" name="Group 65">
              <a:extLst>
                <a:ext uri="{FF2B5EF4-FFF2-40B4-BE49-F238E27FC236}">
                  <a16:creationId xmlns:a16="http://schemas.microsoft.com/office/drawing/2014/main" id="{294E7B2B-6426-15A7-BE68-052520C4B660}"/>
                </a:ext>
              </a:extLst>
            </p:cNvPr>
            <p:cNvGrpSpPr/>
            <p:nvPr/>
          </p:nvGrpSpPr>
          <p:grpSpPr>
            <a:xfrm rot="470628">
              <a:off x="8778995" y="2383054"/>
              <a:ext cx="1646028" cy="890044"/>
              <a:chOff x="8921977" y="1497502"/>
              <a:chExt cx="2926080" cy="890044"/>
            </a:xfrm>
          </p:grpSpPr>
          <p:sp>
            <p:nvSpPr>
              <p:cNvPr id="73" name="TextBox 72">
                <a:extLst>
                  <a:ext uri="{FF2B5EF4-FFF2-40B4-BE49-F238E27FC236}">
                    <a16:creationId xmlns:a16="http://schemas.microsoft.com/office/drawing/2014/main" id="{2770D050-DAA6-6545-887E-890DBBF9E295}"/>
                  </a:ext>
                </a:extLst>
              </p:cNvPr>
              <p:cNvSpPr txBox="1"/>
              <p:nvPr/>
            </p:nvSpPr>
            <p:spPr>
              <a:xfrm>
                <a:off x="8921977" y="1497502"/>
                <a:ext cx="2926079" cy="400110"/>
              </a:xfrm>
              <a:prstGeom prst="rect">
                <a:avLst/>
              </a:prstGeom>
              <a:noFill/>
            </p:spPr>
            <p:txBody>
              <a:bodyPr wrap="square" lIns="0" rIns="0" rtlCol="0" anchor="b">
                <a:spAutoFit/>
              </a:bodyPr>
              <a:lstStyle/>
              <a:p>
                <a:pPr algn="ctr"/>
                <a:r>
                  <a:rPr lang="en-US" sz="1999" b="1" noProof="1"/>
                  <a:t>Lorem Ipsum</a:t>
                </a:r>
              </a:p>
            </p:txBody>
          </p:sp>
          <p:sp>
            <p:nvSpPr>
              <p:cNvPr id="74" name="TextBox 73">
                <a:extLst>
                  <a:ext uri="{FF2B5EF4-FFF2-40B4-BE49-F238E27FC236}">
                    <a16:creationId xmlns:a16="http://schemas.microsoft.com/office/drawing/2014/main" id="{6A925E6F-193E-43EC-B540-9C8D36F54E32}"/>
                  </a:ext>
                </a:extLst>
              </p:cNvPr>
              <p:cNvSpPr txBox="1"/>
              <p:nvPr/>
            </p:nvSpPr>
            <p:spPr>
              <a:xfrm>
                <a:off x="8921977" y="1925881"/>
                <a:ext cx="2926080" cy="461665"/>
              </a:xfrm>
              <a:prstGeom prst="rect">
                <a:avLst/>
              </a:prstGeom>
              <a:noFill/>
            </p:spPr>
            <p:txBody>
              <a:bodyPr wrap="square" lIns="0" rIns="0" rtlCol="0" anchor="t">
                <a:spAutoFit/>
              </a:bodyPr>
              <a:lstStyle/>
              <a:p>
                <a:pPr algn="ctr"/>
                <a:r>
                  <a:rPr lang="en-US" sz="1199" noProof="1"/>
                  <a:t>Lorem ipsum dolor sit amet, nibh est. </a:t>
                </a:r>
              </a:p>
            </p:txBody>
          </p:sp>
        </p:grpSp>
        <p:grpSp>
          <p:nvGrpSpPr>
            <p:cNvPr id="67" name="Group 66">
              <a:extLst>
                <a:ext uri="{FF2B5EF4-FFF2-40B4-BE49-F238E27FC236}">
                  <a16:creationId xmlns:a16="http://schemas.microsoft.com/office/drawing/2014/main" id="{50623422-3BF3-6458-3F11-5717FE96FD94}"/>
                </a:ext>
              </a:extLst>
            </p:cNvPr>
            <p:cNvGrpSpPr/>
            <p:nvPr/>
          </p:nvGrpSpPr>
          <p:grpSpPr>
            <a:xfrm rot="470628">
              <a:off x="8616664" y="4359161"/>
              <a:ext cx="1974890" cy="558761"/>
              <a:chOff x="8921977" y="1559058"/>
              <a:chExt cx="2926080" cy="558761"/>
            </a:xfrm>
          </p:grpSpPr>
          <p:sp>
            <p:nvSpPr>
              <p:cNvPr id="71" name="TextBox 70">
                <a:extLst>
                  <a:ext uri="{FF2B5EF4-FFF2-40B4-BE49-F238E27FC236}">
                    <a16:creationId xmlns:a16="http://schemas.microsoft.com/office/drawing/2014/main" id="{C0C69692-281A-D87B-3CCA-9E62C33748F5}"/>
                  </a:ext>
                </a:extLst>
              </p:cNvPr>
              <p:cNvSpPr txBox="1"/>
              <p:nvPr/>
            </p:nvSpPr>
            <p:spPr>
              <a:xfrm>
                <a:off x="8921977" y="1559058"/>
                <a:ext cx="2926080" cy="369332"/>
              </a:xfrm>
              <a:prstGeom prst="rect">
                <a:avLst/>
              </a:prstGeom>
              <a:noFill/>
            </p:spPr>
            <p:txBody>
              <a:bodyPr wrap="square" lIns="0" rIns="0" rtlCol="0" anchor="b">
                <a:spAutoFit/>
              </a:bodyPr>
              <a:lstStyle/>
              <a:p>
                <a:pPr algn="ctr"/>
                <a:r>
                  <a:rPr lang="en-US" sz="1799" b="1" noProof="1"/>
                  <a:t>Lorem Ipsum</a:t>
                </a:r>
              </a:p>
            </p:txBody>
          </p:sp>
          <p:sp>
            <p:nvSpPr>
              <p:cNvPr id="72" name="TextBox 71">
                <a:extLst>
                  <a:ext uri="{FF2B5EF4-FFF2-40B4-BE49-F238E27FC236}">
                    <a16:creationId xmlns:a16="http://schemas.microsoft.com/office/drawing/2014/main" id="{CECA10D3-3CA8-1152-CA1D-ABE01DAF4FE6}"/>
                  </a:ext>
                </a:extLst>
              </p:cNvPr>
              <p:cNvSpPr txBox="1"/>
              <p:nvPr/>
            </p:nvSpPr>
            <p:spPr>
              <a:xfrm>
                <a:off x="8921977" y="1856209"/>
                <a:ext cx="2926080" cy="261610"/>
              </a:xfrm>
              <a:prstGeom prst="rect">
                <a:avLst/>
              </a:prstGeom>
              <a:noFill/>
            </p:spPr>
            <p:txBody>
              <a:bodyPr wrap="square" lIns="0" rIns="0" rtlCol="0" anchor="t">
                <a:spAutoFit/>
              </a:bodyPr>
              <a:lstStyle/>
              <a:p>
                <a:pPr algn="ctr"/>
                <a:r>
                  <a:rPr lang="en-US" sz="1049" noProof="1"/>
                  <a:t>Lorem ipsum dolor sit amet. </a:t>
                </a:r>
              </a:p>
            </p:txBody>
          </p:sp>
        </p:grpSp>
        <p:grpSp>
          <p:nvGrpSpPr>
            <p:cNvPr id="68" name="Group 67">
              <a:extLst>
                <a:ext uri="{FF2B5EF4-FFF2-40B4-BE49-F238E27FC236}">
                  <a16:creationId xmlns:a16="http://schemas.microsoft.com/office/drawing/2014/main" id="{E67704B3-A8DD-7083-2FFF-DC3F513FF635}"/>
                </a:ext>
              </a:extLst>
            </p:cNvPr>
            <p:cNvGrpSpPr/>
            <p:nvPr/>
          </p:nvGrpSpPr>
          <p:grpSpPr>
            <a:xfrm rot="470628">
              <a:off x="8616664" y="3565799"/>
              <a:ext cx="1974890" cy="589539"/>
              <a:chOff x="8921977" y="1528280"/>
              <a:chExt cx="2926080" cy="589539"/>
            </a:xfrm>
          </p:grpSpPr>
          <p:sp>
            <p:nvSpPr>
              <p:cNvPr id="69" name="TextBox 68">
                <a:extLst>
                  <a:ext uri="{FF2B5EF4-FFF2-40B4-BE49-F238E27FC236}">
                    <a16:creationId xmlns:a16="http://schemas.microsoft.com/office/drawing/2014/main" id="{ECD9557D-8417-017C-246B-4D18A08643AA}"/>
                  </a:ext>
                </a:extLst>
              </p:cNvPr>
              <p:cNvSpPr txBox="1"/>
              <p:nvPr/>
            </p:nvSpPr>
            <p:spPr>
              <a:xfrm>
                <a:off x="8921977" y="1528280"/>
                <a:ext cx="2926080" cy="400110"/>
              </a:xfrm>
              <a:prstGeom prst="rect">
                <a:avLst/>
              </a:prstGeom>
              <a:noFill/>
            </p:spPr>
            <p:txBody>
              <a:bodyPr wrap="square" lIns="0" rIns="0" rtlCol="0" anchor="b">
                <a:spAutoFit/>
              </a:bodyPr>
              <a:lstStyle/>
              <a:p>
                <a:pPr algn="ctr"/>
                <a:r>
                  <a:rPr lang="en-US" sz="1999" b="1" noProof="1"/>
                  <a:t>Lorem Ipsum</a:t>
                </a:r>
              </a:p>
            </p:txBody>
          </p:sp>
          <p:sp>
            <p:nvSpPr>
              <p:cNvPr id="70" name="TextBox 69">
                <a:extLst>
                  <a:ext uri="{FF2B5EF4-FFF2-40B4-BE49-F238E27FC236}">
                    <a16:creationId xmlns:a16="http://schemas.microsoft.com/office/drawing/2014/main" id="{1D9ADC26-1B3D-0415-5835-5ED8B1C8FB72}"/>
                  </a:ext>
                </a:extLst>
              </p:cNvPr>
              <p:cNvSpPr txBox="1"/>
              <p:nvPr/>
            </p:nvSpPr>
            <p:spPr>
              <a:xfrm>
                <a:off x="8921977" y="1856209"/>
                <a:ext cx="2926080" cy="261610"/>
              </a:xfrm>
              <a:prstGeom prst="rect">
                <a:avLst/>
              </a:prstGeom>
              <a:noFill/>
            </p:spPr>
            <p:txBody>
              <a:bodyPr wrap="square" lIns="0" rIns="0" rtlCol="0" anchor="t">
                <a:spAutoFit/>
              </a:bodyPr>
              <a:lstStyle/>
              <a:p>
                <a:pPr algn="ctr"/>
                <a:r>
                  <a:rPr lang="en-US" sz="1099" noProof="1"/>
                  <a:t>Lorem ipsum dolor sit amet. </a:t>
                </a:r>
              </a:p>
            </p:txBody>
          </p:sp>
        </p:grpSp>
      </p:grpSp>
      <p:sp>
        <p:nvSpPr>
          <p:cNvPr id="79" name="Shape">
            <a:extLst>
              <a:ext uri="{FF2B5EF4-FFF2-40B4-BE49-F238E27FC236}">
                <a16:creationId xmlns:a16="http://schemas.microsoft.com/office/drawing/2014/main" id="{68B5CD7C-CBE2-AE95-C4AD-CB8792038531}"/>
              </a:ext>
            </a:extLst>
          </p:cNvPr>
          <p:cNvSpPr/>
          <p:nvPr/>
        </p:nvSpPr>
        <p:spPr>
          <a:xfrm>
            <a:off x="7726129" y="1263024"/>
            <a:ext cx="3194305" cy="2626230"/>
          </a:xfrm>
          <a:custGeom>
            <a:avLst/>
            <a:gdLst/>
            <a:ahLst/>
            <a:cxnLst>
              <a:cxn ang="0">
                <a:pos x="wd2" y="hd2"/>
              </a:cxn>
              <a:cxn ang="5400000">
                <a:pos x="wd2" y="hd2"/>
              </a:cxn>
              <a:cxn ang="10800000">
                <a:pos x="wd2" y="hd2"/>
              </a:cxn>
              <a:cxn ang="16200000">
                <a:pos x="wd2" y="hd2"/>
              </a:cxn>
            </a:cxnLst>
            <a:rect l="0" t="0" r="r" b="b"/>
            <a:pathLst>
              <a:path w="21426" h="21165" extrusionOk="0">
                <a:moveTo>
                  <a:pt x="21106" y="16459"/>
                </a:moveTo>
                <a:lnTo>
                  <a:pt x="19048" y="13985"/>
                </a:lnTo>
                <a:cubicBezTo>
                  <a:pt x="18369" y="13170"/>
                  <a:pt x="17196" y="13750"/>
                  <a:pt x="17196" y="14911"/>
                </a:cubicBezTo>
                <a:lnTo>
                  <a:pt x="17196" y="14911"/>
                </a:lnTo>
                <a:cubicBezTo>
                  <a:pt x="17196" y="15547"/>
                  <a:pt x="16759" y="16072"/>
                  <a:pt x="16230" y="16072"/>
                </a:cubicBezTo>
                <a:lnTo>
                  <a:pt x="7880" y="16072"/>
                </a:lnTo>
                <a:cubicBezTo>
                  <a:pt x="4832" y="16072"/>
                  <a:pt x="2267" y="13184"/>
                  <a:pt x="2186" y="9522"/>
                </a:cubicBezTo>
                <a:cubicBezTo>
                  <a:pt x="2106" y="5749"/>
                  <a:pt x="4636" y="2653"/>
                  <a:pt x="7753" y="2626"/>
                </a:cubicBezTo>
                <a:cubicBezTo>
                  <a:pt x="8328" y="2626"/>
                  <a:pt x="8834" y="2101"/>
                  <a:pt x="8869" y="1423"/>
                </a:cubicBezTo>
                <a:cubicBezTo>
                  <a:pt x="8915" y="650"/>
                  <a:pt x="8409" y="0"/>
                  <a:pt x="7776" y="0"/>
                </a:cubicBezTo>
                <a:cubicBezTo>
                  <a:pt x="3452" y="0"/>
                  <a:pt x="-68" y="4270"/>
                  <a:pt x="1" y="9494"/>
                </a:cubicBezTo>
                <a:cubicBezTo>
                  <a:pt x="70" y="14621"/>
                  <a:pt x="3624" y="18698"/>
                  <a:pt x="7903" y="18698"/>
                </a:cubicBezTo>
                <a:lnTo>
                  <a:pt x="16230" y="18698"/>
                </a:lnTo>
                <a:cubicBezTo>
                  <a:pt x="16759" y="18698"/>
                  <a:pt x="17196" y="19223"/>
                  <a:pt x="17196" y="19859"/>
                </a:cubicBezTo>
                <a:lnTo>
                  <a:pt x="17196" y="19859"/>
                </a:lnTo>
                <a:cubicBezTo>
                  <a:pt x="17196" y="21020"/>
                  <a:pt x="18369" y="21600"/>
                  <a:pt x="19048" y="20785"/>
                </a:cubicBezTo>
                <a:lnTo>
                  <a:pt x="21106" y="18311"/>
                </a:lnTo>
                <a:cubicBezTo>
                  <a:pt x="21532" y="17800"/>
                  <a:pt x="21532" y="16970"/>
                  <a:pt x="21106" y="16459"/>
                </a:cubicBezTo>
                <a:close/>
              </a:path>
            </a:pathLst>
          </a:custGeom>
          <a:solidFill>
            <a:schemeClr val="accent3"/>
          </a:solidFill>
          <a:ln w="12700">
            <a:miter lim="400000"/>
          </a:ln>
        </p:spPr>
        <p:txBody>
          <a:bodyPr lIns="38080" tIns="38080" rIns="38080" bIns="38080" anchor="ctr"/>
          <a:lstStyle/>
          <a:p>
            <a:pPr>
              <a:defRPr sz="3000">
                <a:solidFill>
                  <a:srgbClr val="FFFFFF"/>
                </a:solidFill>
              </a:defRPr>
            </a:pPr>
            <a:endParaRPr sz="2999"/>
          </a:p>
        </p:txBody>
      </p:sp>
      <p:sp>
        <p:nvSpPr>
          <p:cNvPr id="80" name="Circle">
            <a:extLst>
              <a:ext uri="{FF2B5EF4-FFF2-40B4-BE49-F238E27FC236}">
                <a16:creationId xmlns:a16="http://schemas.microsoft.com/office/drawing/2014/main" id="{70968384-8164-D942-92D2-CF450070DA2C}"/>
              </a:ext>
            </a:extLst>
          </p:cNvPr>
          <p:cNvSpPr/>
          <p:nvPr/>
        </p:nvSpPr>
        <p:spPr>
          <a:xfrm>
            <a:off x="7897605" y="1434501"/>
            <a:ext cx="1992549" cy="1992543"/>
          </a:xfrm>
          <a:prstGeom prst="ellipse">
            <a:avLst/>
          </a:prstGeom>
          <a:solidFill>
            <a:schemeClr val="accent3">
              <a:lumMod val="40000"/>
              <a:lumOff val="60000"/>
            </a:schemeClr>
          </a:solidFill>
          <a:ln w="12700">
            <a:miter lim="400000"/>
          </a:ln>
        </p:spPr>
        <p:txBody>
          <a:bodyPr lIns="38080" tIns="38080" rIns="38080" bIns="38080" anchor="ctr"/>
          <a:lstStyle/>
          <a:p>
            <a:pPr>
              <a:defRPr sz="3000">
                <a:solidFill>
                  <a:srgbClr val="FFFFFF"/>
                </a:solidFill>
              </a:defRPr>
            </a:pPr>
            <a:endParaRPr sz="2999"/>
          </a:p>
        </p:txBody>
      </p:sp>
      <p:sp>
        <p:nvSpPr>
          <p:cNvPr id="81" name="Circle">
            <a:extLst>
              <a:ext uri="{FF2B5EF4-FFF2-40B4-BE49-F238E27FC236}">
                <a16:creationId xmlns:a16="http://schemas.microsoft.com/office/drawing/2014/main" id="{E26D459B-44AB-7562-F461-A41608BC0005}"/>
              </a:ext>
            </a:extLst>
          </p:cNvPr>
          <p:cNvSpPr/>
          <p:nvPr/>
        </p:nvSpPr>
        <p:spPr>
          <a:xfrm>
            <a:off x="8240556" y="1520238"/>
            <a:ext cx="1728470" cy="1728474"/>
          </a:xfrm>
          <a:prstGeom prst="ellipse">
            <a:avLst/>
          </a:prstGeom>
          <a:solidFill>
            <a:srgbClr val="F0EFEF"/>
          </a:solidFill>
          <a:ln w="12700">
            <a:miter lim="400000"/>
          </a:ln>
        </p:spPr>
        <p:txBody>
          <a:bodyPr lIns="38080" tIns="38080" rIns="38080" bIns="38080" anchor="ctr"/>
          <a:lstStyle/>
          <a:p>
            <a:pPr>
              <a:defRPr sz="3000">
                <a:solidFill>
                  <a:srgbClr val="FFFFFF"/>
                </a:solidFill>
              </a:defRPr>
            </a:pPr>
            <a:endParaRPr sz="2999"/>
          </a:p>
        </p:txBody>
      </p:sp>
      <p:pic>
        <p:nvPicPr>
          <p:cNvPr id="82" name="Graphic 81" descr="Target Audience outline">
            <a:extLst>
              <a:ext uri="{FF2B5EF4-FFF2-40B4-BE49-F238E27FC236}">
                <a16:creationId xmlns:a16="http://schemas.microsoft.com/office/drawing/2014/main" id="{4F3F07ED-1550-B739-9AB5-2C6913CDC6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68708" y="1796271"/>
            <a:ext cx="1269004" cy="1269004"/>
          </a:xfrm>
          <a:prstGeom prst="rect">
            <a:avLst/>
          </a:prstGeom>
        </p:spPr>
      </p:pic>
      <p:sp>
        <p:nvSpPr>
          <p:cNvPr id="83" name="Shape">
            <a:extLst>
              <a:ext uri="{FF2B5EF4-FFF2-40B4-BE49-F238E27FC236}">
                <a16:creationId xmlns:a16="http://schemas.microsoft.com/office/drawing/2014/main" id="{73341E67-2A6F-783A-FCDE-C0A1F9DBADBE}"/>
              </a:ext>
            </a:extLst>
          </p:cNvPr>
          <p:cNvSpPr/>
          <p:nvPr/>
        </p:nvSpPr>
        <p:spPr>
          <a:xfrm>
            <a:off x="7726128" y="3891742"/>
            <a:ext cx="3193025" cy="2626230"/>
          </a:xfrm>
          <a:custGeom>
            <a:avLst/>
            <a:gdLst/>
            <a:ahLst/>
            <a:cxnLst>
              <a:cxn ang="0">
                <a:pos x="wd2" y="hd2"/>
              </a:cxn>
              <a:cxn ang="5400000">
                <a:pos x="wd2" y="hd2"/>
              </a:cxn>
              <a:cxn ang="10800000">
                <a:pos x="wd2" y="hd2"/>
              </a:cxn>
              <a:cxn ang="16200000">
                <a:pos x="wd2" y="hd2"/>
              </a:cxn>
            </a:cxnLst>
            <a:rect l="0" t="0" r="r" b="b"/>
            <a:pathLst>
              <a:path w="21428" h="21165" extrusionOk="0">
                <a:moveTo>
                  <a:pt x="21118" y="16459"/>
                </a:moveTo>
                <a:lnTo>
                  <a:pt x="19058" y="13985"/>
                </a:lnTo>
                <a:cubicBezTo>
                  <a:pt x="18379" y="13170"/>
                  <a:pt x="17205" y="13750"/>
                  <a:pt x="17205" y="14911"/>
                </a:cubicBezTo>
                <a:lnTo>
                  <a:pt x="17205" y="14911"/>
                </a:lnTo>
                <a:cubicBezTo>
                  <a:pt x="17205" y="15547"/>
                  <a:pt x="16768" y="16072"/>
                  <a:pt x="16238" y="16072"/>
                </a:cubicBezTo>
                <a:lnTo>
                  <a:pt x="7884" y="16072"/>
                </a:lnTo>
                <a:cubicBezTo>
                  <a:pt x="4834" y="16072"/>
                  <a:pt x="2268" y="13184"/>
                  <a:pt x="2188" y="9522"/>
                </a:cubicBezTo>
                <a:cubicBezTo>
                  <a:pt x="2107" y="5749"/>
                  <a:pt x="4639" y="2653"/>
                  <a:pt x="7757" y="2626"/>
                </a:cubicBezTo>
                <a:cubicBezTo>
                  <a:pt x="8333" y="2626"/>
                  <a:pt x="8839" y="2101"/>
                  <a:pt x="8874" y="1423"/>
                </a:cubicBezTo>
                <a:cubicBezTo>
                  <a:pt x="8920" y="650"/>
                  <a:pt x="8413" y="0"/>
                  <a:pt x="7780" y="0"/>
                </a:cubicBezTo>
                <a:cubicBezTo>
                  <a:pt x="3453" y="0"/>
                  <a:pt x="-68" y="4270"/>
                  <a:pt x="1" y="9494"/>
                </a:cubicBezTo>
                <a:cubicBezTo>
                  <a:pt x="70" y="14621"/>
                  <a:pt x="3626" y="18698"/>
                  <a:pt x="7907" y="18698"/>
                </a:cubicBezTo>
                <a:lnTo>
                  <a:pt x="16238" y="18698"/>
                </a:lnTo>
                <a:cubicBezTo>
                  <a:pt x="16768" y="18698"/>
                  <a:pt x="17205" y="19223"/>
                  <a:pt x="17205" y="19859"/>
                </a:cubicBezTo>
                <a:lnTo>
                  <a:pt x="17205" y="19859"/>
                </a:lnTo>
                <a:cubicBezTo>
                  <a:pt x="17205" y="21020"/>
                  <a:pt x="18379" y="21600"/>
                  <a:pt x="19058" y="20785"/>
                </a:cubicBezTo>
                <a:lnTo>
                  <a:pt x="21118" y="18311"/>
                </a:lnTo>
                <a:cubicBezTo>
                  <a:pt x="21532" y="17800"/>
                  <a:pt x="21532" y="16970"/>
                  <a:pt x="21118" y="16459"/>
                </a:cubicBezTo>
                <a:close/>
              </a:path>
            </a:pathLst>
          </a:custGeom>
          <a:solidFill>
            <a:schemeClr val="accent2"/>
          </a:solidFill>
          <a:ln w="12700">
            <a:miter lim="400000"/>
          </a:ln>
        </p:spPr>
        <p:txBody>
          <a:bodyPr lIns="38080" tIns="38080" rIns="38080" bIns="38080" anchor="ctr"/>
          <a:lstStyle/>
          <a:p>
            <a:pPr>
              <a:defRPr sz="3000">
                <a:solidFill>
                  <a:srgbClr val="FFFFFF"/>
                </a:solidFill>
              </a:defRPr>
            </a:pPr>
            <a:endParaRPr sz="2999"/>
          </a:p>
        </p:txBody>
      </p:sp>
      <p:sp>
        <p:nvSpPr>
          <p:cNvPr id="84" name="Circle">
            <a:extLst>
              <a:ext uri="{FF2B5EF4-FFF2-40B4-BE49-F238E27FC236}">
                <a16:creationId xmlns:a16="http://schemas.microsoft.com/office/drawing/2014/main" id="{8E4BC10D-1E15-F344-2F17-98B886623DAA}"/>
              </a:ext>
            </a:extLst>
          </p:cNvPr>
          <p:cNvSpPr/>
          <p:nvPr/>
        </p:nvSpPr>
        <p:spPr>
          <a:xfrm>
            <a:off x="7897606" y="4063219"/>
            <a:ext cx="1992549" cy="1992543"/>
          </a:xfrm>
          <a:prstGeom prst="ellipse">
            <a:avLst/>
          </a:prstGeom>
          <a:solidFill>
            <a:schemeClr val="accent2">
              <a:lumMod val="40000"/>
              <a:lumOff val="60000"/>
            </a:schemeClr>
          </a:solidFill>
          <a:ln w="12700">
            <a:miter lim="400000"/>
          </a:ln>
        </p:spPr>
        <p:txBody>
          <a:bodyPr lIns="38080" tIns="38080" rIns="38080" bIns="38080" anchor="ctr"/>
          <a:lstStyle/>
          <a:p>
            <a:pPr>
              <a:defRPr sz="3000">
                <a:solidFill>
                  <a:srgbClr val="FFFFFF"/>
                </a:solidFill>
              </a:defRPr>
            </a:pPr>
            <a:endParaRPr sz="2999"/>
          </a:p>
        </p:txBody>
      </p:sp>
      <p:sp>
        <p:nvSpPr>
          <p:cNvPr id="85" name="Circle">
            <a:extLst>
              <a:ext uri="{FF2B5EF4-FFF2-40B4-BE49-F238E27FC236}">
                <a16:creationId xmlns:a16="http://schemas.microsoft.com/office/drawing/2014/main" id="{87EA97F4-0078-B839-7EC6-C22D75067F98}"/>
              </a:ext>
            </a:extLst>
          </p:cNvPr>
          <p:cNvSpPr/>
          <p:nvPr/>
        </p:nvSpPr>
        <p:spPr>
          <a:xfrm>
            <a:off x="8240556" y="4148956"/>
            <a:ext cx="1728470" cy="1728474"/>
          </a:xfrm>
          <a:prstGeom prst="ellipse">
            <a:avLst/>
          </a:prstGeom>
          <a:solidFill>
            <a:srgbClr val="F0EFEF"/>
          </a:solidFill>
          <a:ln w="12700">
            <a:miter lim="400000"/>
          </a:ln>
        </p:spPr>
        <p:txBody>
          <a:bodyPr lIns="38080" tIns="38080" rIns="38080" bIns="38080" anchor="ctr"/>
          <a:lstStyle/>
          <a:p>
            <a:pPr>
              <a:defRPr sz="3000">
                <a:solidFill>
                  <a:srgbClr val="FFFFFF"/>
                </a:solidFill>
              </a:defRPr>
            </a:pPr>
            <a:endParaRPr sz="2999"/>
          </a:p>
        </p:txBody>
      </p:sp>
      <p:pic>
        <p:nvPicPr>
          <p:cNvPr id="86" name="Graphic 85" descr="Handshake outline">
            <a:extLst>
              <a:ext uri="{FF2B5EF4-FFF2-40B4-BE49-F238E27FC236}">
                <a16:creationId xmlns:a16="http://schemas.microsoft.com/office/drawing/2014/main" id="{EE9DD722-9501-E7F5-98E9-E405398C7E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558" y="4385785"/>
            <a:ext cx="1347411" cy="1347411"/>
          </a:xfrm>
          <a:prstGeom prst="rect">
            <a:avLst/>
          </a:prstGeom>
        </p:spPr>
      </p:pic>
    </p:spTree>
    <p:extLst>
      <p:ext uri="{BB962C8B-B14F-4D97-AF65-F5344CB8AC3E}">
        <p14:creationId xmlns:p14="http://schemas.microsoft.com/office/powerpoint/2010/main" val="1627552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BEEBD-2F49-6BAF-4C5E-2DD996A2C55D}"/>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9F681FED-B866-307D-C08F-68456856D8F0}"/>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grpSp>
        <p:nvGrpSpPr>
          <p:cNvPr id="22" name="Group 21">
            <a:extLst>
              <a:ext uri="{FF2B5EF4-FFF2-40B4-BE49-F238E27FC236}">
                <a16:creationId xmlns:a16="http://schemas.microsoft.com/office/drawing/2014/main" id="{496C871F-5C51-DBB5-D85D-0D4190480E96}"/>
              </a:ext>
            </a:extLst>
          </p:cNvPr>
          <p:cNvGrpSpPr/>
          <p:nvPr/>
        </p:nvGrpSpPr>
        <p:grpSpPr>
          <a:xfrm>
            <a:off x="-3192591" y="-790258"/>
            <a:ext cx="2524469" cy="1335624"/>
            <a:chOff x="332936" y="1303705"/>
            <a:chExt cx="2926080" cy="1336320"/>
          </a:xfrm>
        </p:grpSpPr>
        <p:sp>
          <p:nvSpPr>
            <p:cNvPr id="23" name="TextBox 22">
              <a:extLst>
                <a:ext uri="{FF2B5EF4-FFF2-40B4-BE49-F238E27FC236}">
                  <a16:creationId xmlns:a16="http://schemas.microsoft.com/office/drawing/2014/main" id="{B91BEB60-5ECA-DF26-80FF-DD40CE07BAC9}"/>
                </a:ext>
              </a:extLst>
            </p:cNvPr>
            <p:cNvSpPr txBox="1"/>
            <p:nvPr/>
          </p:nvSpPr>
          <p:spPr>
            <a:xfrm>
              <a:off x="332936" y="1303705"/>
              <a:ext cx="2926080" cy="400110"/>
            </a:xfrm>
            <a:prstGeom prst="rect">
              <a:avLst/>
            </a:prstGeom>
            <a:noFill/>
          </p:spPr>
          <p:txBody>
            <a:bodyPr wrap="square" lIns="0" rIns="0" rtlCol="0" anchor="b">
              <a:spAutoFit/>
            </a:bodyPr>
            <a:lstStyle/>
            <a:p>
              <a:pPr algn="r"/>
              <a:r>
                <a:rPr lang="en-US" sz="1999" b="1" noProof="1"/>
                <a:t>Lorem Ipsum</a:t>
              </a:r>
            </a:p>
          </p:txBody>
        </p:sp>
        <p:sp>
          <p:nvSpPr>
            <p:cNvPr id="24" name="TextBox 23">
              <a:extLst>
                <a:ext uri="{FF2B5EF4-FFF2-40B4-BE49-F238E27FC236}">
                  <a16:creationId xmlns:a16="http://schemas.microsoft.com/office/drawing/2014/main" id="{A9CA44A2-605E-6B0F-D659-50F9FE8F81A0}"/>
                </a:ext>
              </a:extLst>
            </p:cNvPr>
            <p:cNvSpPr txBox="1"/>
            <p:nvPr/>
          </p:nvSpPr>
          <p:spPr>
            <a:xfrm>
              <a:off x="332936" y="1701306"/>
              <a:ext cx="2926080" cy="938719"/>
            </a:xfrm>
            <a:prstGeom prst="rect">
              <a:avLst/>
            </a:prstGeom>
            <a:noFill/>
          </p:spPr>
          <p:txBody>
            <a:bodyPr wrap="square" lIns="0" rIns="0" rtlCol="0" anchor="t">
              <a:spAutoFit/>
            </a:bodyPr>
            <a:lstStyle/>
            <a:p>
              <a:pPr algn="just"/>
              <a:r>
                <a:rPr lang="en-US" sz="1099" noProof="1">
                  <a:solidFill>
                    <a:schemeClr val="tx1">
                      <a:lumMod val="65000"/>
                      <a:lumOff val="35000"/>
                    </a:schemeClr>
                  </a:solidFill>
                </a:rPr>
                <a:t>Lorem ipsum dolor sit amet, nibh est. A magna maecenas, quam magna nec quis, lorem nunc. Suspendisse viverra sodales mauris, cras pharetra proin egestas arcu erat dolor, at amet. </a:t>
              </a:r>
            </a:p>
          </p:txBody>
        </p:sp>
      </p:grpSp>
      <p:pic>
        <p:nvPicPr>
          <p:cNvPr id="28" name="Graphic 4" descr="Bullseye">
            <a:extLst>
              <a:ext uri="{FF2B5EF4-FFF2-40B4-BE49-F238E27FC236}">
                <a16:creationId xmlns:a16="http://schemas.microsoft.com/office/drawing/2014/main" id="{588E1456-D139-BB5B-78EF-5D9C3D09FD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91584" y="4686902"/>
            <a:ext cx="1002371" cy="1002371"/>
          </a:xfrm>
          <a:prstGeom prst="rect">
            <a:avLst/>
          </a:prstGeom>
        </p:spPr>
      </p:pic>
      <p:pic>
        <p:nvPicPr>
          <p:cNvPr id="30" name="Graphic 12" descr="Lights On">
            <a:extLst>
              <a:ext uri="{FF2B5EF4-FFF2-40B4-BE49-F238E27FC236}">
                <a16:creationId xmlns:a16="http://schemas.microsoft.com/office/drawing/2014/main" id="{03247FF0-4A5C-D223-E98C-CF3F993CB5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75871" y="3311236"/>
            <a:ext cx="1002371" cy="1002371"/>
          </a:xfrm>
          <a:prstGeom prst="rect">
            <a:avLst/>
          </a:prstGeom>
        </p:spPr>
      </p:pic>
      <p:sp>
        <p:nvSpPr>
          <p:cNvPr id="34" name="TextBox 33">
            <a:extLst>
              <a:ext uri="{FF2B5EF4-FFF2-40B4-BE49-F238E27FC236}">
                <a16:creationId xmlns:a16="http://schemas.microsoft.com/office/drawing/2014/main" id="{1D8BCF0E-EF71-50B1-3E53-AB47CD2AB272}"/>
              </a:ext>
            </a:extLst>
          </p:cNvPr>
          <p:cNvSpPr txBox="1"/>
          <p:nvPr/>
        </p:nvSpPr>
        <p:spPr>
          <a:xfrm rot="5400000">
            <a:off x="8746930" y="3237119"/>
            <a:ext cx="431304" cy="369012"/>
          </a:xfrm>
          <a:prstGeom prst="rect">
            <a:avLst/>
          </a:prstGeom>
          <a:noFill/>
        </p:spPr>
        <p:txBody>
          <a:bodyPr wrap="none" rtlCol="0">
            <a:spAutoFit/>
          </a:bodyPr>
          <a:lst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a:r>
              <a:rPr lang="en-US" sz="1799" b="1"/>
              <a:t>05</a:t>
            </a:r>
          </a:p>
        </p:txBody>
      </p:sp>
      <p:grpSp>
        <p:nvGrpSpPr>
          <p:cNvPr id="36" name="Group 35">
            <a:extLst>
              <a:ext uri="{FF2B5EF4-FFF2-40B4-BE49-F238E27FC236}">
                <a16:creationId xmlns:a16="http://schemas.microsoft.com/office/drawing/2014/main" id="{DF0D55C3-E0CB-54D5-4EA6-1BC7C8A8B4D4}"/>
              </a:ext>
            </a:extLst>
          </p:cNvPr>
          <p:cNvGrpSpPr/>
          <p:nvPr/>
        </p:nvGrpSpPr>
        <p:grpSpPr>
          <a:xfrm rot="5400000">
            <a:off x="9799622" y="3149069"/>
            <a:ext cx="2693732" cy="1343418"/>
            <a:chOff x="4179320" y="4155896"/>
            <a:chExt cx="2695135" cy="1344118"/>
          </a:xfrm>
        </p:grpSpPr>
        <p:sp>
          <p:nvSpPr>
            <p:cNvPr id="38" name="Freeform 5">
              <a:extLst>
                <a:ext uri="{FF2B5EF4-FFF2-40B4-BE49-F238E27FC236}">
                  <a16:creationId xmlns:a16="http://schemas.microsoft.com/office/drawing/2014/main" id="{1AD46B39-F549-1F99-26FF-C142B4A39882}"/>
                </a:ext>
              </a:extLst>
            </p:cNvPr>
            <p:cNvSpPr/>
            <p:nvPr/>
          </p:nvSpPr>
          <p:spPr>
            <a:xfrm>
              <a:off x="4179320" y="4155896"/>
              <a:ext cx="2695135" cy="1344118"/>
            </a:xfrm>
            <a:custGeom>
              <a:avLst/>
              <a:gdLst>
                <a:gd name="connsiteX0" fmla="*/ 37696 w 354736"/>
                <a:gd name="connsiteY0" fmla="*/ 176697 h 176914"/>
                <a:gd name="connsiteX1" fmla="*/ 37696 w 354736"/>
                <a:gd name="connsiteY1" fmla="*/ 176914 h 176914"/>
                <a:gd name="connsiteX2" fmla="*/ 78116 w 354736"/>
                <a:gd name="connsiteY2" fmla="*/ 176914 h 176914"/>
                <a:gd name="connsiteX3" fmla="*/ 177151 w 354736"/>
                <a:gd name="connsiteY3" fmla="*/ 77890 h 176914"/>
                <a:gd name="connsiteX4" fmla="*/ 276185 w 354736"/>
                <a:gd name="connsiteY4" fmla="*/ 176914 h 176914"/>
                <a:gd name="connsiteX5" fmla="*/ 276185 w 354736"/>
                <a:gd name="connsiteY5" fmla="*/ 176914 h 176914"/>
                <a:gd name="connsiteX6" fmla="*/ 316605 w 354736"/>
                <a:gd name="connsiteY6" fmla="*/ 176914 h 176914"/>
                <a:gd name="connsiteX7" fmla="*/ 316605 w 354736"/>
                <a:gd name="connsiteY7" fmla="*/ 176697 h 176914"/>
                <a:gd name="connsiteX8" fmla="*/ 316169 w 354736"/>
                <a:gd name="connsiteY8" fmla="*/ 165912 h 176914"/>
                <a:gd name="connsiteX9" fmla="*/ 354737 w 354736"/>
                <a:gd name="connsiteY9" fmla="*/ 144560 h 176914"/>
                <a:gd name="connsiteX10" fmla="*/ 348745 w 354736"/>
                <a:gd name="connsiteY10" fmla="*/ 120594 h 176914"/>
                <a:gd name="connsiteX11" fmla="*/ 305274 w 354736"/>
                <a:gd name="connsiteY11" fmla="*/ 121356 h 176914"/>
                <a:gd name="connsiteX12" fmla="*/ 291765 w 354736"/>
                <a:gd name="connsiteY12" fmla="*/ 97063 h 176914"/>
                <a:gd name="connsiteX13" fmla="*/ 314317 w 354736"/>
                <a:gd name="connsiteY13" fmla="*/ 59371 h 176914"/>
                <a:gd name="connsiteX14" fmla="*/ 297430 w 354736"/>
                <a:gd name="connsiteY14" fmla="*/ 42159 h 176914"/>
                <a:gd name="connsiteX15" fmla="*/ 260061 w 354736"/>
                <a:gd name="connsiteY15" fmla="*/ 64600 h 176914"/>
                <a:gd name="connsiteX16" fmla="*/ 235329 w 354736"/>
                <a:gd name="connsiteY16" fmla="*/ 50002 h 176914"/>
                <a:gd name="connsiteX17" fmla="*/ 236092 w 354736"/>
                <a:gd name="connsiteY17" fmla="*/ 6210 h 176914"/>
                <a:gd name="connsiteX18" fmla="*/ 213213 w 354736"/>
                <a:gd name="connsiteY18" fmla="*/ 0 h 176914"/>
                <a:gd name="connsiteX19" fmla="*/ 191968 w 354736"/>
                <a:gd name="connsiteY19" fmla="*/ 38237 h 176914"/>
                <a:gd name="connsiteX20" fmla="*/ 177368 w 354736"/>
                <a:gd name="connsiteY20" fmla="*/ 37474 h 176914"/>
                <a:gd name="connsiteX21" fmla="*/ 162769 w 354736"/>
                <a:gd name="connsiteY21" fmla="*/ 38237 h 176914"/>
                <a:gd name="connsiteX22" fmla="*/ 141524 w 354736"/>
                <a:gd name="connsiteY22" fmla="*/ 0 h 176914"/>
                <a:gd name="connsiteX23" fmla="*/ 118645 w 354736"/>
                <a:gd name="connsiteY23" fmla="*/ 6210 h 176914"/>
                <a:gd name="connsiteX24" fmla="*/ 119408 w 354736"/>
                <a:gd name="connsiteY24" fmla="*/ 50002 h 176914"/>
                <a:gd name="connsiteX25" fmla="*/ 94676 w 354736"/>
                <a:gd name="connsiteY25" fmla="*/ 64600 h 176914"/>
                <a:gd name="connsiteX26" fmla="*/ 57307 w 354736"/>
                <a:gd name="connsiteY26" fmla="*/ 42159 h 176914"/>
                <a:gd name="connsiteX27" fmla="*/ 40420 w 354736"/>
                <a:gd name="connsiteY27" fmla="*/ 59371 h 176914"/>
                <a:gd name="connsiteX28" fmla="*/ 62972 w 354736"/>
                <a:gd name="connsiteY28" fmla="*/ 97063 h 176914"/>
                <a:gd name="connsiteX29" fmla="*/ 49463 w 354736"/>
                <a:gd name="connsiteY29" fmla="*/ 121356 h 176914"/>
                <a:gd name="connsiteX30" fmla="*/ 5992 w 354736"/>
                <a:gd name="connsiteY30" fmla="*/ 120594 h 176914"/>
                <a:gd name="connsiteX31" fmla="*/ 0 w 354736"/>
                <a:gd name="connsiteY31" fmla="*/ 144560 h 176914"/>
                <a:gd name="connsiteX32" fmla="*/ 38568 w 354736"/>
                <a:gd name="connsiteY32" fmla="*/ 165912 h 176914"/>
                <a:gd name="connsiteX33" fmla="*/ 38132 w 354736"/>
                <a:gd name="connsiteY33" fmla="*/ 176697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736" h="176914">
                  <a:moveTo>
                    <a:pt x="37696" y="176697"/>
                  </a:moveTo>
                  <a:cubicBezTo>
                    <a:pt x="37696" y="176697"/>
                    <a:pt x="37696" y="176805"/>
                    <a:pt x="37696" y="176914"/>
                  </a:cubicBezTo>
                  <a:lnTo>
                    <a:pt x="78116" y="176914"/>
                  </a:lnTo>
                  <a:cubicBezTo>
                    <a:pt x="78116" y="122228"/>
                    <a:pt x="122458" y="77890"/>
                    <a:pt x="177151" y="77890"/>
                  </a:cubicBezTo>
                  <a:cubicBezTo>
                    <a:pt x="231843" y="77890"/>
                    <a:pt x="276185" y="122228"/>
                    <a:pt x="276185" y="176914"/>
                  </a:cubicBezTo>
                  <a:lnTo>
                    <a:pt x="276185" y="176914"/>
                  </a:lnTo>
                  <a:cubicBezTo>
                    <a:pt x="276185" y="176914"/>
                    <a:pt x="316605" y="176914"/>
                    <a:pt x="316605" y="176914"/>
                  </a:cubicBezTo>
                  <a:cubicBezTo>
                    <a:pt x="316605" y="176914"/>
                    <a:pt x="316605" y="176805"/>
                    <a:pt x="316605" y="176697"/>
                  </a:cubicBezTo>
                  <a:cubicBezTo>
                    <a:pt x="316605" y="173102"/>
                    <a:pt x="316387" y="169398"/>
                    <a:pt x="316169" y="165912"/>
                  </a:cubicBezTo>
                  <a:lnTo>
                    <a:pt x="354737" y="144560"/>
                  </a:lnTo>
                  <a:cubicBezTo>
                    <a:pt x="353212" y="136390"/>
                    <a:pt x="351251" y="128328"/>
                    <a:pt x="348745" y="120594"/>
                  </a:cubicBezTo>
                  <a:lnTo>
                    <a:pt x="305274" y="121356"/>
                  </a:lnTo>
                  <a:cubicBezTo>
                    <a:pt x="301570" y="112750"/>
                    <a:pt x="296994" y="104689"/>
                    <a:pt x="291765" y="97063"/>
                  </a:cubicBezTo>
                  <a:lnTo>
                    <a:pt x="314317" y="59371"/>
                  </a:lnTo>
                  <a:cubicBezTo>
                    <a:pt x="309087" y="53270"/>
                    <a:pt x="303422" y="47497"/>
                    <a:pt x="297430" y="42159"/>
                  </a:cubicBezTo>
                  <a:lnTo>
                    <a:pt x="260061" y="64600"/>
                  </a:lnTo>
                  <a:cubicBezTo>
                    <a:pt x="252325" y="58935"/>
                    <a:pt x="244045" y="54033"/>
                    <a:pt x="235329" y="50002"/>
                  </a:cubicBezTo>
                  <a:lnTo>
                    <a:pt x="236092" y="6210"/>
                  </a:lnTo>
                  <a:cubicBezTo>
                    <a:pt x="228683" y="3704"/>
                    <a:pt x="221057" y="1525"/>
                    <a:pt x="213213" y="0"/>
                  </a:cubicBezTo>
                  <a:lnTo>
                    <a:pt x="191968" y="38237"/>
                  </a:lnTo>
                  <a:cubicBezTo>
                    <a:pt x="187174" y="37692"/>
                    <a:pt x="182271" y="37474"/>
                    <a:pt x="177368" y="37474"/>
                  </a:cubicBezTo>
                  <a:cubicBezTo>
                    <a:pt x="172466" y="37474"/>
                    <a:pt x="167563" y="37692"/>
                    <a:pt x="162769" y="38237"/>
                  </a:cubicBezTo>
                  <a:lnTo>
                    <a:pt x="141524" y="0"/>
                  </a:lnTo>
                  <a:cubicBezTo>
                    <a:pt x="133680" y="1525"/>
                    <a:pt x="126054" y="3704"/>
                    <a:pt x="118645" y="6210"/>
                  </a:cubicBezTo>
                  <a:lnTo>
                    <a:pt x="119408" y="50002"/>
                  </a:lnTo>
                  <a:cubicBezTo>
                    <a:pt x="110583" y="54033"/>
                    <a:pt x="102303" y="58935"/>
                    <a:pt x="94676" y="64600"/>
                  </a:cubicBezTo>
                  <a:lnTo>
                    <a:pt x="57307" y="42159"/>
                  </a:lnTo>
                  <a:cubicBezTo>
                    <a:pt x="51315" y="47497"/>
                    <a:pt x="45649" y="53270"/>
                    <a:pt x="40420" y="59371"/>
                  </a:cubicBezTo>
                  <a:lnTo>
                    <a:pt x="62972" y="97063"/>
                  </a:lnTo>
                  <a:cubicBezTo>
                    <a:pt x="57634" y="104580"/>
                    <a:pt x="53167" y="112750"/>
                    <a:pt x="49463" y="121356"/>
                  </a:cubicBezTo>
                  <a:lnTo>
                    <a:pt x="5992" y="120594"/>
                  </a:lnTo>
                  <a:cubicBezTo>
                    <a:pt x="3486" y="128328"/>
                    <a:pt x="1416" y="136390"/>
                    <a:pt x="0" y="144560"/>
                  </a:cubicBezTo>
                  <a:lnTo>
                    <a:pt x="38568" y="165912"/>
                  </a:lnTo>
                  <a:cubicBezTo>
                    <a:pt x="38241" y="169507"/>
                    <a:pt x="38132" y="173102"/>
                    <a:pt x="38132" y="176697"/>
                  </a:cubicBezTo>
                  <a:close/>
                </a:path>
              </a:pathLst>
            </a:custGeom>
            <a:solidFill>
              <a:schemeClr val="accent6"/>
            </a:solidFill>
            <a:ln w="1089" cap="flat">
              <a:noFill/>
              <a:prstDash val="solid"/>
              <a:miter/>
            </a:ln>
          </p:spPr>
          <p:txBody>
            <a:bodyPr rtlCol="0" anchor="ctr"/>
            <a:lst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lang="en-US" sz="1799"/>
            </a:p>
          </p:txBody>
        </p:sp>
        <p:sp>
          <p:nvSpPr>
            <p:cNvPr id="45" name="Freeform: Shape 44">
              <a:extLst>
                <a:ext uri="{FF2B5EF4-FFF2-40B4-BE49-F238E27FC236}">
                  <a16:creationId xmlns:a16="http://schemas.microsoft.com/office/drawing/2014/main" id="{4117F6B3-B37D-BAB1-8991-4F834E41CCA8}"/>
                </a:ext>
              </a:extLst>
            </p:cNvPr>
            <p:cNvSpPr/>
            <p:nvPr/>
          </p:nvSpPr>
          <p:spPr>
            <a:xfrm>
              <a:off x="4650561" y="4623688"/>
              <a:ext cx="1752652" cy="876326"/>
            </a:xfrm>
            <a:custGeom>
              <a:avLst/>
              <a:gdLst>
                <a:gd name="connsiteX0" fmla="*/ 876326 w 1752652"/>
                <a:gd name="connsiteY0" fmla="*/ 0 h 876326"/>
                <a:gd name="connsiteX1" fmla="*/ 1752652 w 1752652"/>
                <a:gd name="connsiteY1" fmla="*/ 876326 h 876326"/>
                <a:gd name="connsiteX2" fmla="*/ 1724263 w 1752652"/>
                <a:gd name="connsiteY2" fmla="*/ 876326 h 876326"/>
                <a:gd name="connsiteX3" fmla="*/ 1627097 w 1752652"/>
                <a:gd name="connsiteY3" fmla="*/ 876326 h 876326"/>
                <a:gd name="connsiteX4" fmla="*/ 874678 w 1752652"/>
                <a:gd name="connsiteY4" fmla="*/ 123984 h 876326"/>
                <a:gd name="connsiteX5" fmla="*/ 122252 w 1752652"/>
                <a:gd name="connsiteY5" fmla="*/ 876326 h 876326"/>
                <a:gd name="connsiteX6" fmla="*/ 0 w 1752652"/>
                <a:gd name="connsiteY6" fmla="*/ 876326 h 876326"/>
                <a:gd name="connsiteX7" fmla="*/ 876326 w 1752652"/>
                <a:gd name="connsiteY7" fmla="*/ 0 h 87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652" h="876326">
                  <a:moveTo>
                    <a:pt x="876326" y="0"/>
                  </a:moveTo>
                  <a:cubicBezTo>
                    <a:pt x="1360307" y="0"/>
                    <a:pt x="1752652" y="392345"/>
                    <a:pt x="1752652" y="876326"/>
                  </a:cubicBezTo>
                  <a:lnTo>
                    <a:pt x="1724263" y="876326"/>
                  </a:lnTo>
                  <a:cubicBezTo>
                    <a:pt x="1670282" y="876326"/>
                    <a:pt x="1627097" y="876326"/>
                    <a:pt x="1627097" y="876326"/>
                  </a:cubicBezTo>
                  <a:cubicBezTo>
                    <a:pt x="1627097" y="460845"/>
                    <a:pt x="1290205" y="123984"/>
                    <a:pt x="874678" y="123984"/>
                  </a:cubicBezTo>
                  <a:cubicBezTo>
                    <a:pt x="459144" y="123984"/>
                    <a:pt x="122252" y="460845"/>
                    <a:pt x="122252" y="876326"/>
                  </a:cubicBezTo>
                  <a:lnTo>
                    <a:pt x="0" y="876326"/>
                  </a:lnTo>
                  <a:cubicBezTo>
                    <a:pt x="0" y="392345"/>
                    <a:pt x="392345" y="0"/>
                    <a:pt x="876326" y="0"/>
                  </a:cubicBezTo>
                  <a:close/>
                </a:path>
              </a:pathLst>
            </a:cu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p>
          </p:txBody>
        </p:sp>
      </p:grpSp>
      <p:grpSp>
        <p:nvGrpSpPr>
          <p:cNvPr id="46" name="Group 45">
            <a:extLst>
              <a:ext uri="{FF2B5EF4-FFF2-40B4-BE49-F238E27FC236}">
                <a16:creationId xmlns:a16="http://schemas.microsoft.com/office/drawing/2014/main" id="{563EEFF2-D13F-FEBF-6B69-29D291260AD9}"/>
              </a:ext>
            </a:extLst>
          </p:cNvPr>
          <p:cNvGrpSpPr/>
          <p:nvPr/>
        </p:nvGrpSpPr>
        <p:grpSpPr>
          <a:xfrm rot="5400000">
            <a:off x="7986364" y="4536333"/>
            <a:ext cx="2693732" cy="1343418"/>
            <a:chOff x="4320426" y="3396099"/>
            <a:chExt cx="2695135" cy="1344118"/>
          </a:xfrm>
        </p:grpSpPr>
        <p:sp>
          <p:nvSpPr>
            <p:cNvPr id="47" name="Freeform 5">
              <a:extLst>
                <a:ext uri="{FF2B5EF4-FFF2-40B4-BE49-F238E27FC236}">
                  <a16:creationId xmlns:a16="http://schemas.microsoft.com/office/drawing/2014/main" id="{DC0153C9-10E7-093E-9FCA-375CB598C3AC}"/>
                </a:ext>
              </a:extLst>
            </p:cNvPr>
            <p:cNvSpPr/>
            <p:nvPr/>
          </p:nvSpPr>
          <p:spPr>
            <a:xfrm rot="10800000">
              <a:off x="4320426" y="3396099"/>
              <a:ext cx="2695135" cy="1344118"/>
            </a:xfrm>
            <a:custGeom>
              <a:avLst/>
              <a:gdLst>
                <a:gd name="connsiteX0" fmla="*/ 37696 w 354736"/>
                <a:gd name="connsiteY0" fmla="*/ 176697 h 176914"/>
                <a:gd name="connsiteX1" fmla="*/ 37696 w 354736"/>
                <a:gd name="connsiteY1" fmla="*/ 176914 h 176914"/>
                <a:gd name="connsiteX2" fmla="*/ 78116 w 354736"/>
                <a:gd name="connsiteY2" fmla="*/ 176914 h 176914"/>
                <a:gd name="connsiteX3" fmla="*/ 177151 w 354736"/>
                <a:gd name="connsiteY3" fmla="*/ 77890 h 176914"/>
                <a:gd name="connsiteX4" fmla="*/ 276185 w 354736"/>
                <a:gd name="connsiteY4" fmla="*/ 176914 h 176914"/>
                <a:gd name="connsiteX5" fmla="*/ 276185 w 354736"/>
                <a:gd name="connsiteY5" fmla="*/ 176914 h 176914"/>
                <a:gd name="connsiteX6" fmla="*/ 316605 w 354736"/>
                <a:gd name="connsiteY6" fmla="*/ 176914 h 176914"/>
                <a:gd name="connsiteX7" fmla="*/ 316605 w 354736"/>
                <a:gd name="connsiteY7" fmla="*/ 176697 h 176914"/>
                <a:gd name="connsiteX8" fmla="*/ 316169 w 354736"/>
                <a:gd name="connsiteY8" fmla="*/ 165912 h 176914"/>
                <a:gd name="connsiteX9" fmla="*/ 354737 w 354736"/>
                <a:gd name="connsiteY9" fmla="*/ 144560 h 176914"/>
                <a:gd name="connsiteX10" fmla="*/ 348745 w 354736"/>
                <a:gd name="connsiteY10" fmla="*/ 120594 h 176914"/>
                <a:gd name="connsiteX11" fmla="*/ 305274 w 354736"/>
                <a:gd name="connsiteY11" fmla="*/ 121356 h 176914"/>
                <a:gd name="connsiteX12" fmla="*/ 291765 w 354736"/>
                <a:gd name="connsiteY12" fmla="*/ 97063 h 176914"/>
                <a:gd name="connsiteX13" fmla="*/ 314317 w 354736"/>
                <a:gd name="connsiteY13" fmla="*/ 59371 h 176914"/>
                <a:gd name="connsiteX14" fmla="*/ 297430 w 354736"/>
                <a:gd name="connsiteY14" fmla="*/ 42159 h 176914"/>
                <a:gd name="connsiteX15" fmla="*/ 260061 w 354736"/>
                <a:gd name="connsiteY15" fmla="*/ 64600 h 176914"/>
                <a:gd name="connsiteX16" fmla="*/ 235329 w 354736"/>
                <a:gd name="connsiteY16" fmla="*/ 50002 h 176914"/>
                <a:gd name="connsiteX17" fmla="*/ 236092 w 354736"/>
                <a:gd name="connsiteY17" fmla="*/ 6210 h 176914"/>
                <a:gd name="connsiteX18" fmla="*/ 213213 w 354736"/>
                <a:gd name="connsiteY18" fmla="*/ 0 h 176914"/>
                <a:gd name="connsiteX19" fmla="*/ 191968 w 354736"/>
                <a:gd name="connsiteY19" fmla="*/ 38237 h 176914"/>
                <a:gd name="connsiteX20" fmla="*/ 177368 w 354736"/>
                <a:gd name="connsiteY20" fmla="*/ 37474 h 176914"/>
                <a:gd name="connsiteX21" fmla="*/ 162769 w 354736"/>
                <a:gd name="connsiteY21" fmla="*/ 38237 h 176914"/>
                <a:gd name="connsiteX22" fmla="*/ 141524 w 354736"/>
                <a:gd name="connsiteY22" fmla="*/ 0 h 176914"/>
                <a:gd name="connsiteX23" fmla="*/ 118645 w 354736"/>
                <a:gd name="connsiteY23" fmla="*/ 6210 h 176914"/>
                <a:gd name="connsiteX24" fmla="*/ 119408 w 354736"/>
                <a:gd name="connsiteY24" fmla="*/ 50002 h 176914"/>
                <a:gd name="connsiteX25" fmla="*/ 94676 w 354736"/>
                <a:gd name="connsiteY25" fmla="*/ 64600 h 176914"/>
                <a:gd name="connsiteX26" fmla="*/ 57307 w 354736"/>
                <a:gd name="connsiteY26" fmla="*/ 42159 h 176914"/>
                <a:gd name="connsiteX27" fmla="*/ 40420 w 354736"/>
                <a:gd name="connsiteY27" fmla="*/ 59371 h 176914"/>
                <a:gd name="connsiteX28" fmla="*/ 62972 w 354736"/>
                <a:gd name="connsiteY28" fmla="*/ 97063 h 176914"/>
                <a:gd name="connsiteX29" fmla="*/ 49463 w 354736"/>
                <a:gd name="connsiteY29" fmla="*/ 121356 h 176914"/>
                <a:gd name="connsiteX30" fmla="*/ 5992 w 354736"/>
                <a:gd name="connsiteY30" fmla="*/ 120594 h 176914"/>
                <a:gd name="connsiteX31" fmla="*/ 0 w 354736"/>
                <a:gd name="connsiteY31" fmla="*/ 144560 h 176914"/>
                <a:gd name="connsiteX32" fmla="*/ 38568 w 354736"/>
                <a:gd name="connsiteY32" fmla="*/ 165912 h 176914"/>
                <a:gd name="connsiteX33" fmla="*/ 38132 w 354736"/>
                <a:gd name="connsiteY33" fmla="*/ 176697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736" h="176914">
                  <a:moveTo>
                    <a:pt x="37696" y="176697"/>
                  </a:moveTo>
                  <a:cubicBezTo>
                    <a:pt x="37696" y="176697"/>
                    <a:pt x="37696" y="176805"/>
                    <a:pt x="37696" y="176914"/>
                  </a:cubicBezTo>
                  <a:lnTo>
                    <a:pt x="78116" y="176914"/>
                  </a:lnTo>
                  <a:cubicBezTo>
                    <a:pt x="78116" y="122228"/>
                    <a:pt x="122458" y="77890"/>
                    <a:pt x="177151" y="77890"/>
                  </a:cubicBezTo>
                  <a:cubicBezTo>
                    <a:pt x="231843" y="77890"/>
                    <a:pt x="276185" y="122228"/>
                    <a:pt x="276185" y="176914"/>
                  </a:cubicBezTo>
                  <a:lnTo>
                    <a:pt x="276185" y="176914"/>
                  </a:lnTo>
                  <a:cubicBezTo>
                    <a:pt x="276185" y="176914"/>
                    <a:pt x="316605" y="176914"/>
                    <a:pt x="316605" y="176914"/>
                  </a:cubicBezTo>
                  <a:cubicBezTo>
                    <a:pt x="316605" y="176914"/>
                    <a:pt x="316605" y="176805"/>
                    <a:pt x="316605" y="176697"/>
                  </a:cubicBezTo>
                  <a:cubicBezTo>
                    <a:pt x="316605" y="173102"/>
                    <a:pt x="316387" y="169398"/>
                    <a:pt x="316169" y="165912"/>
                  </a:cubicBezTo>
                  <a:lnTo>
                    <a:pt x="354737" y="144560"/>
                  </a:lnTo>
                  <a:cubicBezTo>
                    <a:pt x="353212" y="136390"/>
                    <a:pt x="351251" y="128328"/>
                    <a:pt x="348745" y="120594"/>
                  </a:cubicBezTo>
                  <a:lnTo>
                    <a:pt x="305274" y="121356"/>
                  </a:lnTo>
                  <a:cubicBezTo>
                    <a:pt x="301570" y="112750"/>
                    <a:pt x="296994" y="104689"/>
                    <a:pt x="291765" y="97063"/>
                  </a:cubicBezTo>
                  <a:lnTo>
                    <a:pt x="314317" y="59371"/>
                  </a:lnTo>
                  <a:cubicBezTo>
                    <a:pt x="309087" y="53270"/>
                    <a:pt x="303422" y="47497"/>
                    <a:pt x="297430" y="42159"/>
                  </a:cubicBezTo>
                  <a:lnTo>
                    <a:pt x="260061" y="64600"/>
                  </a:lnTo>
                  <a:cubicBezTo>
                    <a:pt x="252325" y="58935"/>
                    <a:pt x="244045" y="54033"/>
                    <a:pt x="235329" y="50002"/>
                  </a:cubicBezTo>
                  <a:lnTo>
                    <a:pt x="236092" y="6210"/>
                  </a:lnTo>
                  <a:cubicBezTo>
                    <a:pt x="228683" y="3704"/>
                    <a:pt x="221057" y="1525"/>
                    <a:pt x="213213" y="0"/>
                  </a:cubicBezTo>
                  <a:lnTo>
                    <a:pt x="191968" y="38237"/>
                  </a:lnTo>
                  <a:cubicBezTo>
                    <a:pt x="187174" y="37692"/>
                    <a:pt x="182271" y="37474"/>
                    <a:pt x="177368" y="37474"/>
                  </a:cubicBezTo>
                  <a:cubicBezTo>
                    <a:pt x="172466" y="37474"/>
                    <a:pt x="167563" y="37692"/>
                    <a:pt x="162769" y="38237"/>
                  </a:cubicBezTo>
                  <a:lnTo>
                    <a:pt x="141524" y="0"/>
                  </a:lnTo>
                  <a:cubicBezTo>
                    <a:pt x="133680" y="1525"/>
                    <a:pt x="126054" y="3704"/>
                    <a:pt x="118645" y="6210"/>
                  </a:cubicBezTo>
                  <a:lnTo>
                    <a:pt x="119408" y="50002"/>
                  </a:lnTo>
                  <a:cubicBezTo>
                    <a:pt x="110583" y="54033"/>
                    <a:pt x="102303" y="58935"/>
                    <a:pt x="94676" y="64600"/>
                  </a:cubicBezTo>
                  <a:lnTo>
                    <a:pt x="57307" y="42159"/>
                  </a:lnTo>
                  <a:cubicBezTo>
                    <a:pt x="51315" y="47497"/>
                    <a:pt x="45649" y="53270"/>
                    <a:pt x="40420" y="59371"/>
                  </a:cubicBezTo>
                  <a:lnTo>
                    <a:pt x="62972" y="97063"/>
                  </a:lnTo>
                  <a:cubicBezTo>
                    <a:pt x="57634" y="104580"/>
                    <a:pt x="53167" y="112750"/>
                    <a:pt x="49463" y="121356"/>
                  </a:cubicBezTo>
                  <a:lnTo>
                    <a:pt x="5992" y="120594"/>
                  </a:lnTo>
                  <a:cubicBezTo>
                    <a:pt x="3486" y="128328"/>
                    <a:pt x="1416" y="136390"/>
                    <a:pt x="0" y="144560"/>
                  </a:cubicBezTo>
                  <a:lnTo>
                    <a:pt x="38568" y="165912"/>
                  </a:lnTo>
                  <a:cubicBezTo>
                    <a:pt x="38241" y="169507"/>
                    <a:pt x="38132" y="173102"/>
                    <a:pt x="38132" y="176697"/>
                  </a:cubicBezTo>
                  <a:close/>
                </a:path>
              </a:pathLst>
            </a:custGeom>
            <a:solidFill>
              <a:schemeClr val="accent2"/>
            </a:solidFill>
            <a:ln w="1089" cap="flat">
              <a:noFill/>
              <a:prstDash val="solid"/>
              <a:miter/>
            </a:ln>
          </p:spPr>
          <p:txBody>
            <a:bodyPr rtlCol="0" anchor="ctr"/>
            <a:lst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lang="en-US" sz="1799"/>
            </a:p>
          </p:txBody>
        </p:sp>
        <p:sp>
          <p:nvSpPr>
            <p:cNvPr id="51" name="Freeform: Shape 50">
              <a:extLst>
                <a:ext uri="{FF2B5EF4-FFF2-40B4-BE49-F238E27FC236}">
                  <a16:creationId xmlns:a16="http://schemas.microsoft.com/office/drawing/2014/main" id="{B01D71FC-C6A8-F16A-4416-552EBBA9B1E6}"/>
                </a:ext>
              </a:extLst>
            </p:cNvPr>
            <p:cNvSpPr/>
            <p:nvPr/>
          </p:nvSpPr>
          <p:spPr>
            <a:xfrm>
              <a:off x="4791667" y="3396099"/>
              <a:ext cx="1752652" cy="876326"/>
            </a:xfrm>
            <a:custGeom>
              <a:avLst/>
              <a:gdLst>
                <a:gd name="connsiteX0" fmla="*/ 0 w 1752652"/>
                <a:gd name="connsiteY0" fmla="*/ 0 h 876326"/>
                <a:gd name="connsiteX1" fmla="*/ 28390 w 1752652"/>
                <a:gd name="connsiteY1" fmla="*/ 0 h 876326"/>
                <a:gd name="connsiteX2" fmla="*/ 125557 w 1752652"/>
                <a:gd name="connsiteY2" fmla="*/ 0 h 876326"/>
                <a:gd name="connsiteX3" fmla="*/ 877975 w 1752652"/>
                <a:gd name="connsiteY3" fmla="*/ 752343 h 876326"/>
                <a:gd name="connsiteX4" fmla="*/ 1630402 w 1752652"/>
                <a:gd name="connsiteY4" fmla="*/ 0 h 876326"/>
                <a:gd name="connsiteX5" fmla="*/ 1752652 w 1752652"/>
                <a:gd name="connsiteY5" fmla="*/ 0 h 876326"/>
                <a:gd name="connsiteX6" fmla="*/ 876326 w 1752652"/>
                <a:gd name="connsiteY6" fmla="*/ 876326 h 876326"/>
                <a:gd name="connsiteX7" fmla="*/ 0 w 1752652"/>
                <a:gd name="connsiteY7" fmla="*/ 0 h 87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652" h="876326">
                  <a:moveTo>
                    <a:pt x="0" y="0"/>
                  </a:moveTo>
                  <a:lnTo>
                    <a:pt x="28390" y="0"/>
                  </a:lnTo>
                  <a:cubicBezTo>
                    <a:pt x="82372" y="0"/>
                    <a:pt x="125557" y="0"/>
                    <a:pt x="125557" y="0"/>
                  </a:cubicBezTo>
                  <a:cubicBezTo>
                    <a:pt x="125557" y="415481"/>
                    <a:pt x="462449" y="752343"/>
                    <a:pt x="877975" y="752343"/>
                  </a:cubicBezTo>
                  <a:cubicBezTo>
                    <a:pt x="1293510" y="752343"/>
                    <a:pt x="1630402" y="415481"/>
                    <a:pt x="1630402" y="0"/>
                  </a:cubicBezTo>
                  <a:lnTo>
                    <a:pt x="1752652" y="0"/>
                  </a:lnTo>
                  <a:cubicBezTo>
                    <a:pt x="1752652" y="483981"/>
                    <a:pt x="1360307" y="876326"/>
                    <a:pt x="876326" y="876326"/>
                  </a:cubicBezTo>
                  <a:cubicBezTo>
                    <a:pt x="392345" y="876326"/>
                    <a:pt x="0" y="483981"/>
                    <a:pt x="0" y="0"/>
                  </a:cubicBezTo>
                  <a:close/>
                </a:path>
              </a:pathLst>
            </a:custGeom>
            <a:solidFill>
              <a:schemeClr val="tx1">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p>
          </p:txBody>
        </p:sp>
      </p:grpSp>
      <p:sp>
        <p:nvSpPr>
          <p:cNvPr id="74" name="Freeform 6">
            <a:extLst>
              <a:ext uri="{FF2B5EF4-FFF2-40B4-BE49-F238E27FC236}">
                <a16:creationId xmlns:a16="http://schemas.microsoft.com/office/drawing/2014/main" id="{AF53FA9E-721D-59B2-87A7-328976F7BF03}"/>
              </a:ext>
            </a:extLst>
          </p:cNvPr>
          <p:cNvSpPr>
            <a:spLocks noEditPoints="1"/>
          </p:cNvSpPr>
          <p:nvPr/>
        </p:nvSpPr>
        <p:spPr bwMode="auto">
          <a:xfrm>
            <a:off x="301295" y="1431679"/>
            <a:ext cx="2085563" cy="2084464"/>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chemeClr val="tx2"/>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75" name="Freeform 9">
            <a:extLst>
              <a:ext uri="{FF2B5EF4-FFF2-40B4-BE49-F238E27FC236}">
                <a16:creationId xmlns:a16="http://schemas.microsoft.com/office/drawing/2014/main" id="{22353774-86FD-475F-428A-9B36346D521E}"/>
              </a:ext>
            </a:extLst>
          </p:cNvPr>
          <p:cNvSpPr>
            <a:spLocks noEditPoints="1"/>
          </p:cNvSpPr>
          <p:nvPr/>
        </p:nvSpPr>
        <p:spPr bwMode="auto">
          <a:xfrm>
            <a:off x="1936038" y="3342298"/>
            <a:ext cx="2083747" cy="2083747"/>
          </a:xfrm>
          <a:custGeom>
            <a:avLst/>
            <a:gdLst>
              <a:gd name="T0" fmla="*/ 3081 w 6246"/>
              <a:gd name="T1" fmla="*/ 5136 h 6246"/>
              <a:gd name="T2" fmla="*/ 1110 w 6246"/>
              <a:gd name="T3" fmla="*/ 3081 h 6246"/>
              <a:gd name="T4" fmla="*/ 3165 w 6246"/>
              <a:gd name="T5" fmla="*/ 1110 h 6246"/>
              <a:gd name="T6" fmla="*/ 5136 w 6246"/>
              <a:gd name="T7" fmla="*/ 3165 h 6246"/>
              <a:gd name="T8" fmla="*/ 3081 w 6246"/>
              <a:gd name="T9" fmla="*/ 5136 h 6246"/>
              <a:gd name="T10" fmla="*/ 6224 w 6246"/>
              <a:gd name="T11" fmla="*/ 3429 h 6246"/>
              <a:gd name="T12" fmla="*/ 6217 w 6246"/>
              <a:gd name="T13" fmla="*/ 2752 h 6246"/>
              <a:gd name="T14" fmla="*/ 5692 w 6246"/>
              <a:gd name="T15" fmla="*/ 2626 h 6246"/>
              <a:gd name="T16" fmla="*/ 5576 w 6246"/>
              <a:gd name="T17" fmla="*/ 2217 h 6246"/>
              <a:gd name="T18" fmla="*/ 5961 w 6246"/>
              <a:gd name="T19" fmla="*/ 1837 h 6246"/>
              <a:gd name="T20" fmla="*/ 5804 w 6246"/>
              <a:gd name="T21" fmla="*/ 1536 h 6246"/>
              <a:gd name="T22" fmla="*/ 5616 w 6246"/>
              <a:gd name="T23" fmla="*/ 1254 h 6246"/>
              <a:gd name="T24" fmla="*/ 5098 w 6246"/>
              <a:gd name="T25" fmla="*/ 1409 h 6246"/>
              <a:gd name="T26" fmla="*/ 4795 w 6246"/>
              <a:gd name="T27" fmla="*/ 1111 h 6246"/>
              <a:gd name="T28" fmla="*/ 4938 w 6246"/>
              <a:gd name="T29" fmla="*/ 590 h 6246"/>
              <a:gd name="T30" fmla="*/ 4348 w 6246"/>
              <a:gd name="T31" fmla="*/ 258 h 6246"/>
              <a:gd name="T32" fmla="*/ 3976 w 6246"/>
              <a:gd name="T33" fmla="*/ 651 h 6246"/>
              <a:gd name="T34" fmla="*/ 3565 w 6246"/>
              <a:gd name="T35" fmla="*/ 545 h 6246"/>
              <a:gd name="T36" fmla="*/ 3428 w 6246"/>
              <a:gd name="T37" fmla="*/ 22 h 6246"/>
              <a:gd name="T38" fmla="*/ 2752 w 6246"/>
              <a:gd name="T39" fmla="*/ 30 h 6246"/>
              <a:gd name="T40" fmla="*/ 2625 w 6246"/>
              <a:gd name="T41" fmla="*/ 555 h 6246"/>
              <a:gd name="T42" fmla="*/ 2217 w 6246"/>
              <a:gd name="T43" fmla="*/ 670 h 6246"/>
              <a:gd name="T44" fmla="*/ 1837 w 6246"/>
              <a:gd name="T45" fmla="*/ 286 h 6246"/>
              <a:gd name="T46" fmla="*/ 1536 w 6246"/>
              <a:gd name="T47" fmla="*/ 442 h 6246"/>
              <a:gd name="T48" fmla="*/ 1254 w 6246"/>
              <a:gd name="T49" fmla="*/ 629 h 6246"/>
              <a:gd name="T50" fmla="*/ 1408 w 6246"/>
              <a:gd name="T51" fmla="*/ 1148 h 6246"/>
              <a:gd name="T52" fmla="*/ 1110 w 6246"/>
              <a:gd name="T53" fmla="*/ 1452 h 6246"/>
              <a:gd name="T54" fmla="*/ 590 w 6246"/>
              <a:gd name="T55" fmla="*/ 1309 h 6246"/>
              <a:gd name="T56" fmla="*/ 257 w 6246"/>
              <a:gd name="T57" fmla="*/ 1898 h 6246"/>
              <a:gd name="T58" fmla="*/ 650 w 6246"/>
              <a:gd name="T59" fmla="*/ 2270 h 6246"/>
              <a:gd name="T60" fmla="*/ 545 w 6246"/>
              <a:gd name="T61" fmla="*/ 2681 h 6246"/>
              <a:gd name="T62" fmla="*/ 22 w 6246"/>
              <a:gd name="T63" fmla="*/ 2819 h 6246"/>
              <a:gd name="T64" fmla="*/ 29 w 6246"/>
              <a:gd name="T65" fmla="*/ 3495 h 6246"/>
              <a:gd name="T66" fmla="*/ 555 w 6246"/>
              <a:gd name="T67" fmla="*/ 3620 h 6246"/>
              <a:gd name="T68" fmla="*/ 669 w 6246"/>
              <a:gd name="T69" fmla="*/ 4030 h 6246"/>
              <a:gd name="T70" fmla="*/ 285 w 6246"/>
              <a:gd name="T71" fmla="*/ 4410 h 6246"/>
              <a:gd name="T72" fmla="*/ 441 w 6246"/>
              <a:gd name="T73" fmla="*/ 4710 h 6246"/>
              <a:gd name="T74" fmla="*/ 629 w 6246"/>
              <a:gd name="T75" fmla="*/ 4992 h 6246"/>
              <a:gd name="T76" fmla="*/ 1148 w 6246"/>
              <a:gd name="T77" fmla="*/ 4838 h 6246"/>
              <a:gd name="T78" fmla="*/ 1451 w 6246"/>
              <a:gd name="T79" fmla="*/ 5136 h 6246"/>
              <a:gd name="T80" fmla="*/ 1308 w 6246"/>
              <a:gd name="T81" fmla="*/ 5657 h 6246"/>
              <a:gd name="T82" fmla="*/ 1897 w 6246"/>
              <a:gd name="T83" fmla="*/ 5988 h 6246"/>
              <a:gd name="T84" fmla="*/ 2270 w 6246"/>
              <a:gd name="T85" fmla="*/ 5596 h 6246"/>
              <a:gd name="T86" fmla="*/ 2681 w 6246"/>
              <a:gd name="T87" fmla="*/ 5701 h 6246"/>
              <a:gd name="T88" fmla="*/ 2818 w 6246"/>
              <a:gd name="T89" fmla="*/ 6225 h 6246"/>
              <a:gd name="T90" fmla="*/ 3495 w 6246"/>
              <a:gd name="T91" fmla="*/ 6218 h 6246"/>
              <a:gd name="T92" fmla="*/ 3620 w 6246"/>
              <a:gd name="T93" fmla="*/ 5692 h 6246"/>
              <a:gd name="T94" fmla="*/ 4029 w 6246"/>
              <a:gd name="T95" fmla="*/ 5577 h 6246"/>
              <a:gd name="T96" fmla="*/ 4410 w 6246"/>
              <a:gd name="T97" fmla="*/ 5961 h 6246"/>
              <a:gd name="T98" fmla="*/ 4710 w 6246"/>
              <a:gd name="T99" fmla="*/ 5805 h 6246"/>
              <a:gd name="T100" fmla="*/ 4992 w 6246"/>
              <a:gd name="T101" fmla="*/ 5617 h 6246"/>
              <a:gd name="T102" fmla="*/ 4837 w 6246"/>
              <a:gd name="T103" fmla="*/ 5099 h 6246"/>
              <a:gd name="T104" fmla="*/ 5135 w 6246"/>
              <a:gd name="T105" fmla="*/ 4795 h 6246"/>
              <a:gd name="T106" fmla="*/ 5656 w 6246"/>
              <a:gd name="T107" fmla="*/ 4938 h 6246"/>
              <a:gd name="T108" fmla="*/ 5988 w 6246"/>
              <a:gd name="T109" fmla="*/ 4349 h 6246"/>
              <a:gd name="T110" fmla="*/ 5595 w 6246"/>
              <a:gd name="T111" fmla="*/ 3976 h 6246"/>
              <a:gd name="T112" fmla="*/ 5701 w 6246"/>
              <a:gd name="T113" fmla="*/ 3566 h 6246"/>
              <a:gd name="T114" fmla="*/ 6224 w 6246"/>
              <a:gd name="T115" fmla="*/ 3429 h 6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6" h="6246">
                <a:moveTo>
                  <a:pt x="3081" y="5136"/>
                </a:moveTo>
                <a:cubicBezTo>
                  <a:pt x="1971" y="5113"/>
                  <a:pt x="1087" y="4191"/>
                  <a:pt x="1110" y="3081"/>
                </a:cubicBezTo>
                <a:cubicBezTo>
                  <a:pt x="1133" y="1971"/>
                  <a:pt x="2055" y="1087"/>
                  <a:pt x="3165" y="1110"/>
                </a:cubicBezTo>
                <a:cubicBezTo>
                  <a:pt x="4275" y="1133"/>
                  <a:pt x="5159" y="2055"/>
                  <a:pt x="5136" y="3165"/>
                </a:cubicBezTo>
                <a:cubicBezTo>
                  <a:pt x="5113" y="4275"/>
                  <a:pt x="4191" y="5160"/>
                  <a:pt x="3081" y="5136"/>
                </a:cubicBezTo>
                <a:close/>
                <a:moveTo>
                  <a:pt x="6224" y="3429"/>
                </a:moveTo>
                <a:cubicBezTo>
                  <a:pt x="6246" y="3204"/>
                  <a:pt x="6244" y="2978"/>
                  <a:pt x="6217" y="2752"/>
                </a:cubicBezTo>
                <a:lnTo>
                  <a:pt x="5692" y="2626"/>
                </a:lnTo>
                <a:cubicBezTo>
                  <a:pt x="5665" y="2489"/>
                  <a:pt x="5626" y="2351"/>
                  <a:pt x="5576" y="2217"/>
                </a:cubicBezTo>
                <a:lnTo>
                  <a:pt x="5961" y="1837"/>
                </a:lnTo>
                <a:cubicBezTo>
                  <a:pt x="5915" y="1735"/>
                  <a:pt x="5863" y="1634"/>
                  <a:pt x="5804" y="1536"/>
                </a:cubicBezTo>
                <a:cubicBezTo>
                  <a:pt x="5747" y="1438"/>
                  <a:pt x="5684" y="1344"/>
                  <a:pt x="5616" y="1254"/>
                </a:cubicBezTo>
                <a:lnTo>
                  <a:pt x="5098" y="1409"/>
                </a:lnTo>
                <a:cubicBezTo>
                  <a:pt x="5004" y="1301"/>
                  <a:pt x="4903" y="1201"/>
                  <a:pt x="4795" y="1111"/>
                </a:cubicBezTo>
                <a:lnTo>
                  <a:pt x="4938" y="590"/>
                </a:lnTo>
                <a:cubicBezTo>
                  <a:pt x="4753" y="458"/>
                  <a:pt x="4555" y="347"/>
                  <a:pt x="4348" y="258"/>
                </a:cubicBezTo>
                <a:lnTo>
                  <a:pt x="3976" y="651"/>
                </a:lnTo>
                <a:cubicBezTo>
                  <a:pt x="3842" y="605"/>
                  <a:pt x="3704" y="570"/>
                  <a:pt x="3565" y="545"/>
                </a:cubicBezTo>
                <a:lnTo>
                  <a:pt x="3428" y="22"/>
                </a:lnTo>
                <a:cubicBezTo>
                  <a:pt x="3204" y="0"/>
                  <a:pt x="2977" y="2"/>
                  <a:pt x="2752" y="30"/>
                </a:cubicBezTo>
                <a:lnTo>
                  <a:pt x="2625" y="555"/>
                </a:lnTo>
                <a:cubicBezTo>
                  <a:pt x="2487" y="581"/>
                  <a:pt x="2351" y="620"/>
                  <a:pt x="2217" y="670"/>
                </a:cubicBezTo>
                <a:lnTo>
                  <a:pt x="1837" y="286"/>
                </a:lnTo>
                <a:cubicBezTo>
                  <a:pt x="1735" y="331"/>
                  <a:pt x="1634" y="383"/>
                  <a:pt x="1536" y="442"/>
                </a:cubicBezTo>
                <a:cubicBezTo>
                  <a:pt x="1437" y="500"/>
                  <a:pt x="1344" y="563"/>
                  <a:pt x="1254" y="629"/>
                </a:cubicBezTo>
                <a:lnTo>
                  <a:pt x="1408" y="1148"/>
                </a:lnTo>
                <a:cubicBezTo>
                  <a:pt x="1300" y="1243"/>
                  <a:pt x="1200" y="1344"/>
                  <a:pt x="1110" y="1452"/>
                </a:cubicBezTo>
                <a:lnTo>
                  <a:pt x="590" y="1309"/>
                </a:lnTo>
                <a:cubicBezTo>
                  <a:pt x="457" y="1494"/>
                  <a:pt x="346" y="1691"/>
                  <a:pt x="257" y="1898"/>
                </a:cubicBezTo>
                <a:lnTo>
                  <a:pt x="650" y="2270"/>
                </a:lnTo>
                <a:cubicBezTo>
                  <a:pt x="604" y="2404"/>
                  <a:pt x="570" y="2542"/>
                  <a:pt x="545" y="2681"/>
                </a:cubicBezTo>
                <a:lnTo>
                  <a:pt x="22" y="2819"/>
                </a:lnTo>
                <a:cubicBezTo>
                  <a:pt x="0" y="3043"/>
                  <a:pt x="2" y="3269"/>
                  <a:pt x="29" y="3495"/>
                </a:cubicBezTo>
                <a:lnTo>
                  <a:pt x="555" y="3620"/>
                </a:lnTo>
                <a:cubicBezTo>
                  <a:pt x="581" y="3759"/>
                  <a:pt x="620" y="3895"/>
                  <a:pt x="669" y="4030"/>
                </a:cubicBezTo>
                <a:lnTo>
                  <a:pt x="285" y="4410"/>
                </a:lnTo>
                <a:cubicBezTo>
                  <a:pt x="331" y="4512"/>
                  <a:pt x="382" y="4612"/>
                  <a:pt x="441" y="4710"/>
                </a:cubicBezTo>
                <a:cubicBezTo>
                  <a:pt x="499" y="4809"/>
                  <a:pt x="562" y="4903"/>
                  <a:pt x="629" y="4992"/>
                </a:cubicBezTo>
                <a:lnTo>
                  <a:pt x="1148" y="4838"/>
                </a:lnTo>
                <a:cubicBezTo>
                  <a:pt x="1242" y="4946"/>
                  <a:pt x="1344" y="5046"/>
                  <a:pt x="1451" y="5136"/>
                </a:cubicBezTo>
                <a:lnTo>
                  <a:pt x="1308" y="5657"/>
                </a:lnTo>
                <a:cubicBezTo>
                  <a:pt x="1494" y="5789"/>
                  <a:pt x="1691" y="5900"/>
                  <a:pt x="1897" y="5988"/>
                </a:cubicBezTo>
                <a:lnTo>
                  <a:pt x="2270" y="5596"/>
                </a:lnTo>
                <a:cubicBezTo>
                  <a:pt x="2404" y="5642"/>
                  <a:pt x="2540" y="5677"/>
                  <a:pt x="2681" y="5701"/>
                </a:cubicBezTo>
                <a:lnTo>
                  <a:pt x="2818" y="6225"/>
                </a:lnTo>
                <a:cubicBezTo>
                  <a:pt x="3042" y="6246"/>
                  <a:pt x="3269" y="6245"/>
                  <a:pt x="3495" y="6218"/>
                </a:cubicBezTo>
                <a:lnTo>
                  <a:pt x="3620" y="5692"/>
                </a:lnTo>
                <a:cubicBezTo>
                  <a:pt x="3758" y="5665"/>
                  <a:pt x="3894" y="5627"/>
                  <a:pt x="4029" y="5577"/>
                </a:cubicBezTo>
                <a:lnTo>
                  <a:pt x="4410" y="5961"/>
                </a:lnTo>
                <a:cubicBezTo>
                  <a:pt x="4511" y="5916"/>
                  <a:pt x="4612" y="5864"/>
                  <a:pt x="4710" y="5805"/>
                </a:cubicBezTo>
                <a:cubicBezTo>
                  <a:pt x="4808" y="5747"/>
                  <a:pt x="4902" y="5684"/>
                  <a:pt x="4992" y="5617"/>
                </a:cubicBezTo>
                <a:lnTo>
                  <a:pt x="4837" y="5099"/>
                </a:lnTo>
                <a:cubicBezTo>
                  <a:pt x="4946" y="5005"/>
                  <a:pt x="5045" y="4903"/>
                  <a:pt x="5135" y="4795"/>
                </a:cubicBezTo>
                <a:lnTo>
                  <a:pt x="5656" y="4938"/>
                </a:lnTo>
                <a:cubicBezTo>
                  <a:pt x="5789" y="4753"/>
                  <a:pt x="5900" y="4555"/>
                  <a:pt x="5988" y="4349"/>
                </a:cubicBezTo>
                <a:lnTo>
                  <a:pt x="5595" y="3976"/>
                </a:lnTo>
                <a:cubicBezTo>
                  <a:pt x="5641" y="3843"/>
                  <a:pt x="5677" y="3706"/>
                  <a:pt x="5701" y="3566"/>
                </a:cubicBezTo>
                <a:lnTo>
                  <a:pt x="6224" y="3429"/>
                </a:lnTo>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76" name="Freeform 6">
            <a:extLst>
              <a:ext uri="{FF2B5EF4-FFF2-40B4-BE49-F238E27FC236}">
                <a16:creationId xmlns:a16="http://schemas.microsoft.com/office/drawing/2014/main" id="{0097A9BC-BB62-DB72-69E9-23412FBA021D}"/>
              </a:ext>
            </a:extLst>
          </p:cNvPr>
          <p:cNvSpPr>
            <a:spLocks noEditPoints="1"/>
          </p:cNvSpPr>
          <p:nvPr/>
        </p:nvSpPr>
        <p:spPr bwMode="auto">
          <a:xfrm>
            <a:off x="3496449" y="1431679"/>
            <a:ext cx="2085563" cy="2084464"/>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77" name="Freeform 9">
            <a:extLst>
              <a:ext uri="{FF2B5EF4-FFF2-40B4-BE49-F238E27FC236}">
                <a16:creationId xmlns:a16="http://schemas.microsoft.com/office/drawing/2014/main" id="{3EB2E424-5E4D-1A1B-4B3C-050A67D439D0}"/>
              </a:ext>
            </a:extLst>
          </p:cNvPr>
          <p:cNvSpPr>
            <a:spLocks noEditPoints="1"/>
          </p:cNvSpPr>
          <p:nvPr/>
        </p:nvSpPr>
        <p:spPr bwMode="auto">
          <a:xfrm>
            <a:off x="5219676" y="3342298"/>
            <a:ext cx="2083747" cy="2083747"/>
          </a:xfrm>
          <a:custGeom>
            <a:avLst/>
            <a:gdLst>
              <a:gd name="T0" fmla="*/ 3081 w 6246"/>
              <a:gd name="T1" fmla="*/ 5136 h 6246"/>
              <a:gd name="T2" fmla="*/ 1110 w 6246"/>
              <a:gd name="T3" fmla="*/ 3081 h 6246"/>
              <a:gd name="T4" fmla="*/ 3165 w 6246"/>
              <a:gd name="T5" fmla="*/ 1110 h 6246"/>
              <a:gd name="T6" fmla="*/ 5136 w 6246"/>
              <a:gd name="T7" fmla="*/ 3165 h 6246"/>
              <a:gd name="T8" fmla="*/ 3081 w 6246"/>
              <a:gd name="T9" fmla="*/ 5136 h 6246"/>
              <a:gd name="T10" fmla="*/ 6224 w 6246"/>
              <a:gd name="T11" fmla="*/ 3429 h 6246"/>
              <a:gd name="T12" fmla="*/ 6217 w 6246"/>
              <a:gd name="T13" fmla="*/ 2752 h 6246"/>
              <a:gd name="T14" fmla="*/ 5692 w 6246"/>
              <a:gd name="T15" fmla="*/ 2626 h 6246"/>
              <a:gd name="T16" fmla="*/ 5576 w 6246"/>
              <a:gd name="T17" fmla="*/ 2217 h 6246"/>
              <a:gd name="T18" fmla="*/ 5961 w 6246"/>
              <a:gd name="T19" fmla="*/ 1837 h 6246"/>
              <a:gd name="T20" fmla="*/ 5804 w 6246"/>
              <a:gd name="T21" fmla="*/ 1536 h 6246"/>
              <a:gd name="T22" fmla="*/ 5616 w 6246"/>
              <a:gd name="T23" fmla="*/ 1254 h 6246"/>
              <a:gd name="T24" fmla="*/ 5098 w 6246"/>
              <a:gd name="T25" fmla="*/ 1409 h 6246"/>
              <a:gd name="T26" fmla="*/ 4795 w 6246"/>
              <a:gd name="T27" fmla="*/ 1111 h 6246"/>
              <a:gd name="T28" fmla="*/ 4938 w 6246"/>
              <a:gd name="T29" fmla="*/ 590 h 6246"/>
              <a:gd name="T30" fmla="*/ 4348 w 6246"/>
              <a:gd name="T31" fmla="*/ 258 h 6246"/>
              <a:gd name="T32" fmla="*/ 3976 w 6246"/>
              <a:gd name="T33" fmla="*/ 651 h 6246"/>
              <a:gd name="T34" fmla="*/ 3565 w 6246"/>
              <a:gd name="T35" fmla="*/ 545 h 6246"/>
              <a:gd name="T36" fmla="*/ 3428 w 6246"/>
              <a:gd name="T37" fmla="*/ 22 h 6246"/>
              <a:gd name="T38" fmla="*/ 2752 w 6246"/>
              <a:gd name="T39" fmla="*/ 30 h 6246"/>
              <a:gd name="T40" fmla="*/ 2625 w 6246"/>
              <a:gd name="T41" fmla="*/ 555 h 6246"/>
              <a:gd name="T42" fmla="*/ 2217 w 6246"/>
              <a:gd name="T43" fmla="*/ 670 h 6246"/>
              <a:gd name="T44" fmla="*/ 1837 w 6246"/>
              <a:gd name="T45" fmla="*/ 286 h 6246"/>
              <a:gd name="T46" fmla="*/ 1536 w 6246"/>
              <a:gd name="T47" fmla="*/ 442 h 6246"/>
              <a:gd name="T48" fmla="*/ 1254 w 6246"/>
              <a:gd name="T49" fmla="*/ 629 h 6246"/>
              <a:gd name="T50" fmla="*/ 1408 w 6246"/>
              <a:gd name="T51" fmla="*/ 1148 h 6246"/>
              <a:gd name="T52" fmla="*/ 1110 w 6246"/>
              <a:gd name="T53" fmla="*/ 1452 h 6246"/>
              <a:gd name="T54" fmla="*/ 590 w 6246"/>
              <a:gd name="T55" fmla="*/ 1309 h 6246"/>
              <a:gd name="T56" fmla="*/ 257 w 6246"/>
              <a:gd name="T57" fmla="*/ 1898 h 6246"/>
              <a:gd name="T58" fmla="*/ 650 w 6246"/>
              <a:gd name="T59" fmla="*/ 2270 h 6246"/>
              <a:gd name="T60" fmla="*/ 545 w 6246"/>
              <a:gd name="T61" fmla="*/ 2681 h 6246"/>
              <a:gd name="T62" fmla="*/ 22 w 6246"/>
              <a:gd name="T63" fmla="*/ 2819 h 6246"/>
              <a:gd name="T64" fmla="*/ 29 w 6246"/>
              <a:gd name="T65" fmla="*/ 3495 h 6246"/>
              <a:gd name="T66" fmla="*/ 555 w 6246"/>
              <a:gd name="T67" fmla="*/ 3620 h 6246"/>
              <a:gd name="T68" fmla="*/ 669 w 6246"/>
              <a:gd name="T69" fmla="*/ 4030 h 6246"/>
              <a:gd name="T70" fmla="*/ 285 w 6246"/>
              <a:gd name="T71" fmla="*/ 4410 h 6246"/>
              <a:gd name="T72" fmla="*/ 441 w 6246"/>
              <a:gd name="T73" fmla="*/ 4710 h 6246"/>
              <a:gd name="T74" fmla="*/ 629 w 6246"/>
              <a:gd name="T75" fmla="*/ 4992 h 6246"/>
              <a:gd name="T76" fmla="*/ 1148 w 6246"/>
              <a:gd name="T77" fmla="*/ 4838 h 6246"/>
              <a:gd name="T78" fmla="*/ 1451 w 6246"/>
              <a:gd name="T79" fmla="*/ 5136 h 6246"/>
              <a:gd name="T80" fmla="*/ 1308 w 6246"/>
              <a:gd name="T81" fmla="*/ 5657 h 6246"/>
              <a:gd name="T82" fmla="*/ 1897 w 6246"/>
              <a:gd name="T83" fmla="*/ 5988 h 6246"/>
              <a:gd name="T84" fmla="*/ 2270 w 6246"/>
              <a:gd name="T85" fmla="*/ 5596 h 6246"/>
              <a:gd name="T86" fmla="*/ 2681 w 6246"/>
              <a:gd name="T87" fmla="*/ 5701 h 6246"/>
              <a:gd name="T88" fmla="*/ 2818 w 6246"/>
              <a:gd name="T89" fmla="*/ 6225 h 6246"/>
              <a:gd name="T90" fmla="*/ 3495 w 6246"/>
              <a:gd name="T91" fmla="*/ 6218 h 6246"/>
              <a:gd name="T92" fmla="*/ 3620 w 6246"/>
              <a:gd name="T93" fmla="*/ 5692 h 6246"/>
              <a:gd name="T94" fmla="*/ 4029 w 6246"/>
              <a:gd name="T95" fmla="*/ 5577 h 6246"/>
              <a:gd name="T96" fmla="*/ 4410 w 6246"/>
              <a:gd name="T97" fmla="*/ 5961 h 6246"/>
              <a:gd name="T98" fmla="*/ 4710 w 6246"/>
              <a:gd name="T99" fmla="*/ 5805 h 6246"/>
              <a:gd name="T100" fmla="*/ 4992 w 6246"/>
              <a:gd name="T101" fmla="*/ 5617 h 6246"/>
              <a:gd name="T102" fmla="*/ 4837 w 6246"/>
              <a:gd name="T103" fmla="*/ 5099 h 6246"/>
              <a:gd name="T104" fmla="*/ 5135 w 6246"/>
              <a:gd name="T105" fmla="*/ 4795 h 6246"/>
              <a:gd name="T106" fmla="*/ 5656 w 6246"/>
              <a:gd name="T107" fmla="*/ 4938 h 6246"/>
              <a:gd name="T108" fmla="*/ 5988 w 6246"/>
              <a:gd name="T109" fmla="*/ 4349 h 6246"/>
              <a:gd name="T110" fmla="*/ 5595 w 6246"/>
              <a:gd name="T111" fmla="*/ 3976 h 6246"/>
              <a:gd name="T112" fmla="*/ 5701 w 6246"/>
              <a:gd name="T113" fmla="*/ 3566 h 6246"/>
              <a:gd name="T114" fmla="*/ 6224 w 6246"/>
              <a:gd name="T115" fmla="*/ 3429 h 6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6" h="6246">
                <a:moveTo>
                  <a:pt x="3081" y="5136"/>
                </a:moveTo>
                <a:cubicBezTo>
                  <a:pt x="1971" y="5113"/>
                  <a:pt x="1087" y="4191"/>
                  <a:pt x="1110" y="3081"/>
                </a:cubicBezTo>
                <a:cubicBezTo>
                  <a:pt x="1133" y="1971"/>
                  <a:pt x="2055" y="1087"/>
                  <a:pt x="3165" y="1110"/>
                </a:cubicBezTo>
                <a:cubicBezTo>
                  <a:pt x="4275" y="1133"/>
                  <a:pt x="5159" y="2055"/>
                  <a:pt x="5136" y="3165"/>
                </a:cubicBezTo>
                <a:cubicBezTo>
                  <a:pt x="5113" y="4275"/>
                  <a:pt x="4191" y="5160"/>
                  <a:pt x="3081" y="5136"/>
                </a:cubicBezTo>
                <a:close/>
                <a:moveTo>
                  <a:pt x="6224" y="3429"/>
                </a:moveTo>
                <a:cubicBezTo>
                  <a:pt x="6246" y="3204"/>
                  <a:pt x="6244" y="2978"/>
                  <a:pt x="6217" y="2752"/>
                </a:cubicBezTo>
                <a:lnTo>
                  <a:pt x="5692" y="2626"/>
                </a:lnTo>
                <a:cubicBezTo>
                  <a:pt x="5665" y="2489"/>
                  <a:pt x="5626" y="2351"/>
                  <a:pt x="5576" y="2217"/>
                </a:cubicBezTo>
                <a:lnTo>
                  <a:pt x="5961" y="1837"/>
                </a:lnTo>
                <a:cubicBezTo>
                  <a:pt x="5915" y="1735"/>
                  <a:pt x="5863" y="1634"/>
                  <a:pt x="5804" y="1536"/>
                </a:cubicBezTo>
                <a:cubicBezTo>
                  <a:pt x="5747" y="1438"/>
                  <a:pt x="5684" y="1344"/>
                  <a:pt x="5616" y="1254"/>
                </a:cubicBezTo>
                <a:lnTo>
                  <a:pt x="5098" y="1409"/>
                </a:lnTo>
                <a:cubicBezTo>
                  <a:pt x="5004" y="1301"/>
                  <a:pt x="4903" y="1201"/>
                  <a:pt x="4795" y="1111"/>
                </a:cubicBezTo>
                <a:lnTo>
                  <a:pt x="4938" y="590"/>
                </a:lnTo>
                <a:cubicBezTo>
                  <a:pt x="4753" y="458"/>
                  <a:pt x="4555" y="347"/>
                  <a:pt x="4348" y="258"/>
                </a:cubicBezTo>
                <a:lnTo>
                  <a:pt x="3976" y="651"/>
                </a:lnTo>
                <a:cubicBezTo>
                  <a:pt x="3842" y="605"/>
                  <a:pt x="3704" y="570"/>
                  <a:pt x="3565" y="545"/>
                </a:cubicBezTo>
                <a:lnTo>
                  <a:pt x="3428" y="22"/>
                </a:lnTo>
                <a:cubicBezTo>
                  <a:pt x="3204" y="0"/>
                  <a:pt x="2977" y="2"/>
                  <a:pt x="2752" y="30"/>
                </a:cubicBezTo>
                <a:lnTo>
                  <a:pt x="2625" y="555"/>
                </a:lnTo>
                <a:cubicBezTo>
                  <a:pt x="2487" y="581"/>
                  <a:pt x="2351" y="620"/>
                  <a:pt x="2217" y="670"/>
                </a:cubicBezTo>
                <a:lnTo>
                  <a:pt x="1837" y="286"/>
                </a:lnTo>
                <a:cubicBezTo>
                  <a:pt x="1735" y="331"/>
                  <a:pt x="1634" y="383"/>
                  <a:pt x="1536" y="442"/>
                </a:cubicBezTo>
                <a:cubicBezTo>
                  <a:pt x="1437" y="500"/>
                  <a:pt x="1344" y="563"/>
                  <a:pt x="1254" y="629"/>
                </a:cubicBezTo>
                <a:lnTo>
                  <a:pt x="1408" y="1148"/>
                </a:lnTo>
                <a:cubicBezTo>
                  <a:pt x="1300" y="1243"/>
                  <a:pt x="1200" y="1344"/>
                  <a:pt x="1110" y="1452"/>
                </a:cubicBezTo>
                <a:lnTo>
                  <a:pt x="590" y="1309"/>
                </a:lnTo>
                <a:cubicBezTo>
                  <a:pt x="457" y="1494"/>
                  <a:pt x="346" y="1691"/>
                  <a:pt x="257" y="1898"/>
                </a:cubicBezTo>
                <a:lnTo>
                  <a:pt x="650" y="2270"/>
                </a:lnTo>
                <a:cubicBezTo>
                  <a:pt x="604" y="2404"/>
                  <a:pt x="570" y="2542"/>
                  <a:pt x="545" y="2681"/>
                </a:cubicBezTo>
                <a:lnTo>
                  <a:pt x="22" y="2819"/>
                </a:lnTo>
                <a:cubicBezTo>
                  <a:pt x="0" y="3043"/>
                  <a:pt x="2" y="3269"/>
                  <a:pt x="29" y="3495"/>
                </a:cubicBezTo>
                <a:lnTo>
                  <a:pt x="555" y="3620"/>
                </a:lnTo>
                <a:cubicBezTo>
                  <a:pt x="581" y="3759"/>
                  <a:pt x="620" y="3895"/>
                  <a:pt x="669" y="4030"/>
                </a:cubicBezTo>
                <a:lnTo>
                  <a:pt x="285" y="4410"/>
                </a:lnTo>
                <a:cubicBezTo>
                  <a:pt x="331" y="4512"/>
                  <a:pt x="382" y="4612"/>
                  <a:pt x="441" y="4710"/>
                </a:cubicBezTo>
                <a:cubicBezTo>
                  <a:pt x="499" y="4809"/>
                  <a:pt x="562" y="4903"/>
                  <a:pt x="629" y="4992"/>
                </a:cubicBezTo>
                <a:lnTo>
                  <a:pt x="1148" y="4838"/>
                </a:lnTo>
                <a:cubicBezTo>
                  <a:pt x="1242" y="4946"/>
                  <a:pt x="1344" y="5046"/>
                  <a:pt x="1451" y="5136"/>
                </a:cubicBezTo>
                <a:lnTo>
                  <a:pt x="1308" y="5657"/>
                </a:lnTo>
                <a:cubicBezTo>
                  <a:pt x="1494" y="5789"/>
                  <a:pt x="1691" y="5900"/>
                  <a:pt x="1897" y="5988"/>
                </a:cubicBezTo>
                <a:lnTo>
                  <a:pt x="2270" y="5596"/>
                </a:lnTo>
                <a:cubicBezTo>
                  <a:pt x="2404" y="5642"/>
                  <a:pt x="2540" y="5677"/>
                  <a:pt x="2681" y="5701"/>
                </a:cubicBezTo>
                <a:lnTo>
                  <a:pt x="2818" y="6225"/>
                </a:lnTo>
                <a:cubicBezTo>
                  <a:pt x="3042" y="6246"/>
                  <a:pt x="3269" y="6245"/>
                  <a:pt x="3495" y="6218"/>
                </a:cubicBezTo>
                <a:lnTo>
                  <a:pt x="3620" y="5692"/>
                </a:lnTo>
                <a:cubicBezTo>
                  <a:pt x="3758" y="5665"/>
                  <a:pt x="3894" y="5627"/>
                  <a:pt x="4029" y="5577"/>
                </a:cubicBezTo>
                <a:lnTo>
                  <a:pt x="4410" y="5961"/>
                </a:lnTo>
                <a:cubicBezTo>
                  <a:pt x="4511" y="5916"/>
                  <a:pt x="4612" y="5864"/>
                  <a:pt x="4710" y="5805"/>
                </a:cubicBezTo>
                <a:cubicBezTo>
                  <a:pt x="4808" y="5747"/>
                  <a:pt x="4902" y="5684"/>
                  <a:pt x="4992" y="5617"/>
                </a:cubicBezTo>
                <a:lnTo>
                  <a:pt x="4837" y="5099"/>
                </a:lnTo>
                <a:cubicBezTo>
                  <a:pt x="4946" y="5005"/>
                  <a:pt x="5045" y="4903"/>
                  <a:pt x="5135" y="4795"/>
                </a:cubicBezTo>
                <a:lnTo>
                  <a:pt x="5656" y="4938"/>
                </a:lnTo>
                <a:cubicBezTo>
                  <a:pt x="5789" y="4753"/>
                  <a:pt x="5900" y="4555"/>
                  <a:pt x="5988" y="4349"/>
                </a:cubicBezTo>
                <a:lnTo>
                  <a:pt x="5595" y="3976"/>
                </a:lnTo>
                <a:cubicBezTo>
                  <a:pt x="5641" y="3843"/>
                  <a:pt x="5677" y="3706"/>
                  <a:pt x="5701" y="3566"/>
                </a:cubicBezTo>
                <a:lnTo>
                  <a:pt x="6224" y="3429"/>
                </a:lnTo>
              </a:path>
            </a:pathLst>
          </a:custGeom>
          <a:solidFill>
            <a:schemeClr val="accent3"/>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78" name="Freeform 6">
            <a:extLst>
              <a:ext uri="{FF2B5EF4-FFF2-40B4-BE49-F238E27FC236}">
                <a16:creationId xmlns:a16="http://schemas.microsoft.com/office/drawing/2014/main" id="{8CF8D983-555E-F9A5-BD81-28B9EDD660E9}"/>
              </a:ext>
            </a:extLst>
          </p:cNvPr>
          <p:cNvSpPr>
            <a:spLocks noEditPoints="1"/>
          </p:cNvSpPr>
          <p:nvPr/>
        </p:nvSpPr>
        <p:spPr bwMode="auto">
          <a:xfrm>
            <a:off x="6692448" y="1431679"/>
            <a:ext cx="2085563" cy="2084464"/>
          </a:xfrm>
          <a:custGeom>
            <a:avLst/>
            <a:gdLst>
              <a:gd name="T0" fmla="*/ 4109 w 8218"/>
              <a:gd name="T1" fmla="*/ 6534 h 8219"/>
              <a:gd name="T2" fmla="*/ 1684 w 8218"/>
              <a:gd name="T3" fmla="*/ 4109 h 8219"/>
              <a:gd name="T4" fmla="*/ 4109 w 8218"/>
              <a:gd name="T5" fmla="*/ 1684 h 8219"/>
              <a:gd name="T6" fmla="*/ 6534 w 8218"/>
              <a:gd name="T7" fmla="*/ 4109 h 8219"/>
              <a:gd name="T8" fmla="*/ 4109 w 8218"/>
              <a:gd name="T9" fmla="*/ 6534 h 8219"/>
              <a:gd name="T10" fmla="*/ 8017 w 8218"/>
              <a:gd name="T11" fmla="*/ 5432 h 8219"/>
              <a:gd name="T12" fmla="*/ 8218 w 8218"/>
              <a:gd name="T13" fmla="*/ 4462 h 8219"/>
              <a:gd name="T14" fmla="*/ 7550 w 8218"/>
              <a:gd name="T15" fmla="*/ 4138 h 8219"/>
              <a:gd name="T16" fmla="*/ 7537 w 8218"/>
              <a:gd name="T17" fmla="*/ 3811 h 8219"/>
              <a:gd name="T18" fmla="*/ 7525 w 8218"/>
              <a:gd name="T19" fmla="*/ 3698 h 8219"/>
              <a:gd name="T20" fmla="*/ 8154 w 8218"/>
              <a:gd name="T21" fmla="*/ 3300 h 8219"/>
              <a:gd name="T22" fmla="*/ 7846 w 8218"/>
              <a:gd name="T23" fmla="*/ 2360 h 8219"/>
              <a:gd name="T24" fmla="*/ 7103 w 8218"/>
              <a:gd name="T25" fmla="*/ 2414 h 8219"/>
              <a:gd name="T26" fmla="*/ 6862 w 8218"/>
              <a:gd name="T27" fmla="*/ 2044 h 8219"/>
              <a:gd name="T28" fmla="*/ 7207 w 8218"/>
              <a:gd name="T29" fmla="*/ 1387 h 8219"/>
              <a:gd name="T30" fmla="*/ 6470 w 8218"/>
              <a:gd name="T31" fmla="*/ 727 h 8219"/>
              <a:gd name="T32" fmla="*/ 5854 w 8218"/>
              <a:gd name="T33" fmla="*/ 1144 h 8219"/>
              <a:gd name="T34" fmla="*/ 5460 w 8218"/>
              <a:gd name="T35" fmla="*/ 944 h 8219"/>
              <a:gd name="T36" fmla="*/ 5431 w 8218"/>
              <a:gd name="T37" fmla="*/ 202 h 8219"/>
              <a:gd name="T38" fmla="*/ 4462 w 8218"/>
              <a:gd name="T39" fmla="*/ 0 h 8219"/>
              <a:gd name="T40" fmla="*/ 4138 w 8218"/>
              <a:gd name="T41" fmla="*/ 669 h 8219"/>
              <a:gd name="T42" fmla="*/ 3811 w 8218"/>
              <a:gd name="T43" fmla="*/ 682 h 8219"/>
              <a:gd name="T44" fmla="*/ 3698 w 8218"/>
              <a:gd name="T45" fmla="*/ 694 h 8219"/>
              <a:gd name="T46" fmla="*/ 3301 w 8218"/>
              <a:gd name="T47" fmla="*/ 64 h 8219"/>
              <a:gd name="T48" fmla="*/ 2360 w 8218"/>
              <a:gd name="T49" fmla="*/ 373 h 8219"/>
              <a:gd name="T50" fmla="*/ 2414 w 8218"/>
              <a:gd name="T51" fmla="*/ 1115 h 8219"/>
              <a:gd name="T52" fmla="*/ 2045 w 8218"/>
              <a:gd name="T53" fmla="*/ 1357 h 8219"/>
              <a:gd name="T54" fmla="*/ 1386 w 8218"/>
              <a:gd name="T55" fmla="*/ 1011 h 8219"/>
              <a:gd name="T56" fmla="*/ 727 w 8218"/>
              <a:gd name="T57" fmla="*/ 1749 h 8219"/>
              <a:gd name="T58" fmla="*/ 1145 w 8218"/>
              <a:gd name="T59" fmla="*/ 2365 h 8219"/>
              <a:gd name="T60" fmla="*/ 944 w 8218"/>
              <a:gd name="T61" fmla="*/ 2758 h 8219"/>
              <a:gd name="T62" fmla="*/ 202 w 8218"/>
              <a:gd name="T63" fmla="*/ 2787 h 8219"/>
              <a:gd name="T64" fmla="*/ 0 w 8218"/>
              <a:gd name="T65" fmla="*/ 3757 h 8219"/>
              <a:gd name="T66" fmla="*/ 669 w 8218"/>
              <a:gd name="T67" fmla="*/ 4081 h 8219"/>
              <a:gd name="T68" fmla="*/ 681 w 8218"/>
              <a:gd name="T69" fmla="*/ 4408 h 8219"/>
              <a:gd name="T70" fmla="*/ 694 w 8218"/>
              <a:gd name="T71" fmla="*/ 4521 h 8219"/>
              <a:gd name="T72" fmla="*/ 65 w 8218"/>
              <a:gd name="T73" fmla="*/ 4918 h 8219"/>
              <a:gd name="T74" fmla="*/ 373 w 8218"/>
              <a:gd name="T75" fmla="*/ 5859 h 8219"/>
              <a:gd name="T76" fmla="*/ 1115 w 8218"/>
              <a:gd name="T77" fmla="*/ 5805 h 8219"/>
              <a:gd name="T78" fmla="*/ 1357 w 8218"/>
              <a:gd name="T79" fmla="*/ 6174 h 8219"/>
              <a:gd name="T80" fmla="*/ 1011 w 8218"/>
              <a:gd name="T81" fmla="*/ 6832 h 8219"/>
              <a:gd name="T82" fmla="*/ 1749 w 8218"/>
              <a:gd name="T83" fmla="*/ 7492 h 8219"/>
              <a:gd name="T84" fmla="*/ 2365 w 8218"/>
              <a:gd name="T85" fmla="*/ 7074 h 8219"/>
              <a:gd name="T86" fmla="*/ 2758 w 8218"/>
              <a:gd name="T87" fmla="*/ 7274 h 8219"/>
              <a:gd name="T88" fmla="*/ 2787 w 8218"/>
              <a:gd name="T89" fmla="*/ 8017 h 8219"/>
              <a:gd name="T90" fmla="*/ 3756 w 8218"/>
              <a:gd name="T91" fmla="*/ 8219 h 8219"/>
              <a:gd name="T92" fmla="*/ 4081 w 8218"/>
              <a:gd name="T93" fmla="*/ 7550 h 8219"/>
              <a:gd name="T94" fmla="*/ 4408 w 8218"/>
              <a:gd name="T95" fmla="*/ 7537 h 8219"/>
              <a:gd name="T96" fmla="*/ 4520 w 8218"/>
              <a:gd name="T97" fmla="*/ 7524 h 8219"/>
              <a:gd name="T98" fmla="*/ 4917 w 8218"/>
              <a:gd name="T99" fmla="*/ 8155 h 8219"/>
              <a:gd name="T100" fmla="*/ 5859 w 8218"/>
              <a:gd name="T101" fmla="*/ 7847 h 8219"/>
              <a:gd name="T102" fmla="*/ 5805 w 8218"/>
              <a:gd name="T103" fmla="*/ 7104 h 8219"/>
              <a:gd name="T104" fmla="*/ 6174 w 8218"/>
              <a:gd name="T105" fmla="*/ 6862 h 8219"/>
              <a:gd name="T106" fmla="*/ 6832 w 8218"/>
              <a:gd name="T107" fmla="*/ 7208 h 8219"/>
              <a:gd name="T108" fmla="*/ 7492 w 8218"/>
              <a:gd name="T109" fmla="*/ 6470 h 8219"/>
              <a:gd name="T110" fmla="*/ 7075 w 8218"/>
              <a:gd name="T111" fmla="*/ 5854 h 8219"/>
              <a:gd name="T112" fmla="*/ 7274 w 8218"/>
              <a:gd name="T113" fmla="*/ 5461 h 8219"/>
              <a:gd name="T114" fmla="*/ 8017 w 8218"/>
              <a:gd name="T115" fmla="*/ 5432 h 8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8" h="8219">
                <a:moveTo>
                  <a:pt x="4109" y="6534"/>
                </a:moveTo>
                <a:cubicBezTo>
                  <a:pt x="2772" y="6534"/>
                  <a:pt x="1684" y="5447"/>
                  <a:pt x="1684" y="4109"/>
                </a:cubicBezTo>
                <a:cubicBezTo>
                  <a:pt x="1684" y="2772"/>
                  <a:pt x="2772" y="1684"/>
                  <a:pt x="4109" y="1684"/>
                </a:cubicBezTo>
                <a:cubicBezTo>
                  <a:pt x="5446" y="1684"/>
                  <a:pt x="6534" y="2772"/>
                  <a:pt x="6534" y="4109"/>
                </a:cubicBezTo>
                <a:cubicBezTo>
                  <a:pt x="6534" y="5447"/>
                  <a:pt x="5446" y="6534"/>
                  <a:pt x="4109" y="6534"/>
                </a:cubicBezTo>
                <a:close/>
                <a:moveTo>
                  <a:pt x="8017" y="5432"/>
                </a:moveTo>
                <a:cubicBezTo>
                  <a:pt x="8122" y="5122"/>
                  <a:pt x="8190" y="4797"/>
                  <a:pt x="8218" y="4462"/>
                </a:cubicBezTo>
                <a:lnTo>
                  <a:pt x="7550" y="4138"/>
                </a:lnTo>
                <a:cubicBezTo>
                  <a:pt x="7551" y="4030"/>
                  <a:pt x="7547" y="3921"/>
                  <a:pt x="7537" y="3811"/>
                </a:cubicBezTo>
                <a:cubicBezTo>
                  <a:pt x="7534" y="3773"/>
                  <a:pt x="7529" y="3736"/>
                  <a:pt x="7525" y="3698"/>
                </a:cubicBezTo>
                <a:lnTo>
                  <a:pt x="8154" y="3300"/>
                </a:lnTo>
                <a:cubicBezTo>
                  <a:pt x="8088" y="2970"/>
                  <a:pt x="7984" y="2655"/>
                  <a:pt x="7846" y="2360"/>
                </a:cubicBezTo>
                <a:lnTo>
                  <a:pt x="7103" y="2414"/>
                </a:lnTo>
                <a:cubicBezTo>
                  <a:pt x="7031" y="2285"/>
                  <a:pt x="6950" y="2162"/>
                  <a:pt x="6862" y="2044"/>
                </a:cubicBezTo>
                <a:lnTo>
                  <a:pt x="7207" y="1387"/>
                </a:lnTo>
                <a:cubicBezTo>
                  <a:pt x="6989" y="1138"/>
                  <a:pt x="6741" y="917"/>
                  <a:pt x="6470" y="727"/>
                </a:cubicBezTo>
                <a:lnTo>
                  <a:pt x="5854" y="1144"/>
                </a:lnTo>
                <a:cubicBezTo>
                  <a:pt x="5728" y="1070"/>
                  <a:pt x="5596" y="1003"/>
                  <a:pt x="5460" y="944"/>
                </a:cubicBezTo>
                <a:lnTo>
                  <a:pt x="5431" y="202"/>
                </a:lnTo>
                <a:cubicBezTo>
                  <a:pt x="5122" y="97"/>
                  <a:pt x="4796" y="28"/>
                  <a:pt x="4462" y="0"/>
                </a:cubicBezTo>
                <a:lnTo>
                  <a:pt x="4138" y="669"/>
                </a:lnTo>
                <a:cubicBezTo>
                  <a:pt x="4030" y="668"/>
                  <a:pt x="3921" y="672"/>
                  <a:pt x="3811" y="682"/>
                </a:cubicBezTo>
                <a:cubicBezTo>
                  <a:pt x="3772" y="685"/>
                  <a:pt x="3735" y="690"/>
                  <a:pt x="3698" y="694"/>
                </a:cubicBezTo>
                <a:lnTo>
                  <a:pt x="3301" y="64"/>
                </a:lnTo>
                <a:cubicBezTo>
                  <a:pt x="2970" y="130"/>
                  <a:pt x="2655" y="234"/>
                  <a:pt x="2360" y="373"/>
                </a:cubicBezTo>
                <a:lnTo>
                  <a:pt x="2414" y="1115"/>
                </a:lnTo>
                <a:cubicBezTo>
                  <a:pt x="2285" y="1188"/>
                  <a:pt x="2161" y="1269"/>
                  <a:pt x="2045" y="1357"/>
                </a:cubicBezTo>
                <a:lnTo>
                  <a:pt x="1386" y="1011"/>
                </a:lnTo>
                <a:cubicBezTo>
                  <a:pt x="1138" y="1230"/>
                  <a:pt x="916" y="1478"/>
                  <a:pt x="727" y="1749"/>
                </a:cubicBezTo>
                <a:lnTo>
                  <a:pt x="1145" y="2365"/>
                </a:lnTo>
                <a:cubicBezTo>
                  <a:pt x="1070" y="2491"/>
                  <a:pt x="1002" y="2623"/>
                  <a:pt x="944" y="2758"/>
                </a:cubicBezTo>
                <a:lnTo>
                  <a:pt x="202" y="2787"/>
                </a:lnTo>
                <a:cubicBezTo>
                  <a:pt x="96" y="3097"/>
                  <a:pt x="28" y="3422"/>
                  <a:pt x="0" y="3757"/>
                </a:cubicBezTo>
                <a:lnTo>
                  <a:pt x="669" y="4081"/>
                </a:lnTo>
                <a:cubicBezTo>
                  <a:pt x="668" y="4189"/>
                  <a:pt x="672" y="4298"/>
                  <a:pt x="681" y="4408"/>
                </a:cubicBezTo>
                <a:cubicBezTo>
                  <a:pt x="685" y="4446"/>
                  <a:pt x="689" y="4483"/>
                  <a:pt x="694" y="4521"/>
                </a:cubicBezTo>
                <a:lnTo>
                  <a:pt x="65" y="4918"/>
                </a:lnTo>
                <a:cubicBezTo>
                  <a:pt x="131" y="5248"/>
                  <a:pt x="234" y="5564"/>
                  <a:pt x="373" y="5859"/>
                </a:cubicBezTo>
                <a:lnTo>
                  <a:pt x="1115" y="5805"/>
                </a:lnTo>
                <a:cubicBezTo>
                  <a:pt x="1188" y="5933"/>
                  <a:pt x="1269" y="6057"/>
                  <a:pt x="1357" y="6174"/>
                </a:cubicBezTo>
                <a:lnTo>
                  <a:pt x="1011" y="6832"/>
                </a:lnTo>
                <a:cubicBezTo>
                  <a:pt x="1229" y="7081"/>
                  <a:pt x="1478" y="7302"/>
                  <a:pt x="1749" y="7492"/>
                </a:cubicBezTo>
                <a:lnTo>
                  <a:pt x="2365" y="7074"/>
                </a:lnTo>
                <a:cubicBezTo>
                  <a:pt x="2491" y="7149"/>
                  <a:pt x="2622" y="7216"/>
                  <a:pt x="2758" y="7274"/>
                </a:cubicBezTo>
                <a:lnTo>
                  <a:pt x="2787" y="8017"/>
                </a:lnTo>
                <a:cubicBezTo>
                  <a:pt x="3097" y="8122"/>
                  <a:pt x="3421" y="8191"/>
                  <a:pt x="3756" y="8219"/>
                </a:cubicBezTo>
                <a:lnTo>
                  <a:pt x="4081" y="7550"/>
                </a:lnTo>
                <a:cubicBezTo>
                  <a:pt x="4189" y="7551"/>
                  <a:pt x="4298" y="7547"/>
                  <a:pt x="4408" y="7537"/>
                </a:cubicBezTo>
                <a:cubicBezTo>
                  <a:pt x="4446" y="7534"/>
                  <a:pt x="4483" y="7529"/>
                  <a:pt x="4520" y="7524"/>
                </a:cubicBezTo>
                <a:lnTo>
                  <a:pt x="4917" y="8155"/>
                </a:lnTo>
                <a:cubicBezTo>
                  <a:pt x="5249" y="8089"/>
                  <a:pt x="5564" y="7985"/>
                  <a:pt x="5859" y="7847"/>
                </a:cubicBezTo>
                <a:lnTo>
                  <a:pt x="5805" y="7104"/>
                </a:lnTo>
                <a:cubicBezTo>
                  <a:pt x="5933" y="7030"/>
                  <a:pt x="6057" y="6950"/>
                  <a:pt x="6174" y="6862"/>
                </a:cubicBezTo>
                <a:lnTo>
                  <a:pt x="6832" y="7208"/>
                </a:lnTo>
                <a:cubicBezTo>
                  <a:pt x="7080" y="6989"/>
                  <a:pt x="7302" y="6741"/>
                  <a:pt x="7492" y="6470"/>
                </a:cubicBezTo>
                <a:lnTo>
                  <a:pt x="7075" y="5854"/>
                </a:lnTo>
                <a:cubicBezTo>
                  <a:pt x="7149" y="5728"/>
                  <a:pt x="7216" y="5596"/>
                  <a:pt x="7274" y="5461"/>
                </a:cubicBezTo>
                <a:lnTo>
                  <a:pt x="8017" y="5432"/>
                </a:lnTo>
              </a:path>
            </a:pathLst>
          </a:custGeom>
          <a:solidFill>
            <a:schemeClr val="accent4"/>
          </a:solidFill>
          <a:ln>
            <a:noFill/>
          </a:ln>
        </p:spPr>
        <p:txBody>
          <a:bodyPr vert="horz" wrap="square" lIns="91392" tIns="45696" rIns="91392" bIns="45696" numCol="1" anchor="t" anchorCtr="0" compatLnSpc="1">
            <a:prstTxWarp prst="textNoShape">
              <a:avLst/>
            </a:prstTxWarp>
          </a:bodyPr>
          <a:lstStyle/>
          <a:p>
            <a:endParaRPr lang="en-US" sz="1799"/>
          </a:p>
        </p:txBody>
      </p:sp>
      <p:sp>
        <p:nvSpPr>
          <p:cNvPr id="79" name="Oval 78">
            <a:extLst>
              <a:ext uri="{FF2B5EF4-FFF2-40B4-BE49-F238E27FC236}">
                <a16:creationId xmlns:a16="http://schemas.microsoft.com/office/drawing/2014/main" id="{846A97E5-00D9-93E1-DEAC-406132671176}"/>
              </a:ext>
            </a:extLst>
          </p:cNvPr>
          <p:cNvSpPr/>
          <p:nvPr/>
        </p:nvSpPr>
        <p:spPr>
          <a:xfrm>
            <a:off x="666409" y="1813617"/>
            <a:ext cx="1355336" cy="1355336"/>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a:p>
        </p:txBody>
      </p:sp>
      <p:pic>
        <p:nvPicPr>
          <p:cNvPr id="80" name="Graphic 79" descr="Puzzle">
            <a:extLst>
              <a:ext uri="{FF2B5EF4-FFF2-40B4-BE49-F238E27FC236}">
                <a16:creationId xmlns:a16="http://schemas.microsoft.com/office/drawing/2014/main" id="{0EB3FE00-B394-42D2-7414-B69EC27FBC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7115" y="2016949"/>
            <a:ext cx="913924" cy="913924"/>
          </a:xfrm>
          <a:prstGeom prst="rect">
            <a:avLst/>
          </a:prstGeom>
        </p:spPr>
      </p:pic>
      <p:sp>
        <p:nvSpPr>
          <p:cNvPr id="81" name="Oval 80">
            <a:extLst>
              <a:ext uri="{FF2B5EF4-FFF2-40B4-BE49-F238E27FC236}">
                <a16:creationId xmlns:a16="http://schemas.microsoft.com/office/drawing/2014/main" id="{9C2C3489-B09F-15AE-9927-78E094D76858}"/>
              </a:ext>
            </a:extLst>
          </p:cNvPr>
          <p:cNvSpPr/>
          <p:nvPr/>
        </p:nvSpPr>
        <p:spPr>
          <a:xfrm>
            <a:off x="2300243" y="3706504"/>
            <a:ext cx="1355336" cy="1355336"/>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2" name="Oval 81">
            <a:extLst>
              <a:ext uri="{FF2B5EF4-FFF2-40B4-BE49-F238E27FC236}">
                <a16:creationId xmlns:a16="http://schemas.microsoft.com/office/drawing/2014/main" id="{A20664FC-F31E-A59C-B27A-5CB104DBA51D}"/>
              </a:ext>
            </a:extLst>
          </p:cNvPr>
          <p:cNvSpPr/>
          <p:nvPr/>
        </p:nvSpPr>
        <p:spPr>
          <a:xfrm>
            <a:off x="5583882" y="3706504"/>
            <a:ext cx="1355336" cy="1355336"/>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a:p>
        </p:txBody>
      </p:sp>
      <p:sp>
        <p:nvSpPr>
          <p:cNvPr id="83" name="Oval 82">
            <a:extLst>
              <a:ext uri="{FF2B5EF4-FFF2-40B4-BE49-F238E27FC236}">
                <a16:creationId xmlns:a16="http://schemas.microsoft.com/office/drawing/2014/main" id="{1607CB50-220C-3C8A-F3A3-69622DDF0A5A}"/>
              </a:ext>
            </a:extLst>
          </p:cNvPr>
          <p:cNvSpPr/>
          <p:nvPr/>
        </p:nvSpPr>
        <p:spPr>
          <a:xfrm>
            <a:off x="3861562" y="1796243"/>
            <a:ext cx="1355336" cy="1355336"/>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a:p>
        </p:txBody>
      </p:sp>
      <p:sp>
        <p:nvSpPr>
          <p:cNvPr id="84" name="Oval 83">
            <a:extLst>
              <a:ext uri="{FF2B5EF4-FFF2-40B4-BE49-F238E27FC236}">
                <a16:creationId xmlns:a16="http://schemas.microsoft.com/office/drawing/2014/main" id="{30BC6CBB-FC89-2570-4945-99A47F34EA59}"/>
              </a:ext>
            </a:extLst>
          </p:cNvPr>
          <p:cNvSpPr/>
          <p:nvPr/>
        </p:nvSpPr>
        <p:spPr>
          <a:xfrm>
            <a:off x="7057560" y="1799387"/>
            <a:ext cx="1355336" cy="1355336"/>
          </a:xfrm>
          <a:prstGeom prst="ellipse">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9"/>
          </a:p>
        </p:txBody>
      </p:sp>
      <p:pic>
        <p:nvPicPr>
          <p:cNvPr id="85" name="Graphic 84" descr="Trophy">
            <a:extLst>
              <a:ext uri="{FF2B5EF4-FFF2-40B4-BE49-F238E27FC236}">
                <a16:creationId xmlns:a16="http://schemas.microsoft.com/office/drawing/2014/main" id="{EF361047-4FAA-2174-C0CD-DB8EC2C54F7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78266" y="2016949"/>
            <a:ext cx="913924" cy="913924"/>
          </a:xfrm>
          <a:prstGeom prst="rect">
            <a:avLst/>
          </a:prstGeom>
        </p:spPr>
      </p:pic>
      <p:pic>
        <p:nvPicPr>
          <p:cNvPr id="86" name="Graphic 85" descr="Coins">
            <a:extLst>
              <a:ext uri="{FF2B5EF4-FFF2-40B4-BE49-F238E27FC236}">
                <a16:creationId xmlns:a16="http://schemas.microsoft.com/office/drawing/2014/main" id="{B25E92E5-B4F9-5893-7C78-8BB32D66387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82268" y="2016949"/>
            <a:ext cx="913924" cy="913924"/>
          </a:xfrm>
          <a:prstGeom prst="rect">
            <a:avLst/>
          </a:prstGeom>
        </p:spPr>
      </p:pic>
      <p:pic>
        <p:nvPicPr>
          <p:cNvPr id="87" name="Graphic 86" descr="Atom">
            <a:extLst>
              <a:ext uri="{FF2B5EF4-FFF2-40B4-BE49-F238E27FC236}">
                <a16:creationId xmlns:a16="http://schemas.microsoft.com/office/drawing/2014/main" id="{10664BAC-0A96-D886-1745-13A4EB13FC8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05495" y="3927210"/>
            <a:ext cx="913924" cy="913924"/>
          </a:xfrm>
          <a:prstGeom prst="rect">
            <a:avLst/>
          </a:prstGeom>
        </p:spPr>
      </p:pic>
      <p:pic>
        <p:nvPicPr>
          <p:cNvPr id="88" name="Graphic 87" descr="Lightbulb">
            <a:extLst>
              <a:ext uri="{FF2B5EF4-FFF2-40B4-BE49-F238E27FC236}">
                <a16:creationId xmlns:a16="http://schemas.microsoft.com/office/drawing/2014/main" id="{DAA4C5E1-B2BE-8D1D-908B-90162682D7C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26333" y="3927210"/>
            <a:ext cx="913924" cy="913924"/>
          </a:xfrm>
          <a:prstGeom prst="rect">
            <a:avLst/>
          </a:prstGeom>
        </p:spPr>
      </p:pic>
    </p:spTree>
    <p:extLst>
      <p:ext uri="{BB962C8B-B14F-4D97-AF65-F5344CB8AC3E}">
        <p14:creationId xmlns:p14="http://schemas.microsoft.com/office/powerpoint/2010/main" val="513553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FE896-BEFB-A992-7F0C-2592ACDE7B6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CBA55090-781C-60AE-2282-54D9EB22C502}"/>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3" name="Freeform: Shape 2">
            <a:extLst>
              <a:ext uri="{FF2B5EF4-FFF2-40B4-BE49-F238E27FC236}">
                <a16:creationId xmlns:a16="http://schemas.microsoft.com/office/drawing/2014/main" id="{B183E389-BA9B-F2FC-7651-F08302329D7A}"/>
              </a:ext>
            </a:extLst>
          </p:cNvPr>
          <p:cNvSpPr/>
          <p:nvPr/>
        </p:nvSpPr>
        <p:spPr>
          <a:xfrm>
            <a:off x="2195601" y="4846967"/>
            <a:ext cx="1116115" cy="982543"/>
          </a:xfrm>
          <a:custGeom>
            <a:avLst/>
            <a:gdLst>
              <a:gd name="connsiteX0" fmla="*/ 350943 w 1116696"/>
              <a:gd name="connsiteY0" fmla="*/ 0 h 983055"/>
              <a:gd name="connsiteX1" fmla="*/ 363618 w 1116696"/>
              <a:gd name="connsiteY1" fmla="*/ 9479 h 983055"/>
              <a:gd name="connsiteX2" fmla="*/ 1011143 w 1116696"/>
              <a:gd name="connsiteY2" fmla="*/ 244218 h 983055"/>
              <a:gd name="connsiteX3" fmla="*/ 1116696 w 1116696"/>
              <a:gd name="connsiteY3" fmla="*/ 249548 h 983055"/>
              <a:gd name="connsiteX4" fmla="*/ 1116696 w 1116696"/>
              <a:gd name="connsiteY4" fmla="*/ 983055 h 983055"/>
              <a:gd name="connsiteX5" fmla="*/ 93612 w 1116696"/>
              <a:gd name="connsiteY5" fmla="*/ 704629 h 983055"/>
              <a:gd name="connsiteX6" fmla="*/ 35748 w 1116696"/>
              <a:gd name="connsiteY6" fmla="*/ 433981 h 98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6696" h="983055">
                <a:moveTo>
                  <a:pt x="350943" y="0"/>
                </a:moveTo>
                <a:lnTo>
                  <a:pt x="363618" y="9479"/>
                </a:lnTo>
                <a:cubicBezTo>
                  <a:pt x="552123" y="136831"/>
                  <a:pt x="772912" y="220024"/>
                  <a:pt x="1011143" y="244218"/>
                </a:cubicBezTo>
                <a:lnTo>
                  <a:pt x="1116696" y="249548"/>
                </a:lnTo>
                <a:lnTo>
                  <a:pt x="1116696" y="983055"/>
                </a:lnTo>
                <a:cubicBezTo>
                  <a:pt x="744400" y="978369"/>
                  <a:pt x="397108" y="878235"/>
                  <a:pt x="93612" y="704629"/>
                </a:cubicBezTo>
                <a:cubicBezTo>
                  <a:pt x="-1838" y="649853"/>
                  <a:pt x="-29974" y="523151"/>
                  <a:pt x="35748" y="433981"/>
                </a:cubicBezTo>
                <a:close/>
              </a:path>
            </a:pathLst>
          </a:custGeom>
          <a:solidFill>
            <a:schemeClr val="accent5"/>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4" name="Freeform: Shape 3">
            <a:extLst>
              <a:ext uri="{FF2B5EF4-FFF2-40B4-BE49-F238E27FC236}">
                <a16:creationId xmlns:a16="http://schemas.microsoft.com/office/drawing/2014/main" id="{E3610275-097F-5C21-6E32-432D4DADA3EA}"/>
              </a:ext>
            </a:extLst>
          </p:cNvPr>
          <p:cNvSpPr/>
          <p:nvPr/>
        </p:nvSpPr>
        <p:spPr>
          <a:xfrm>
            <a:off x="2117446" y="1545860"/>
            <a:ext cx="1196085" cy="969479"/>
          </a:xfrm>
          <a:custGeom>
            <a:avLst/>
            <a:gdLst>
              <a:gd name="connsiteX0" fmla="*/ 990221 w 1196708"/>
              <a:gd name="connsiteY0" fmla="*/ 1216 h 969984"/>
              <a:gd name="connsiteX1" fmla="*/ 1196708 w 1196708"/>
              <a:gd name="connsiteY1" fmla="*/ 185787 h 969984"/>
              <a:gd name="connsiteX2" fmla="*/ 1196708 w 1196708"/>
              <a:gd name="connsiteY2" fmla="*/ 721616 h 969984"/>
              <a:gd name="connsiteX3" fmla="*/ 1089339 w 1196708"/>
              <a:gd name="connsiteY3" fmla="*/ 727038 h 969984"/>
              <a:gd name="connsiteX4" fmla="*/ 441814 w 1196708"/>
              <a:gd name="connsiteY4" fmla="*/ 961776 h 969984"/>
              <a:gd name="connsiteX5" fmla="*/ 430839 w 1196708"/>
              <a:gd name="connsiteY5" fmla="*/ 969984 h 969984"/>
              <a:gd name="connsiteX6" fmla="*/ 0 w 1196708"/>
              <a:gd name="connsiteY6" fmla="*/ 376626 h 969984"/>
              <a:gd name="connsiteX7" fmla="*/ 990221 w 1196708"/>
              <a:gd name="connsiteY7" fmla="*/ 1216 h 9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708" h="969984">
                <a:moveTo>
                  <a:pt x="990221" y="1216"/>
                </a:moveTo>
                <a:cubicBezTo>
                  <a:pt x="1099697" y="-11322"/>
                  <a:pt x="1196708" y="74717"/>
                  <a:pt x="1196708" y="185787"/>
                </a:cubicBezTo>
                <a:lnTo>
                  <a:pt x="1196708" y="721616"/>
                </a:lnTo>
                <a:lnTo>
                  <a:pt x="1089339" y="727038"/>
                </a:lnTo>
                <a:cubicBezTo>
                  <a:pt x="851108" y="751231"/>
                  <a:pt x="630319" y="834425"/>
                  <a:pt x="441814" y="961776"/>
                </a:cubicBezTo>
                <a:lnTo>
                  <a:pt x="430839" y="969984"/>
                </a:lnTo>
                <a:lnTo>
                  <a:pt x="0" y="376626"/>
                </a:lnTo>
                <a:cubicBezTo>
                  <a:pt x="286268" y="174839"/>
                  <a:pt x="624172" y="41873"/>
                  <a:pt x="990221" y="1216"/>
                </a:cubicBezTo>
                <a:close/>
              </a:path>
            </a:pathLst>
          </a:custGeom>
          <a:solidFill>
            <a:schemeClr val="accent6"/>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5" name="Freeform: Shape 4">
            <a:extLst>
              <a:ext uri="{FF2B5EF4-FFF2-40B4-BE49-F238E27FC236}">
                <a16:creationId xmlns:a16="http://schemas.microsoft.com/office/drawing/2014/main" id="{7AD67D18-692B-3A8F-4F12-942DE05FD7F2}"/>
              </a:ext>
            </a:extLst>
          </p:cNvPr>
          <p:cNvSpPr/>
          <p:nvPr/>
        </p:nvSpPr>
        <p:spPr>
          <a:xfrm>
            <a:off x="3383890" y="4850125"/>
            <a:ext cx="1116497" cy="979385"/>
          </a:xfrm>
          <a:custGeom>
            <a:avLst/>
            <a:gdLst>
              <a:gd name="connsiteX0" fmla="*/ 768036 w 1117079"/>
              <a:gd name="connsiteY0" fmla="*/ 0 h 979895"/>
              <a:gd name="connsiteX1" fmla="*/ 1080932 w 1117079"/>
              <a:gd name="connsiteY1" fmla="*/ 430821 h 979895"/>
              <a:gd name="connsiteX2" fmla="*/ 1023068 w 1117079"/>
              <a:gd name="connsiteY2" fmla="*/ 701422 h 979895"/>
              <a:gd name="connsiteX3" fmla="*/ 0 w 1117079"/>
              <a:gd name="connsiteY3" fmla="*/ 979895 h 979895"/>
              <a:gd name="connsiteX4" fmla="*/ 0 w 1117079"/>
              <a:gd name="connsiteY4" fmla="*/ 246716 h 979895"/>
              <a:gd name="connsiteX5" fmla="*/ 112061 w 1117079"/>
              <a:gd name="connsiteY5" fmla="*/ 241058 h 979895"/>
              <a:gd name="connsiteX6" fmla="*/ 759585 w 1117079"/>
              <a:gd name="connsiteY6" fmla="*/ 6319 h 97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7079" h="979895">
                <a:moveTo>
                  <a:pt x="768036" y="0"/>
                </a:moveTo>
                <a:lnTo>
                  <a:pt x="1080932" y="430821"/>
                </a:lnTo>
                <a:cubicBezTo>
                  <a:pt x="1146652" y="519991"/>
                  <a:pt x="1120056" y="646693"/>
                  <a:pt x="1023068" y="701422"/>
                </a:cubicBezTo>
                <a:cubicBezTo>
                  <a:pt x="719577" y="873529"/>
                  <a:pt x="372290" y="975209"/>
                  <a:pt x="0" y="979895"/>
                </a:cubicBezTo>
                <a:lnTo>
                  <a:pt x="0" y="246716"/>
                </a:lnTo>
                <a:lnTo>
                  <a:pt x="112061" y="241058"/>
                </a:lnTo>
                <a:cubicBezTo>
                  <a:pt x="350292" y="216864"/>
                  <a:pt x="571080" y="133671"/>
                  <a:pt x="759585" y="6319"/>
                </a:cubicBezTo>
                <a:close/>
              </a:path>
            </a:pathLst>
          </a:custGeom>
          <a:solidFill>
            <a:schemeClr val="accent5"/>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6" name="Freeform: Shape 5">
            <a:extLst>
              <a:ext uri="{FF2B5EF4-FFF2-40B4-BE49-F238E27FC236}">
                <a16:creationId xmlns:a16="http://schemas.microsoft.com/office/drawing/2014/main" id="{4555A1F7-C1D6-B81D-A248-63E9255968C1}"/>
              </a:ext>
            </a:extLst>
          </p:cNvPr>
          <p:cNvSpPr/>
          <p:nvPr/>
        </p:nvSpPr>
        <p:spPr>
          <a:xfrm>
            <a:off x="3383890" y="1545823"/>
            <a:ext cx="1196085" cy="967244"/>
          </a:xfrm>
          <a:custGeom>
            <a:avLst/>
            <a:gdLst>
              <a:gd name="connsiteX0" fmla="*/ 206488 w 1196708"/>
              <a:gd name="connsiteY0" fmla="*/ 1207 h 967748"/>
              <a:gd name="connsiteX1" fmla="*/ 1196708 w 1196708"/>
              <a:gd name="connsiteY1" fmla="*/ 376663 h 967748"/>
              <a:gd name="connsiteX2" fmla="*/ 767521 w 1196708"/>
              <a:gd name="connsiteY2" fmla="*/ 967748 h 967748"/>
              <a:gd name="connsiteX3" fmla="*/ 759585 w 1196708"/>
              <a:gd name="connsiteY3" fmla="*/ 961813 h 967748"/>
              <a:gd name="connsiteX4" fmla="*/ 112061 w 1196708"/>
              <a:gd name="connsiteY4" fmla="*/ 727075 h 967748"/>
              <a:gd name="connsiteX5" fmla="*/ 0 w 1196708"/>
              <a:gd name="connsiteY5" fmla="*/ 721416 h 967748"/>
              <a:gd name="connsiteX6" fmla="*/ 0 w 1196708"/>
              <a:gd name="connsiteY6" fmla="*/ 185824 h 967748"/>
              <a:gd name="connsiteX7" fmla="*/ 206488 w 1196708"/>
              <a:gd name="connsiteY7" fmla="*/ 1207 h 96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708" h="967748">
                <a:moveTo>
                  <a:pt x="206488" y="1207"/>
                </a:moveTo>
                <a:cubicBezTo>
                  <a:pt x="572536" y="41911"/>
                  <a:pt x="910440" y="174876"/>
                  <a:pt x="1196708" y="376663"/>
                </a:cubicBezTo>
                <a:lnTo>
                  <a:pt x="767521" y="967748"/>
                </a:lnTo>
                <a:lnTo>
                  <a:pt x="759585" y="961813"/>
                </a:lnTo>
                <a:cubicBezTo>
                  <a:pt x="571080" y="834462"/>
                  <a:pt x="350292" y="751268"/>
                  <a:pt x="112061" y="727075"/>
                </a:cubicBezTo>
                <a:lnTo>
                  <a:pt x="0" y="721416"/>
                </a:lnTo>
                <a:lnTo>
                  <a:pt x="0" y="185824"/>
                </a:lnTo>
                <a:cubicBezTo>
                  <a:pt x="0" y="74754"/>
                  <a:pt x="97011" y="-11285"/>
                  <a:pt x="206488" y="1207"/>
                </a:cubicBezTo>
                <a:close/>
              </a:path>
            </a:pathLst>
          </a:custGeom>
          <a:solidFill>
            <a:schemeClr val="accent4"/>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7" name="Freeform: Shape 6">
            <a:extLst>
              <a:ext uri="{FF2B5EF4-FFF2-40B4-BE49-F238E27FC236}">
                <a16:creationId xmlns:a16="http://schemas.microsoft.com/office/drawing/2014/main" id="{C0866189-E93C-C459-D6FB-AC244CFF68E2}"/>
              </a:ext>
            </a:extLst>
          </p:cNvPr>
          <p:cNvSpPr/>
          <p:nvPr/>
        </p:nvSpPr>
        <p:spPr>
          <a:xfrm>
            <a:off x="1204827" y="3098479"/>
            <a:ext cx="790177" cy="1205286"/>
          </a:xfrm>
          <a:custGeom>
            <a:avLst/>
            <a:gdLst>
              <a:gd name="connsiteX0" fmla="*/ 243681 w 790589"/>
              <a:gd name="connsiteY0" fmla="*/ 865 h 1205914"/>
              <a:gd name="connsiteX1" fmla="*/ 283161 w 790589"/>
              <a:gd name="connsiteY1" fmla="*/ 9194 h 1205914"/>
              <a:gd name="connsiteX2" fmla="*/ 790589 w 790589"/>
              <a:gd name="connsiteY2" fmla="*/ 174424 h 1205914"/>
              <a:gd name="connsiteX3" fmla="*/ 758821 w 790589"/>
              <a:gd name="connsiteY3" fmla="*/ 297972 h 1205914"/>
              <a:gd name="connsiteX4" fmla="*/ 730026 w 790589"/>
              <a:gd name="connsiteY4" fmla="*/ 583611 h 1205914"/>
              <a:gd name="connsiteX5" fmla="*/ 758821 w 790589"/>
              <a:gd name="connsiteY5" fmla="*/ 869250 h 1205914"/>
              <a:gd name="connsiteX6" fmla="*/ 787459 w 790589"/>
              <a:gd name="connsiteY6" fmla="*/ 980628 h 1205914"/>
              <a:gd name="connsiteX7" fmla="*/ 93877 w 790589"/>
              <a:gd name="connsiteY7" fmla="*/ 1205914 h 1205914"/>
              <a:gd name="connsiteX8" fmla="*/ 0 w 790589"/>
              <a:gd name="connsiteY8" fmla="*/ 577060 h 1205914"/>
              <a:gd name="connsiteX9" fmla="*/ 43784 w 790589"/>
              <a:gd name="connsiteY9" fmla="*/ 148382 h 1205914"/>
              <a:gd name="connsiteX10" fmla="*/ 243681 w 790589"/>
              <a:gd name="connsiteY10" fmla="*/ 865 h 120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89" h="1205914">
                <a:moveTo>
                  <a:pt x="243681" y="865"/>
                </a:moveTo>
                <a:cubicBezTo>
                  <a:pt x="256835" y="2152"/>
                  <a:pt x="270059" y="4890"/>
                  <a:pt x="283161" y="9194"/>
                </a:cubicBezTo>
                <a:lnTo>
                  <a:pt x="790589" y="174424"/>
                </a:lnTo>
                <a:lnTo>
                  <a:pt x="758821" y="297972"/>
                </a:lnTo>
                <a:cubicBezTo>
                  <a:pt x="739941" y="390236"/>
                  <a:pt x="730026" y="485766"/>
                  <a:pt x="730026" y="583611"/>
                </a:cubicBezTo>
                <a:cubicBezTo>
                  <a:pt x="730026" y="681457"/>
                  <a:pt x="739941" y="776986"/>
                  <a:pt x="758821" y="869250"/>
                </a:cubicBezTo>
                <a:lnTo>
                  <a:pt x="787459" y="980628"/>
                </a:lnTo>
                <a:lnTo>
                  <a:pt x="93877" y="1205914"/>
                </a:lnTo>
                <a:cubicBezTo>
                  <a:pt x="32848" y="1007221"/>
                  <a:pt x="0" y="796045"/>
                  <a:pt x="0" y="577060"/>
                </a:cubicBezTo>
                <a:cubicBezTo>
                  <a:pt x="0" y="430007"/>
                  <a:pt x="15640" y="287627"/>
                  <a:pt x="43784" y="148382"/>
                </a:cubicBezTo>
                <a:cubicBezTo>
                  <a:pt x="62956" y="53972"/>
                  <a:pt x="151602" y="-8144"/>
                  <a:pt x="243681" y="865"/>
                </a:cubicBezTo>
                <a:close/>
              </a:path>
            </a:pathLst>
          </a:custGeom>
          <a:solidFill>
            <a:schemeClr val="accent3"/>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8" name="Freeform: Shape 7">
            <a:extLst>
              <a:ext uri="{FF2B5EF4-FFF2-40B4-BE49-F238E27FC236}">
                <a16:creationId xmlns:a16="http://schemas.microsoft.com/office/drawing/2014/main" id="{78C2A20F-CC3E-4D45-4B3B-6D9A79622BF6}"/>
              </a:ext>
            </a:extLst>
          </p:cNvPr>
          <p:cNvSpPr/>
          <p:nvPr/>
        </p:nvSpPr>
        <p:spPr>
          <a:xfrm>
            <a:off x="4707107" y="3098480"/>
            <a:ext cx="790177" cy="1205287"/>
          </a:xfrm>
          <a:custGeom>
            <a:avLst/>
            <a:gdLst>
              <a:gd name="connsiteX0" fmla="*/ 546909 w 790589"/>
              <a:gd name="connsiteY0" fmla="*/ 865 h 1205915"/>
              <a:gd name="connsiteX1" fmla="*/ 746805 w 790589"/>
              <a:gd name="connsiteY1" fmla="*/ 148439 h 1205915"/>
              <a:gd name="connsiteX2" fmla="*/ 790589 w 790589"/>
              <a:gd name="connsiteY2" fmla="*/ 577061 h 1205915"/>
              <a:gd name="connsiteX3" fmla="*/ 696712 w 790589"/>
              <a:gd name="connsiteY3" fmla="*/ 1205915 h 1205915"/>
              <a:gd name="connsiteX4" fmla="*/ 3129 w 790589"/>
              <a:gd name="connsiteY4" fmla="*/ 980628 h 1205915"/>
              <a:gd name="connsiteX5" fmla="*/ 31767 w 790589"/>
              <a:gd name="connsiteY5" fmla="*/ 869251 h 1205915"/>
              <a:gd name="connsiteX6" fmla="*/ 60562 w 790589"/>
              <a:gd name="connsiteY6" fmla="*/ 583612 h 1205915"/>
              <a:gd name="connsiteX7" fmla="*/ 31767 w 790589"/>
              <a:gd name="connsiteY7" fmla="*/ 297973 h 1205915"/>
              <a:gd name="connsiteX8" fmla="*/ 0 w 790589"/>
              <a:gd name="connsiteY8" fmla="*/ 174424 h 1205915"/>
              <a:gd name="connsiteX9" fmla="*/ 507429 w 790589"/>
              <a:gd name="connsiteY9" fmla="*/ 9194 h 1205915"/>
              <a:gd name="connsiteX10" fmla="*/ 546909 w 790589"/>
              <a:gd name="connsiteY10" fmla="*/ 865 h 12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89" h="1205915">
                <a:moveTo>
                  <a:pt x="546909" y="865"/>
                </a:moveTo>
                <a:cubicBezTo>
                  <a:pt x="638987" y="-8144"/>
                  <a:pt x="727633" y="53980"/>
                  <a:pt x="746805" y="148439"/>
                </a:cubicBezTo>
                <a:cubicBezTo>
                  <a:pt x="774949" y="286088"/>
                  <a:pt x="790589" y="430007"/>
                  <a:pt x="790589" y="577061"/>
                </a:cubicBezTo>
                <a:cubicBezTo>
                  <a:pt x="790589" y="796045"/>
                  <a:pt x="757742" y="1007222"/>
                  <a:pt x="696712" y="1205915"/>
                </a:cubicBezTo>
                <a:lnTo>
                  <a:pt x="3129" y="980628"/>
                </a:lnTo>
                <a:lnTo>
                  <a:pt x="31767" y="869251"/>
                </a:lnTo>
                <a:cubicBezTo>
                  <a:pt x="50647" y="776987"/>
                  <a:pt x="60562" y="681458"/>
                  <a:pt x="60562" y="583612"/>
                </a:cubicBezTo>
                <a:cubicBezTo>
                  <a:pt x="60562" y="485767"/>
                  <a:pt x="50647" y="390237"/>
                  <a:pt x="31767" y="297973"/>
                </a:cubicBezTo>
                <a:lnTo>
                  <a:pt x="0" y="174424"/>
                </a:lnTo>
                <a:lnTo>
                  <a:pt x="507429" y="9194"/>
                </a:lnTo>
                <a:cubicBezTo>
                  <a:pt x="520530" y="4890"/>
                  <a:pt x="533755" y="2152"/>
                  <a:pt x="546909" y="865"/>
                </a:cubicBezTo>
                <a:close/>
              </a:path>
            </a:pathLst>
          </a:custGeom>
          <a:solidFill>
            <a:schemeClr val="accent2"/>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9" name="Freeform: Shape 8">
            <a:extLst>
              <a:ext uri="{FF2B5EF4-FFF2-40B4-BE49-F238E27FC236}">
                <a16:creationId xmlns:a16="http://schemas.microsoft.com/office/drawing/2014/main" id="{E757A999-AB9D-602A-0F91-BE1924517D76}"/>
              </a:ext>
            </a:extLst>
          </p:cNvPr>
          <p:cNvSpPr/>
          <p:nvPr/>
        </p:nvSpPr>
        <p:spPr>
          <a:xfrm>
            <a:off x="4218274" y="4143538"/>
            <a:ext cx="1165553" cy="1160570"/>
          </a:xfrm>
          <a:custGeom>
            <a:avLst/>
            <a:gdLst>
              <a:gd name="connsiteX0" fmla="*/ 471098 w 1166160"/>
              <a:gd name="connsiteY0" fmla="*/ 0 h 1161174"/>
              <a:gd name="connsiteX1" fmla="*/ 1166160 w 1166160"/>
              <a:gd name="connsiteY1" fmla="*/ 227248 h 1161174"/>
              <a:gd name="connsiteX2" fmla="*/ 585771 w 1166160"/>
              <a:gd name="connsiteY2" fmla="*/ 1112626 h 1161174"/>
              <a:gd name="connsiteX3" fmla="*/ 310449 w 1166160"/>
              <a:gd name="connsiteY3" fmla="*/ 1084464 h 1161174"/>
              <a:gd name="connsiteX4" fmla="*/ 0 w 1166160"/>
              <a:gd name="connsiteY4" fmla="*/ 657014 h 1161174"/>
              <a:gd name="connsiteX5" fmla="*/ 33876 w 1166160"/>
              <a:gd name="connsiteY5" fmla="*/ 631682 h 1161174"/>
              <a:gd name="connsiteX6" fmla="*/ 438269 w 1166160"/>
              <a:gd name="connsiteY6" fmla="*/ 89694 h 116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160" h="1161174">
                <a:moveTo>
                  <a:pt x="471098" y="0"/>
                </a:moveTo>
                <a:lnTo>
                  <a:pt x="1166160" y="227248"/>
                </a:lnTo>
                <a:cubicBezTo>
                  <a:pt x="1048835" y="569812"/>
                  <a:pt x="847021" y="873270"/>
                  <a:pt x="585771" y="1112626"/>
                </a:cubicBezTo>
                <a:cubicBezTo>
                  <a:pt x="504427" y="1187727"/>
                  <a:pt x="376175" y="1173673"/>
                  <a:pt x="310449" y="1084464"/>
                </a:cubicBezTo>
                <a:lnTo>
                  <a:pt x="0" y="657014"/>
                </a:lnTo>
                <a:lnTo>
                  <a:pt x="33876" y="631682"/>
                </a:lnTo>
                <a:cubicBezTo>
                  <a:pt x="208874" y="487261"/>
                  <a:pt x="348619" y="301651"/>
                  <a:pt x="438269" y="89694"/>
                </a:cubicBezTo>
                <a:close/>
              </a:path>
            </a:pathLst>
          </a:custGeom>
          <a:solidFill>
            <a:schemeClr val="accent2"/>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1" name="Freeform: Shape 10">
            <a:extLst>
              <a:ext uri="{FF2B5EF4-FFF2-40B4-BE49-F238E27FC236}">
                <a16:creationId xmlns:a16="http://schemas.microsoft.com/office/drawing/2014/main" id="{4C61FD76-826D-F580-C34F-027DB2C1826D}"/>
              </a:ext>
            </a:extLst>
          </p:cNvPr>
          <p:cNvSpPr/>
          <p:nvPr/>
        </p:nvSpPr>
        <p:spPr>
          <a:xfrm>
            <a:off x="1318284" y="4149122"/>
            <a:ext cx="1168490" cy="1159755"/>
          </a:xfrm>
          <a:custGeom>
            <a:avLst/>
            <a:gdLst>
              <a:gd name="connsiteX0" fmla="*/ 697107 w 1169099"/>
              <a:gd name="connsiteY0" fmla="*/ 0 h 1160359"/>
              <a:gd name="connsiteX1" fmla="*/ 727891 w 1169099"/>
              <a:gd name="connsiteY1" fmla="*/ 84108 h 1160359"/>
              <a:gd name="connsiteX2" fmla="*/ 1132284 w 1169099"/>
              <a:gd name="connsiteY2" fmla="*/ 626096 h 1160359"/>
              <a:gd name="connsiteX3" fmla="*/ 1169099 w 1169099"/>
              <a:gd name="connsiteY3" fmla="*/ 653626 h 1160359"/>
              <a:gd name="connsiteX4" fmla="*/ 855713 w 1169099"/>
              <a:gd name="connsiteY4" fmla="*/ 1083684 h 1160359"/>
              <a:gd name="connsiteX5" fmla="*/ 580391 w 1169099"/>
              <a:gd name="connsiteY5" fmla="*/ 1111810 h 1160359"/>
              <a:gd name="connsiteX6" fmla="*/ 0 w 1169099"/>
              <a:gd name="connsiteY6" fmla="*/ 226408 h 116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9099" h="1160359">
                <a:moveTo>
                  <a:pt x="697107" y="0"/>
                </a:moveTo>
                <a:lnTo>
                  <a:pt x="727891" y="84108"/>
                </a:lnTo>
                <a:cubicBezTo>
                  <a:pt x="817542" y="296065"/>
                  <a:pt x="957287" y="481675"/>
                  <a:pt x="1132284" y="626096"/>
                </a:cubicBezTo>
                <a:lnTo>
                  <a:pt x="1169099" y="653626"/>
                </a:lnTo>
                <a:lnTo>
                  <a:pt x="855713" y="1083684"/>
                </a:lnTo>
                <a:cubicBezTo>
                  <a:pt x="791532" y="1172834"/>
                  <a:pt x="661735" y="1186925"/>
                  <a:pt x="580391" y="1111810"/>
                </a:cubicBezTo>
                <a:cubicBezTo>
                  <a:pt x="319140" y="872485"/>
                  <a:pt x="117325" y="569030"/>
                  <a:pt x="0" y="226408"/>
                </a:cubicBezTo>
                <a:close/>
              </a:path>
            </a:pathLst>
          </a:custGeom>
          <a:solidFill>
            <a:schemeClr val="accent3"/>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2" name="Freeform: Shape 11">
            <a:extLst>
              <a:ext uri="{FF2B5EF4-FFF2-40B4-BE49-F238E27FC236}">
                <a16:creationId xmlns:a16="http://schemas.microsoft.com/office/drawing/2014/main" id="{495EA0E2-12B9-0E8B-4A81-648182575840}"/>
              </a:ext>
            </a:extLst>
          </p:cNvPr>
          <p:cNvSpPr/>
          <p:nvPr/>
        </p:nvSpPr>
        <p:spPr>
          <a:xfrm>
            <a:off x="1383599" y="1964271"/>
            <a:ext cx="1109435" cy="1243141"/>
          </a:xfrm>
          <a:custGeom>
            <a:avLst/>
            <a:gdLst>
              <a:gd name="connsiteX0" fmla="*/ 679770 w 1110013"/>
              <a:gd name="connsiteY0" fmla="*/ 0 h 1243788"/>
              <a:gd name="connsiteX1" fmla="*/ 1110013 w 1110013"/>
              <a:gd name="connsiteY1" fmla="*/ 592524 h 1243788"/>
              <a:gd name="connsiteX2" fmla="*/ 1066934 w 1110013"/>
              <a:gd name="connsiteY2" fmla="*/ 624738 h 1243788"/>
              <a:gd name="connsiteX3" fmla="*/ 662541 w 1110013"/>
              <a:gd name="connsiteY3" fmla="*/ 1166726 h 1243788"/>
              <a:gd name="connsiteX4" fmla="*/ 634336 w 1110013"/>
              <a:gd name="connsiteY4" fmla="*/ 1243788 h 1243788"/>
              <a:gd name="connsiteX5" fmla="*/ 129126 w 1110013"/>
              <a:gd name="connsiteY5" fmla="*/ 1077794 h 1243788"/>
              <a:gd name="connsiteX6" fmla="*/ 16492 w 1110013"/>
              <a:gd name="connsiteY6" fmla="*/ 824411 h 1243788"/>
              <a:gd name="connsiteX7" fmla="*/ 679770 w 1110013"/>
              <a:gd name="connsiteY7" fmla="*/ 0 h 124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0013" h="1243788">
                <a:moveTo>
                  <a:pt x="679770" y="0"/>
                </a:moveTo>
                <a:lnTo>
                  <a:pt x="1110013" y="592524"/>
                </a:lnTo>
                <a:lnTo>
                  <a:pt x="1066934" y="624738"/>
                </a:lnTo>
                <a:cubicBezTo>
                  <a:pt x="891937" y="769159"/>
                  <a:pt x="752192" y="954769"/>
                  <a:pt x="662541" y="1166726"/>
                </a:cubicBezTo>
                <a:lnTo>
                  <a:pt x="634336" y="1243788"/>
                </a:lnTo>
                <a:lnTo>
                  <a:pt x="129126" y="1077794"/>
                </a:lnTo>
                <a:cubicBezTo>
                  <a:pt x="22780" y="1043424"/>
                  <a:pt x="-28862" y="926066"/>
                  <a:pt x="16492" y="824411"/>
                </a:cubicBezTo>
                <a:cubicBezTo>
                  <a:pt x="165129" y="497461"/>
                  <a:pt x="395071" y="214303"/>
                  <a:pt x="679770" y="0"/>
                </a:cubicBezTo>
                <a:close/>
              </a:path>
            </a:pathLst>
          </a:custGeom>
          <a:solidFill>
            <a:schemeClr val="accent6"/>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3" name="Freeform: Shape 12">
            <a:extLst>
              <a:ext uri="{FF2B5EF4-FFF2-40B4-BE49-F238E27FC236}">
                <a16:creationId xmlns:a16="http://schemas.microsoft.com/office/drawing/2014/main" id="{B67DEED0-01E8-0EFD-8567-75F84F3FA669}"/>
              </a:ext>
            </a:extLst>
          </p:cNvPr>
          <p:cNvSpPr/>
          <p:nvPr/>
        </p:nvSpPr>
        <p:spPr>
          <a:xfrm>
            <a:off x="4207402" y="1964273"/>
            <a:ext cx="1111097" cy="1241426"/>
          </a:xfrm>
          <a:custGeom>
            <a:avLst/>
            <a:gdLst>
              <a:gd name="connsiteX0" fmla="*/ 431928 w 1111676"/>
              <a:gd name="connsiteY0" fmla="*/ 0 h 1242073"/>
              <a:gd name="connsiteX1" fmla="*/ 1095175 w 1111676"/>
              <a:gd name="connsiteY1" fmla="*/ 824428 h 1242073"/>
              <a:gd name="connsiteX2" fmla="*/ 982553 w 1111676"/>
              <a:gd name="connsiteY2" fmla="*/ 1077844 h 1242073"/>
              <a:gd name="connsiteX3" fmla="*/ 476724 w 1111676"/>
              <a:gd name="connsiteY3" fmla="*/ 1242073 h 1242073"/>
              <a:gd name="connsiteX4" fmla="*/ 449147 w 1111676"/>
              <a:gd name="connsiteY4" fmla="*/ 1166726 h 1242073"/>
              <a:gd name="connsiteX5" fmla="*/ 44754 w 1111676"/>
              <a:gd name="connsiteY5" fmla="*/ 624738 h 1242073"/>
              <a:gd name="connsiteX6" fmla="*/ 0 w 1111676"/>
              <a:gd name="connsiteY6" fmla="*/ 591271 h 124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1676" h="1242073">
                <a:moveTo>
                  <a:pt x="431928" y="0"/>
                </a:moveTo>
                <a:cubicBezTo>
                  <a:pt x="716630" y="212758"/>
                  <a:pt x="946555" y="495912"/>
                  <a:pt x="1095175" y="824428"/>
                </a:cubicBezTo>
                <a:cubicBezTo>
                  <a:pt x="1140536" y="924505"/>
                  <a:pt x="1088933" y="1043401"/>
                  <a:pt x="982553" y="1077844"/>
                </a:cubicBezTo>
                <a:lnTo>
                  <a:pt x="476724" y="1242073"/>
                </a:lnTo>
                <a:lnTo>
                  <a:pt x="449147" y="1166726"/>
                </a:lnTo>
                <a:cubicBezTo>
                  <a:pt x="359497" y="954769"/>
                  <a:pt x="219752" y="769159"/>
                  <a:pt x="44754" y="624738"/>
                </a:cubicBezTo>
                <a:lnTo>
                  <a:pt x="0" y="591271"/>
                </a:lnTo>
                <a:close/>
              </a:path>
            </a:pathLst>
          </a:custGeom>
          <a:solidFill>
            <a:schemeClr val="accent4"/>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4" name="Freeform: Shape 13">
            <a:extLst>
              <a:ext uri="{FF2B5EF4-FFF2-40B4-BE49-F238E27FC236}">
                <a16:creationId xmlns:a16="http://schemas.microsoft.com/office/drawing/2014/main" id="{603E1584-6E94-C66C-EBA8-F756084899B6}"/>
              </a:ext>
            </a:extLst>
          </p:cNvPr>
          <p:cNvSpPr/>
          <p:nvPr/>
        </p:nvSpPr>
        <p:spPr>
          <a:xfrm>
            <a:off x="2122474" y="2376502"/>
            <a:ext cx="1184666" cy="1017021"/>
          </a:xfrm>
          <a:custGeom>
            <a:avLst/>
            <a:gdLst>
              <a:gd name="connsiteX0" fmla="*/ 1185283 w 1185283"/>
              <a:gd name="connsiteY0" fmla="*/ 0 h 1017551"/>
              <a:gd name="connsiteX1" fmla="*/ 1185283 w 1185283"/>
              <a:gd name="connsiteY1" fmla="*/ 415994 h 1017551"/>
              <a:gd name="connsiteX2" fmla="*/ 936539 w 1185283"/>
              <a:gd name="connsiteY2" fmla="*/ 891562 h 1017551"/>
              <a:gd name="connsiteX3" fmla="*/ 928707 w 1185283"/>
              <a:gd name="connsiteY3" fmla="*/ 897807 h 1017551"/>
              <a:gd name="connsiteX4" fmla="*/ 396890 w 1185283"/>
              <a:gd name="connsiteY4" fmla="*/ 991681 h 1017551"/>
              <a:gd name="connsiteX5" fmla="*/ 0 w 1185283"/>
              <a:gd name="connsiteY5" fmla="*/ 861899 h 1017551"/>
              <a:gd name="connsiteX6" fmla="*/ 23840 w 1185283"/>
              <a:gd name="connsiteY6" fmla="*/ 796762 h 1017551"/>
              <a:gd name="connsiteX7" fmla="*/ 1095468 w 1185283"/>
              <a:gd name="connsiteY7" fmla="*/ 4535 h 101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5283" h="1017551">
                <a:moveTo>
                  <a:pt x="1185283" y="0"/>
                </a:moveTo>
                <a:lnTo>
                  <a:pt x="1185283" y="415994"/>
                </a:lnTo>
                <a:cubicBezTo>
                  <a:pt x="1185283" y="605267"/>
                  <a:pt x="1091407" y="782050"/>
                  <a:pt x="936539" y="891562"/>
                </a:cubicBezTo>
                <a:cubicBezTo>
                  <a:pt x="934984" y="893135"/>
                  <a:pt x="931873" y="896233"/>
                  <a:pt x="928707" y="897807"/>
                </a:cubicBezTo>
                <a:cubicBezTo>
                  <a:pt x="775450" y="1010466"/>
                  <a:pt x="578310" y="1047986"/>
                  <a:pt x="396890" y="991681"/>
                </a:cubicBezTo>
                <a:lnTo>
                  <a:pt x="0" y="861899"/>
                </a:lnTo>
                <a:lnTo>
                  <a:pt x="23840" y="796762"/>
                </a:lnTo>
                <a:cubicBezTo>
                  <a:pt x="205884" y="366362"/>
                  <a:pt x="611717" y="53663"/>
                  <a:pt x="1095468" y="4535"/>
                </a:cubicBezTo>
                <a:close/>
              </a:path>
            </a:pathLst>
          </a:custGeom>
          <a:solidFill>
            <a:schemeClr val="accent6">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5" name="Freeform: Shape 14">
            <a:extLst>
              <a:ext uri="{FF2B5EF4-FFF2-40B4-BE49-F238E27FC236}">
                <a16:creationId xmlns:a16="http://schemas.microsoft.com/office/drawing/2014/main" id="{1D08FEA2-7FB9-5771-8A53-0898C4CF0B83}"/>
              </a:ext>
            </a:extLst>
          </p:cNvPr>
          <p:cNvSpPr/>
          <p:nvPr/>
        </p:nvSpPr>
        <p:spPr>
          <a:xfrm>
            <a:off x="3393411" y="2376421"/>
            <a:ext cx="1185724" cy="1017128"/>
          </a:xfrm>
          <a:custGeom>
            <a:avLst/>
            <a:gdLst>
              <a:gd name="connsiteX0" fmla="*/ 0 w 1186342"/>
              <a:gd name="connsiteY0" fmla="*/ 0 h 1017658"/>
              <a:gd name="connsiteX1" fmla="*/ 91377 w 1186342"/>
              <a:gd name="connsiteY1" fmla="*/ 4614 h 1017658"/>
              <a:gd name="connsiteX2" fmla="*/ 1163005 w 1186342"/>
              <a:gd name="connsiteY2" fmla="*/ 796841 h 1017658"/>
              <a:gd name="connsiteX3" fmla="*/ 1186342 w 1186342"/>
              <a:gd name="connsiteY3" fmla="*/ 860603 h 1017658"/>
              <a:gd name="connsiteX4" fmla="*/ 788394 w 1186342"/>
              <a:gd name="connsiteY4" fmla="*/ 990736 h 1017658"/>
              <a:gd name="connsiteX5" fmla="*/ 256577 w 1186342"/>
              <a:gd name="connsiteY5" fmla="*/ 898445 h 1017658"/>
              <a:gd name="connsiteX6" fmla="*/ 248744 w 1186342"/>
              <a:gd name="connsiteY6" fmla="*/ 892190 h 1017658"/>
              <a:gd name="connsiteX7" fmla="*/ 0 w 1186342"/>
              <a:gd name="connsiteY7" fmla="*/ 415020 h 101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342" h="1017658">
                <a:moveTo>
                  <a:pt x="0" y="0"/>
                </a:moveTo>
                <a:lnTo>
                  <a:pt x="91377" y="4614"/>
                </a:lnTo>
                <a:cubicBezTo>
                  <a:pt x="575128" y="53742"/>
                  <a:pt x="980960" y="366441"/>
                  <a:pt x="1163005" y="796841"/>
                </a:cubicBezTo>
                <a:lnTo>
                  <a:pt x="1186342" y="860603"/>
                </a:lnTo>
                <a:lnTo>
                  <a:pt x="788394" y="990736"/>
                </a:lnTo>
                <a:cubicBezTo>
                  <a:pt x="606974" y="1048604"/>
                  <a:pt x="409834" y="1011076"/>
                  <a:pt x="256577" y="898445"/>
                </a:cubicBezTo>
                <a:cubicBezTo>
                  <a:pt x="254966" y="896869"/>
                  <a:pt x="251855" y="893717"/>
                  <a:pt x="248744" y="892190"/>
                </a:cubicBezTo>
                <a:cubicBezTo>
                  <a:pt x="92321" y="782661"/>
                  <a:pt x="0" y="605908"/>
                  <a:pt x="0" y="415020"/>
                </a:cubicBezTo>
                <a:close/>
              </a:path>
            </a:pathLst>
          </a:custGeom>
          <a:solidFill>
            <a:schemeClr val="accent4">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6" name="Freeform: Shape 15">
            <a:extLst>
              <a:ext uri="{FF2B5EF4-FFF2-40B4-BE49-F238E27FC236}">
                <a16:creationId xmlns:a16="http://schemas.microsoft.com/office/drawing/2014/main" id="{36CBA3B3-EDB2-2E95-2A62-71004B683400}"/>
              </a:ext>
            </a:extLst>
          </p:cNvPr>
          <p:cNvSpPr/>
          <p:nvPr/>
        </p:nvSpPr>
        <p:spPr>
          <a:xfrm>
            <a:off x="2043550" y="3317184"/>
            <a:ext cx="858377" cy="1393852"/>
          </a:xfrm>
          <a:custGeom>
            <a:avLst/>
            <a:gdLst>
              <a:gd name="connsiteX0" fmla="*/ 52586 w 858824"/>
              <a:gd name="connsiteY0" fmla="*/ 0 h 1394578"/>
              <a:gd name="connsiteX1" fmla="*/ 449045 w 858824"/>
              <a:gd name="connsiteY1" fmla="*/ 129662 h 1394578"/>
              <a:gd name="connsiteX2" fmla="*/ 824474 w 858824"/>
              <a:gd name="connsiteY2" fmla="*/ 516024 h 1394578"/>
              <a:gd name="connsiteX3" fmla="*/ 827631 w 858824"/>
              <a:gd name="connsiteY3" fmla="*/ 525420 h 1394578"/>
              <a:gd name="connsiteX4" fmla="*/ 749407 w 858824"/>
              <a:gd name="connsiteY4" fmla="*/ 1055729 h 1394578"/>
              <a:gd name="connsiteX5" fmla="*/ 503239 w 858824"/>
              <a:gd name="connsiteY5" fmla="*/ 1394578 h 1394578"/>
              <a:gd name="connsiteX6" fmla="*/ 476059 w 858824"/>
              <a:gd name="connsiteY6" fmla="*/ 1374253 h 1394578"/>
              <a:gd name="connsiteX7" fmla="*/ 0 w 858824"/>
              <a:gd name="connsiteY7" fmla="*/ 364793 h 1394578"/>
              <a:gd name="connsiteX8" fmla="*/ 26578 w 858824"/>
              <a:gd name="connsiteY8" fmla="*/ 101148 h 139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824" h="1394578">
                <a:moveTo>
                  <a:pt x="52586" y="0"/>
                </a:moveTo>
                <a:lnTo>
                  <a:pt x="449045" y="129662"/>
                </a:lnTo>
                <a:cubicBezTo>
                  <a:pt x="630515" y="187541"/>
                  <a:pt x="766630" y="334556"/>
                  <a:pt x="824474" y="516024"/>
                </a:cubicBezTo>
                <a:cubicBezTo>
                  <a:pt x="826052" y="519156"/>
                  <a:pt x="826052" y="522288"/>
                  <a:pt x="827631" y="525420"/>
                </a:cubicBezTo>
                <a:cubicBezTo>
                  <a:pt x="888632" y="705322"/>
                  <a:pt x="858920" y="902450"/>
                  <a:pt x="749407" y="1055729"/>
                </a:cubicBezTo>
                <a:lnTo>
                  <a:pt x="503239" y="1394578"/>
                </a:lnTo>
                <a:lnTo>
                  <a:pt x="476059" y="1374253"/>
                </a:lnTo>
                <a:cubicBezTo>
                  <a:pt x="185318" y="1134313"/>
                  <a:pt x="0" y="771194"/>
                  <a:pt x="0" y="364793"/>
                </a:cubicBezTo>
                <a:cubicBezTo>
                  <a:pt x="0" y="274482"/>
                  <a:pt x="9152" y="186308"/>
                  <a:pt x="26578" y="101148"/>
                </a:cubicBezTo>
                <a:close/>
              </a:path>
            </a:pathLst>
          </a:custGeom>
          <a:solidFill>
            <a:schemeClr val="accent3">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7" name="Freeform: Shape 16">
            <a:extLst>
              <a:ext uri="{FF2B5EF4-FFF2-40B4-BE49-F238E27FC236}">
                <a16:creationId xmlns:a16="http://schemas.microsoft.com/office/drawing/2014/main" id="{0A51A910-C646-78F0-922D-909E0F57B6B1}"/>
              </a:ext>
            </a:extLst>
          </p:cNvPr>
          <p:cNvSpPr/>
          <p:nvPr/>
        </p:nvSpPr>
        <p:spPr>
          <a:xfrm>
            <a:off x="3800233" y="3317198"/>
            <a:ext cx="858328" cy="1393814"/>
          </a:xfrm>
          <a:custGeom>
            <a:avLst/>
            <a:gdLst>
              <a:gd name="connsiteX0" fmla="*/ 806193 w 858775"/>
              <a:gd name="connsiteY0" fmla="*/ 0 h 1394540"/>
              <a:gd name="connsiteX1" fmla="*/ 832198 w 858775"/>
              <a:gd name="connsiteY1" fmla="*/ 101134 h 1394540"/>
              <a:gd name="connsiteX2" fmla="*/ 858775 w 858775"/>
              <a:gd name="connsiteY2" fmla="*/ 364779 h 1394540"/>
              <a:gd name="connsiteX3" fmla="*/ 382717 w 858775"/>
              <a:gd name="connsiteY3" fmla="*/ 1374239 h 1394540"/>
              <a:gd name="connsiteX4" fmla="*/ 355568 w 858775"/>
              <a:gd name="connsiteY4" fmla="*/ 1394540 h 1394540"/>
              <a:gd name="connsiteX5" fmla="*/ 109418 w 858775"/>
              <a:gd name="connsiteY5" fmla="*/ 1055715 h 1394540"/>
              <a:gd name="connsiteX6" fmla="*/ 31194 w 858775"/>
              <a:gd name="connsiteY6" fmla="*/ 525406 h 1394540"/>
              <a:gd name="connsiteX7" fmla="*/ 34351 w 858775"/>
              <a:gd name="connsiteY7" fmla="*/ 516010 h 1394540"/>
              <a:gd name="connsiteX8" fmla="*/ 409779 w 858775"/>
              <a:gd name="connsiteY8" fmla="*/ 129648 h 139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775" h="1394540">
                <a:moveTo>
                  <a:pt x="806193" y="0"/>
                </a:moveTo>
                <a:lnTo>
                  <a:pt x="832198" y="101134"/>
                </a:lnTo>
                <a:cubicBezTo>
                  <a:pt x="849624" y="186294"/>
                  <a:pt x="858775" y="274468"/>
                  <a:pt x="858775" y="364779"/>
                </a:cubicBezTo>
                <a:cubicBezTo>
                  <a:pt x="858775" y="771180"/>
                  <a:pt x="673458" y="1134299"/>
                  <a:pt x="382717" y="1374239"/>
                </a:cubicBezTo>
                <a:lnTo>
                  <a:pt x="355568" y="1394540"/>
                </a:lnTo>
                <a:lnTo>
                  <a:pt x="109418" y="1055715"/>
                </a:lnTo>
                <a:cubicBezTo>
                  <a:pt x="-96" y="902436"/>
                  <a:pt x="-29807" y="705308"/>
                  <a:pt x="31194" y="525406"/>
                </a:cubicBezTo>
                <a:cubicBezTo>
                  <a:pt x="32772" y="522274"/>
                  <a:pt x="32772" y="519142"/>
                  <a:pt x="34351" y="516010"/>
                </a:cubicBezTo>
                <a:cubicBezTo>
                  <a:pt x="92195" y="334542"/>
                  <a:pt x="228309" y="187527"/>
                  <a:pt x="409779" y="129648"/>
                </a:cubicBezTo>
                <a:close/>
              </a:path>
            </a:pathLst>
          </a:custGeom>
          <a:solidFill>
            <a:schemeClr val="accent2">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18" name="Freeform: Shape 17">
            <a:extLst>
              <a:ext uri="{FF2B5EF4-FFF2-40B4-BE49-F238E27FC236}">
                <a16:creationId xmlns:a16="http://schemas.microsoft.com/office/drawing/2014/main" id="{E5E778EF-F653-34C2-3C47-E121AF42786D}"/>
              </a:ext>
            </a:extLst>
          </p:cNvPr>
          <p:cNvSpPr/>
          <p:nvPr/>
        </p:nvSpPr>
        <p:spPr>
          <a:xfrm>
            <a:off x="2617999" y="4187658"/>
            <a:ext cx="1466178" cy="801634"/>
          </a:xfrm>
          <a:custGeom>
            <a:avLst/>
            <a:gdLst>
              <a:gd name="connsiteX0" fmla="*/ 731860 w 1466942"/>
              <a:gd name="connsiteY0" fmla="*/ 20 h 802052"/>
              <a:gd name="connsiteX1" fmla="*/ 735018 w 1466942"/>
              <a:gd name="connsiteY1" fmla="*/ 20 h 802052"/>
              <a:gd name="connsiteX2" fmla="*/ 738107 w 1466942"/>
              <a:gd name="connsiteY2" fmla="*/ 20 h 802052"/>
              <a:gd name="connsiteX3" fmla="*/ 1226187 w 1466942"/>
              <a:gd name="connsiteY3" fmla="*/ 240930 h 802052"/>
              <a:gd name="connsiteX4" fmla="*/ 1466942 w 1466942"/>
              <a:gd name="connsiteY4" fmla="*/ 577076 h 802052"/>
              <a:gd name="connsiteX5" fmla="*/ 1464857 w 1466942"/>
              <a:gd name="connsiteY5" fmla="*/ 578635 h 802052"/>
              <a:gd name="connsiteX6" fmla="*/ 733438 w 1466942"/>
              <a:gd name="connsiteY6" fmla="*/ 802052 h 802052"/>
              <a:gd name="connsiteX7" fmla="*/ 2019 w 1466942"/>
              <a:gd name="connsiteY7" fmla="*/ 578635 h 802052"/>
              <a:gd name="connsiteX8" fmla="*/ 0 w 1466942"/>
              <a:gd name="connsiteY8" fmla="*/ 577124 h 802052"/>
              <a:gd name="connsiteX9" fmla="*/ 243780 w 1466942"/>
              <a:gd name="connsiteY9" fmla="*/ 240930 h 802052"/>
              <a:gd name="connsiteX10" fmla="*/ 731860 w 1466942"/>
              <a:gd name="connsiteY10" fmla="*/ 20 h 80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942" h="802052">
                <a:moveTo>
                  <a:pt x="731860" y="20"/>
                </a:moveTo>
                <a:cubicBezTo>
                  <a:pt x="733439" y="20"/>
                  <a:pt x="733439" y="20"/>
                  <a:pt x="735018" y="20"/>
                </a:cubicBezTo>
                <a:cubicBezTo>
                  <a:pt x="736597" y="20"/>
                  <a:pt x="736597" y="20"/>
                  <a:pt x="738107" y="20"/>
                </a:cubicBezTo>
                <a:cubicBezTo>
                  <a:pt x="930552" y="-1539"/>
                  <a:pt x="1113590" y="86065"/>
                  <a:pt x="1226187" y="240930"/>
                </a:cubicBezTo>
                <a:lnTo>
                  <a:pt x="1466942" y="577076"/>
                </a:lnTo>
                <a:lnTo>
                  <a:pt x="1464857" y="578635"/>
                </a:lnTo>
                <a:cubicBezTo>
                  <a:pt x="1256070" y="719689"/>
                  <a:pt x="1004372" y="802052"/>
                  <a:pt x="733438" y="802052"/>
                </a:cubicBezTo>
                <a:cubicBezTo>
                  <a:pt x="462504" y="802052"/>
                  <a:pt x="210807" y="719689"/>
                  <a:pt x="2019" y="578635"/>
                </a:cubicBezTo>
                <a:lnTo>
                  <a:pt x="0" y="577124"/>
                </a:lnTo>
                <a:lnTo>
                  <a:pt x="243780" y="240930"/>
                </a:lnTo>
                <a:cubicBezTo>
                  <a:pt x="358025" y="86065"/>
                  <a:pt x="539484" y="-1539"/>
                  <a:pt x="731860" y="20"/>
                </a:cubicBezTo>
                <a:close/>
              </a:path>
            </a:pathLst>
          </a:custGeom>
          <a:solidFill>
            <a:schemeClr val="accent5">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pic>
        <p:nvPicPr>
          <p:cNvPr id="19" name="Graphic 18" descr="Bar graph with upward trend with solid fill">
            <a:extLst>
              <a:ext uri="{FF2B5EF4-FFF2-40B4-BE49-F238E27FC236}">
                <a16:creationId xmlns:a16="http://schemas.microsoft.com/office/drawing/2014/main" id="{0FCDDBD0-B072-C663-1E42-E024F8BCD7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5397" y="2669966"/>
            <a:ext cx="562494" cy="562494"/>
          </a:xfrm>
          <a:prstGeom prst="rect">
            <a:avLst/>
          </a:prstGeom>
        </p:spPr>
      </p:pic>
      <p:pic>
        <p:nvPicPr>
          <p:cNvPr id="20" name="Graphic 19" descr="Bullseye with solid fill">
            <a:extLst>
              <a:ext uri="{FF2B5EF4-FFF2-40B4-BE49-F238E27FC236}">
                <a16:creationId xmlns:a16="http://schemas.microsoft.com/office/drawing/2014/main" id="{76388685-F1BD-D9DC-F3DE-7263AFCF5F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69809" y="4322379"/>
            <a:ext cx="562494" cy="562494"/>
          </a:xfrm>
          <a:prstGeom prst="rect">
            <a:avLst/>
          </a:prstGeom>
        </p:spPr>
      </p:pic>
      <p:pic>
        <p:nvPicPr>
          <p:cNvPr id="21" name="Graphic 20" descr="Hourglass Finished with solid fill">
            <a:extLst>
              <a:ext uri="{FF2B5EF4-FFF2-40B4-BE49-F238E27FC236}">
                <a16:creationId xmlns:a16="http://schemas.microsoft.com/office/drawing/2014/main" id="{1C878B8F-7C8B-C08C-CD1D-ABCBD517EB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02654" y="3650086"/>
            <a:ext cx="562494" cy="562494"/>
          </a:xfrm>
          <a:prstGeom prst="rect">
            <a:avLst/>
          </a:prstGeom>
        </p:spPr>
      </p:pic>
      <p:pic>
        <p:nvPicPr>
          <p:cNvPr id="22" name="Graphic 21" descr="Magnifying glass with solid fill">
            <a:extLst>
              <a:ext uri="{FF2B5EF4-FFF2-40B4-BE49-F238E27FC236}">
                <a16:creationId xmlns:a16="http://schemas.microsoft.com/office/drawing/2014/main" id="{13D9FD81-BFC5-4063-0D07-606360665D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48149" y="3650086"/>
            <a:ext cx="562494" cy="562494"/>
          </a:xfrm>
          <a:prstGeom prst="rect">
            <a:avLst/>
          </a:prstGeom>
        </p:spPr>
      </p:pic>
      <p:pic>
        <p:nvPicPr>
          <p:cNvPr id="23" name="Graphic 22" descr="Lights On with solid fill">
            <a:extLst>
              <a:ext uri="{FF2B5EF4-FFF2-40B4-BE49-F238E27FC236}">
                <a16:creationId xmlns:a16="http://schemas.microsoft.com/office/drawing/2014/main" id="{4DF48011-EB3A-C419-B013-A96C8B51460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80922" y="2669966"/>
            <a:ext cx="562494" cy="562494"/>
          </a:xfrm>
          <a:prstGeom prst="rect">
            <a:avLst/>
          </a:prstGeom>
        </p:spPr>
      </p:pic>
      <p:sp>
        <p:nvSpPr>
          <p:cNvPr id="74" name="Freeform: Shape 73">
            <a:extLst>
              <a:ext uri="{FF2B5EF4-FFF2-40B4-BE49-F238E27FC236}">
                <a16:creationId xmlns:a16="http://schemas.microsoft.com/office/drawing/2014/main" id="{2D872AE8-56E3-0C48-FFE2-08BEA658920A}"/>
              </a:ext>
            </a:extLst>
          </p:cNvPr>
          <p:cNvSpPr/>
          <p:nvPr/>
        </p:nvSpPr>
        <p:spPr>
          <a:xfrm rot="16200000">
            <a:off x="10211710" y="1520873"/>
            <a:ext cx="1196085" cy="965383"/>
          </a:xfrm>
          <a:custGeom>
            <a:avLst/>
            <a:gdLst>
              <a:gd name="connsiteX0" fmla="*/ 1196708 w 1196708"/>
              <a:gd name="connsiteY0" fmla="*/ 589474 h 965886"/>
              <a:gd name="connsiteX1" fmla="*/ 206488 w 1196708"/>
              <a:gd name="connsiteY1" fmla="*/ 964931 h 965886"/>
              <a:gd name="connsiteX2" fmla="*/ 0 w 1196708"/>
              <a:gd name="connsiteY2" fmla="*/ 780313 h 965886"/>
              <a:gd name="connsiteX3" fmla="*/ 0 w 1196708"/>
              <a:gd name="connsiteY3" fmla="*/ 247998 h 965886"/>
              <a:gd name="connsiteX4" fmla="*/ 112061 w 1196708"/>
              <a:gd name="connsiteY4" fmla="*/ 242339 h 965886"/>
              <a:gd name="connsiteX5" fmla="*/ 759586 w 1196708"/>
              <a:gd name="connsiteY5" fmla="*/ 7601 h 965886"/>
              <a:gd name="connsiteX6" fmla="*/ 769750 w 1196708"/>
              <a:gd name="connsiteY6" fmla="*/ 0 h 96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708" h="965886">
                <a:moveTo>
                  <a:pt x="1196708" y="589474"/>
                </a:moveTo>
                <a:cubicBezTo>
                  <a:pt x="910440" y="791261"/>
                  <a:pt x="572536" y="924274"/>
                  <a:pt x="206488" y="964931"/>
                </a:cubicBezTo>
                <a:cubicBezTo>
                  <a:pt x="95404" y="975878"/>
                  <a:pt x="0" y="891383"/>
                  <a:pt x="0" y="780313"/>
                </a:cubicBezTo>
                <a:lnTo>
                  <a:pt x="0" y="247998"/>
                </a:lnTo>
                <a:lnTo>
                  <a:pt x="112061" y="242339"/>
                </a:lnTo>
                <a:cubicBezTo>
                  <a:pt x="350292" y="218146"/>
                  <a:pt x="571081" y="134952"/>
                  <a:pt x="759586" y="7601"/>
                </a:cubicBezTo>
                <a:lnTo>
                  <a:pt x="769750" y="0"/>
                </a:lnTo>
                <a:close/>
              </a:path>
            </a:pathLst>
          </a:custGeom>
          <a:solidFill>
            <a:schemeClr val="accent3"/>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76" name="Freeform: Shape 75">
            <a:extLst>
              <a:ext uri="{FF2B5EF4-FFF2-40B4-BE49-F238E27FC236}">
                <a16:creationId xmlns:a16="http://schemas.microsoft.com/office/drawing/2014/main" id="{CF329378-6A39-EFD4-A79A-D3EA35454794}"/>
              </a:ext>
            </a:extLst>
          </p:cNvPr>
          <p:cNvSpPr/>
          <p:nvPr/>
        </p:nvSpPr>
        <p:spPr>
          <a:xfrm rot="16200000">
            <a:off x="6911525" y="1520785"/>
            <a:ext cx="1196085" cy="965559"/>
          </a:xfrm>
          <a:custGeom>
            <a:avLst/>
            <a:gdLst>
              <a:gd name="connsiteX0" fmla="*/ 1196708 w 1196708"/>
              <a:gd name="connsiteY0" fmla="*/ 376972 h 966062"/>
              <a:gd name="connsiteX1" fmla="*/ 768943 w 1196708"/>
              <a:gd name="connsiteY1" fmla="*/ 966062 h 966062"/>
              <a:gd name="connsiteX2" fmla="*/ 759586 w 1196708"/>
              <a:gd name="connsiteY2" fmla="*/ 959064 h 966062"/>
              <a:gd name="connsiteX3" fmla="*/ 112061 w 1196708"/>
              <a:gd name="connsiteY3" fmla="*/ 724326 h 966062"/>
              <a:gd name="connsiteX4" fmla="*/ 0 w 1196708"/>
              <a:gd name="connsiteY4" fmla="*/ 718667 h 966062"/>
              <a:gd name="connsiteX5" fmla="*/ 0 w 1196708"/>
              <a:gd name="connsiteY5" fmla="*/ 184530 h 966062"/>
              <a:gd name="connsiteX6" fmla="*/ 206488 w 1196708"/>
              <a:gd name="connsiteY6" fmla="*/ 1507 h 966062"/>
              <a:gd name="connsiteX7" fmla="*/ 1196708 w 1196708"/>
              <a:gd name="connsiteY7" fmla="*/ 376972 h 96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708" h="966062">
                <a:moveTo>
                  <a:pt x="1196708" y="376972"/>
                </a:moveTo>
                <a:lnTo>
                  <a:pt x="768943" y="966062"/>
                </a:lnTo>
                <a:lnTo>
                  <a:pt x="759586" y="959064"/>
                </a:lnTo>
                <a:cubicBezTo>
                  <a:pt x="571081" y="831713"/>
                  <a:pt x="350292" y="748519"/>
                  <a:pt x="112061" y="724326"/>
                </a:cubicBezTo>
                <a:lnTo>
                  <a:pt x="0" y="718667"/>
                </a:lnTo>
                <a:lnTo>
                  <a:pt x="0" y="184530"/>
                </a:lnTo>
                <a:cubicBezTo>
                  <a:pt x="0" y="73479"/>
                  <a:pt x="95404" y="-12551"/>
                  <a:pt x="206488" y="1507"/>
                </a:cubicBezTo>
                <a:cubicBezTo>
                  <a:pt x="572536" y="42178"/>
                  <a:pt x="910440" y="175159"/>
                  <a:pt x="1196708" y="376972"/>
                </a:cubicBezTo>
                <a:close/>
              </a:path>
            </a:pathLst>
          </a:custGeom>
          <a:solidFill>
            <a:schemeClr val="accent3"/>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83" name="Freeform: Shape 82">
            <a:extLst>
              <a:ext uri="{FF2B5EF4-FFF2-40B4-BE49-F238E27FC236}">
                <a16:creationId xmlns:a16="http://schemas.microsoft.com/office/drawing/2014/main" id="{943885D1-7DAB-5416-884B-2C1FFF6C5178}"/>
              </a:ext>
            </a:extLst>
          </p:cNvPr>
          <p:cNvSpPr/>
          <p:nvPr/>
        </p:nvSpPr>
        <p:spPr>
          <a:xfrm rot="16200000">
            <a:off x="8522672" y="658424"/>
            <a:ext cx="1274671" cy="2611694"/>
          </a:xfrm>
          <a:custGeom>
            <a:avLst/>
            <a:gdLst>
              <a:gd name="connsiteX0" fmla="*/ 1275335 w 1275335"/>
              <a:gd name="connsiteY0" fmla="*/ 1306527 h 2613054"/>
              <a:gd name="connsiteX1" fmla="*/ 100903 w 1275335"/>
              <a:gd name="connsiteY1" fmla="*/ 2607959 h 2613054"/>
              <a:gd name="connsiteX2" fmla="*/ 0 w 1275335"/>
              <a:gd name="connsiteY2" fmla="*/ 2613054 h 2613054"/>
              <a:gd name="connsiteX3" fmla="*/ 0 w 1275335"/>
              <a:gd name="connsiteY3" fmla="*/ 2598331 h 2613054"/>
              <a:gd name="connsiteX4" fmla="*/ 354462 w 1275335"/>
              <a:gd name="connsiteY4" fmla="*/ 1607393 h 2613054"/>
              <a:gd name="connsiteX5" fmla="*/ 458429 w 1275335"/>
              <a:gd name="connsiteY5" fmla="*/ 1306527 h 2613054"/>
              <a:gd name="connsiteX6" fmla="*/ 354462 w 1275335"/>
              <a:gd name="connsiteY6" fmla="*/ 1005661 h 2613054"/>
              <a:gd name="connsiteX7" fmla="*/ 0 w 1275335"/>
              <a:gd name="connsiteY7" fmla="*/ 14723 h 2613054"/>
              <a:gd name="connsiteX8" fmla="*/ 0 w 1275335"/>
              <a:gd name="connsiteY8" fmla="*/ 0 h 2613054"/>
              <a:gd name="connsiteX9" fmla="*/ 100903 w 1275335"/>
              <a:gd name="connsiteY9" fmla="*/ 5095 h 2613054"/>
              <a:gd name="connsiteX10" fmla="*/ 1275335 w 1275335"/>
              <a:gd name="connsiteY10" fmla="*/ 1306527 h 261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35" h="2613054">
                <a:moveTo>
                  <a:pt x="1275335" y="1306527"/>
                </a:moveTo>
                <a:cubicBezTo>
                  <a:pt x="1275334" y="1983862"/>
                  <a:pt x="760563" y="2540967"/>
                  <a:pt x="100903" y="2607959"/>
                </a:cubicBezTo>
                <a:lnTo>
                  <a:pt x="0" y="2613054"/>
                </a:lnTo>
                <a:lnTo>
                  <a:pt x="0" y="2598331"/>
                </a:lnTo>
                <a:cubicBezTo>
                  <a:pt x="0" y="2237559"/>
                  <a:pt x="132321" y="1892584"/>
                  <a:pt x="354462" y="1607393"/>
                </a:cubicBezTo>
                <a:cubicBezTo>
                  <a:pt x="419077" y="1525493"/>
                  <a:pt x="458429" y="1420020"/>
                  <a:pt x="458429" y="1306527"/>
                </a:cubicBezTo>
                <a:cubicBezTo>
                  <a:pt x="458429" y="1193034"/>
                  <a:pt x="419077" y="1089140"/>
                  <a:pt x="354462" y="1005661"/>
                </a:cubicBezTo>
                <a:cubicBezTo>
                  <a:pt x="132321" y="722050"/>
                  <a:pt x="0" y="375495"/>
                  <a:pt x="0" y="14723"/>
                </a:cubicBezTo>
                <a:lnTo>
                  <a:pt x="0" y="0"/>
                </a:lnTo>
                <a:lnTo>
                  <a:pt x="100903" y="5095"/>
                </a:lnTo>
                <a:cubicBezTo>
                  <a:pt x="760564" y="72087"/>
                  <a:pt x="1275335" y="629191"/>
                  <a:pt x="1275335" y="1306527"/>
                </a:cubicBezTo>
                <a:close/>
              </a:path>
            </a:pathLst>
          </a:custGeom>
          <a:solidFill>
            <a:schemeClr val="accent3">
              <a:lumMod val="75000"/>
            </a:schemeClr>
          </a:solidFill>
          <a:ln w="12700">
            <a:miter lim="400000"/>
          </a:ln>
        </p:spPr>
        <p:txBody>
          <a:bodyPr wrap="square" lIns="38080" tIns="38080" rIns="38080" bIns="38080" anchor="ctr">
            <a:noAutofit/>
          </a:bodyPr>
          <a:lstStyle/>
          <a:p>
            <a:pPr>
              <a:defRPr sz="3000">
                <a:solidFill>
                  <a:srgbClr val="FFFFFF"/>
                </a:solidFill>
              </a:defRPr>
            </a:pPr>
            <a:endParaRPr sz="2999"/>
          </a:p>
        </p:txBody>
      </p:sp>
      <p:pic>
        <p:nvPicPr>
          <p:cNvPr id="85" name="Graphic 84" descr="Lights On with solid fill">
            <a:extLst>
              <a:ext uri="{FF2B5EF4-FFF2-40B4-BE49-F238E27FC236}">
                <a16:creationId xmlns:a16="http://schemas.microsoft.com/office/drawing/2014/main" id="{8F5AF2C1-BC3B-9697-0282-EF76B55420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76356" y="1465003"/>
            <a:ext cx="562494" cy="562494"/>
          </a:xfrm>
          <a:prstGeom prst="rect">
            <a:avLst/>
          </a:prstGeom>
        </p:spPr>
      </p:pic>
      <p:sp>
        <p:nvSpPr>
          <p:cNvPr id="86" name="Freeform: Shape 85">
            <a:extLst>
              <a:ext uri="{FF2B5EF4-FFF2-40B4-BE49-F238E27FC236}">
                <a16:creationId xmlns:a16="http://schemas.microsoft.com/office/drawing/2014/main" id="{208948CA-A955-2540-6AA0-03471EB2ED73}"/>
              </a:ext>
            </a:extLst>
          </p:cNvPr>
          <p:cNvSpPr/>
          <p:nvPr/>
        </p:nvSpPr>
        <p:spPr>
          <a:xfrm rot="16200000">
            <a:off x="10211711" y="4545893"/>
            <a:ext cx="1196085" cy="965383"/>
          </a:xfrm>
          <a:custGeom>
            <a:avLst/>
            <a:gdLst>
              <a:gd name="connsiteX0" fmla="*/ 1196708 w 1196708"/>
              <a:gd name="connsiteY0" fmla="*/ 589474 h 965886"/>
              <a:gd name="connsiteX1" fmla="*/ 206488 w 1196708"/>
              <a:gd name="connsiteY1" fmla="*/ 964931 h 965886"/>
              <a:gd name="connsiteX2" fmla="*/ 0 w 1196708"/>
              <a:gd name="connsiteY2" fmla="*/ 780313 h 965886"/>
              <a:gd name="connsiteX3" fmla="*/ 0 w 1196708"/>
              <a:gd name="connsiteY3" fmla="*/ 247998 h 965886"/>
              <a:gd name="connsiteX4" fmla="*/ 112061 w 1196708"/>
              <a:gd name="connsiteY4" fmla="*/ 242339 h 965886"/>
              <a:gd name="connsiteX5" fmla="*/ 759586 w 1196708"/>
              <a:gd name="connsiteY5" fmla="*/ 7601 h 965886"/>
              <a:gd name="connsiteX6" fmla="*/ 769750 w 1196708"/>
              <a:gd name="connsiteY6" fmla="*/ 0 h 96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708" h="965886">
                <a:moveTo>
                  <a:pt x="1196708" y="589474"/>
                </a:moveTo>
                <a:cubicBezTo>
                  <a:pt x="910440" y="791261"/>
                  <a:pt x="572536" y="924274"/>
                  <a:pt x="206488" y="964931"/>
                </a:cubicBezTo>
                <a:cubicBezTo>
                  <a:pt x="95404" y="975878"/>
                  <a:pt x="0" y="891383"/>
                  <a:pt x="0" y="780313"/>
                </a:cubicBezTo>
                <a:lnTo>
                  <a:pt x="0" y="247998"/>
                </a:lnTo>
                <a:lnTo>
                  <a:pt x="112061" y="242339"/>
                </a:lnTo>
                <a:cubicBezTo>
                  <a:pt x="350292" y="218146"/>
                  <a:pt x="571081" y="134952"/>
                  <a:pt x="759586" y="7601"/>
                </a:cubicBezTo>
                <a:lnTo>
                  <a:pt x="769750" y="0"/>
                </a:lnTo>
                <a:close/>
              </a:path>
            </a:pathLst>
          </a:custGeom>
          <a:solidFill>
            <a:srgbClr val="27ACAA"/>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87" name="Freeform: Shape 86">
            <a:extLst>
              <a:ext uri="{FF2B5EF4-FFF2-40B4-BE49-F238E27FC236}">
                <a16:creationId xmlns:a16="http://schemas.microsoft.com/office/drawing/2014/main" id="{0267FAA9-2154-44F7-F1AE-2AF51C0A89D6}"/>
              </a:ext>
            </a:extLst>
          </p:cNvPr>
          <p:cNvSpPr/>
          <p:nvPr/>
        </p:nvSpPr>
        <p:spPr>
          <a:xfrm rot="16200000">
            <a:off x="6911526" y="4545805"/>
            <a:ext cx="1196085" cy="965559"/>
          </a:xfrm>
          <a:custGeom>
            <a:avLst/>
            <a:gdLst>
              <a:gd name="connsiteX0" fmla="*/ 1196708 w 1196708"/>
              <a:gd name="connsiteY0" fmla="*/ 376972 h 966062"/>
              <a:gd name="connsiteX1" fmla="*/ 768943 w 1196708"/>
              <a:gd name="connsiteY1" fmla="*/ 966062 h 966062"/>
              <a:gd name="connsiteX2" fmla="*/ 759586 w 1196708"/>
              <a:gd name="connsiteY2" fmla="*/ 959064 h 966062"/>
              <a:gd name="connsiteX3" fmla="*/ 112061 w 1196708"/>
              <a:gd name="connsiteY3" fmla="*/ 724326 h 966062"/>
              <a:gd name="connsiteX4" fmla="*/ 0 w 1196708"/>
              <a:gd name="connsiteY4" fmla="*/ 718667 h 966062"/>
              <a:gd name="connsiteX5" fmla="*/ 0 w 1196708"/>
              <a:gd name="connsiteY5" fmla="*/ 184530 h 966062"/>
              <a:gd name="connsiteX6" fmla="*/ 206488 w 1196708"/>
              <a:gd name="connsiteY6" fmla="*/ 1507 h 966062"/>
              <a:gd name="connsiteX7" fmla="*/ 1196708 w 1196708"/>
              <a:gd name="connsiteY7" fmla="*/ 376972 h 96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708" h="966062">
                <a:moveTo>
                  <a:pt x="1196708" y="376972"/>
                </a:moveTo>
                <a:lnTo>
                  <a:pt x="768943" y="966062"/>
                </a:lnTo>
                <a:lnTo>
                  <a:pt x="759586" y="959064"/>
                </a:lnTo>
                <a:cubicBezTo>
                  <a:pt x="571081" y="831713"/>
                  <a:pt x="350292" y="748519"/>
                  <a:pt x="112061" y="724326"/>
                </a:cubicBezTo>
                <a:lnTo>
                  <a:pt x="0" y="718667"/>
                </a:lnTo>
                <a:lnTo>
                  <a:pt x="0" y="184530"/>
                </a:lnTo>
                <a:cubicBezTo>
                  <a:pt x="0" y="73479"/>
                  <a:pt x="95404" y="-12551"/>
                  <a:pt x="206488" y="1507"/>
                </a:cubicBezTo>
                <a:cubicBezTo>
                  <a:pt x="572536" y="42178"/>
                  <a:pt x="910440" y="175159"/>
                  <a:pt x="1196708" y="376972"/>
                </a:cubicBezTo>
                <a:close/>
              </a:path>
            </a:pathLst>
          </a:custGeom>
          <a:solidFill>
            <a:srgbClr val="27ACAA"/>
          </a:solidFill>
          <a:ln w="12700">
            <a:miter lim="400000"/>
          </a:ln>
        </p:spPr>
        <p:txBody>
          <a:bodyPr wrap="square" lIns="38080" tIns="38080" rIns="38080" bIns="38080" anchor="ctr">
            <a:noAutofit/>
          </a:bodyPr>
          <a:lstStyle/>
          <a:p>
            <a:pPr>
              <a:defRPr sz="3000">
                <a:solidFill>
                  <a:srgbClr val="FFFFFF"/>
                </a:solidFill>
              </a:defRPr>
            </a:pPr>
            <a:endParaRPr sz="2999"/>
          </a:p>
        </p:txBody>
      </p:sp>
      <p:sp>
        <p:nvSpPr>
          <p:cNvPr id="88" name="Freeform: Shape 87">
            <a:extLst>
              <a:ext uri="{FF2B5EF4-FFF2-40B4-BE49-F238E27FC236}">
                <a16:creationId xmlns:a16="http://schemas.microsoft.com/office/drawing/2014/main" id="{617F2A8E-CD93-6D4F-F75C-C121E28ECFDB}"/>
              </a:ext>
            </a:extLst>
          </p:cNvPr>
          <p:cNvSpPr/>
          <p:nvPr/>
        </p:nvSpPr>
        <p:spPr>
          <a:xfrm rot="16200000">
            <a:off x="8522673" y="3683444"/>
            <a:ext cx="1274671" cy="2611694"/>
          </a:xfrm>
          <a:custGeom>
            <a:avLst/>
            <a:gdLst>
              <a:gd name="connsiteX0" fmla="*/ 1275335 w 1275335"/>
              <a:gd name="connsiteY0" fmla="*/ 1306527 h 2613054"/>
              <a:gd name="connsiteX1" fmla="*/ 100903 w 1275335"/>
              <a:gd name="connsiteY1" fmla="*/ 2607959 h 2613054"/>
              <a:gd name="connsiteX2" fmla="*/ 0 w 1275335"/>
              <a:gd name="connsiteY2" fmla="*/ 2613054 h 2613054"/>
              <a:gd name="connsiteX3" fmla="*/ 0 w 1275335"/>
              <a:gd name="connsiteY3" fmla="*/ 2598331 h 2613054"/>
              <a:gd name="connsiteX4" fmla="*/ 354462 w 1275335"/>
              <a:gd name="connsiteY4" fmla="*/ 1607393 h 2613054"/>
              <a:gd name="connsiteX5" fmla="*/ 458429 w 1275335"/>
              <a:gd name="connsiteY5" fmla="*/ 1306527 h 2613054"/>
              <a:gd name="connsiteX6" fmla="*/ 354462 w 1275335"/>
              <a:gd name="connsiteY6" fmla="*/ 1005661 h 2613054"/>
              <a:gd name="connsiteX7" fmla="*/ 0 w 1275335"/>
              <a:gd name="connsiteY7" fmla="*/ 14723 h 2613054"/>
              <a:gd name="connsiteX8" fmla="*/ 0 w 1275335"/>
              <a:gd name="connsiteY8" fmla="*/ 0 h 2613054"/>
              <a:gd name="connsiteX9" fmla="*/ 100903 w 1275335"/>
              <a:gd name="connsiteY9" fmla="*/ 5095 h 2613054"/>
              <a:gd name="connsiteX10" fmla="*/ 1275335 w 1275335"/>
              <a:gd name="connsiteY10" fmla="*/ 1306527 h 261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35" h="2613054">
                <a:moveTo>
                  <a:pt x="1275335" y="1306527"/>
                </a:moveTo>
                <a:cubicBezTo>
                  <a:pt x="1275334" y="1983862"/>
                  <a:pt x="760563" y="2540967"/>
                  <a:pt x="100903" y="2607959"/>
                </a:cubicBezTo>
                <a:lnTo>
                  <a:pt x="0" y="2613054"/>
                </a:lnTo>
                <a:lnTo>
                  <a:pt x="0" y="2598331"/>
                </a:lnTo>
                <a:cubicBezTo>
                  <a:pt x="0" y="2237559"/>
                  <a:pt x="132321" y="1892584"/>
                  <a:pt x="354462" y="1607393"/>
                </a:cubicBezTo>
                <a:cubicBezTo>
                  <a:pt x="419077" y="1525493"/>
                  <a:pt x="458429" y="1420020"/>
                  <a:pt x="458429" y="1306527"/>
                </a:cubicBezTo>
                <a:cubicBezTo>
                  <a:pt x="458429" y="1193034"/>
                  <a:pt x="419077" y="1089140"/>
                  <a:pt x="354462" y="1005661"/>
                </a:cubicBezTo>
                <a:cubicBezTo>
                  <a:pt x="132321" y="722050"/>
                  <a:pt x="0" y="375495"/>
                  <a:pt x="0" y="14723"/>
                </a:cubicBezTo>
                <a:lnTo>
                  <a:pt x="0" y="0"/>
                </a:lnTo>
                <a:lnTo>
                  <a:pt x="100903" y="5095"/>
                </a:lnTo>
                <a:cubicBezTo>
                  <a:pt x="760564" y="72087"/>
                  <a:pt x="1275335" y="629191"/>
                  <a:pt x="1275335" y="1306527"/>
                </a:cubicBezTo>
                <a:close/>
              </a:path>
            </a:pathLst>
          </a:custGeom>
          <a:solidFill>
            <a:srgbClr val="1D817F"/>
          </a:solidFill>
          <a:ln w="12700">
            <a:miter lim="400000"/>
          </a:ln>
        </p:spPr>
        <p:txBody>
          <a:bodyPr wrap="square" lIns="38080" tIns="38080" rIns="38080" bIns="38080" anchor="ctr">
            <a:noAutofit/>
          </a:bodyPr>
          <a:lstStyle/>
          <a:p>
            <a:pPr>
              <a:defRPr sz="3000">
                <a:solidFill>
                  <a:srgbClr val="FFFFFF"/>
                </a:solidFill>
              </a:defRPr>
            </a:pPr>
            <a:endParaRPr sz="2999"/>
          </a:p>
        </p:txBody>
      </p:sp>
      <p:pic>
        <p:nvPicPr>
          <p:cNvPr id="89" name="Graphic 88" descr="Lights On with solid fill">
            <a:extLst>
              <a:ext uri="{FF2B5EF4-FFF2-40B4-BE49-F238E27FC236}">
                <a16:creationId xmlns:a16="http://schemas.microsoft.com/office/drawing/2014/main" id="{CDAF34E1-438A-D9D1-AFD9-59BD2BFDDAC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76357" y="4490024"/>
            <a:ext cx="562494" cy="562494"/>
          </a:xfrm>
          <a:prstGeom prst="rect">
            <a:avLst/>
          </a:prstGeom>
        </p:spPr>
      </p:pic>
    </p:spTree>
    <p:extLst>
      <p:ext uri="{BB962C8B-B14F-4D97-AF65-F5344CB8AC3E}">
        <p14:creationId xmlns:p14="http://schemas.microsoft.com/office/powerpoint/2010/main" val="1227640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EBCEF-0B5D-1309-BE74-DC827C2F38C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ADF50C61-5760-1DE9-F10B-D7C65E46AC93}"/>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29" name="Shape">
            <a:extLst>
              <a:ext uri="{FF2B5EF4-FFF2-40B4-BE49-F238E27FC236}">
                <a16:creationId xmlns:a16="http://schemas.microsoft.com/office/drawing/2014/main" id="{E8E90079-587E-F5ED-234D-F4E072A6FF7D}"/>
              </a:ext>
            </a:extLst>
          </p:cNvPr>
          <p:cNvSpPr/>
          <p:nvPr/>
        </p:nvSpPr>
        <p:spPr>
          <a:xfrm>
            <a:off x="890758"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7931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1" name="Shape">
            <a:extLst>
              <a:ext uri="{FF2B5EF4-FFF2-40B4-BE49-F238E27FC236}">
                <a16:creationId xmlns:a16="http://schemas.microsoft.com/office/drawing/2014/main" id="{F2D46246-9626-0CEF-0E30-EB9CBFB80F44}"/>
              </a:ext>
            </a:extLst>
          </p:cNvPr>
          <p:cNvSpPr/>
          <p:nvPr/>
        </p:nvSpPr>
        <p:spPr>
          <a:xfrm>
            <a:off x="3792800"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FCC4C"/>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3" name="Shape">
            <a:extLst>
              <a:ext uri="{FF2B5EF4-FFF2-40B4-BE49-F238E27FC236}">
                <a16:creationId xmlns:a16="http://schemas.microsoft.com/office/drawing/2014/main" id="{881498C6-4B96-625A-5750-156BEF76962B}"/>
              </a:ext>
            </a:extLst>
          </p:cNvPr>
          <p:cNvSpPr/>
          <p:nvPr/>
        </p:nvSpPr>
        <p:spPr>
          <a:xfrm>
            <a:off x="2341778" y="2241366"/>
            <a:ext cx="1552657" cy="1552658"/>
          </a:xfrm>
          <a:custGeom>
            <a:avLst/>
            <a:gdLst/>
            <a:ahLst/>
            <a:cxnLst>
              <a:cxn ang="0">
                <a:pos x="wd2" y="hd2"/>
              </a:cxn>
              <a:cxn ang="5400000">
                <a:pos x="wd2" y="hd2"/>
              </a:cxn>
              <a:cxn ang="10800000">
                <a:pos x="wd2" y="hd2"/>
              </a:cxn>
              <a:cxn ang="16200000">
                <a:pos x="wd2" y="hd2"/>
              </a:cxn>
            </a:cxnLst>
            <a:rect l="0" t="0" r="r" b="b"/>
            <a:pathLst>
              <a:path w="21156" h="21156" extrusionOk="0">
                <a:moveTo>
                  <a:pt x="20490" y="8962"/>
                </a:moveTo>
                <a:lnTo>
                  <a:pt x="12194" y="666"/>
                </a:ln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close/>
              </a:path>
            </a:pathLst>
          </a:custGeom>
          <a:solidFill>
            <a:srgbClr val="4CC1E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pic>
        <p:nvPicPr>
          <p:cNvPr id="35" name="Graphic 34" descr="Head with gears">
            <a:extLst>
              <a:ext uri="{FF2B5EF4-FFF2-40B4-BE49-F238E27FC236}">
                <a16:creationId xmlns:a16="http://schemas.microsoft.com/office/drawing/2014/main" id="{F6BDF543-3784-C3E9-9B4B-54277EB9E6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1424" y="3573313"/>
            <a:ext cx="771323" cy="771323"/>
          </a:xfrm>
          <a:prstGeom prst="rect">
            <a:avLst/>
          </a:prstGeom>
          <a:effectLst>
            <a:outerShdw blurRad="88900" dist="38100" dir="2700000" algn="tl" rotWithShape="0">
              <a:prstClr val="black">
                <a:alpha val="30000"/>
              </a:prstClr>
            </a:outerShdw>
          </a:effectLst>
        </p:spPr>
      </p:pic>
      <p:pic>
        <p:nvPicPr>
          <p:cNvPr id="37" name="Graphic 36" descr="Stopwatch 33%">
            <a:extLst>
              <a:ext uri="{FF2B5EF4-FFF2-40B4-BE49-F238E27FC236}">
                <a16:creationId xmlns:a16="http://schemas.microsoft.com/office/drawing/2014/main" id="{E04EB4E0-85C2-B201-52BA-AE3773E63B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467" y="3573313"/>
            <a:ext cx="771323" cy="771323"/>
          </a:xfrm>
          <a:prstGeom prst="rect">
            <a:avLst/>
          </a:prstGeom>
          <a:effectLst>
            <a:outerShdw blurRad="88900" dist="38100" dir="2700000" algn="tl" rotWithShape="0">
              <a:prstClr val="black">
                <a:alpha val="30000"/>
              </a:prstClr>
            </a:outerShdw>
          </a:effectLst>
        </p:spPr>
      </p:pic>
      <p:grpSp>
        <p:nvGrpSpPr>
          <p:cNvPr id="39" name="Group 38">
            <a:extLst>
              <a:ext uri="{FF2B5EF4-FFF2-40B4-BE49-F238E27FC236}">
                <a16:creationId xmlns:a16="http://schemas.microsoft.com/office/drawing/2014/main" id="{5ABC9C5F-B14D-F9F9-521F-B21959546315}"/>
              </a:ext>
            </a:extLst>
          </p:cNvPr>
          <p:cNvGrpSpPr/>
          <p:nvPr/>
        </p:nvGrpSpPr>
        <p:grpSpPr>
          <a:xfrm>
            <a:off x="996397" y="1670272"/>
            <a:ext cx="1341378" cy="1048894"/>
            <a:chOff x="319755" y="4350748"/>
            <a:chExt cx="2088994" cy="1399253"/>
          </a:xfrm>
        </p:grpSpPr>
        <p:sp>
          <p:nvSpPr>
            <p:cNvPr id="40" name="TextBox 20">
              <a:extLst>
                <a:ext uri="{FF2B5EF4-FFF2-40B4-BE49-F238E27FC236}">
                  <a16:creationId xmlns:a16="http://schemas.microsoft.com/office/drawing/2014/main" id="{2B0B7758-FED4-A99F-BF29-BAD044542488}"/>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7931F"/>
                  </a:solidFill>
                  <a:latin typeface="Calibri" panose="020F0502020204030204"/>
                </a:rPr>
                <a:t>Lorem Ipsum</a:t>
              </a:r>
            </a:p>
          </p:txBody>
        </p:sp>
        <p:sp>
          <p:nvSpPr>
            <p:cNvPr id="41" name="Rectangle 40">
              <a:extLst>
                <a:ext uri="{FF2B5EF4-FFF2-40B4-BE49-F238E27FC236}">
                  <a16:creationId xmlns:a16="http://schemas.microsoft.com/office/drawing/2014/main" id="{E761E68E-91AA-21DE-9798-9AFE22D7ECD6}"/>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2" name="Group 41">
            <a:extLst>
              <a:ext uri="{FF2B5EF4-FFF2-40B4-BE49-F238E27FC236}">
                <a16:creationId xmlns:a16="http://schemas.microsoft.com/office/drawing/2014/main" id="{75D3710C-F6C3-AA58-D0CB-EDBC896A2EB4}"/>
              </a:ext>
            </a:extLst>
          </p:cNvPr>
          <p:cNvGrpSpPr/>
          <p:nvPr/>
        </p:nvGrpSpPr>
        <p:grpSpPr>
          <a:xfrm>
            <a:off x="3898909" y="1670272"/>
            <a:ext cx="1341378" cy="1048894"/>
            <a:chOff x="319755" y="4350748"/>
            <a:chExt cx="2088994" cy="1399253"/>
          </a:xfrm>
        </p:grpSpPr>
        <p:sp>
          <p:nvSpPr>
            <p:cNvPr id="43" name="TextBox 23">
              <a:extLst>
                <a:ext uri="{FF2B5EF4-FFF2-40B4-BE49-F238E27FC236}">
                  <a16:creationId xmlns:a16="http://schemas.microsoft.com/office/drawing/2014/main" id="{E361D22D-00E8-9AC4-8B66-249D1655ED9C}"/>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FCC4C"/>
                  </a:solidFill>
                  <a:latin typeface="Calibri" panose="020F0502020204030204"/>
                </a:rPr>
                <a:t>Lorem Ipsum</a:t>
              </a:r>
            </a:p>
          </p:txBody>
        </p:sp>
        <p:sp>
          <p:nvSpPr>
            <p:cNvPr id="44" name="Rectangle 43">
              <a:extLst>
                <a:ext uri="{FF2B5EF4-FFF2-40B4-BE49-F238E27FC236}">
                  <a16:creationId xmlns:a16="http://schemas.microsoft.com/office/drawing/2014/main" id="{0EA7C32E-C244-1BBA-EE67-6A91801FA04E}"/>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8" name="Group 47">
            <a:extLst>
              <a:ext uri="{FF2B5EF4-FFF2-40B4-BE49-F238E27FC236}">
                <a16:creationId xmlns:a16="http://schemas.microsoft.com/office/drawing/2014/main" id="{9E01448C-47B1-795D-128C-DDB6315C5B2F}"/>
              </a:ext>
            </a:extLst>
          </p:cNvPr>
          <p:cNvGrpSpPr/>
          <p:nvPr/>
        </p:nvGrpSpPr>
        <p:grpSpPr>
          <a:xfrm>
            <a:off x="2447653" y="4274955"/>
            <a:ext cx="1341378" cy="1048894"/>
            <a:chOff x="319755" y="4350748"/>
            <a:chExt cx="2088994" cy="1399253"/>
          </a:xfrm>
        </p:grpSpPr>
        <p:sp>
          <p:nvSpPr>
            <p:cNvPr id="49" name="TextBox 29">
              <a:extLst>
                <a:ext uri="{FF2B5EF4-FFF2-40B4-BE49-F238E27FC236}">
                  <a16:creationId xmlns:a16="http://schemas.microsoft.com/office/drawing/2014/main" id="{CC77FB2B-82C3-AE8B-07E2-F555D0D7FB0C}"/>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4CC1EF"/>
                  </a:solidFill>
                  <a:latin typeface="Calibri" panose="020F0502020204030204"/>
                </a:rPr>
                <a:t>Lorem Ipsum</a:t>
              </a:r>
            </a:p>
          </p:txBody>
        </p:sp>
        <p:sp>
          <p:nvSpPr>
            <p:cNvPr id="50" name="Rectangle 49">
              <a:extLst>
                <a:ext uri="{FF2B5EF4-FFF2-40B4-BE49-F238E27FC236}">
                  <a16:creationId xmlns:a16="http://schemas.microsoft.com/office/drawing/2014/main" id="{A53A5A47-EC81-BEDA-5C76-7878C658E11A}"/>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pic>
        <p:nvPicPr>
          <p:cNvPr id="54" name="Graphic 53" descr="Bullseye">
            <a:extLst>
              <a:ext uri="{FF2B5EF4-FFF2-40B4-BE49-F238E27FC236}">
                <a16:creationId xmlns:a16="http://schemas.microsoft.com/office/drawing/2014/main" id="{3D690944-9649-42A0-CC70-40DFCDA91B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32445" y="2632033"/>
            <a:ext cx="771323" cy="771323"/>
          </a:xfrm>
          <a:prstGeom prst="rect">
            <a:avLst/>
          </a:prstGeom>
          <a:effectLst>
            <a:outerShdw blurRad="88900" dist="38100" dir="2700000" algn="tl" rotWithShape="0">
              <a:prstClr val="black">
                <a:alpha val="30000"/>
              </a:prstClr>
            </a:outerShdw>
          </a:effectLst>
        </p:spPr>
      </p:pic>
      <p:pic>
        <p:nvPicPr>
          <p:cNvPr id="2" name="Picture 1">
            <a:extLst>
              <a:ext uri="{FF2B5EF4-FFF2-40B4-BE49-F238E27FC236}">
                <a16:creationId xmlns:a16="http://schemas.microsoft.com/office/drawing/2014/main" id="{87D9B7C2-3A74-0E66-7554-5B9F944C282D}"/>
              </a:ext>
            </a:extLst>
          </p:cNvPr>
          <p:cNvPicPr>
            <a:picLocks noChangeAspect="1"/>
          </p:cNvPicPr>
          <p:nvPr/>
        </p:nvPicPr>
        <p:blipFill>
          <a:blip r:embed="rId9"/>
          <a:srcRect r="38761"/>
          <a:stretch>
            <a:fillRect/>
          </a:stretch>
        </p:blipFill>
        <p:spPr>
          <a:xfrm>
            <a:off x="762005" y="2770045"/>
            <a:ext cx="4683023" cy="1419752"/>
          </a:xfrm>
          <a:prstGeom prst="rect">
            <a:avLst/>
          </a:prstGeom>
        </p:spPr>
      </p:pic>
    </p:spTree>
    <p:extLst>
      <p:ext uri="{BB962C8B-B14F-4D97-AF65-F5344CB8AC3E}">
        <p14:creationId xmlns:p14="http://schemas.microsoft.com/office/powerpoint/2010/main" val="2837407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0811E-054F-4B03-EDE9-A5C660BA1A63}"/>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046EA8B5-13BF-9BAA-85A1-EAB7A2876D6B}"/>
              </a:ext>
            </a:extLst>
          </p:cNvPr>
          <p:cNvSpPr>
            <a:spLocks/>
          </p:cNvSpPr>
          <p:nvPr/>
        </p:nvSpPr>
        <p:spPr bwMode="auto">
          <a:xfrm>
            <a:off x="702366" y="470378"/>
            <a:ext cx="10826206" cy="393296"/>
          </a:xfrm>
          <a:prstGeom prst="rect">
            <a:avLst/>
          </a:prstGeom>
          <a:solidFill>
            <a:srgbClr val="FFE600"/>
          </a:solidFill>
          <a:ln>
            <a:noFill/>
          </a:ln>
        </p:spPr>
        <p:txBody>
          <a:bodyPr vert="horz" wrap="square" lIns="647326" tIns="45672" rIns="91344" bIns="45672" numCol="1" anchor="ctr" anchorCtr="0" compatLnSpc="1">
            <a:prstTxWarp prst="textNoShape">
              <a:avLst/>
            </a:prstTxWarp>
            <a:noAutofit/>
          </a:bodyPr>
          <a:lstStyle/>
          <a:p>
            <a:pPr defTabSz="913900">
              <a:defRPr/>
            </a:pPr>
            <a:r>
              <a:rPr lang="en-GB" sz="1799" b="1">
                <a:solidFill>
                  <a:srgbClr val="000000"/>
                </a:solidFill>
                <a:latin typeface="EYInterstate Light"/>
                <a:cs typeface="Arial"/>
              </a:rPr>
              <a:t>Phase 1 – Project Mobilization &amp; Program development </a:t>
            </a:r>
          </a:p>
        </p:txBody>
      </p:sp>
      <p:sp>
        <p:nvSpPr>
          <p:cNvPr id="29" name="Shape">
            <a:extLst>
              <a:ext uri="{FF2B5EF4-FFF2-40B4-BE49-F238E27FC236}">
                <a16:creationId xmlns:a16="http://schemas.microsoft.com/office/drawing/2014/main" id="{B19B6773-9D32-2714-D669-BB711EC8AECE}"/>
              </a:ext>
            </a:extLst>
          </p:cNvPr>
          <p:cNvSpPr/>
          <p:nvPr/>
        </p:nvSpPr>
        <p:spPr>
          <a:xfrm>
            <a:off x="890758"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7931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1" name="Shape">
            <a:extLst>
              <a:ext uri="{FF2B5EF4-FFF2-40B4-BE49-F238E27FC236}">
                <a16:creationId xmlns:a16="http://schemas.microsoft.com/office/drawing/2014/main" id="{D39EBB93-BEAA-9B3C-881E-2345B1B37219}"/>
              </a:ext>
            </a:extLst>
          </p:cNvPr>
          <p:cNvSpPr/>
          <p:nvPr/>
        </p:nvSpPr>
        <p:spPr>
          <a:xfrm>
            <a:off x="3792800" y="3182647"/>
            <a:ext cx="1552658" cy="1552655"/>
          </a:xfrm>
          <a:custGeom>
            <a:avLst/>
            <a:gdLst/>
            <a:ahLst/>
            <a:cxnLst>
              <a:cxn ang="0">
                <a:pos x="wd2" y="hd2"/>
              </a:cxn>
              <a:cxn ang="5400000">
                <a:pos x="wd2" y="hd2"/>
              </a:cxn>
              <a:cxn ang="10800000">
                <a:pos x="wd2" y="hd2"/>
              </a:cxn>
              <a:cxn ang="16200000">
                <a:pos x="wd2" y="hd2"/>
              </a:cxn>
            </a:cxnLst>
            <a:rect l="0" t="0" r="r" b="b"/>
            <a:pathLst>
              <a:path w="21156" h="21156" extrusionOk="0">
                <a:moveTo>
                  <a:pt x="12194" y="666"/>
                </a:move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lnTo>
                  <a:pt x="12194" y="666"/>
                </a:lnTo>
                <a:close/>
              </a:path>
            </a:pathLst>
          </a:custGeom>
          <a:solidFill>
            <a:srgbClr val="FFCC4C"/>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2" name="Shape">
            <a:extLst>
              <a:ext uri="{FF2B5EF4-FFF2-40B4-BE49-F238E27FC236}">
                <a16:creationId xmlns:a16="http://schemas.microsoft.com/office/drawing/2014/main" id="{EF9292EC-3BE7-EE1B-F8E6-36962033CFF9}"/>
              </a:ext>
            </a:extLst>
          </p:cNvPr>
          <p:cNvSpPr/>
          <p:nvPr/>
        </p:nvSpPr>
        <p:spPr>
          <a:xfrm>
            <a:off x="5243822" y="2241366"/>
            <a:ext cx="1553283" cy="1552658"/>
          </a:xfrm>
          <a:custGeom>
            <a:avLst/>
            <a:gdLst/>
            <a:ahLst/>
            <a:cxnLst>
              <a:cxn ang="0">
                <a:pos x="wd2" y="hd2"/>
              </a:cxn>
              <a:cxn ang="5400000">
                <a:pos x="wd2" y="hd2"/>
              </a:cxn>
              <a:cxn ang="10800000">
                <a:pos x="wd2" y="hd2"/>
              </a:cxn>
              <a:cxn ang="16200000">
                <a:pos x="wd2" y="hd2"/>
              </a:cxn>
            </a:cxnLst>
            <a:rect l="0" t="0" r="r" b="b"/>
            <a:pathLst>
              <a:path w="21154" h="21156" extrusionOk="0">
                <a:moveTo>
                  <a:pt x="20479" y="8962"/>
                </a:moveTo>
                <a:lnTo>
                  <a:pt x="12187" y="666"/>
                </a:lnTo>
                <a:cubicBezTo>
                  <a:pt x="11300" y="-222"/>
                  <a:pt x="9844" y="-222"/>
                  <a:pt x="8957" y="666"/>
                </a:cubicBezTo>
                <a:lnTo>
                  <a:pt x="665" y="8962"/>
                </a:lnTo>
                <a:cubicBezTo>
                  <a:pt x="-222" y="9850"/>
                  <a:pt x="-222" y="11306"/>
                  <a:pt x="665" y="12194"/>
                </a:cubicBezTo>
                <a:lnTo>
                  <a:pt x="8957" y="20490"/>
                </a:lnTo>
                <a:cubicBezTo>
                  <a:pt x="9844" y="21378"/>
                  <a:pt x="11300" y="21378"/>
                  <a:pt x="12187" y="20490"/>
                </a:cubicBezTo>
                <a:lnTo>
                  <a:pt x="20479" y="12194"/>
                </a:lnTo>
                <a:cubicBezTo>
                  <a:pt x="21378" y="11306"/>
                  <a:pt x="21378" y="9850"/>
                  <a:pt x="20479" y="8962"/>
                </a:cubicBezTo>
                <a:close/>
              </a:path>
            </a:pathLst>
          </a:custGeom>
          <a:solidFill>
            <a:srgbClr val="C13018"/>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sp>
        <p:nvSpPr>
          <p:cNvPr id="33" name="Shape">
            <a:extLst>
              <a:ext uri="{FF2B5EF4-FFF2-40B4-BE49-F238E27FC236}">
                <a16:creationId xmlns:a16="http://schemas.microsoft.com/office/drawing/2014/main" id="{8E4B0B6C-556A-CD50-23F2-D32A97A9AB10}"/>
              </a:ext>
            </a:extLst>
          </p:cNvPr>
          <p:cNvSpPr/>
          <p:nvPr/>
        </p:nvSpPr>
        <p:spPr>
          <a:xfrm>
            <a:off x="2341778" y="2241366"/>
            <a:ext cx="1552657" cy="1552658"/>
          </a:xfrm>
          <a:custGeom>
            <a:avLst/>
            <a:gdLst/>
            <a:ahLst/>
            <a:cxnLst>
              <a:cxn ang="0">
                <a:pos x="wd2" y="hd2"/>
              </a:cxn>
              <a:cxn ang="5400000">
                <a:pos x="wd2" y="hd2"/>
              </a:cxn>
              <a:cxn ang="10800000">
                <a:pos x="wd2" y="hd2"/>
              </a:cxn>
              <a:cxn ang="16200000">
                <a:pos x="wd2" y="hd2"/>
              </a:cxn>
            </a:cxnLst>
            <a:rect l="0" t="0" r="r" b="b"/>
            <a:pathLst>
              <a:path w="21156" h="21156" extrusionOk="0">
                <a:moveTo>
                  <a:pt x="20490" y="8962"/>
                </a:moveTo>
                <a:lnTo>
                  <a:pt x="12194" y="666"/>
                </a:lnTo>
                <a:cubicBezTo>
                  <a:pt x="11306" y="-222"/>
                  <a:pt x="9850" y="-222"/>
                  <a:pt x="8962" y="666"/>
                </a:cubicBezTo>
                <a:lnTo>
                  <a:pt x="666" y="8962"/>
                </a:lnTo>
                <a:cubicBezTo>
                  <a:pt x="-222" y="9850"/>
                  <a:pt x="-222" y="11306"/>
                  <a:pt x="666" y="12194"/>
                </a:cubicBezTo>
                <a:lnTo>
                  <a:pt x="8962" y="20490"/>
                </a:lnTo>
                <a:cubicBezTo>
                  <a:pt x="9850" y="21378"/>
                  <a:pt x="11306" y="21378"/>
                  <a:pt x="12194" y="20490"/>
                </a:cubicBezTo>
                <a:lnTo>
                  <a:pt x="20490" y="12194"/>
                </a:lnTo>
                <a:cubicBezTo>
                  <a:pt x="21378" y="11306"/>
                  <a:pt x="21378" y="9850"/>
                  <a:pt x="20490" y="8962"/>
                </a:cubicBezTo>
                <a:close/>
              </a:path>
            </a:pathLst>
          </a:custGeom>
          <a:solidFill>
            <a:srgbClr val="4CC1EF"/>
          </a:solidFill>
          <a:ln w="12700">
            <a:miter lim="400000"/>
          </a:ln>
          <a:effectLst/>
        </p:spPr>
        <p:txBody>
          <a:bodyPr lIns="28560" tIns="28560" rIns="28560" bIns="2856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sz="2099">
              <a:solidFill>
                <a:srgbClr val="FFFFFF"/>
              </a:solidFill>
              <a:latin typeface="Calibri" panose="020F0502020204030204"/>
            </a:endParaRPr>
          </a:p>
        </p:txBody>
      </p:sp>
      <p:pic>
        <p:nvPicPr>
          <p:cNvPr id="35" name="Graphic 34" descr="Head with gears">
            <a:extLst>
              <a:ext uri="{FF2B5EF4-FFF2-40B4-BE49-F238E27FC236}">
                <a16:creationId xmlns:a16="http://schemas.microsoft.com/office/drawing/2014/main" id="{567C96E2-1020-9983-BDA2-B283D67B60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1424" y="3573313"/>
            <a:ext cx="771323" cy="771323"/>
          </a:xfrm>
          <a:prstGeom prst="rect">
            <a:avLst/>
          </a:prstGeom>
          <a:effectLst>
            <a:outerShdw blurRad="88900" dist="38100" dir="2700000" algn="tl" rotWithShape="0">
              <a:prstClr val="black">
                <a:alpha val="30000"/>
              </a:prstClr>
            </a:outerShdw>
          </a:effectLst>
        </p:spPr>
      </p:pic>
      <p:pic>
        <p:nvPicPr>
          <p:cNvPr id="37" name="Graphic 36" descr="Stopwatch 33%">
            <a:extLst>
              <a:ext uri="{FF2B5EF4-FFF2-40B4-BE49-F238E27FC236}">
                <a16:creationId xmlns:a16="http://schemas.microsoft.com/office/drawing/2014/main" id="{4BAF3283-FBCC-A8D9-595F-412810C297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467" y="3573313"/>
            <a:ext cx="771323" cy="771323"/>
          </a:xfrm>
          <a:prstGeom prst="rect">
            <a:avLst/>
          </a:prstGeom>
          <a:effectLst>
            <a:outerShdw blurRad="88900" dist="38100" dir="2700000" algn="tl" rotWithShape="0">
              <a:prstClr val="black">
                <a:alpha val="30000"/>
              </a:prstClr>
            </a:outerShdw>
          </a:effectLst>
        </p:spPr>
      </p:pic>
      <p:pic>
        <p:nvPicPr>
          <p:cNvPr id="38" name="Graphic 37" descr="Lights On">
            <a:extLst>
              <a:ext uri="{FF2B5EF4-FFF2-40B4-BE49-F238E27FC236}">
                <a16:creationId xmlns:a16="http://schemas.microsoft.com/office/drawing/2014/main" id="{60D4A7D6-BD83-1207-E74D-3E819320A3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4802" y="2632033"/>
            <a:ext cx="771323" cy="771323"/>
          </a:xfrm>
          <a:prstGeom prst="rect">
            <a:avLst/>
          </a:prstGeom>
          <a:effectLst>
            <a:outerShdw blurRad="88900" dist="38100" dir="2700000" algn="tl" rotWithShape="0">
              <a:prstClr val="black">
                <a:alpha val="30000"/>
              </a:prstClr>
            </a:outerShdw>
          </a:effectLst>
        </p:spPr>
      </p:pic>
      <p:grpSp>
        <p:nvGrpSpPr>
          <p:cNvPr id="39" name="Group 38">
            <a:extLst>
              <a:ext uri="{FF2B5EF4-FFF2-40B4-BE49-F238E27FC236}">
                <a16:creationId xmlns:a16="http://schemas.microsoft.com/office/drawing/2014/main" id="{9D7E254E-00E0-F3C8-0C20-0BC0FA74982D}"/>
              </a:ext>
            </a:extLst>
          </p:cNvPr>
          <p:cNvGrpSpPr/>
          <p:nvPr/>
        </p:nvGrpSpPr>
        <p:grpSpPr>
          <a:xfrm>
            <a:off x="996397" y="1670269"/>
            <a:ext cx="1341378" cy="1048893"/>
            <a:chOff x="319755" y="4350748"/>
            <a:chExt cx="2088994" cy="1399253"/>
          </a:xfrm>
        </p:grpSpPr>
        <p:sp>
          <p:nvSpPr>
            <p:cNvPr id="40" name="TextBox 20">
              <a:extLst>
                <a:ext uri="{FF2B5EF4-FFF2-40B4-BE49-F238E27FC236}">
                  <a16:creationId xmlns:a16="http://schemas.microsoft.com/office/drawing/2014/main" id="{BBAEED95-CD10-12C7-1785-25A83F5C891B}"/>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7931F"/>
                  </a:solidFill>
                  <a:latin typeface="Calibri" panose="020F0502020204030204"/>
                </a:rPr>
                <a:t>Lorem Ipsum</a:t>
              </a:r>
            </a:p>
          </p:txBody>
        </p:sp>
        <p:sp>
          <p:nvSpPr>
            <p:cNvPr id="41" name="Rectangle 40">
              <a:extLst>
                <a:ext uri="{FF2B5EF4-FFF2-40B4-BE49-F238E27FC236}">
                  <a16:creationId xmlns:a16="http://schemas.microsoft.com/office/drawing/2014/main" id="{F165B3C5-73FD-991F-8877-481239714D5E}"/>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2" name="Group 41">
            <a:extLst>
              <a:ext uri="{FF2B5EF4-FFF2-40B4-BE49-F238E27FC236}">
                <a16:creationId xmlns:a16="http://schemas.microsoft.com/office/drawing/2014/main" id="{4C6F41BA-6B10-D028-6D18-25302CA71035}"/>
              </a:ext>
            </a:extLst>
          </p:cNvPr>
          <p:cNvGrpSpPr/>
          <p:nvPr/>
        </p:nvGrpSpPr>
        <p:grpSpPr>
          <a:xfrm>
            <a:off x="3898909" y="1670269"/>
            <a:ext cx="1341378" cy="1048893"/>
            <a:chOff x="319755" y="4350748"/>
            <a:chExt cx="2088994" cy="1399253"/>
          </a:xfrm>
        </p:grpSpPr>
        <p:sp>
          <p:nvSpPr>
            <p:cNvPr id="43" name="TextBox 23">
              <a:extLst>
                <a:ext uri="{FF2B5EF4-FFF2-40B4-BE49-F238E27FC236}">
                  <a16:creationId xmlns:a16="http://schemas.microsoft.com/office/drawing/2014/main" id="{15689183-1AA6-4631-B588-DA282C2726C1}"/>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FFCC4C"/>
                  </a:solidFill>
                  <a:latin typeface="Calibri" panose="020F0502020204030204"/>
                </a:rPr>
                <a:t>Lorem Ipsum</a:t>
              </a:r>
            </a:p>
          </p:txBody>
        </p:sp>
        <p:sp>
          <p:nvSpPr>
            <p:cNvPr id="44" name="Rectangle 43">
              <a:extLst>
                <a:ext uri="{FF2B5EF4-FFF2-40B4-BE49-F238E27FC236}">
                  <a16:creationId xmlns:a16="http://schemas.microsoft.com/office/drawing/2014/main" id="{A53A1661-EEBF-09A3-46A8-76DF0E68DE81}"/>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48" name="Group 47">
            <a:extLst>
              <a:ext uri="{FF2B5EF4-FFF2-40B4-BE49-F238E27FC236}">
                <a16:creationId xmlns:a16="http://schemas.microsoft.com/office/drawing/2014/main" id="{31CBF9F5-041F-7F37-218B-4ED96E19B6DE}"/>
              </a:ext>
            </a:extLst>
          </p:cNvPr>
          <p:cNvGrpSpPr/>
          <p:nvPr/>
        </p:nvGrpSpPr>
        <p:grpSpPr>
          <a:xfrm>
            <a:off x="2447653" y="4274953"/>
            <a:ext cx="1341378" cy="1048893"/>
            <a:chOff x="319755" y="4350748"/>
            <a:chExt cx="2088994" cy="1399253"/>
          </a:xfrm>
        </p:grpSpPr>
        <p:sp>
          <p:nvSpPr>
            <p:cNvPr id="49" name="TextBox 29">
              <a:extLst>
                <a:ext uri="{FF2B5EF4-FFF2-40B4-BE49-F238E27FC236}">
                  <a16:creationId xmlns:a16="http://schemas.microsoft.com/office/drawing/2014/main" id="{CC0424DC-72EF-2C5D-A768-5063AA1C41A3}"/>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4CC1EF"/>
                  </a:solidFill>
                  <a:latin typeface="Calibri" panose="020F0502020204030204"/>
                </a:rPr>
                <a:t>Lorem Ipsum</a:t>
              </a:r>
            </a:p>
          </p:txBody>
        </p:sp>
        <p:sp>
          <p:nvSpPr>
            <p:cNvPr id="50" name="Rectangle 49">
              <a:extLst>
                <a:ext uri="{FF2B5EF4-FFF2-40B4-BE49-F238E27FC236}">
                  <a16:creationId xmlns:a16="http://schemas.microsoft.com/office/drawing/2014/main" id="{A542C498-A50E-7ECA-43EC-4B05F6CFEDE7}"/>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grpSp>
        <p:nvGrpSpPr>
          <p:cNvPr id="51" name="Group 50">
            <a:extLst>
              <a:ext uri="{FF2B5EF4-FFF2-40B4-BE49-F238E27FC236}">
                <a16:creationId xmlns:a16="http://schemas.microsoft.com/office/drawing/2014/main" id="{80D66863-F644-20C4-89E4-3C10D7CB8AE8}"/>
              </a:ext>
            </a:extLst>
          </p:cNvPr>
          <p:cNvGrpSpPr/>
          <p:nvPr/>
        </p:nvGrpSpPr>
        <p:grpSpPr>
          <a:xfrm>
            <a:off x="5350165" y="4274953"/>
            <a:ext cx="1341378" cy="1048893"/>
            <a:chOff x="319755" y="4350748"/>
            <a:chExt cx="2088994" cy="1399253"/>
          </a:xfrm>
        </p:grpSpPr>
        <p:sp>
          <p:nvSpPr>
            <p:cNvPr id="52" name="TextBox 32">
              <a:extLst>
                <a:ext uri="{FF2B5EF4-FFF2-40B4-BE49-F238E27FC236}">
                  <a16:creationId xmlns:a16="http://schemas.microsoft.com/office/drawing/2014/main" id="{5C24AF96-3FDB-B68E-B3C3-AA8968F4E843}"/>
                </a:ext>
              </a:extLst>
            </p:cNvPr>
            <p:cNvSpPr txBox="1"/>
            <p:nvPr/>
          </p:nvSpPr>
          <p:spPr>
            <a:xfrm>
              <a:off x="319755" y="4350748"/>
              <a:ext cx="2088992" cy="43088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99" b="1" noProof="1">
                  <a:solidFill>
                    <a:srgbClr val="C13018">
                      <a:lumMod val="60000"/>
                      <a:lumOff val="40000"/>
                    </a:srgbClr>
                  </a:solidFill>
                  <a:latin typeface="Calibri" panose="020F0502020204030204"/>
                </a:rPr>
                <a:t>Lorem Ipsum</a:t>
              </a:r>
            </a:p>
          </p:txBody>
        </p:sp>
        <p:sp>
          <p:nvSpPr>
            <p:cNvPr id="53" name="Rectangle 52">
              <a:extLst>
                <a:ext uri="{FF2B5EF4-FFF2-40B4-BE49-F238E27FC236}">
                  <a16:creationId xmlns:a16="http://schemas.microsoft.com/office/drawing/2014/main" id="{F4BE5459-77CF-1CC2-1CA5-222D3E1AA717}"/>
                </a:ext>
              </a:extLst>
            </p:cNvPr>
            <p:cNvSpPr/>
            <p:nvPr/>
          </p:nvSpPr>
          <p:spPr>
            <a:xfrm>
              <a:off x="319757" y="4765116"/>
              <a:ext cx="2088992" cy="984885"/>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900"/>
                </a:spcBef>
              </a:pPr>
              <a:r>
                <a:rPr lang="en-US" sz="1049" noProof="1">
                  <a:solidFill>
                    <a:prstClr val="white">
                      <a:lumMod val="75000"/>
                    </a:prstClr>
                  </a:solidFill>
                  <a:latin typeface="Calibri" panose="020F0502020204030204"/>
                </a:rPr>
                <a:t>Lorem ipsum dolor sit amet, consectetur adipiscing elit. Integer nec odio.</a:t>
              </a:r>
            </a:p>
          </p:txBody>
        </p:sp>
      </p:grpSp>
      <p:pic>
        <p:nvPicPr>
          <p:cNvPr id="54" name="Graphic 53" descr="Bullseye">
            <a:extLst>
              <a:ext uri="{FF2B5EF4-FFF2-40B4-BE49-F238E27FC236}">
                <a16:creationId xmlns:a16="http://schemas.microsoft.com/office/drawing/2014/main" id="{AFAC7AA9-92AB-21B1-ACDE-B86B3CB057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32445" y="2632033"/>
            <a:ext cx="771323" cy="771323"/>
          </a:xfrm>
          <a:prstGeom prst="rect">
            <a:avLst/>
          </a:prstGeom>
          <a:effectLst>
            <a:outerShdw blurRad="88900" dist="38100" dir="2700000" algn="tl" rotWithShape="0">
              <a:prstClr val="black">
                <a:alpha val="30000"/>
              </a:prstClr>
            </a:outerShdw>
          </a:effectLst>
        </p:spPr>
      </p:pic>
      <p:pic>
        <p:nvPicPr>
          <p:cNvPr id="2" name="Picture 1">
            <a:extLst>
              <a:ext uri="{FF2B5EF4-FFF2-40B4-BE49-F238E27FC236}">
                <a16:creationId xmlns:a16="http://schemas.microsoft.com/office/drawing/2014/main" id="{B70FB2CF-D638-C68F-CBDC-DF7E47326D89}"/>
              </a:ext>
            </a:extLst>
          </p:cNvPr>
          <p:cNvPicPr>
            <a:picLocks noChangeAspect="1"/>
          </p:cNvPicPr>
          <p:nvPr/>
        </p:nvPicPr>
        <p:blipFill>
          <a:blip r:embed="rId11"/>
          <a:srcRect r="20886"/>
          <a:stretch>
            <a:fillRect/>
          </a:stretch>
        </p:blipFill>
        <p:spPr>
          <a:xfrm>
            <a:off x="748770" y="2755694"/>
            <a:ext cx="6048335" cy="1420491"/>
          </a:xfrm>
          <a:prstGeom prst="rect">
            <a:avLst/>
          </a:prstGeom>
        </p:spPr>
      </p:pic>
    </p:spTree>
    <p:extLst>
      <p:ext uri="{BB962C8B-B14F-4D97-AF65-F5344CB8AC3E}">
        <p14:creationId xmlns:p14="http://schemas.microsoft.com/office/powerpoint/2010/main" val="1987697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9_Main Master">
  <a:themeElements>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Light"/>
        <a:ea typeface=""/>
        <a:cs typeface="Arial"/>
      </a:majorFont>
      <a:minorFont>
        <a:latin typeface="EYInterstate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99999"/>
        </a:solidFill>
        <a:ln w="9525">
          <a:noFill/>
        </a:ln>
      </a:spPr>
      <a:bodyPr rtlCol="0" anchor="ctr" anchorCtr="0"/>
      <a:lstStyle>
        <a:defPPr algn="ctr">
          <a:defRPr sz="1000" b="1"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themeOverride>
</file>

<file path=docProps/app.xml><?xml version="1.0" encoding="utf-8"?>
<Properties xmlns="http://schemas.openxmlformats.org/officeDocument/2006/extended-properties" xmlns:vt="http://schemas.openxmlformats.org/officeDocument/2006/docPropsVTypes">
  <TotalTime>0</TotalTime>
  <Words>5215</Words>
  <Application>Microsoft Office PowerPoint</Application>
  <PresentationFormat>Widescreen</PresentationFormat>
  <Paragraphs>594</Paragraphs>
  <Slides>36</Slides>
  <Notes>28</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56" baseType="lpstr">
      <vt:lpstr>Aptos</vt:lpstr>
      <vt:lpstr>Aptos Display</vt:lpstr>
      <vt:lpstr>Arial</vt:lpstr>
      <vt:lpstr>Arial Unicode MS</vt:lpstr>
      <vt:lpstr>Avenir</vt:lpstr>
      <vt:lpstr>Calibri</vt:lpstr>
      <vt:lpstr>Calibri Light</vt:lpstr>
      <vt:lpstr>EYInterstate</vt:lpstr>
      <vt:lpstr>EYInterstate Light</vt:lpstr>
      <vt:lpstr>EYInterstate Regular</vt:lpstr>
      <vt:lpstr>EYInterstate-Light</vt:lpstr>
      <vt:lpstr>Helvetica</vt:lpstr>
      <vt:lpstr>Open Sans</vt:lpstr>
      <vt:lpstr>Wingdings</vt:lpstr>
      <vt:lpstr>Office Theme</vt:lpstr>
      <vt:lpstr>9_Main Master</vt:lpstr>
      <vt:lpstr>1_Office Theme</vt:lpstr>
      <vt:lpstr>1_EY dark background</vt:lpstr>
      <vt:lpstr>Template PresentationG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ree Lines of Defense from a CISO perspective</vt:lpstr>
      <vt:lpstr>CISO as Managed Service – Key Benefits </vt:lpstr>
      <vt:lpstr>PowerPoint Presentation</vt:lpstr>
      <vt:lpstr>PowerPoint Presentation</vt:lpstr>
      <vt:lpstr>What is IS policy, procedure and standard?</vt:lpstr>
      <vt:lpstr>Mapping of clauses to PDCA cycle</vt:lpstr>
      <vt:lpstr>PowerPoint Presentation</vt:lpstr>
      <vt:lpstr>PowerPoint Presentation</vt:lpstr>
      <vt:lpstr>PowerPoint Presentation</vt:lpstr>
      <vt:lpstr>PowerPoint Presentation</vt:lpstr>
      <vt:lpstr>PowerPoint Presentation</vt:lpstr>
      <vt:lpstr>ESA framework architectural standard: SABSA</vt:lpstr>
      <vt:lpstr>Enterprise Security Architecture strategy</vt:lpstr>
      <vt:lpstr>An overview to the EY approach and project timelines</vt:lpstr>
      <vt:lpstr>Phase 1 – Project Mobilization &amp; Program development </vt:lpstr>
      <vt:lpstr>3D Pyramid Process – Slide Template</vt:lpstr>
      <vt:lpstr>PowerPoint Presentation</vt:lpstr>
      <vt:lpstr>Infographic Clouds – Slide Template</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ishaam Rujbaully</dc:creator>
  <cp:lastModifiedBy>Shaikh Ayman</cp:lastModifiedBy>
  <cp:revision>1</cp:revision>
  <dcterms:created xsi:type="dcterms:W3CDTF">2025-11-06T06:47:25Z</dcterms:created>
  <dcterms:modified xsi:type="dcterms:W3CDTF">2025-11-19T06:36:50Z</dcterms:modified>
</cp:coreProperties>
</file>